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slides/slide24.xml" ContentType="application/vnd.openxmlformats-officedocument.presentationml.slide+xml"/>
  <Override PartName="/ppt/diagrams/data1.xml" ContentType="application/vnd.openxmlformats-officedocument.drawingml.diagramData+xml"/>
  <Override PartName="/ppt/presentation.xml" ContentType="application/vnd.openxmlformats-officedocument.presentationml.presentation.main+xml"/>
  <Override PartName="/ppt/slides/slide5.xml" ContentType="application/vnd.openxmlformats-officedocument.presentationml.slide+xml"/>
  <Override PartName="/ppt/slides/slide11.xml" ContentType="application/vnd.openxmlformats-officedocument.presentationml.slide+xml"/>
  <Override PartName="/ppt/slides/slide4.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3.xml" ContentType="application/vnd.openxmlformats-officedocument.presentationml.slide+xml"/>
  <Override PartName="/ppt/slides/slide1.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20.xml" ContentType="application/vnd.openxmlformats-officedocument.presentationml.slide+xml"/>
  <Override PartName="/ppt/slides/slide2.xml" ContentType="application/vnd.openxmlformats-officedocument.presentationml.slide+xml"/>
  <Override PartName="/ppt/slides/slide19.xml" ContentType="application/vnd.openxmlformats-officedocument.presentationml.slide+xml"/>
  <Override PartName="/ppt/slides/slide16.xml" ContentType="application/vnd.openxmlformats-officedocument.presentationml.slide+xml"/>
  <Override PartName="/ppt/slides/slide18.xml" ContentType="application/vnd.openxmlformats-officedocument.presentationml.slide+xml"/>
  <Override PartName="/ppt/slides/slide17.xml" ContentType="application/vnd.openxmlformats-officedocument.presentationml.slide+xml"/>
  <Override PartName="/ppt/slides/slide15.xml" ContentType="application/vnd.openxmlformats-officedocument.presentationml.slide+xml"/>
  <Override PartName="/ppt/slides/slide22.xml" ContentType="application/vnd.openxmlformats-officedocument.presentationml.slide+xml"/>
  <Override PartName="/ppt/slides/slide21.xml" ContentType="application/vnd.openxmlformats-officedocument.presentationml.slide+xml"/>
  <Override PartName="/ppt/slides/slide14.xml" ContentType="application/vnd.openxmlformats-officedocument.presentationml.slide+xml"/>
  <Override PartName="/ppt/slides/slide23.xml" ContentType="application/vnd.openxmlformats-officedocument.presentationml.slide+xml"/>
  <Override PartName="/ppt/notesSlides/notesSlide21.xml" ContentType="application/vnd.openxmlformats-officedocument.presentationml.notesSlide+xml"/>
  <Override PartName="/ppt/notesSlides/notesSlide11.xml" ContentType="application/vnd.openxmlformats-officedocument.presentationml.notesSlide+xml"/>
  <Override PartName="/ppt/notesSlides/notesSlide9.xml" ContentType="application/vnd.openxmlformats-officedocument.presentationml.notesSlide+xml"/>
  <Override PartName="/ppt/notesSlides/notesSlide8.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20.xml" ContentType="application/vnd.openxmlformats-officedocument.presentationml.notesSlide+xml"/>
  <Override PartName="/ppt/notesSlides/notesSlide19.xml" ContentType="application/vnd.openxmlformats-officedocument.presentationml.notesSlide+xml"/>
  <Override PartName="/ppt/notesSlides/notesSlide18.xml" ContentType="application/vnd.openxmlformats-officedocument.presentationml.notesSlide+xml"/>
  <Override PartName="/ppt/notesSlides/notesSlide13.xml" ContentType="application/vnd.openxmlformats-officedocument.presentationml.notesSlide+xml"/>
  <Override PartName="/ppt/notesSlides/notesSlide12.xml" ContentType="application/vnd.openxmlformats-officedocument.presentationml.notesSlide+xml"/>
  <Override PartName="/ppt/notesSlides/notesSlide6.xml" ContentType="application/vnd.openxmlformats-officedocument.presentationml.notesSlide+xml"/>
  <Override PartName="/ppt/notesSlides/notesSlide14.xml" ContentType="application/vnd.openxmlformats-officedocument.presentationml.notesSlide+xml"/>
  <Override PartName="/ppt/slideMasters/slideMaster1.xml" ContentType="application/vnd.openxmlformats-officedocument.presentationml.slideMaster+xml"/>
  <Override PartName="/ppt/notesSlides/notesSlide15.xml" ContentType="application/vnd.openxmlformats-officedocument.presentationml.notesSlide+xml"/>
  <Override PartName="/ppt/notesSlides/notesSlide22.xml" ContentType="application/vnd.openxmlformats-officedocument.presentationml.notesSlide+xml"/>
  <Override PartName="/ppt/slideMasters/slideMaster5.xml" ContentType="application/vnd.openxmlformats-officedocument.presentationml.slideMaster+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0.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26.xml" ContentType="application/vnd.openxmlformats-officedocument.presentationml.slideLayout+xml"/>
  <Override PartName="/ppt/slideLayouts/slideLayout25.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Masters/slideMaster4.xml" ContentType="application/vnd.openxmlformats-officedocument.presentationml.slideMaster+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34.xml" ContentType="application/vnd.openxmlformats-officedocument.presentationml.slideLayout+xml"/>
  <Override PartName="/ppt/notesSlides/notesSlide2.xml" ContentType="application/vnd.openxmlformats-officedocument.presentationml.notesSlide+xml"/>
  <Override PartName="/ppt/slideLayouts/slideLayout33.xml" ContentType="application/vnd.openxmlformats-officedocument.presentationml.slideLayout+xml"/>
  <Override PartName="/ppt/notesSlides/notesSlide5.xml" ContentType="application/vnd.openxmlformats-officedocument.presentationml.notesSlide+xml"/>
  <Override PartName="/ppt/notesSlides/notesSlide4.xml" ContentType="application/vnd.openxmlformats-officedocument.presentationml.notesSlide+xml"/>
  <Override PartName="/ppt/notesSlides/notesSlide3.xml" ContentType="application/vnd.openxmlformats-officedocument.presentationml.notesSlide+xml"/>
  <Override PartName="/ppt/notesSlides/notesSlide1.xml" ContentType="application/vnd.openxmlformats-officedocument.presentationml.notesSlide+xml"/>
  <Override PartName="/ppt/slideLayouts/slideLayout50.xml" ContentType="application/vnd.openxmlformats-officedocument.presentationml.slideLayout+xml"/>
  <Override PartName="/ppt/slideLayouts/slideLayout41.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slideLayouts/slideLayout37.xml" ContentType="application/vnd.openxmlformats-officedocument.presentationml.slideLayout+xml"/>
  <Override PartName="/ppt/slideLayouts/slideLayout36.xml" ContentType="application/vnd.openxmlformats-officedocument.presentationml.slideLayout+xml"/>
  <Override PartName="/ppt/slideLayouts/slideLayout35.xml" ContentType="application/vnd.openxmlformats-officedocument.presentationml.slideLayout+xml"/>
  <Override PartName="/ppt/slideLayouts/slideLayout42.xml" ContentType="application/vnd.openxmlformats-officedocument.presentationml.slideLayout+xml"/>
  <Override PartName="/ppt/slideLayouts/slideLayout40.xml" ContentType="application/vnd.openxmlformats-officedocument.presentationml.slideLayout+xml"/>
  <Override PartName="/ppt/slideLayouts/slideLayout43.xml" ContentType="application/vnd.openxmlformats-officedocument.presentationml.slideLayout+xml"/>
  <Override PartName="/ppt/slideLayouts/slideLayout49.xml" ContentType="application/vnd.openxmlformats-officedocument.presentationml.slideLayout+xml"/>
  <Override PartName="/ppt/slideLayouts/slideLayout48.xml" ContentType="application/vnd.openxmlformats-officedocument.presentationml.slideLayout+xml"/>
  <Override PartName="/ppt/slideLayouts/slideLayout47.xml" ContentType="application/vnd.openxmlformats-officedocument.presentationml.slideLayout+xml"/>
  <Override PartName="/ppt/slideLayouts/slideLayout46.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notesMasters/notesMaster1.xml" ContentType="application/vnd.openxmlformats-officedocument.presentationml.notesMaster+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3.xml" ContentType="application/vnd.openxmlformats-officedocument.theme+xml"/>
  <Override PartName="/ppt/theme/theme1.xml" ContentType="application/vnd.openxmlformats-officedocument.theme+xml"/>
  <Override PartName="/ppt/theme/theme2.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presProps.xml" ContentType="application/vnd.openxmlformats-officedocument.presentationml.presProps+xml"/>
  <Override PartName="/ppt/tableStyles.xml" ContentType="application/vnd.openxmlformats-officedocument.presentationml.tableStyles+xml"/>
  <Override PartName="/ppt/viewProps.xml" ContentType="application/vnd.openxmlformats-officedocument.presentationml.viewProps+xml"/>
  <Override PartName="/docProps/app.xml" ContentType="application/vnd.openxmlformats-officedocument.extended-properties+xml"/>
  <Override PartName="/ppt/tags/tag2.xml" ContentType="application/vnd.openxmlformats-officedocument.presentationml.tags+xml"/>
  <Override PartName="/docProps/core.xml" ContentType="application/vnd.openxmlformats-package.core-properties+xml"/>
  <Override PartName="/ppt/tags/tag1.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3" r:id="rId3"/>
    <p:sldMasterId id="2147483686" r:id="rId4"/>
    <p:sldMasterId id="2147483695" r:id="rId5"/>
  </p:sldMasterIdLst>
  <p:notesMasterIdLst>
    <p:notesMasterId r:id="rId30"/>
  </p:notesMasterIdLst>
  <p:sldIdLst>
    <p:sldId id="303" r:id="rId6"/>
    <p:sldId id="262" r:id="rId7"/>
    <p:sldId id="258" r:id="rId8"/>
    <p:sldId id="261" r:id="rId9"/>
    <p:sldId id="289" r:id="rId10"/>
    <p:sldId id="292" r:id="rId11"/>
    <p:sldId id="300" r:id="rId12"/>
    <p:sldId id="290" r:id="rId13"/>
    <p:sldId id="298" r:id="rId14"/>
    <p:sldId id="293" r:id="rId15"/>
    <p:sldId id="266" r:id="rId16"/>
    <p:sldId id="294" r:id="rId17"/>
    <p:sldId id="295" r:id="rId18"/>
    <p:sldId id="264" r:id="rId19"/>
    <p:sldId id="278" r:id="rId20"/>
    <p:sldId id="301" r:id="rId21"/>
    <p:sldId id="296" r:id="rId22"/>
    <p:sldId id="268" r:id="rId23"/>
    <p:sldId id="267" r:id="rId24"/>
    <p:sldId id="272" r:id="rId25"/>
    <p:sldId id="304" r:id="rId26"/>
    <p:sldId id="305" r:id="rId27"/>
    <p:sldId id="306" r:id="rId28"/>
    <p:sldId id="307" r:id="rId29"/>
  </p:sldIdLst>
  <p:sldSz cx="9144000" cy="6858000" type="screen4x3"/>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91" autoAdjust="0"/>
    <p:restoredTop sz="82014" autoAdjust="0"/>
  </p:normalViewPr>
  <p:slideViewPr>
    <p:cSldViewPr>
      <p:cViewPr>
        <p:scale>
          <a:sx n="62" d="100"/>
          <a:sy n="62" d="100"/>
        </p:scale>
        <p:origin x="-1020" y="-288"/>
      </p:cViewPr>
      <p:guideLst>
        <p:guide orient="horz" pos="2160"/>
        <p:guide pos="2880"/>
      </p:guideLst>
    </p:cSldViewPr>
  </p:slideViewPr>
  <p:notesTextViewPr>
    <p:cViewPr>
      <p:scale>
        <a:sx n="1" d="1"/>
        <a:sy n="1" d="1"/>
      </p:scale>
      <p:origin x="0" y="0"/>
    </p:cViewPr>
  </p:notesTextViewPr>
  <p:sorterViewPr>
    <p:cViewPr>
      <p:scale>
        <a:sx n="60" d="100"/>
        <a:sy n="60" d="100"/>
      </p:scale>
      <p:origin x="0" y="0"/>
    </p:cViewPr>
  </p:sorterViewPr>
  <p:notesViewPr>
    <p:cSldViewPr>
      <p:cViewPr>
        <p:scale>
          <a:sx n="48" d="100"/>
          <a:sy n="48" d="100"/>
        </p:scale>
        <p:origin x="-918" y="-72"/>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37" Type="http://schemas.openxmlformats.org/officeDocument/2006/relationships/customXml" Target="../customXml/item3.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customXml" Target="../customXml/item2.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customXml" Target="../customXml/item1.xml"/><Relationship Id="rId8" Type="http://schemas.openxmlformats.org/officeDocument/2006/relationships/slide" Target="slides/slide3.xml"/><Relationship Id="rId3"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accent1_2#3">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D9FEDC9-0369-4332-8A0F-65F7BDBA7553}" type="doc">
      <dgm:prSet loTypeId="urn:microsoft.com/office/officeart/2005/8/layout/gear1" loCatId="process" qsTypeId="urn:microsoft.com/office/officeart/2005/8/quickstyle/simple1#3" qsCatId="simple" csTypeId="urn:microsoft.com/office/officeart/2005/8/colors/accent1_2#3" csCatId="accent1" phldr="1"/>
      <dgm:spPr/>
      <dgm:t>
        <a:bodyPr/>
        <a:lstStyle/>
        <a:p>
          <a:endParaRPr lang="es-ES"/>
        </a:p>
      </dgm:t>
    </dgm:pt>
    <dgm:pt modelId="{80EB2883-DE6F-4F22-A03D-7BB70B9E2EC7}">
      <dgm:prSet phldrT="[Texto]" custT="1"/>
      <dgm:spPr>
        <a:solidFill>
          <a:schemeClr val="accent1">
            <a:lumMod val="75000"/>
          </a:schemeClr>
        </a:solidFill>
        <a:ln w="41275">
          <a:solidFill>
            <a:schemeClr val="tx1"/>
          </a:solidFill>
        </a:ln>
      </dgm:spPr>
      <dgm:t>
        <a:bodyPr/>
        <a:lstStyle/>
        <a:p>
          <a:r>
            <a:rPr lang="es-ES_tradnl" sz="1600" b="1" dirty="0" smtClean="0">
              <a:latin typeface="Arial" pitchFamily="34" charset="0"/>
              <a:cs typeface="Arial" pitchFamily="34" charset="0"/>
            </a:rPr>
            <a:t>Mejora en los servicios</a:t>
          </a:r>
          <a:endParaRPr lang="es-ES" sz="1600" b="1" dirty="0">
            <a:latin typeface="Arial" pitchFamily="34" charset="0"/>
            <a:cs typeface="Arial" pitchFamily="34" charset="0"/>
          </a:endParaRPr>
        </a:p>
      </dgm:t>
    </dgm:pt>
    <dgm:pt modelId="{3BF0C947-5956-4D46-9954-2EE6C740B629}" type="parTrans" cxnId="{34EF533C-EB1F-437C-AF4D-C8A0296D1442}">
      <dgm:prSet/>
      <dgm:spPr/>
      <dgm:t>
        <a:bodyPr/>
        <a:lstStyle/>
        <a:p>
          <a:endParaRPr lang="es-ES" sz="2000"/>
        </a:p>
      </dgm:t>
    </dgm:pt>
    <dgm:pt modelId="{4B9544F1-76B7-49AA-933C-5AAAE797C590}" type="sibTrans" cxnId="{34EF533C-EB1F-437C-AF4D-C8A0296D1442}">
      <dgm:prSet/>
      <dgm:spPr/>
      <dgm:t>
        <a:bodyPr/>
        <a:lstStyle/>
        <a:p>
          <a:endParaRPr lang="es-ES" sz="2000"/>
        </a:p>
      </dgm:t>
    </dgm:pt>
    <dgm:pt modelId="{875B1C03-3A07-478E-97DD-A4DCFF324AA2}">
      <dgm:prSet phldrT="[Texto]" custT="1"/>
      <dgm:spPr>
        <a:solidFill>
          <a:schemeClr val="tx2">
            <a:lumMod val="75000"/>
          </a:schemeClr>
        </a:solidFill>
        <a:ln w="41275">
          <a:solidFill>
            <a:schemeClr val="tx1"/>
          </a:solidFill>
        </a:ln>
      </dgm:spPr>
      <dgm:t>
        <a:bodyPr/>
        <a:lstStyle/>
        <a:p>
          <a:r>
            <a:rPr lang="es-ES_tradnl" sz="1400" b="1" dirty="0" smtClean="0">
              <a:latin typeface="Arial" pitchFamily="34" charset="0"/>
              <a:cs typeface="Arial" pitchFamily="34" charset="0"/>
            </a:rPr>
            <a:t>Eficiencia</a:t>
          </a:r>
          <a:endParaRPr lang="es-ES" sz="1400" b="1" dirty="0">
            <a:latin typeface="Arial" pitchFamily="34" charset="0"/>
            <a:cs typeface="Arial" pitchFamily="34" charset="0"/>
          </a:endParaRPr>
        </a:p>
      </dgm:t>
    </dgm:pt>
    <dgm:pt modelId="{29AC2A64-2588-4CB6-B100-246532EB2136}" type="parTrans" cxnId="{C4E31358-A7F0-4FF4-9A5A-4398596FB166}">
      <dgm:prSet/>
      <dgm:spPr/>
      <dgm:t>
        <a:bodyPr/>
        <a:lstStyle/>
        <a:p>
          <a:endParaRPr lang="es-ES" sz="2000"/>
        </a:p>
      </dgm:t>
    </dgm:pt>
    <dgm:pt modelId="{66ABFAA8-3F2D-43C1-AEF1-AC90328F0EA3}" type="sibTrans" cxnId="{C4E31358-A7F0-4FF4-9A5A-4398596FB166}">
      <dgm:prSet/>
      <dgm:spPr/>
      <dgm:t>
        <a:bodyPr/>
        <a:lstStyle/>
        <a:p>
          <a:endParaRPr lang="es-ES" sz="2000"/>
        </a:p>
      </dgm:t>
    </dgm:pt>
    <dgm:pt modelId="{22692828-5692-469C-A345-65819858171A}">
      <dgm:prSet phldrT="[Texto]" custT="1"/>
      <dgm:spPr>
        <a:solidFill>
          <a:schemeClr val="accent1"/>
        </a:solidFill>
        <a:ln w="41275">
          <a:solidFill>
            <a:schemeClr val="tx1"/>
          </a:solidFill>
        </a:ln>
      </dgm:spPr>
      <dgm:t>
        <a:bodyPr/>
        <a:lstStyle/>
        <a:p>
          <a:r>
            <a:rPr lang="es-ES_tradnl" sz="1050" b="1" dirty="0" smtClean="0">
              <a:solidFill>
                <a:schemeClr val="bg1">
                  <a:lumMod val="75000"/>
                </a:schemeClr>
              </a:solidFill>
              <a:latin typeface="Arial" pitchFamily="34" charset="0"/>
              <a:cs typeface="Arial" pitchFamily="34" charset="0"/>
            </a:rPr>
            <a:t>Sostenibilidad</a:t>
          </a:r>
          <a:endParaRPr lang="es-ES" sz="1050" b="1" dirty="0">
            <a:solidFill>
              <a:schemeClr val="bg1">
                <a:lumMod val="75000"/>
              </a:schemeClr>
            </a:solidFill>
            <a:latin typeface="Arial" pitchFamily="34" charset="0"/>
            <a:cs typeface="Arial" pitchFamily="34" charset="0"/>
          </a:endParaRPr>
        </a:p>
      </dgm:t>
    </dgm:pt>
    <dgm:pt modelId="{5A264373-F171-4B6E-8FAB-EC6AE19A5E90}" type="parTrans" cxnId="{74587049-E7FC-418A-89DE-BD4AEC3B7BA0}">
      <dgm:prSet/>
      <dgm:spPr/>
      <dgm:t>
        <a:bodyPr/>
        <a:lstStyle/>
        <a:p>
          <a:endParaRPr lang="es-ES" sz="2000"/>
        </a:p>
      </dgm:t>
    </dgm:pt>
    <dgm:pt modelId="{25F98787-6645-4D49-90A2-3E1C45975681}" type="sibTrans" cxnId="{74587049-E7FC-418A-89DE-BD4AEC3B7BA0}">
      <dgm:prSet/>
      <dgm:spPr/>
      <dgm:t>
        <a:bodyPr/>
        <a:lstStyle/>
        <a:p>
          <a:endParaRPr lang="es-ES" sz="2000"/>
        </a:p>
      </dgm:t>
    </dgm:pt>
    <dgm:pt modelId="{BFFD768F-B284-4243-ABDF-CDEEE05791F5}" type="pres">
      <dgm:prSet presAssocID="{4D9FEDC9-0369-4332-8A0F-65F7BDBA7553}" presName="composite" presStyleCnt="0">
        <dgm:presLayoutVars>
          <dgm:chMax val="3"/>
          <dgm:animLvl val="lvl"/>
          <dgm:resizeHandles val="exact"/>
        </dgm:presLayoutVars>
      </dgm:prSet>
      <dgm:spPr/>
      <dgm:t>
        <a:bodyPr/>
        <a:lstStyle/>
        <a:p>
          <a:endParaRPr lang="es-ES"/>
        </a:p>
      </dgm:t>
    </dgm:pt>
    <dgm:pt modelId="{20177C6D-B897-4792-9FEE-53A6E75F2D3B}" type="pres">
      <dgm:prSet presAssocID="{80EB2883-DE6F-4F22-A03D-7BB70B9E2EC7}" presName="gear1" presStyleLbl="node1" presStyleIdx="0" presStyleCnt="3">
        <dgm:presLayoutVars>
          <dgm:chMax val="1"/>
          <dgm:bulletEnabled val="1"/>
        </dgm:presLayoutVars>
      </dgm:prSet>
      <dgm:spPr/>
      <dgm:t>
        <a:bodyPr/>
        <a:lstStyle/>
        <a:p>
          <a:endParaRPr lang="es-ES"/>
        </a:p>
      </dgm:t>
    </dgm:pt>
    <dgm:pt modelId="{DD808880-FB2B-461C-8B6A-891036D10C5D}" type="pres">
      <dgm:prSet presAssocID="{80EB2883-DE6F-4F22-A03D-7BB70B9E2EC7}" presName="gear1srcNode" presStyleLbl="node1" presStyleIdx="0" presStyleCnt="3"/>
      <dgm:spPr/>
      <dgm:t>
        <a:bodyPr/>
        <a:lstStyle/>
        <a:p>
          <a:endParaRPr lang="es-ES"/>
        </a:p>
      </dgm:t>
    </dgm:pt>
    <dgm:pt modelId="{EEDD0033-4FBF-4DFF-9D84-AF6193AD1834}" type="pres">
      <dgm:prSet presAssocID="{80EB2883-DE6F-4F22-A03D-7BB70B9E2EC7}" presName="gear1dstNode" presStyleLbl="node1" presStyleIdx="0" presStyleCnt="3"/>
      <dgm:spPr/>
      <dgm:t>
        <a:bodyPr/>
        <a:lstStyle/>
        <a:p>
          <a:endParaRPr lang="es-ES"/>
        </a:p>
      </dgm:t>
    </dgm:pt>
    <dgm:pt modelId="{DE688E8D-0EDB-43A9-A758-F23566852B22}" type="pres">
      <dgm:prSet presAssocID="{875B1C03-3A07-478E-97DD-A4DCFF324AA2}" presName="gear2" presStyleLbl="node1" presStyleIdx="1" presStyleCnt="3" custScaleX="104792" custScaleY="108239">
        <dgm:presLayoutVars>
          <dgm:chMax val="1"/>
          <dgm:bulletEnabled val="1"/>
        </dgm:presLayoutVars>
      </dgm:prSet>
      <dgm:spPr/>
      <dgm:t>
        <a:bodyPr/>
        <a:lstStyle/>
        <a:p>
          <a:endParaRPr lang="es-ES"/>
        </a:p>
      </dgm:t>
    </dgm:pt>
    <dgm:pt modelId="{B6F96170-9293-47A1-BD84-275ECB079CD4}" type="pres">
      <dgm:prSet presAssocID="{875B1C03-3A07-478E-97DD-A4DCFF324AA2}" presName="gear2srcNode" presStyleLbl="node1" presStyleIdx="1" presStyleCnt="3"/>
      <dgm:spPr/>
      <dgm:t>
        <a:bodyPr/>
        <a:lstStyle/>
        <a:p>
          <a:endParaRPr lang="es-ES"/>
        </a:p>
      </dgm:t>
    </dgm:pt>
    <dgm:pt modelId="{3193BDA1-2526-4752-8429-CE2B75CD11D9}" type="pres">
      <dgm:prSet presAssocID="{875B1C03-3A07-478E-97DD-A4DCFF324AA2}" presName="gear2dstNode" presStyleLbl="node1" presStyleIdx="1" presStyleCnt="3"/>
      <dgm:spPr/>
      <dgm:t>
        <a:bodyPr/>
        <a:lstStyle/>
        <a:p>
          <a:endParaRPr lang="es-ES"/>
        </a:p>
      </dgm:t>
    </dgm:pt>
    <dgm:pt modelId="{1F2C01CD-F52B-4CF2-99A6-A81F75BB779B}" type="pres">
      <dgm:prSet presAssocID="{22692828-5692-469C-A345-65819858171A}" presName="gear3" presStyleLbl="node1" presStyleIdx="2" presStyleCnt="3"/>
      <dgm:spPr/>
      <dgm:t>
        <a:bodyPr/>
        <a:lstStyle/>
        <a:p>
          <a:endParaRPr lang="es-ES"/>
        </a:p>
      </dgm:t>
    </dgm:pt>
    <dgm:pt modelId="{04B1E990-D26D-4502-85F3-D1108BE57D1B}" type="pres">
      <dgm:prSet presAssocID="{22692828-5692-469C-A345-65819858171A}" presName="gear3tx" presStyleLbl="node1" presStyleIdx="2" presStyleCnt="3">
        <dgm:presLayoutVars>
          <dgm:chMax val="1"/>
          <dgm:bulletEnabled val="1"/>
        </dgm:presLayoutVars>
      </dgm:prSet>
      <dgm:spPr/>
      <dgm:t>
        <a:bodyPr/>
        <a:lstStyle/>
        <a:p>
          <a:endParaRPr lang="es-ES"/>
        </a:p>
      </dgm:t>
    </dgm:pt>
    <dgm:pt modelId="{453264F5-A1C0-4535-8B9F-85A8C211AC3E}" type="pres">
      <dgm:prSet presAssocID="{22692828-5692-469C-A345-65819858171A}" presName="gear3srcNode" presStyleLbl="node1" presStyleIdx="2" presStyleCnt="3"/>
      <dgm:spPr/>
      <dgm:t>
        <a:bodyPr/>
        <a:lstStyle/>
        <a:p>
          <a:endParaRPr lang="es-ES"/>
        </a:p>
      </dgm:t>
    </dgm:pt>
    <dgm:pt modelId="{E47B65EF-023E-4DD2-8989-26146308B026}" type="pres">
      <dgm:prSet presAssocID="{22692828-5692-469C-A345-65819858171A}" presName="gear3dstNode" presStyleLbl="node1" presStyleIdx="2" presStyleCnt="3"/>
      <dgm:spPr/>
      <dgm:t>
        <a:bodyPr/>
        <a:lstStyle/>
        <a:p>
          <a:endParaRPr lang="es-ES"/>
        </a:p>
      </dgm:t>
    </dgm:pt>
    <dgm:pt modelId="{5B7420D3-FB8D-4A43-8460-D4F7BCF3BA8A}" type="pres">
      <dgm:prSet presAssocID="{4B9544F1-76B7-49AA-933C-5AAAE797C590}" presName="connector1" presStyleLbl="sibTrans2D1" presStyleIdx="0" presStyleCnt="3"/>
      <dgm:spPr/>
      <dgm:t>
        <a:bodyPr/>
        <a:lstStyle/>
        <a:p>
          <a:endParaRPr lang="es-ES"/>
        </a:p>
      </dgm:t>
    </dgm:pt>
    <dgm:pt modelId="{9CE721BD-D724-4F24-9F2D-BB8A2C002BA5}" type="pres">
      <dgm:prSet presAssocID="{66ABFAA8-3F2D-43C1-AEF1-AC90328F0EA3}" presName="connector2" presStyleLbl="sibTrans2D1" presStyleIdx="1" presStyleCnt="3"/>
      <dgm:spPr/>
      <dgm:t>
        <a:bodyPr/>
        <a:lstStyle/>
        <a:p>
          <a:endParaRPr lang="es-ES"/>
        </a:p>
      </dgm:t>
    </dgm:pt>
    <dgm:pt modelId="{0791C041-1914-4DA8-8449-43D4D24F9634}" type="pres">
      <dgm:prSet presAssocID="{25F98787-6645-4D49-90A2-3E1C45975681}" presName="connector3" presStyleLbl="sibTrans2D1" presStyleIdx="2" presStyleCnt="3"/>
      <dgm:spPr/>
      <dgm:t>
        <a:bodyPr/>
        <a:lstStyle/>
        <a:p>
          <a:endParaRPr lang="es-ES"/>
        </a:p>
      </dgm:t>
    </dgm:pt>
  </dgm:ptLst>
  <dgm:cxnLst>
    <dgm:cxn modelId="{74587049-E7FC-418A-89DE-BD4AEC3B7BA0}" srcId="{4D9FEDC9-0369-4332-8A0F-65F7BDBA7553}" destId="{22692828-5692-469C-A345-65819858171A}" srcOrd="2" destOrd="0" parTransId="{5A264373-F171-4B6E-8FAB-EC6AE19A5E90}" sibTransId="{25F98787-6645-4D49-90A2-3E1C45975681}"/>
    <dgm:cxn modelId="{0D2A7790-1B7D-4ECE-A7B0-DAED8DF19C9C}" type="presOf" srcId="{66ABFAA8-3F2D-43C1-AEF1-AC90328F0EA3}" destId="{9CE721BD-D724-4F24-9F2D-BB8A2C002BA5}" srcOrd="0" destOrd="0" presId="urn:microsoft.com/office/officeart/2005/8/layout/gear1"/>
    <dgm:cxn modelId="{897044EF-8932-4480-84CC-D15AB4735C5B}" type="presOf" srcId="{4D9FEDC9-0369-4332-8A0F-65F7BDBA7553}" destId="{BFFD768F-B284-4243-ABDF-CDEEE05791F5}" srcOrd="0" destOrd="0" presId="urn:microsoft.com/office/officeart/2005/8/layout/gear1"/>
    <dgm:cxn modelId="{ADFAFF1C-2711-4606-91B9-F1B4312354C9}" type="presOf" srcId="{4B9544F1-76B7-49AA-933C-5AAAE797C590}" destId="{5B7420D3-FB8D-4A43-8460-D4F7BCF3BA8A}" srcOrd="0" destOrd="0" presId="urn:microsoft.com/office/officeart/2005/8/layout/gear1"/>
    <dgm:cxn modelId="{4B7A802E-AE9F-4283-9399-282595C02179}" type="presOf" srcId="{80EB2883-DE6F-4F22-A03D-7BB70B9E2EC7}" destId="{20177C6D-B897-4792-9FEE-53A6E75F2D3B}" srcOrd="0" destOrd="0" presId="urn:microsoft.com/office/officeart/2005/8/layout/gear1"/>
    <dgm:cxn modelId="{3A5E73DB-D6C8-4AD1-8A95-97D2E7536575}" type="presOf" srcId="{875B1C03-3A07-478E-97DD-A4DCFF324AA2}" destId="{3193BDA1-2526-4752-8429-CE2B75CD11D9}" srcOrd="2" destOrd="0" presId="urn:microsoft.com/office/officeart/2005/8/layout/gear1"/>
    <dgm:cxn modelId="{4CEC7B7F-7A71-4716-9314-30D27392B25E}" type="presOf" srcId="{80EB2883-DE6F-4F22-A03D-7BB70B9E2EC7}" destId="{DD808880-FB2B-461C-8B6A-891036D10C5D}" srcOrd="1" destOrd="0" presId="urn:microsoft.com/office/officeart/2005/8/layout/gear1"/>
    <dgm:cxn modelId="{6CA42563-65F3-4CFB-876D-AB2267A4EE90}" type="presOf" srcId="{22692828-5692-469C-A345-65819858171A}" destId="{04B1E990-D26D-4502-85F3-D1108BE57D1B}" srcOrd="1" destOrd="0" presId="urn:microsoft.com/office/officeart/2005/8/layout/gear1"/>
    <dgm:cxn modelId="{C4577606-B00A-47CB-82AB-D6D30AA720B2}" type="presOf" srcId="{22692828-5692-469C-A345-65819858171A}" destId="{453264F5-A1C0-4535-8B9F-85A8C211AC3E}" srcOrd="2" destOrd="0" presId="urn:microsoft.com/office/officeart/2005/8/layout/gear1"/>
    <dgm:cxn modelId="{3F6E69AA-4CDC-4CA1-B9F2-66E8095D40FD}" type="presOf" srcId="{875B1C03-3A07-478E-97DD-A4DCFF324AA2}" destId="{DE688E8D-0EDB-43A9-A758-F23566852B22}" srcOrd="0" destOrd="0" presId="urn:microsoft.com/office/officeart/2005/8/layout/gear1"/>
    <dgm:cxn modelId="{3DAB9A5A-56EE-4278-A08E-57651D1B88CD}" type="presOf" srcId="{22692828-5692-469C-A345-65819858171A}" destId="{E47B65EF-023E-4DD2-8989-26146308B026}" srcOrd="3" destOrd="0" presId="urn:microsoft.com/office/officeart/2005/8/layout/gear1"/>
    <dgm:cxn modelId="{A0402103-8AD6-4508-A0F5-A43426927C49}" type="presOf" srcId="{25F98787-6645-4D49-90A2-3E1C45975681}" destId="{0791C041-1914-4DA8-8449-43D4D24F9634}" srcOrd="0" destOrd="0" presId="urn:microsoft.com/office/officeart/2005/8/layout/gear1"/>
    <dgm:cxn modelId="{2E430EA6-DD40-42B7-B8D5-B7A054BCB6EC}" type="presOf" srcId="{22692828-5692-469C-A345-65819858171A}" destId="{1F2C01CD-F52B-4CF2-99A6-A81F75BB779B}" srcOrd="0" destOrd="0" presId="urn:microsoft.com/office/officeart/2005/8/layout/gear1"/>
    <dgm:cxn modelId="{34EF533C-EB1F-437C-AF4D-C8A0296D1442}" srcId="{4D9FEDC9-0369-4332-8A0F-65F7BDBA7553}" destId="{80EB2883-DE6F-4F22-A03D-7BB70B9E2EC7}" srcOrd="0" destOrd="0" parTransId="{3BF0C947-5956-4D46-9954-2EE6C740B629}" sibTransId="{4B9544F1-76B7-49AA-933C-5AAAE797C590}"/>
    <dgm:cxn modelId="{0BD34158-2BCA-4A6F-8595-50BC0B227928}" type="presOf" srcId="{80EB2883-DE6F-4F22-A03D-7BB70B9E2EC7}" destId="{EEDD0033-4FBF-4DFF-9D84-AF6193AD1834}" srcOrd="2" destOrd="0" presId="urn:microsoft.com/office/officeart/2005/8/layout/gear1"/>
    <dgm:cxn modelId="{C4E31358-A7F0-4FF4-9A5A-4398596FB166}" srcId="{4D9FEDC9-0369-4332-8A0F-65F7BDBA7553}" destId="{875B1C03-3A07-478E-97DD-A4DCFF324AA2}" srcOrd="1" destOrd="0" parTransId="{29AC2A64-2588-4CB6-B100-246532EB2136}" sibTransId="{66ABFAA8-3F2D-43C1-AEF1-AC90328F0EA3}"/>
    <dgm:cxn modelId="{7622DC0C-3361-4B20-9856-2F18BF9D8472}" type="presOf" srcId="{875B1C03-3A07-478E-97DD-A4DCFF324AA2}" destId="{B6F96170-9293-47A1-BD84-275ECB079CD4}" srcOrd="1" destOrd="0" presId="urn:microsoft.com/office/officeart/2005/8/layout/gear1"/>
    <dgm:cxn modelId="{5E232B30-1130-4644-BA68-8A886A4C3C56}" type="presParOf" srcId="{BFFD768F-B284-4243-ABDF-CDEEE05791F5}" destId="{20177C6D-B897-4792-9FEE-53A6E75F2D3B}" srcOrd="0" destOrd="0" presId="urn:microsoft.com/office/officeart/2005/8/layout/gear1"/>
    <dgm:cxn modelId="{F273DE82-CCCA-452B-8970-BF50F5B39248}" type="presParOf" srcId="{BFFD768F-B284-4243-ABDF-CDEEE05791F5}" destId="{DD808880-FB2B-461C-8B6A-891036D10C5D}" srcOrd="1" destOrd="0" presId="urn:microsoft.com/office/officeart/2005/8/layout/gear1"/>
    <dgm:cxn modelId="{3ACC9CA6-8279-4887-BBC2-5E8C618CD6AC}" type="presParOf" srcId="{BFFD768F-B284-4243-ABDF-CDEEE05791F5}" destId="{EEDD0033-4FBF-4DFF-9D84-AF6193AD1834}" srcOrd="2" destOrd="0" presId="urn:microsoft.com/office/officeart/2005/8/layout/gear1"/>
    <dgm:cxn modelId="{7BF96868-F010-4A67-BB69-FE9672462989}" type="presParOf" srcId="{BFFD768F-B284-4243-ABDF-CDEEE05791F5}" destId="{DE688E8D-0EDB-43A9-A758-F23566852B22}" srcOrd="3" destOrd="0" presId="urn:microsoft.com/office/officeart/2005/8/layout/gear1"/>
    <dgm:cxn modelId="{89FAAF2B-5B9F-4C03-9315-FF8E9D1307F4}" type="presParOf" srcId="{BFFD768F-B284-4243-ABDF-CDEEE05791F5}" destId="{B6F96170-9293-47A1-BD84-275ECB079CD4}" srcOrd="4" destOrd="0" presId="urn:microsoft.com/office/officeart/2005/8/layout/gear1"/>
    <dgm:cxn modelId="{AB5DA213-2B07-4DED-B064-47FF9DFB3A3C}" type="presParOf" srcId="{BFFD768F-B284-4243-ABDF-CDEEE05791F5}" destId="{3193BDA1-2526-4752-8429-CE2B75CD11D9}" srcOrd="5" destOrd="0" presId="urn:microsoft.com/office/officeart/2005/8/layout/gear1"/>
    <dgm:cxn modelId="{0F6A8774-9A61-4BEB-8081-B13A52C32ADE}" type="presParOf" srcId="{BFFD768F-B284-4243-ABDF-CDEEE05791F5}" destId="{1F2C01CD-F52B-4CF2-99A6-A81F75BB779B}" srcOrd="6" destOrd="0" presId="urn:microsoft.com/office/officeart/2005/8/layout/gear1"/>
    <dgm:cxn modelId="{D4DF96B4-C323-46A0-B0D1-E111FF1D2234}" type="presParOf" srcId="{BFFD768F-B284-4243-ABDF-CDEEE05791F5}" destId="{04B1E990-D26D-4502-85F3-D1108BE57D1B}" srcOrd="7" destOrd="0" presId="urn:microsoft.com/office/officeart/2005/8/layout/gear1"/>
    <dgm:cxn modelId="{5A087877-4D1B-4433-9545-A1ED73324410}" type="presParOf" srcId="{BFFD768F-B284-4243-ABDF-CDEEE05791F5}" destId="{453264F5-A1C0-4535-8B9F-85A8C211AC3E}" srcOrd="8" destOrd="0" presId="urn:microsoft.com/office/officeart/2005/8/layout/gear1"/>
    <dgm:cxn modelId="{29C04090-3132-4E93-8F14-2FF2D788B326}" type="presParOf" srcId="{BFFD768F-B284-4243-ABDF-CDEEE05791F5}" destId="{E47B65EF-023E-4DD2-8989-26146308B026}" srcOrd="9" destOrd="0" presId="urn:microsoft.com/office/officeart/2005/8/layout/gear1"/>
    <dgm:cxn modelId="{699CB84D-60BE-47D9-A9C6-2EC3CDEB7BB7}" type="presParOf" srcId="{BFFD768F-B284-4243-ABDF-CDEEE05791F5}" destId="{5B7420D3-FB8D-4A43-8460-D4F7BCF3BA8A}" srcOrd="10" destOrd="0" presId="urn:microsoft.com/office/officeart/2005/8/layout/gear1"/>
    <dgm:cxn modelId="{EAE64185-930B-4831-B351-E3B741F6D817}" type="presParOf" srcId="{BFFD768F-B284-4243-ABDF-CDEEE05791F5}" destId="{9CE721BD-D724-4F24-9F2D-BB8A2C002BA5}" srcOrd="11" destOrd="0" presId="urn:microsoft.com/office/officeart/2005/8/layout/gear1"/>
    <dgm:cxn modelId="{2DB87299-D261-4C80-938F-50C2A48D0E97}" type="presParOf" srcId="{BFFD768F-B284-4243-ABDF-CDEEE05791F5}" destId="{0791C041-1914-4DA8-8449-43D4D24F9634}" srcOrd="12" destOrd="0" presId="urn:microsoft.com/office/officeart/2005/8/layout/gear1"/>
  </dgm:cxnLst>
  <dgm:bg/>
  <dgm:whole>
    <a:ln>
      <a:noFill/>
    </a:ln>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20177C6D-B897-4792-9FEE-53A6E75F2D3B}">
      <dsp:nvSpPr>
        <dsp:cNvPr id="0" name=""/>
        <dsp:cNvSpPr/>
      </dsp:nvSpPr>
      <dsp:spPr>
        <a:xfrm>
          <a:off x="3011422" y="1936274"/>
          <a:ext cx="2366558" cy="2366558"/>
        </a:xfrm>
        <a:prstGeom prst="gear9">
          <a:avLst/>
        </a:prstGeom>
        <a:solidFill>
          <a:schemeClr val="accent1">
            <a:lumMod val="75000"/>
          </a:schemeClr>
        </a:solidFill>
        <a:ln w="41275"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s-ES_tradnl" sz="1600" b="1" kern="1200" dirty="0" smtClean="0">
              <a:latin typeface="Arial" pitchFamily="34" charset="0"/>
              <a:cs typeface="Arial" pitchFamily="34" charset="0"/>
            </a:rPr>
            <a:t>Mejora en los servicios</a:t>
          </a:r>
          <a:endParaRPr lang="es-ES" sz="1600" b="1" kern="1200" dirty="0">
            <a:latin typeface="Arial" pitchFamily="34" charset="0"/>
            <a:cs typeface="Arial" pitchFamily="34" charset="0"/>
          </a:endParaRPr>
        </a:p>
      </dsp:txBody>
      <dsp:txXfrm>
        <a:off x="3011422" y="1936274"/>
        <a:ext cx="2366558" cy="2366558"/>
      </dsp:txXfrm>
    </dsp:sp>
    <dsp:sp modelId="{DE688E8D-0EDB-43A9-A758-F23566852B22}">
      <dsp:nvSpPr>
        <dsp:cNvPr id="0" name=""/>
        <dsp:cNvSpPr/>
      </dsp:nvSpPr>
      <dsp:spPr>
        <a:xfrm>
          <a:off x="1593277" y="1306004"/>
          <a:ext cx="1803609" cy="1862937"/>
        </a:xfrm>
        <a:prstGeom prst="gear6">
          <a:avLst/>
        </a:prstGeom>
        <a:solidFill>
          <a:schemeClr val="tx2">
            <a:lumMod val="75000"/>
          </a:schemeClr>
        </a:solidFill>
        <a:ln w="41275"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s-ES_tradnl" sz="1400" b="1" kern="1200" dirty="0" smtClean="0">
              <a:latin typeface="Arial" pitchFamily="34" charset="0"/>
              <a:cs typeface="Arial" pitchFamily="34" charset="0"/>
            </a:rPr>
            <a:t>Eficiencia</a:t>
          </a:r>
          <a:endParaRPr lang="es-ES" sz="1400" b="1" kern="1200" dirty="0">
            <a:latin typeface="Arial" pitchFamily="34" charset="0"/>
            <a:cs typeface="Arial" pitchFamily="34" charset="0"/>
          </a:endParaRPr>
        </a:p>
      </dsp:txBody>
      <dsp:txXfrm>
        <a:off x="1593277" y="1306004"/>
        <a:ext cx="1803609" cy="1862937"/>
      </dsp:txXfrm>
    </dsp:sp>
    <dsp:sp modelId="{1F2C01CD-F52B-4CF2-99A6-A81F75BB779B}">
      <dsp:nvSpPr>
        <dsp:cNvPr id="0" name=""/>
        <dsp:cNvSpPr/>
      </dsp:nvSpPr>
      <dsp:spPr>
        <a:xfrm rot="20700000">
          <a:off x="2598526" y="189500"/>
          <a:ext cx="1686359" cy="1686359"/>
        </a:xfrm>
        <a:prstGeom prst="gear6">
          <a:avLst/>
        </a:prstGeom>
        <a:solidFill>
          <a:schemeClr val="accent1"/>
        </a:solidFill>
        <a:ln w="41275"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es-ES_tradnl" sz="1050" b="1" kern="1200" dirty="0" smtClean="0">
              <a:solidFill>
                <a:schemeClr val="bg1">
                  <a:lumMod val="75000"/>
                </a:schemeClr>
              </a:solidFill>
              <a:latin typeface="Arial" pitchFamily="34" charset="0"/>
              <a:cs typeface="Arial" pitchFamily="34" charset="0"/>
            </a:rPr>
            <a:t>Sostenibilidad</a:t>
          </a:r>
          <a:endParaRPr lang="es-ES" sz="1050" b="1" kern="1200" dirty="0">
            <a:solidFill>
              <a:schemeClr val="bg1">
                <a:lumMod val="75000"/>
              </a:schemeClr>
            </a:solidFill>
            <a:latin typeface="Arial" pitchFamily="34" charset="0"/>
            <a:cs typeface="Arial" pitchFamily="34" charset="0"/>
          </a:endParaRPr>
        </a:p>
      </dsp:txBody>
      <dsp:txXfrm>
        <a:off x="2968394" y="559368"/>
        <a:ext cx="946623" cy="946623"/>
      </dsp:txXfrm>
    </dsp:sp>
    <dsp:sp modelId="{5B7420D3-FB8D-4A43-8460-D4F7BCF3BA8A}">
      <dsp:nvSpPr>
        <dsp:cNvPr id="0" name=""/>
        <dsp:cNvSpPr/>
      </dsp:nvSpPr>
      <dsp:spPr>
        <a:xfrm>
          <a:off x="2830640" y="1578488"/>
          <a:ext cx="3029194" cy="3029194"/>
        </a:xfrm>
        <a:prstGeom prst="circularArrow">
          <a:avLst>
            <a:gd name="adj1" fmla="val 4687"/>
            <a:gd name="adj2" fmla="val 299029"/>
            <a:gd name="adj3" fmla="val 2518752"/>
            <a:gd name="adj4" fmla="val 15855717"/>
            <a:gd name="adj5" fmla="val 5469"/>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CE721BD-D724-4F24-9F2D-BB8A2C002BA5}">
      <dsp:nvSpPr>
        <dsp:cNvPr id="0" name=""/>
        <dsp:cNvSpPr/>
      </dsp:nvSpPr>
      <dsp:spPr>
        <a:xfrm>
          <a:off x="1329706" y="995619"/>
          <a:ext cx="2200899" cy="2200899"/>
        </a:xfrm>
        <a:prstGeom prst="leftCircularArrow">
          <a:avLst>
            <a:gd name="adj1" fmla="val 6452"/>
            <a:gd name="adj2" fmla="val 429999"/>
            <a:gd name="adj3" fmla="val 10489124"/>
            <a:gd name="adj4" fmla="val 14837806"/>
            <a:gd name="adj5" fmla="val 7527"/>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791C041-1914-4DA8-8449-43D4D24F9634}">
      <dsp:nvSpPr>
        <dsp:cNvPr id="0" name=""/>
        <dsp:cNvSpPr/>
      </dsp:nvSpPr>
      <dsp:spPr>
        <a:xfrm>
          <a:off x="2208453" y="-180341"/>
          <a:ext cx="2373012" cy="2373012"/>
        </a:xfrm>
        <a:prstGeom prst="circularArrow">
          <a:avLst>
            <a:gd name="adj1" fmla="val 5984"/>
            <a:gd name="adj2" fmla="val 394124"/>
            <a:gd name="adj3" fmla="val 13313824"/>
            <a:gd name="adj4" fmla="val 10508221"/>
            <a:gd name="adj5" fmla="val 6981"/>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3">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ES"/>
          </a:p>
        </p:txBody>
      </p:sp>
      <p:sp>
        <p:nvSpPr>
          <p:cNvPr id="3" name="2 Marcador de fecha"/>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DAE599B-5BDE-40A8-96DD-7F05EEAD49E0}" type="datetimeFigureOut">
              <a:rPr lang="es-ES" smtClean="0"/>
              <a:pPr/>
              <a:t>15/04/2013</a:t>
            </a:fld>
            <a:endParaRPr lang="es-ES"/>
          </a:p>
        </p:txBody>
      </p:sp>
      <p:sp>
        <p:nvSpPr>
          <p:cNvPr id="4" name="3 Marcador de imagen de diapositiva"/>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s-ES"/>
          </a:p>
        </p:txBody>
      </p:sp>
      <p:sp>
        <p:nvSpPr>
          <p:cNvPr id="5" name="4 Marcador de notas"/>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6" name="5 Marcador de pie de página"/>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ES"/>
          </a:p>
        </p:txBody>
      </p:sp>
      <p:sp>
        <p:nvSpPr>
          <p:cNvPr id="7" name="6 Marcador de número de diapositiva"/>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7BCF17F-467E-414F-BD26-AF3563571558}" type="slidenum">
              <a:rPr lang="es-ES" smtClean="0"/>
              <a:pPr/>
              <a:t>‹#›</a:t>
            </a:fld>
            <a:endParaRPr lang="es-ES"/>
          </a:p>
        </p:txBody>
      </p:sp>
    </p:spTree>
    <p:extLst>
      <p:ext uri="{BB962C8B-B14F-4D97-AF65-F5344CB8AC3E}">
        <p14:creationId xmlns:p14="http://schemas.microsoft.com/office/powerpoint/2010/main" xmlns="" val="33188252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p:cNvSpPr>
            <a:spLocks noGrp="1" noRot="1" noChangeAspect="1" noTextEdit="1"/>
          </p:cNvSpPr>
          <p:nvPr>
            <p:ph type="sldImg"/>
          </p:nvPr>
        </p:nvSpPr>
        <p:spPr>
          <a:ln/>
        </p:spPr>
      </p:sp>
      <p:sp>
        <p:nvSpPr>
          <p:cNvPr id="74755" name="Rectangle 3"/>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s-ES_tradnl"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n-US"/>
          </a:p>
        </p:txBody>
      </p:sp>
      <p:sp>
        <p:nvSpPr>
          <p:cNvPr id="4" name="3 Marcador de número de diapositiva"/>
          <p:cNvSpPr>
            <a:spLocks noGrp="1"/>
          </p:cNvSpPr>
          <p:nvPr>
            <p:ph type="sldNum" sz="quarter" idx="10"/>
          </p:nvPr>
        </p:nvSpPr>
        <p:spPr/>
        <p:txBody>
          <a:bodyPr/>
          <a:lstStyle/>
          <a:p>
            <a:pPr>
              <a:defRPr/>
            </a:pPr>
            <a:fld id="{8316CDD4-9E44-48A7-9175-10F8F9636FB6}" type="slidenum">
              <a:rPr lang="en-GB" smtClean="0"/>
              <a:pPr>
                <a:defRPr/>
              </a:pPr>
              <a:t>10</a:t>
            </a:fld>
            <a:endParaRPr lang="en-GB" dirty="0"/>
          </a:p>
        </p:txBody>
      </p:sp>
    </p:spTree>
    <p:extLst>
      <p:ext uri="{BB962C8B-B14F-4D97-AF65-F5344CB8AC3E}">
        <p14:creationId xmlns:p14="http://schemas.microsoft.com/office/powerpoint/2010/main" xmlns="" val="15394467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9163">
              <a:defRPr sz="1200" b="1">
                <a:solidFill>
                  <a:schemeClr val="tx1"/>
                </a:solidFill>
                <a:latin typeface="Telefonica Text" pitchFamily="2" charset="0"/>
                <a:ea typeface="MS PGothic" pitchFamily="34" charset="-128"/>
              </a:defRPr>
            </a:lvl1pPr>
            <a:lvl2pPr marL="742950" indent="-285750" defTabSz="919163">
              <a:defRPr sz="1200" b="1">
                <a:solidFill>
                  <a:schemeClr val="tx1"/>
                </a:solidFill>
                <a:latin typeface="Telefonica Text" pitchFamily="2" charset="0"/>
                <a:ea typeface="MS PGothic" pitchFamily="34" charset="-128"/>
              </a:defRPr>
            </a:lvl2pPr>
            <a:lvl3pPr marL="1143000" indent="-228600" defTabSz="919163">
              <a:defRPr sz="1200" b="1">
                <a:solidFill>
                  <a:schemeClr val="tx1"/>
                </a:solidFill>
                <a:latin typeface="Telefonica Text" pitchFamily="2" charset="0"/>
                <a:ea typeface="MS PGothic" pitchFamily="34" charset="-128"/>
              </a:defRPr>
            </a:lvl3pPr>
            <a:lvl4pPr marL="1600200" indent="-228600" defTabSz="919163">
              <a:defRPr sz="1200" b="1">
                <a:solidFill>
                  <a:schemeClr val="tx1"/>
                </a:solidFill>
                <a:latin typeface="Telefonica Text" pitchFamily="2" charset="0"/>
                <a:ea typeface="MS PGothic" pitchFamily="34" charset="-128"/>
              </a:defRPr>
            </a:lvl4pPr>
            <a:lvl5pPr marL="2057400" indent="-228600" defTabSz="919163">
              <a:defRPr sz="1200" b="1">
                <a:solidFill>
                  <a:schemeClr val="tx1"/>
                </a:solidFill>
                <a:latin typeface="Telefonica Text" pitchFamily="2" charset="0"/>
                <a:ea typeface="MS PGothic" pitchFamily="34" charset="-128"/>
              </a:defRPr>
            </a:lvl5pPr>
            <a:lvl6pPr marL="25146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6pPr>
            <a:lvl7pPr marL="29718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7pPr>
            <a:lvl8pPr marL="34290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8pPr>
            <a:lvl9pPr marL="38862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9pPr>
          </a:lstStyle>
          <a:p>
            <a:fld id="{01943189-4B8A-4E0D-B274-5E8251274D21}" type="slidenum">
              <a:rPr lang="en-US" b="0" smtClean="0">
                <a:latin typeface="TheSansCorrespondence" pitchFamily="34" charset="0"/>
              </a:rPr>
              <a:pPr/>
              <a:t>11</a:t>
            </a:fld>
            <a:endParaRPr lang="en-US" b="0" smtClean="0">
              <a:latin typeface="TheSansCorrespondence" pitchFamily="34" charset="0"/>
            </a:endParaRPr>
          </a:p>
        </p:txBody>
      </p:sp>
      <p:sp>
        <p:nvSpPr>
          <p:cNvPr id="56323" name="Rectangle 7"/>
          <p:cNvSpPr txBox="1">
            <a:spLocks noGrp="1" noChangeArrowheads="1"/>
          </p:cNvSpPr>
          <p:nvPr/>
        </p:nvSpPr>
        <p:spPr bwMode="auto">
          <a:xfrm>
            <a:off x="3887345" y="8687751"/>
            <a:ext cx="2970656" cy="4562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2031" tIns="46017" rIns="92031" bIns="46017" anchor="b"/>
          <a:lstStyle>
            <a:lvl1pPr defTabSz="919163">
              <a:defRPr sz="1200" b="1">
                <a:solidFill>
                  <a:schemeClr val="tx1"/>
                </a:solidFill>
                <a:latin typeface="Telefonica Text" pitchFamily="2" charset="0"/>
                <a:ea typeface="MS PGothic" pitchFamily="34" charset="-128"/>
              </a:defRPr>
            </a:lvl1pPr>
            <a:lvl2pPr marL="742950" indent="-285750" defTabSz="919163">
              <a:defRPr sz="1200" b="1">
                <a:solidFill>
                  <a:schemeClr val="tx1"/>
                </a:solidFill>
                <a:latin typeface="Telefonica Text" pitchFamily="2" charset="0"/>
                <a:ea typeface="MS PGothic" pitchFamily="34" charset="-128"/>
              </a:defRPr>
            </a:lvl2pPr>
            <a:lvl3pPr marL="1143000" indent="-228600" defTabSz="919163">
              <a:defRPr sz="1200" b="1">
                <a:solidFill>
                  <a:schemeClr val="tx1"/>
                </a:solidFill>
                <a:latin typeface="Telefonica Text" pitchFamily="2" charset="0"/>
                <a:ea typeface="MS PGothic" pitchFamily="34" charset="-128"/>
              </a:defRPr>
            </a:lvl3pPr>
            <a:lvl4pPr marL="1600200" indent="-228600" defTabSz="919163">
              <a:defRPr sz="1200" b="1">
                <a:solidFill>
                  <a:schemeClr val="tx1"/>
                </a:solidFill>
                <a:latin typeface="Telefonica Text" pitchFamily="2" charset="0"/>
                <a:ea typeface="MS PGothic" pitchFamily="34" charset="-128"/>
              </a:defRPr>
            </a:lvl4pPr>
            <a:lvl5pPr marL="2057400" indent="-228600" defTabSz="919163">
              <a:defRPr sz="1200" b="1">
                <a:solidFill>
                  <a:schemeClr val="tx1"/>
                </a:solidFill>
                <a:latin typeface="Telefonica Text" pitchFamily="2" charset="0"/>
                <a:ea typeface="MS PGothic" pitchFamily="34" charset="-128"/>
              </a:defRPr>
            </a:lvl5pPr>
            <a:lvl6pPr marL="25146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6pPr>
            <a:lvl7pPr marL="29718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7pPr>
            <a:lvl8pPr marL="34290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8pPr>
            <a:lvl9pPr marL="38862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9pPr>
          </a:lstStyle>
          <a:p>
            <a:pPr algn="r"/>
            <a:fld id="{5EF1429D-2B56-4795-A767-DB52140BF8A8}" type="slidenum">
              <a:rPr lang="en-US" b="0">
                <a:latin typeface="TheSansCorrespondence" pitchFamily="34" charset="0"/>
              </a:rPr>
              <a:pPr algn="r"/>
              <a:t>11</a:t>
            </a:fld>
            <a:endParaRPr lang="en-US" b="0">
              <a:latin typeface="TheSansCorrespondence" pitchFamily="34" charset="0"/>
            </a:endParaRPr>
          </a:p>
        </p:txBody>
      </p:sp>
      <p:sp>
        <p:nvSpPr>
          <p:cNvPr id="56324" name="Rectangle 7"/>
          <p:cNvSpPr txBox="1">
            <a:spLocks noGrp="1" noChangeArrowheads="1"/>
          </p:cNvSpPr>
          <p:nvPr/>
        </p:nvSpPr>
        <p:spPr bwMode="auto">
          <a:xfrm>
            <a:off x="3887345" y="8687751"/>
            <a:ext cx="2970656" cy="4562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2031" tIns="46017" rIns="92031" bIns="46017" anchor="b"/>
          <a:lstStyle>
            <a:lvl1pPr defTabSz="919163">
              <a:defRPr sz="1200" b="1">
                <a:solidFill>
                  <a:schemeClr val="tx1"/>
                </a:solidFill>
                <a:latin typeface="Telefonica Text" pitchFamily="2" charset="0"/>
                <a:ea typeface="MS PGothic" pitchFamily="34" charset="-128"/>
              </a:defRPr>
            </a:lvl1pPr>
            <a:lvl2pPr marL="742950" indent="-285750" defTabSz="919163">
              <a:defRPr sz="1200" b="1">
                <a:solidFill>
                  <a:schemeClr val="tx1"/>
                </a:solidFill>
                <a:latin typeface="Telefonica Text" pitchFamily="2" charset="0"/>
                <a:ea typeface="MS PGothic" pitchFamily="34" charset="-128"/>
              </a:defRPr>
            </a:lvl2pPr>
            <a:lvl3pPr marL="1143000" indent="-228600" defTabSz="919163">
              <a:defRPr sz="1200" b="1">
                <a:solidFill>
                  <a:schemeClr val="tx1"/>
                </a:solidFill>
                <a:latin typeface="Telefonica Text" pitchFamily="2" charset="0"/>
                <a:ea typeface="MS PGothic" pitchFamily="34" charset="-128"/>
              </a:defRPr>
            </a:lvl3pPr>
            <a:lvl4pPr marL="1600200" indent="-228600" defTabSz="919163">
              <a:defRPr sz="1200" b="1">
                <a:solidFill>
                  <a:schemeClr val="tx1"/>
                </a:solidFill>
                <a:latin typeface="Telefonica Text" pitchFamily="2" charset="0"/>
                <a:ea typeface="MS PGothic" pitchFamily="34" charset="-128"/>
              </a:defRPr>
            </a:lvl4pPr>
            <a:lvl5pPr marL="2057400" indent="-228600" defTabSz="919163">
              <a:defRPr sz="1200" b="1">
                <a:solidFill>
                  <a:schemeClr val="tx1"/>
                </a:solidFill>
                <a:latin typeface="Telefonica Text" pitchFamily="2" charset="0"/>
                <a:ea typeface="MS PGothic" pitchFamily="34" charset="-128"/>
              </a:defRPr>
            </a:lvl5pPr>
            <a:lvl6pPr marL="25146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6pPr>
            <a:lvl7pPr marL="29718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7pPr>
            <a:lvl8pPr marL="34290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8pPr>
            <a:lvl9pPr marL="38862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9pPr>
          </a:lstStyle>
          <a:p>
            <a:pPr algn="r"/>
            <a:fld id="{BF688337-B23D-4C12-9EC1-16D1677F6940}" type="slidenum">
              <a:rPr lang="en-US" b="0">
                <a:latin typeface="TheSansCorrespondence" pitchFamily="34" charset="0"/>
              </a:rPr>
              <a:pPr algn="r"/>
              <a:t>11</a:t>
            </a:fld>
            <a:endParaRPr lang="en-US" b="0">
              <a:latin typeface="TheSansCorrespondence" pitchFamily="34" charset="0"/>
            </a:endParaRPr>
          </a:p>
        </p:txBody>
      </p:sp>
      <p:sp>
        <p:nvSpPr>
          <p:cNvPr id="56325" name="Rectangle 2"/>
          <p:cNvSpPr>
            <a:spLocks noGrp="1" noRot="1" noChangeAspect="1" noChangeArrowheads="1" noTextEdit="1"/>
          </p:cNvSpPr>
          <p:nvPr>
            <p:ph type="sldImg"/>
          </p:nvPr>
        </p:nvSpPr>
        <p:spPr>
          <a:ln/>
        </p:spPr>
      </p:sp>
      <p:sp>
        <p:nvSpPr>
          <p:cNvPr id="2" name="1 Marcador de notas"/>
          <p:cNvSpPr>
            <a:spLocks noGrp="1"/>
          </p:cNvSpPr>
          <p:nvPr>
            <p:ph type="body" sz="quarter" idx="10"/>
          </p:nvPr>
        </p:nvSpPr>
        <p:spPr/>
        <p:txBody>
          <a:bodyPr/>
          <a:lstStyle/>
          <a:p>
            <a:endParaRPr lang="es-E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7" name="Slide Image Placeholder 1"/>
          <p:cNvSpPr>
            <a:spLocks noGrp="1" noRot="1" noChangeAspect="1"/>
          </p:cNvSpPr>
          <p:nvPr>
            <p:ph type="sldImg"/>
          </p:nvPr>
        </p:nvSpPr>
        <p:spPr bwMode="auto">
          <a:noFill/>
          <a:ln>
            <a:solidFill>
              <a:srgbClr val="000000"/>
            </a:solidFill>
            <a:miter lim="800000"/>
            <a:headEnd/>
            <a:tailEnd/>
          </a:ln>
        </p:spPr>
      </p:sp>
      <p:sp>
        <p:nvSpPr>
          <p:cNvPr id="11673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10268057-64B3-4441-ADF2-571D3BAF6B71}" type="slidenum">
              <a:rPr lang="en-GB">
                <a:ea typeface="ＭＳ Ｐゴシック"/>
                <a:cs typeface="ＭＳ Ｐゴシック"/>
              </a:rPr>
              <a:pPr fontAlgn="base">
                <a:spcBef>
                  <a:spcPct val="0"/>
                </a:spcBef>
                <a:spcAft>
                  <a:spcPct val="0"/>
                </a:spcAft>
              </a:pPr>
              <a:t>12</a:t>
            </a:fld>
            <a:endParaRPr lang="en-GB" dirty="0">
              <a:ea typeface="ＭＳ Ｐゴシック"/>
              <a:cs typeface="ＭＳ Ｐゴシック"/>
            </a:endParaRPr>
          </a:p>
        </p:txBody>
      </p:sp>
      <p:sp>
        <p:nvSpPr>
          <p:cNvPr id="2" name="1 Marcador de notas"/>
          <p:cNvSpPr>
            <a:spLocks noGrp="1"/>
          </p:cNvSpPr>
          <p:nvPr>
            <p:ph type="body" sz="quarter" idx="10"/>
          </p:nvPr>
        </p:nvSpPr>
        <p:spPr/>
        <p:txBody>
          <a:bodyPr/>
          <a:lstStyle/>
          <a:p>
            <a:endParaRPr lang="es-E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7" name="Slide Image Placeholder 1"/>
          <p:cNvSpPr>
            <a:spLocks noGrp="1" noRot="1" noChangeAspect="1"/>
          </p:cNvSpPr>
          <p:nvPr>
            <p:ph type="sldImg"/>
          </p:nvPr>
        </p:nvSpPr>
        <p:spPr bwMode="auto">
          <a:noFill/>
          <a:ln>
            <a:solidFill>
              <a:srgbClr val="000000"/>
            </a:solidFill>
            <a:miter lim="800000"/>
            <a:headEnd/>
            <a:tailEnd/>
          </a:ln>
        </p:spPr>
      </p:sp>
      <p:sp>
        <p:nvSpPr>
          <p:cNvPr id="116738"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s-ES" dirty="0" smtClean="0"/>
          </a:p>
        </p:txBody>
      </p:sp>
      <p:sp>
        <p:nvSpPr>
          <p:cNvPr id="11673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10268057-64B3-4441-ADF2-571D3BAF6B71}" type="slidenum">
              <a:rPr lang="en-GB">
                <a:ea typeface="ＭＳ Ｐゴシック"/>
                <a:cs typeface="ＭＳ Ｐゴシック"/>
              </a:rPr>
              <a:pPr fontAlgn="base">
                <a:spcBef>
                  <a:spcPct val="0"/>
                </a:spcBef>
                <a:spcAft>
                  <a:spcPct val="0"/>
                </a:spcAft>
              </a:pPr>
              <a:t>13</a:t>
            </a:fld>
            <a:endParaRPr lang="en-GB" dirty="0">
              <a:ea typeface="ＭＳ Ｐゴシック"/>
              <a:cs typeface="ＭＳ Ｐゴシック"/>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9163">
              <a:defRPr sz="1200" b="1">
                <a:solidFill>
                  <a:schemeClr val="tx1"/>
                </a:solidFill>
                <a:latin typeface="Telefonica Text" pitchFamily="2" charset="0"/>
                <a:ea typeface="MS PGothic" pitchFamily="34" charset="-128"/>
              </a:defRPr>
            </a:lvl1pPr>
            <a:lvl2pPr marL="742950" indent="-285750" defTabSz="919163">
              <a:defRPr sz="1200" b="1">
                <a:solidFill>
                  <a:schemeClr val="tx1"/>
                </a:solidFill>
                <a:latin typeface="Telefonica Text" pitchFamily="2" charset="0"/>
                <a:ea typeface="MS PGothic" pitchFamily="34" charset="-128"/>
              </a:defRPr>
            </a:lvl2pPr>
            <a:lvl3pPr marL="1143000" indent="-228600" defTabSz="919163">
              <a:defRPr sz="1200" b="1">
                <a:solidFill>
                  <a:schemeClr val="tx1"/>
                </a:solidFill>
                <a:latin typeface="Telefonica Text" pitchFamily="2" charset="0"/>
                <a:ea typeface="MS PGothic" pitchFamily="34" charset="-128"/>
              </a:defRPr>
            </a:lvl3pPr>
            <a:lvl4pPr marL="1600200" indent="-228600" defTabSz="919163">
              <a:defRPr sz="1200" b="1">
                <a:solidFill>
                  <a:schemeClr val="tx1"/>
                </a:solidFill>
                <a:latin typeface="Telefonica Text" pitchFamily="2" charset="0"/>
                <a:ea typeface="MS PGothic" pitchFamily="34" charset="-128"/>
              </a:defRPr>
            </a:lvl4pPr>
            <a:lvl5pPr marL="2057400" indent="-228600" defTabSz="919163">
              <a:defRPr sz="1200" b="1">
                <a:solidFill>
                  <a:schemeClr val="tx1"/>
                </a:solidFill>
                <a:latin typeface="Telefonica Text" pitchFamily="2" charset="0"/>
                <a:ea typeface="MS PGothic" pitchFamily="34" charset="-128"/>
              </a:defRPr>
            </a:lvl5pPr>
            <a:lvl6pPr marL="25146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6pPr>
            <a:lvl7pPr marL="29718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7pPr>
            <a:lvl8pPr marL="34290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8pPr>
            <a:lvl9pPr marL="38862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9pPr>
          </a:lstStyle>
          <a:p>
            <a:fld id="{30CFADC4-042E-48DA-9038-8A2008F536A3}" type="slidenum">
              <a:rPr lang="en-US" b="0" smtClean="0">
                <a:latin typeface="TheSansCorrespondence" pitchFamily="34" charset="0"/>
              </a:rPr>
              <a:pPr/>
              <a:t>14</a:t>
            </a:fld>
            <a:endParaRPr lang="en-US" b="0" smtClean="0">
              <a:latin typeface="TheSansCorrespondence" pitchFamily="34" charset="0"/>
            </a:endParaRPr>
          </a:p>
        </p:txBody>
      </p:sp>
      <p:sp>
        <p:nvSpPr>
          <p:cNvPr id="37891" name="Rectangle 2"/>
          <p:cNvSpPr>
            <a:spLocks noGrp="1" noRot="1" noChangeAspect="1" noChangeArrowheads="1" noTextEdit="1"/>
          </p:cNvSpPr>
          <p:nvPr>
            <p:ph type="sldImg"/>
          </p:nvPr>
        </p:nvSpPr>
        <p:spPr>
          <a:ln/>
        </p:spPr>
      </p:sp>
      <p:sp>
        <p:nvSpPr>
          <p:cNvPr id="37892"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GB"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5505" name="Slide Image Placeholder 1"/>
          <p:cNvSpPr>
            <a:spLocks noGrp="1" noRot="1" noChangeAspect="1"/>
          </p:cNvSpPr>
          <p:nvPr>
            <p:ph type="sldImg"/>
          </p:nvPr>
        </p:nvSpPr>
        <p:spPr bwMode="auto">
          <a:noFill/>
          <a:ln>
            <a:solidFill>
              <a:srgbClr val="000000"/>
            </a:solidFill>
            <a:miter lim="800000"/>
            <a:headEnd/>
            <a:tailEnd/>
          </a:ln>
        </p:spPr>
      </p:sp>
      <p:sp>
        <p:nvSpPr>
          <p:cNvPr id="4" name="Slide Number Placeholder 3"/>
          <p:cNvSpPr>
            <a:spLocks noGrp="1"/>
          </p:cNvSpPr>
          <p:nvPr>
            <p:ph type="sldNum" sz="quarter" idx="5"/>
          </p:nvPr>
        </p:nvSpPr>
        <p:spPr/>
        <p:txBody>
          <a:bodyPr/>
          <a:lstStyle/>
          <a:p>
            <a:pPr>
              <a:defRPr/>
            </a:pPr>
            <a:fld id="{FC78010D-D4BD-4222-9C1A-612BD03025E3}" type="slidenum">
              <a:rPr lang="en-GB" smtClean="0"/>
              <a:pPr>
                <a:defRPr/>
              </a:pPr>
              <a:t>15</a:t>
            </a:fld>
            <a:endParaRPr lang="en-GB" dirty="0"/>
          </a:p>
        </p:txBody>
      </p:sp>
      <p:sp>
        <p:nvSpPr>
          <p:cNvPr id="2" name="1 Marcador de notas"/>
          <p:cNvSpPr>
            <a:spLocks noGrp="1"/>
          </p:cNvSpPr>
          <p:nvPr>
            <p:ph type="body" sz="quarter" idx="10"/>
          </p:nvPr>
        </p:nvSpPr>
        <p:spPr/>
        <p:txBody>
          <a:bodyPr/>
          <a:lstStyle/>
          <a:p>
            <a:endParaRPr lang="es-E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5505" name="Slide Image Placeholder 1"/>
          <p:cNvSpPr>
            <a:spLocks noGrp="1" noRot="1" noChangeAspect="1"/>
          </p:cNvSpPr>
          <p:nvPr>
            <p:ph type="sldImg"/>
          </p:nvPr>
        </p:nvSpPr>
        <p:spPr bwMode="auto">
          <a:noFill/>
          <a:ln>
            <a:solidFill>
              <a:srgbClr val="000000"/>
            </a:solidFill>
            <a:miter lim="800000"/>
            <a:headEnd/>
            <a:tailEnd/>
          </a:ln>
        </p:spPr>
      </p:sp>
      <p:sp>
        <p:nvSpPr>
          <p:cNvPr id="4" name="Slide Number Placeholder 3"/>
          <p:cNvSpPr>
            <a:spLocks noGrp="1"/>
          </p:cNvSpPr>
          <p:nvPr>
            <p:ph type="sldNum" sz="quarter" idx="5"/>
          </p:nvPr>
        </p:nvSpPr>
        <p:spPr/>
        <p:txBody>
          <a:bodyPr/>
          <a:lstStyle/>
          <a:p>
            <a:pPr>
              <a:defRPr/>
            </a:pPr>
            <a:fld id="{FC78010D-D4BD-4222-9C1A-612BD03025E3}" type="slidenum">
              <a:rPr lang="en-GB" smtClean="0"/>
              <a:pPr>
                <a:defRPr/>
              </a:pPr>
              <a:t>16</a:t>
            </a:fld>
            <a:endParaRPr lang="en-GB" dirty="0"/>
          </a:p>
        </p:txBody>
      </p:sp>
      <p:sp>
        <p:nvSpPr>
          <p:cNvPr id="2" name="1 Marcador de notas"/>
          <p:cNvSpPr>
            <a:spLocks noGrp="1"/>
          </p:cNvSpPr>
          <p:nvPr>
            <p:ph type="body" sz="quarter" idx="10"/>
          </p:nvPr>
        </p:nvSpPr>
        <p:spPr/>
        <p:txBody>
          <a:bodyPr/>
          <a:lstStyle/>
          <a:p>
            <a:endParaRPr lang="es-E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7" name="Slide Image Placeholder 1"/>
          <p:cNvSpPr>
            <a:spLocks noGrp="1" noRot="1" noChangeAspect="1"/>
          </p:cNvSpPr>
          <p:nvPr>
            <p:ph type="sldImg"/>
          </p:nvPr>
        </p:nvSpPr>
        <p:spPr bwMode="auto">
          <a:noFill/>
          <a:ln>
            <a:solidFill>
              <a:srgbClr val="000000"/>
            </a:solidFill>
            <a:miter lim="800000"/>
            <a:headEnd/>
            <a:tailEnd/>
          </a:ln>
        </p:spPr>
      </p:sp>
      <p:sp>
        <p:nvSpPr>
          <p:cNvPr id="116738"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s-ES" dirty="0"/>
          </a:p>
        </p:txBody>
      </p:sp>
      <p:sp>
        <p:nvSpPr>
          <p:cNvPr id="11673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10268057-64B3-4441-ADF2-571D3BAF6B71}" type="slidenum">
              <a:rPr lang="en-GB">
                <a:ea typeface="ＭＳ Ｐゴシック"/>
                <a:cs typeface="ＭＳ Ｐゴシック"/>
              </a:rPr>
              <a:pPr fontAlgn="base">
                <a:spcBef>
                  <a:spcPct val="0"/>
                </a:spcBef>
                <a:spcAft>
                  <a:spcPct val="0"/>
                </a:spcAft>
              </a:pPr>
              <a:t>17</a:t>
            </a:fld>
            <a:endParaRPr lang="en-GB" dirty="0">
              <a:ea typeface="ＭＳ Ｐゴシック"/>
              <a:cs typeface="ＭＳ Ｐゴシック"/>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9163">
              <a:defRPr sz="1200" b="1">
                <a:solidFill>
                  <a:schemeClr val="tx1"/>
                </a:solidFill>
                <a:latin typeface="Telefonica Text" pitchFamily="2" charset="0"/>
                <a:ea typeface="MS PGothic" pitchFamily="34" charset="-128"/>
              </a:defRPr>
            </a:lvl1pPr>
            <a:lvl2pPr marL="742950" indent="-285750" defTabSz="919163">
              <a:defRPr sz="1200" b="1">
                <a:solidFill>
                  <a:schemeClr val="tx1"/>
                </a:solidFill>
                <a:latin typeface="Telefonica Text" pitchFamily="2" charset="0"/>
                <a:ea typeface="MS PGothic" pitchFamily="34" charset="-128"/>
              </a:defRPr>
            </a:lvl2pPr>
            <a:lvl3pPr marL="1143000" indent="-228600" defTabSz="919163">
              <a:defRPr sz="1200" b="1">
                <a:solidFill>
                  <a:schemeClr val="tx1"/>
                </a:solidFill>
                <a:latin typeface="Telefonica Text" pitchFamily="2" charset="0"/>
                <a:ea typeface="MS PGothic" pitchFamily="34" charset="-128"/>
              </a:defRPr>
            </a:lvl3pPr>
            <a:lvl4pPr marL="1600200" indent="-228600" defTabSz="919163">
              <a:defRPr sz="1200" b="1">
                <a:solidFill>
                  <a:schemeClr val="tx1"/>
                </a:solidFill>
                <a:latin typeface="Telefonica Text" pitchFamily="2" charset="0"/>
                <a:ea typeface="MS PGothic" pitchFamily="34" charset="-128"/>
              </a:defRPr>
            </a:lvl4pPr>
            <a:lvl5pPr marL="2057400" indent="-228600" defTabSz="919163">
              <a:defRPr sz="1200" b="1">
                <a:solidFill>
                  <a:schemeClr val="tx1"/>
                </a:solidFill>
                <a:latin typeface="Telefonica Text" pitchFamily="2" charset="0"/>
                <a:ea typeface="MS PGothic" pitchFamily="34" charset="-128"/>
              </a:defRPr>
            </a:lvl5pPr>
            <a:lvl6pPr marL="25146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6pPr>
            <a:lvl7pPr marL="29718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7pPr>
            <a:lvl8pPr marL="34290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8pPr>
            <a:lvl9pPr marL="38862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9pPr>
          </a:lstStyle>
          <a:p>
            <a:fld id="{30CFADC4-042E-48DA-9038-8A2008F536A3}" type="slidenum">
              <a:rPr lang="en-US" b="0" smtClean="0">
                <a:latin typeface="TheSansCorrespondence" pitchFamily="34" charset="0"/>
              </a:rPr>
              <a:pPr/>
              <a:t>18</a:t>
            </a:fld>
            <a:endParaRPr lang="en-US" b="0" smtClean="0">
              <a:latin typeface="TheSansCorrespondence" pitchFamily="34" charset="0"/>
            </a:endParaRPr>
          </a:p>
        </p:txBody>
      </p:sp>
      <p:sp>
        <p:nvSpPr>
          <p:cNvPr id="37891" name="Rectangle 2"/>
          <p:cNvSpPr>
            <a:spLocks noGrp="1" noRot="1" noChangeAspect="1" noChangeArrowheads="1" noTextEdit="1"/>
          </p:cNvSpPr>
          <p:nvPr>
            <p:ph type="sldImg"/>
          </p:nvPr>
        </p:nvSpPr>
        <p:spPr>
          <a:ln/>
        </p:spPr>
      </p:sp>
      <p:sp>
        <p:nvSpPr>
          <p:cNvPr id="37892"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GB"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9163">
              <a:defRPr sz="1200" b="1">
                <a:solidFill>
                  <a:schemeClr val="tx1"/>
                </a:solidFill>
                <a:latin typeface="Telefonica Text" pitchFamily="2" charset="0"/>
                <a:ea typeface="MS PGothic" pitchFamily="34" charset="-128"/>
              </a:defRPr>
            </a:lvl1pPr>
            <a:lvl2pPr marL="742950" indent="-285750" defTabSz="919163">
              <a:defRPr sz="1200" b="1">
                <a:solidFill>
                  <a:schemeClr val="tx1"/>
                </a:solidFill>
                <a:latin typeface="Telefonica Text" pitchFamily="2" charset="0"/>
                <a:ea typeface="MS PGothic" pitchFamily="34" charset="-128"/>
              </a:defRPr>
            </a:lvl2pPr>
            <a:lvl3pPr marL="1143000" indent="-228600" defTabSz="919163">
              <a:defRPr sz="1200" b="1">
                <a:solidFill>
                  <a:schemeClr val="tx1"/>
                </a:solidFill>
                <a:latin typeface="Telefonica Text" pitchFamily="2" charset="0"/>
                <a:ea typeface="MS PGothic" pitchFamily="34" charset="-128"/>
              </a:defRPr>
            </a:lvl3pPr>
            <a:lvl4pPr marL="1600200" indent="-228600" defTabSz="919163">
              <a:defRPr sz="1200" b="1">
                <a:solidFill>
                  <a:schemeClr val="tx1"/>
                </a:solidFill>
                <a:latin typeface="Telefonica Text" pitchFamily="2" charset="0"/>
                <a:ea typeface="MS PGothic" pitchFamily="34" charset="-128"/>
              </a:defRPr>
            </a:lvl4pPr>
            <a:lvl5pPr marL="2057400" indent="-228600" defTabSz="919163">
              <a:defRPr sz="1200" b="1">
                <a:solidFill>
                  <a:schemeClr val="tx1"/>
                </a:solidFill>
                <a:latin typeface="Telefonica Text" pitchFamily="2" charset="0"/>
                <a:ea typeface="MS PGothic" pitchFamily="34" charset="-128"/>
              </a:defRPr>
            </a:lvl5pPr>
            <a:lvl6pPr marL="25146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6pPr>
            <a:lvl7pPr marL="29718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7pPr>
            <a:lvl8pPr marL="34290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8pPr>
            <a:lvl9pPr marL="38862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9pPr>
          </a:lstStyle>
          <a:p>
            <a:fld id="{03EF4EDA-A5C5-4808-9693-9F7BA3F6B43F}" type="slidenum">
              <a:rPr lang="en-US" b="0" smtClean="0">
                <a:latin typeface="TheSansCorrespondence" pitchFamily="34" charset="0"/>
              </a:rPr>
              <a:pPr/>
              <a:t>19</a:t>
            </a:fld>
            <a:endParaRPr lang="en-US" b="0" smtClean="0">
              <a:latin typeface="TheSansCorrespondence" pitchFamily="34" charset="0"/>
            </a:endParaRPr>
          </a:p>
        </p:txBody>
      </p:sp>
      <p:sp>
        <p:nvSpPr>
          <p:cNvPr id="61443" name="Rectangle 7"/>
          <p:cNvSpPr txBox="1">
            <a:spLocks noGrp="1" noChangeArrowheads="1"/>
          </p:cNvSpPr>
          <p:nvPr/>
        </p:nvSpPr>
        <p:spPr bwMode="auto">
          <a:xfrm>
            <a:off x="3887345" y="8687751"/>
            <a:ext cx="2970656" cy="4562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2031" tIns="46017" rIns="92031" bIns="46017" anchor="b"/>
          <a:lstStyle>
            <a:lvl1pPr defTabSz="919163">
              <a:defRPr sz="1200" b="1">
                <a:solidFill>
                  <a:schemeClr val="tx1"/>
                </a:solidFill>
                <a:latin typeface="Telefonica Text" pitchFamily="2" charset="0"/>
                <a:ea typeface="MS PGothic" pitchFamily="34" charset="-128"/>
              </a:defRPr>
            </a:lvl1pPr>
            <a:lvl2pPr marL="742950" indent="-285750" defTabSz="919163">
              <a:defRPr sz="1200" b="1">
                <a:solidFill>
                  <a:schemeClr val="tx1"/>
                </a:solidFill>
                <a:latin typeface="Telefonica Text" pitchFamily="2" charset="0"/>
                <a:ea typeface="MS PGothic" pitchFamily="34" charset="-128"/>
              </a:defRPr>
            </a:lvl2pPr>
            <a:lvl3pPr marL="1143000" indent="-228600" defTabSz="919163">
              <a:defRPr sz="1200" b="1">
                <a:solidFill>
                  <a:schemeClr val="tx1"/>
                </a:solidFill>
                <a:latin typeface="Telefonica Text" pitchFamily="2" charset="0"/>
                <a:ea typeface="MS PGothic" pitchFamily="34" charset="-128"/>
              </a:defRPr>
            </a:lvl3pPr>
            <a:lvl4pPr marL="1600200" indent="-228600" defTabSz="919163">
              <a:defRPr sz="1200" b="1">
                <a:solidFill>
                  <a:schemeClr val="tx1"/>
                </a:solidFill>
                <a:latin typeface="Telefonica Text" pitchFamily="2" charset="0"/>
                <a:ea typeface="MS PGothic" pitchFamily="34" charset="-128"/>
              </a:defRPr>
            </a:lvl4pPr>
            <a:lvl5pPr marL="2057400" indent="-228600" defTabSz="919163">
              <a:defRPr sz="1200" b="1">
                <a:solidFill>
                  <a:schemeClr val="tx1"/>
                </a:solidFill>
                <a:latin typeface="Telefonica Text" pitchFamily="2" charset="0"/>
                <a:ea typeface="MS PGothic" pitchFamily="34" charset="-128"/>
              </a:defRPr>
            </a:lvl5pPr>
            <a:lvl6pPr marL="25146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6pPr>
            <a:lvl7pPr marL="29718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7pPr>
            <a:lvl8pPr marL="34290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8pPr>
            <a:lvl9pPr marL="38862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9pPr>
          </a:lstStyle>
          <a:p>
            <a:pPr algn="r"/>
            <a:fld id="{5934027B-2E4D-4C46-BA74-4080B3FB393A}" type="slidenum">
              <a:rPr lang="en-US" b="0">
                <a:latin typeface="TheSansCorrespondence" pitchFamily="34" charset="0"/>
              </a:rPr>
              <a:pPr algn="r"/>
              <a:t>19</a:t>
            </a:fld>
            <a:endParaRPr lang="en-US" b="0">
              <a:latin typeface="TheSansCorrespondence" pitchFamily="34" charset="0"/>
            </a:endParaRPr>
          </a:p>
        </p:txBody>
      </p:sp>
      <p:sp>
        <p:nvSpPr>
          <p:cNvPr id="61444" name="Rectangle 7"/>
          <p:cNvSpPr txBox="1">
            <a:spLocks noGrp="1" noChangeArrowheads="1"/>
          </p:cNvSpPr>
          <p:nvPr/>
        </p:nvSpPr>
        <p:spPr bwMode="auto">
          <a:xfrm>
            <a:off x="3887345" y="8687751"/>
            <a:ext cx="2970656" cy="4562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2031" tIns="46017" rIns="92031" bIns="46017" anchor="b"/>
          <a:lstStyle>
            <a:lvl1pPr defTabSz="919163">
              <a:defRPr sz="1200" b="1">
                <a:solidFill>
                  <a:schemeClr val="tx1"/>
                </a:solidFill>
                <a:latin typeface="Telefonica Text" pitchFamily="2" charset="0"/>
                <a:ea typeface="MS PGothic" pitchFamily="34" charset="-128"/>
              </a:defRPr>
            </a:lvl1pPr>
            <a:lvl2pPr marL="742950" indent="-285750" defTabSz="919163">
              <a:defRPr sz="1200" b="1">
                <a:solidFill>
                  <a:schemeClr val="tx1"/>
                </a:solidFill>
                <a:latin typeface="Telefonica Text" pitchFamily="2" charset="0"/>
                <a:ea typeface="MS PGothic" pitchFamily="34" charset="-128"/>
              </a:defRPr>
            </a:lvl2pPr>
            <a:lvl3pPr marL="1143000" indent="-228600" defTabSz="919163">
              <a:defRPr sz="1200" b="1">
                <a:solidFill>
                  <a:schemeClr val="tx1"/>
                </a:solidFill>
                <a:latin typeface="Telefonica Text" pitchFamily="2" charset="0"/>
                <a:ea typeface="MS PGothic" pitchFamily="34" charset="-128"/>
              </a:defRPr>
            </a:lvl3pPr>
            <a:lvl4pPr marL="1600200" indent="-228600" defTabSz="919163">
              <a:defRPr sz="1200" b="1">
                <a:solidFill>
                  <a:schemeClr val="tx1"/>
                </a:solidFill>
                <a:latin typeface="Telefonica Text" pitchFamily="2" charset="0"/>
                <a:ea typeface="MS PGothic" pitchFamily="34" charset="-128"/>
              </a:defRPr>
            </a:lvl4pPr>
            <a:lvl5pPr marL="2057400" indent="-228600" defTabSz="919163">
              <a:defRPr sz="1200" b="1">
                <a:solidFill>
                  <a:schemeClr val="tx1"/>
                </a:solidFill>
                <a:latin typeface="Telefonica Text" pitchFamily="2" charset="0"/>
                <a:ea typeface="MS PGothic" pitchFamily="34" charset="-128"/>
              </a:defRPr>
            </a:lvl5pPr>
            <a:lvl6pPr marL="25146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6pPr>
            <a:lvl7pPr marL="29718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7pPr>
            <a:lvl8pPr marL="34290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8pPr>
            <a:lvl9pPr marL="38862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9pPr>
          </a:lstStyle>
          <a:p>
            <a:pPr algn="r"/>
            <a:fld id="{C73F440F-F0BF-4289-A76D-F1F5B5812BFF}" type="slidenum">
              <a:rPr lang="en-US" b="0">
                <a:latin typeface="TheSansCorrespondence" pitchFamily="34" charset="0"/>
              </a:rPr>
              <a:pPr algn="r"/>
              <a:t>19</a:t>
            </a:fld>
            <a:endParaRPr lang="en-US" b="0">
              <a:latin typeface="TheSansCorrespondence" pitchFamily="34" charset="0"/>
            </a:endParaRPr>
          </a:p>
        </p:txBody>
      </p:sp>
      <p:sp>
        <p:nvSpPr>
          <p:cNvPr id="61445" name="Rectangle 2"/>
          <p:cNvSpPr>
            <a:spLocks noGrp="1" noRot="1" noChangeAspect="1" noChangeArrowheads="1" noTextEdit="1"/>
          </p:cNvSpPr>
          <p:nvPr>
            <p:ph type="sldImg"/>
          </p:nvPr>
        </p:nvSpPr>
        <p:spPr>
          <a:ln/>
        </p:spPr>
      </p:sp>
      <p:sp>
        <p:nvSpPr>
          <p:cNvPr id="61446"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GB"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9163">
              <a:defRPr sz="1200" b="1">
                <a:solidFill>
                  <a:schemeClr val="tx1"/>
                </a:solidFill>
                <a:latin typeface="Telefonica Text" pitchFamily="2" charset="0"/>
                <a:ea typeface="MS PGothic" pitchFamily="34" charset="-128"/>
              </a:defRPr>
            </a:lvl1pPr>
            <a:lvl2pPr marL="742950" indent="-285750" defTabSz="919163">
              <a:defRPr sz="1200" b="1">
                <a:solidFill>
                  <a:schemeClr val="tx1"/>
                </a:solidFill>
                <a:latin typeface="Telefonica Text" pitchFamily="2" charset="0"/>
                <a:ea typeface="MS PGothic" pitchFamily="34" charset="-128"/>
              </a:defRPr>
            </a:lvl2pPr>
            <a:lvl3pPr marL="1143000" indent="-228600" defTabSz="919163">
              <a:defRPr sz="1200" b="1">
                <a:solidFill>
                  <a:schemeClr val="tx1"/>
                </a:solidFill>
                <a:latin typeface="Telefonica Text" pitchFamily="2" charset="0"/>
                <a:ea typeface="MS PGothic" pitchFamily="34" charset="-128"/>
              </a:defRPr>
            </a:lvl3pPr>
            <a:lvl4pPr marL="1600200" indent="-228600" defTabSz="919163">
              <a:defRPr sz="1200" b="1">
                <a:solidFill>
                  <a:schemeClr val="tx1"/>
                </a:solidFill>
                <a:latin typeface="Telefonica Text" pitchFamily="2" charset="0"/>
                <a:ea typeface="MS PGothic" pitchFamily="34" charset="-128"/>
              </a:defRPr>
            </a:lvl4pPr>
            <a:lvl5pPr marL="2057400" indent="-228600" defTabSz="919163">
              <a:defRPr sz="1200" b="1">
                <a:solidFill>
                  <a:schemeClr val="tx1"/>
                </a:solidFill>
                <a:latin typeface="Telefonica Text" pitchFamily="2" charset="0"/>
                <a:ea typeface="MS PGothic" pitchFamily="34" charset="-128"/>
              </a:defRPr>
            </a:lvl5pPr>
            <a:lvl6pPr marL="25146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6pPr>
            <a:lvl7pPr marL="29718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7pPr>
            <a:lvl8pPr marL="34290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8pPr>
            <a:lvl9pPr marL="38862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9pPr>
          </a:lstStyle>
          <a:p>
            <a:fld id="{78101CFF-96B7-4FA7-8AC2-BEF1E4BF62F9}" type="slidenum">
              <a:rPr lang="en-US" b="0" smtClean="0">
                <a:latin typeface="TheSansCorrespondence" pitchFamily="34" charset="0"/>
              </a:rPr>
              <a:pPr/>
              <a:t>2</a:t>
            </a:fld>
            <a:endParaRPr lang="en-US" b="0" smtClean="0">
              <a:latin typeface="TheSansCorrespondence" pitchFamily="34" charset="0"/>
            </a:endParaRPr>
          </a:p>
        </p:txBody>
      </p:sp>
      <p:sp>
        <p:nvSpPr>
          <p:cNvPr id="41987" name="Rectangle 7"/>
          <p:cNvSpPr txBox="1">
            <a:spLocks noGrp="1" noChangeArrowheads="1"/>
          </p:cNvSpPr>
          <p:nvPr/>
        </p:nvSpPr>
        <p:spPr bwMode="auto">
          <a:xfrm>
            <a:off x="3887345" y="8687751"/>
            <a:ext cx="2970656" cy="4562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2031" tIns="46017" rIns="92031" bIns="46017" anchor="b"/>
          <a:lstStyle>
            <a:lvl1pPr defTabSz="919163">
              <a:defRPr sz="1200" b="1">
                <a:solidFill>
                  <a:schemeClr val="tx1"/>
                </a:solidFill>
                <a:latin typeface="Telefonica Text" pitchFamily="2" charset="0"/>
                <a:ea typeface="MS PGothic" pitchFamily="34" charset="-128"/>
              </a:defRPr>
            </a:lvl1pPr>
            <a:lvl2pPr marL="742950" indent="-285750" defTabSz="919163">
              <a:defRPr sz="1200" b="1">
                <a:solidFill>
                  <a:schemeClr val="tx1"/>
                </a:solidFill>
                <a:latin typeface="Telefonica Text" pitchFamily="2" charset="0"/>
                <a:ea typeface="MS PGothic" pitchFamily="34" charset="-128"/>
              </a:defRPr>
            </a:lvl2pPr>
            <a:lvl3pPr marL="1143000" indent="-228600" defTabSz="919163">
              <a:defRPr sz="1200" b="1">
                <a:solidFill>
                  <a:schemeClr val="tx1"/>
                </a:solidFill>
                <a:latin typeface="Telefonica Text" pitchFamily="2" charset="0"/>
                <a:ea typeface="MS PGothic" pitchFamily="34" charset="-128"/>
              </a:defRPr>
            </a:lvl3pPr>
            <a:lvl4pPr marL="1600200" indent="-228600" defTabSz="919163">
              <a:defRPr sz="1200" b="1">
                <a:solidFill>
                  <a:schemeClr val="tx1"/>
                </a:solidFill>
                <a:latin typeface="Telefonica Text" pitchFamily="2" charset="0"/>
                <a:ea typeface="MS PGothic" pitchFamily="34" charset="-128"/>
              </a:defRPr>
            </a:lvl4pPr>
            <a:lvl5pPr marL="2057400" indent="-228600" defTabSz="919163">
              <a:defRPr sz="1200" b="1">
                <a:solidFill>
                  <a:schemeClr val="tx1"/>
                </a:solidFill>
                <a:latin typeface="Telefonica Text" pitchFamily="2" charset="0"/>
                <a:ea typeface="MS PGothic" pitchFamily="34" charset="-128"/>
              </a:defRPr>
            </a:lvl5pPr>
            <a:lvl6pPr marL="25146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6pPr>
            <a:lvl7pPr marL="29718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7pPr>
            <a:lvl8pPr marL="34290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8pPr>
            <a:lvl9pPr marL="38862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9pPr>
          </a:lstStyle>
          <a:p>
            <a:pPr algn="r"/>
            <a:fld id="{D4C55310-B079-4571-AB70-FF33C32B2A87}" type="slidenum">
              <a:rPr lang="en-US" b="0">
                <a:latin typeface="TheSansCorrespondence" pitchFamily="34" charset="0"/>
              </a:rPr>
              <a:pPr algn="r"/>
              <a:t>2</a:t>
            </a:fld>
            <a:endParaRPr lang="en-US" b="0">
              <a:latin typeface="TheSansCorrespondence" pitchFamily="34" charset="0"/>
            </a:endParaRPr>
          </a:p>
        </p:txBody>
      </p:sp>
      <p:sp>
        <p:nvSpPr>
          <p:cNvPr id="41988" name="Rectangle 7"/>
          <p:cNvSpPr txBox="1">
            <a:spLocks noGrp="1" noChangeArrowheads="1"/>
          </p:cNvSpPr>
          <p:nvPr/>
        </p:nvSpPr>
        <p:spPr bwMode="auto">
          <a:xfrm>
            <a:off x="3887345" y="8687751"/>
            <a:ext cx="2970656" cy="4562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2031" tIns="46017" rIns="92031" bIns="46017" anchor="b"/>
          <a:lstStyle>
            <a:lvl1pPr defTabSz="919163">
              <a:defRPr sz="1200" b="1">
                <a:solidFill>
                  <a:schemeClr val="tx1"/>
                </a:solidFill>
                <a:latin typeface="Telefonica Text" pitchFamily="2" charset="0"/>
                <a:ea typeface="MS PGothic" pitchFamily="34" charset="-128"/>
              </a:defRPr>
            </a:lvl1pPr>
            <a:lvl2pPr marL="742950" indent="-285750" defTabSz="919163">
              <a:defRPr sz="1200" b="1">
                <a:solidFill>
                  <a:schemeClr val="tx1"/>
                </a:solidFill>
                <a:latin typeface="Telefonica Text" pitchFamily="2" charset="0"/>
                <a:ea typeface="MS PGothic" pitchFamily="34" charset="-128"/>
              </a:defRPr>
            </a:lvl2pPr>
            <a:lvl3pPr marL="1143000" indent="-228600" defTabSz="919163">
              <a:defRPr sz="1200" b="1">
                <a:solidFill>
                  <a:schemeClr val="tx1"/>
                </a:solidFill>
                <a:latin typeface="Telefonica Text" pitchFamily="2" charset="0"/>
                <a:ea typeface="MS PGothic" pitchFamily="34" charset="-128"/>
              </a:defRPr>
            </a:lvl3pPr>
            <a:lvl4pPr marL="1600200" indent="-228600" defTabSz="919163">
              <a:defRPr sz="1200" b="1">
                <a:solidFill>
                  <a:schemeClr val="tx1"/>
                </a:solidFill>
                <a:latin typeface="Telefonica Text" pitchFamily="2" charset="0"/>
                <a:ea typeface="MS PGothic" pitchFamily="34" charset="-128"/>
              </a:defRPr>
            </a:lvl4pPr>
            <a:lvl5pPr marL="2057400" indent="-228600" defTabSz="919163">
              <a:defRPr sz="1200" b="1">
                <a:solidFill>
                  <a:schemeClr val="tx1"/>
                </a:solidFill>
                <a:latin typeface="Telefonica Text" pitchFamily="2" charset="0"/>
                <a:ea typeface="MS PGothic" pitchFamily="34" charset="-128"/>
              </a:defRPr>
            </a:lvl5pPr>
            <a:lvl6pPr marL="25146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6pPr>
            <a:lvl7pPr marL="29718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7pPr>
            <a:lvl8pPr marL="34290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8pPr>
            <a:lvl9pPr marL="38862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9pPr>
          </a:lstStyle>
          <a:p>
            <a:pPr algn="r"/>
            <a:fld id="{1425D629-EB92-4B83-AA8D-4BC8FE539300}" type="slidenum">
              <a:rPr lang="en-US" b="0">
                <a:latin typeface="TheSansCorrespondence" pitchFamily="34" charset="0"/>
              </a:rPr>
              <a:pPr algn="r"/>
              <a:t>2</a:t>
            </a:fld>
            <a:endParaRPr lang="en-US" b="0">
              <a:latin typeface="TheSansCorrespondence" pitchFamily="34" charset="0"/>
            </a:endParaRPr>
          </a:p>
        </p:txBody>
      </p:sp>
      <p:sp>
        <p:nvSpPr>
          <p:cNvPr id="41989" name="Rectangle 2"/>
          <p:cNvSpPr>
            <a:spLocks noGrp="1" noRot="1" noChangeAspect="1" noChangeArrowheads="1" noTextEdit="1"/>
          </p:cNvSpPr>
          <p:nvPr>
            <p:ph type="sldImg"/>
          </p:nvPr>
        </p:nvSpPr>
        <p:spPr>
          <a:ln/>
        </p:spPr>
      </p:sp>
      <p:sp>
        <p:nvSpPr>
          <p:cNvPr id="41990"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effectLst/>
              </a:rPr>
              <a:t>Let´s me show a quick overview about </a:t>
            </a:r>
            <a:r>
              <a:rPr lang="en-US" dirty="0" err="1" smtClean="0">
                <a:effectLst/>
              </a:rPr>
              <a:t>Telefonica</a:t>
            </a:r>
            <a:r>
              <a:rPr lang="en-US" dirty="0" smtClean="0">
                <a:effectLst/>
              </a:rPr>
              <a:t>.</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err="1" smtClean="0">
                <a:effectLst/>
              </a:rPr>
              <a:t>Telefonica</a:t>
            </a:r>
            <a:r>
              <a:rPr lang="en-US" dirty="0" smtClean="0">
                <a:effectLst/>
              </a:rPr>
              <a:t> is a telecommunication company that offer integrated</a:t>
            </a:r>
            <a:r>
              <a:rPr lang="en-US" baseline="0" dirty="0" smtClean="0">
                <a:effectLst/>
              </a:rPr>
              <a:t> services.  </a:t>
            </a:r>
            <a:r>
              <a:rPr lang="en-US" dirty="0" smtClean="0">
                <a:effectLst/>
              </a:rPr>
              <a:t>Present in 26 countries and an average of 285,000 professionals. Consolidated revenues of 30,980 million euros and more than 312 million customer at June 2012: more than 243 million mobile phones accesses; more than 40 million fixed telephony accesses; more than 19.34 million Internet and data accesses and 3.3 million pay TV access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dirty="0" err="1" smtClean="0">
                <a:effectLst/>
              </a:rPr>
              <a:t>Telefónica</a:t>
            </a:r>
            <a:r>
              <a:rPr lang="en-US" dirty="0" smtClean="0">
                <a:effectLst/>
              </a:rPr>
              <a:t> as a brand will play a corporate and institutional role all over the world with </a:t>
            </a:r>
            <a:r>
              <a:rPr lang="en-US" dirty="0" err="1" smtClean="0">
                <a:effectLst/>
              </a:rPr>
              <a:t>Movistar</a:t>
            </a:r>
            <a:r>
              <a:rPr lang="en-US" dirty="0" smtClean="0">
                <a:effectLst/>
              </a:rPr>
              <a:t> , O2 and Vivo. The brands under which the commercial offer will be structured in its respective countries are </a:t>
            </a:r>
            <a:r>
              <a:rPr lang="en-US" dirty="0" err="1" smtClean="0">
                <a:effectLst/>
              </a:rPr>
              <a:t>Movistar</a:t>
            </a:r>
            <a:r>
              <a:rPr lang="en-US" dirty="0" smtClean="0">
                <a:effectLst/>
              </a:rPr>
              <a:t> for Spain and Latin American and O2 in the UK, Ireland, Germany, Czech Republic and Slovakia.</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effectLst/>
            </a:endParaRPr>
          </a:p>
          <a:p>
            <a:pPr eaLnBrk="1" hangingPunct="1"/>
            <a:endParaRPr lang="es-ES" dirty="0"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7"/>
          <p:cNvSpPr txBox="1">
            <a:spLocks noGrp="1" noChangeArrowheads="1"/>
          </p:cNvSpPr>
          <p:nvPr/>
        </p:nvSpPr>
        <p:spPr bwMode="auto">
          <a:xfrm>
            <a:off x="3887055" y="8687823"/>
            <a:ext cx="2970945" cy="4561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1715" tIns="45859" rIns="91715" bIns="45859" anchor="b"/>
          <a:lstStyle>
            <a:lvl1pPr defTabSz="915988" eaLnBrk="0" hangingPunct="0">
              <a:defRPr sz="1200" b="1">
                <a:solidFill>
                  <a:schemeClr val="tx1"/>
                </a:solidFill>
                <a:latin typeface="TheSansCorrespondence" pitchFamily="34" charset="0"/>
                <a:ea typeface="MS PGothic" pitchFamily="34" charset="-128"/>
              </a:defRPr>
            </a:lvl1pPr>
            <a:lvl2pPr marL="742950" indent="-285750" defTabSz="915988" eaLnBrk="0" hangingPunct="0">
              <a:defRPr sz="1200" b="1">
                <a:solidFill>
                  <a:schemeClr val="tx1"/>
                </a:solidFill>
                <a:latin typeface="TheSansCorrespondence" pitchFamily="34" charset="0"/>
                <a:ea typeface="MS PGothic" pitchFamily="34" charset="-128"/>
              </a:defRPr>
            </a:lvl2pPr>
            <a:lvl3pPr marL="1143000" indent="-228600" defTabSz="915988" eaLnBrk="0" hangingPunct="0">
              <a:defRPr sz="1200" b="1">
                <a:solidFill>
                  <a:schemeClr val="tx1"/>
                </a:solidFill>
                <a:latin typeface="TheSansCorrespondence" pitchFamily="34" charset="0"/>
                <a:ea typeface="MS PGothic" pitchFamily="34" charset="-128"/>
              </a:defRPr>
            </a:lvl3pPr>
            <a:lvl4pPr marL="1600200" indent="-228600" defTabSz="915988" eaLnBrk="0" hangingPunct="0">
              <a:defRPr sz="1200" b="1">
                <a:solidFill>
                  <a:schemeClr val="tx1"/>
                </a:solidFill>
                <a:latin typeface="TheSansCorrespondence" pitchFamily="34" charset="0"/>
                <a:ea typeface="MS PGothic" pitchFamily="34" charset="-128"/>
              </a:defRPr>
            </a:lvl4pPr>
            <a:lvl5pPr marL="2057400" indent="-228600" defTabSz="915988" eaLnBrk="0" hangingPunct="0">
              <a:defRPr sz="1200" b="1">
                <a:solidFill>
                  <a:schemeClr val="tx1"/>
                </a:solidFill>
                <a:latin typeface="TheSansCorrespondence" pitchFamily="34" charset="0"/>
                <a:ea typeface="MS PGothic" pitchFamily="34" charset="-128"/>
              </a:defRPr>
            </a:lvl5pPr>
            <a:lvl6pPr marL="2514600" indent="-228600" defTabSz="915988" eaLnBrk="0" fontAlgn="base" hangingPunct="0">
              <a:spcBef>
                <a:spcPct val="0"/>
              </a:spcBef>
              <a:spcAft>
                <a:spcPct val="0"/>
              </a:spcAft>
              <a:defRPr sz="1200" b="1">
                <a:solidFill>
                  <a:schemeClr val="tx1"/>
                </a:solidFill>
                <a:latin typeface="TheSansCorrespondence" pitchFamily="34" charset="0"/>
                <a:ea typeface="MS PGothic" pitchFamily="34" charset="-128"/>
              </a:defRPr>
            </a:lvl6pPr>
            <a:lvl7pPr marL="2971800" indent="-228600" defTabSz="915988" eaLnBrk="0" fontAlgn="base" hangingPunct="0">
              <a:spcBef>
                <a:spcPct val="0"/>
              </a:spcBef>
              <a:spcAft>
                <a:spcPct val="0"/>
              </a:spcAft>
              <a:defRPr sz="1200" b="1">
                <a:solidFill>
                  <a:schemeClr val="tx1"/>
                </a:solidFill>
                <a:latin typeface="TheSansCorrespondence" pitchFamily="34" charset="0"/>
                <a:ea typeface="MS PGothic" pitchFamily="34" charset="-128"/>
              </a:defRPr>
            </a:lvl7pPr>
            <a:lvl8pPr marL="3429000" indent="-228600" defTabSz="915988" eaLnBrk="0" fontAlgn="base" hangingPunct="0">
              <a:spcBef>
                <a:spcPct val="0"/>
              </a:spcBef>
              <a:spcAft>
                <a:spcPct val="0"/>
              </a:spcAft>
              <a:defRPr sz="1200" b="1">
                <a:solidFill>
                  <a:schemeClr val="tx1"/>
                </a:solidFill>
                <a:latin typeface="TheSansCorrespondence" pitchFamily="34" charset="0"/>
                <a:ea typeface="MS PGothic" pitchFamily="34" charset="-128"/>
              </a:defRPr>
            </a:lvl8pPr>
            <a:lvl9pPr marL="3886200" indent="-228600" defTabSz="915988" eaLnBrk="0" fontAlgn="base" hangingPunct="0">
              <a:spcBef>
                <a:spcPct val="0"/>
              </a:spcBef>
              <a:spcAft>
                <a:spcPct val="0"/>
              </a:spcAft>
              <a:defRPr sz="1200" b="1">
                <a:solidFill>
                  <a:schemeClr val="tx1"/>
                </a:solidFill>
                <a:latin typeface="TheSansCorrespondence" pitchFamily="34" charset="0"/>
                <a:ea typeface="MS PGothic" pitchFamily="34" charset="-128"/>
              </a:defRPr>
            </a:lvl9pPr>
          </a:lstStyle>
          <a:p>
            <a:pPr algn="r" eaLnBrk="1" hangingPunct="1"/>
            <a:fld id="{5C423CC1-0276-4FF9-A93E-00BFAE1C0413}" type="slidenum">
              <a:rPr lang="en-US" sz="1100" b="0">
                <a:solidFill>
                  <a:srgbClr val="000000"/>
                </a:solidFill>
                <a:latin typeface="Arial" pitchFamily="34" charset="0"/>
              </a:rPr>
              <a:pPr algn="r" eaLnBrk="1" hangingPunct="1"/>
              <a:t>20</a:t>
            </a:fld>
            <a:endParaRPr lang="en-US" sz="1100" b="0">
              <a:solidFill>
                <a:srgbClr val="000000"/>
              </a:solidFill>
              <a:latin typeface="Arial" pitchFamily="34" charset="0"/>
            </a:endParaRPr>
          </a:p>
        </p:txBody>
      </p:sp>
      <p:sp>
        <p:nvSpPr>
          <p:cNvPr id="92163" name="Marcador de imagen de diapositiva 1"/>
          <p:cNvSpPr>
            <a:spLocks noGrp="1" noRot="1" noChangeAspect="1" noTextEdit="1"/>
          </p:cNvSpPr>
          <p:nvPr>
            <p:ph type="sldImg"/>
          </p:nvPr>
        </p:nvSpPr>
        <p:spPr>
          <a:xfrm>
            <a:off x="1143000" y="685800"/>
            <a:ext cx="4572000" cy="3429000"/>
          </a:xfrm>
          <a:ln/>
        </p:spPr>
      </p:sp>
      <p:sp>
        <p:nvSpPr>
          <p:cNvPr id="92164" name="Marcador de notas 2"/>
          <p:cNvSpPr>
            <a:spLocks noGrp="1"/>
          </p:cNvSpPr>
          <p:nvPr>
            <p:ph type="body" idx="1"/>
          </p:nvPr>
        </p:nvSpPr>
        <p:spPr>
          <a:xfrm>
            <a:off x="685480" y="4343913"/>
            <a:ext cx="5487041" cy="4114361"/>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715" tIns="45859" rIns="91715" bIns="45859"/>
          <a:lstStyle/>
          <a:p>
            <a:pPr defTabSz="476250" eaLnBrk="1" hangingPunct="1">
              <a:spcBef>
                <a:spcPct val="0"/>
              </a:spcBef>
            </a:pPr>
            <a:endParaRPr lang="es-ES"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p:cNvSpPr>
            <a:spLocks noGrp="1" noRot="1" noChangeAspect="1" noTextEdit="1"/>
          </p:cNvSpPr>
          <p:nvPr>
            <p:ph type="sldImg"/>
          </p:nvPr>
        </p:nvSpPr>
        <p:spPr>
          <a:ln/>
        </p:spPr>
      </p:sp>
      <p:sp>
        <p:nvSpPr>
          <p:cNvPr id="46083"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dirty="0" smtClean="0"/>
          </a:p>
        </p:txBody>
      </p:sp>
      <p:sp>
        <p:nvSpPr>
          <p:cNvPr id="46084"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000">
                <a:solidFill>
                  <a:srgbClr val="646464"/>
                </a:solidFill>
                <a:latin typeface="Verdana" pitchFamily="34" charset="0"/>
                <a:cs typeface="Arial" pitchFamily="34" charset="0"/>
              </a:defRPr>
            </a:lvl1pPr>
            <a:lvl2pPr marL="742950" indent="-285750" eaLnBrk="0" hangingPunct="0">
              <a:defRPr sz="2000">
                <a:solidFill>
                  <a:srgbClr val="646464"/>
                </a:solidFill>
                <a:latin typeface="Verdana" pitchFamily="34" charset="0"/>
                <a:cs typeface="Arial" pitchFamily="34" charset="0"/>
              </a:defRPr>
            </a:lvl2pPr>
            <a:lvl3pPr marL="1143000" indent="-228600" eaLnBrk="0" hangingPunct="0">
              <a:defRPr sz="2000">
                <a:solidFill>
                  <a:srgbClr val="646464"/>
                </a:solidFill>
                <a:latin typeface="Verdana" pitchFamily="34" charset="0"/>
                <a:cs typeface="Arial" pitchFamily="34" charset="0"/>
              </a:defRPr>
            </a:lvl3pPr>
            <a:lvl4pPr marL="1600200" indent="-228600" eaLnBrk="0" hangingPunct="0">
              <a:defRPr sz="2000">
                <a:solidFill>
                  <a:srgbClr val="646464"/>
                </a:solidFill>
                <a:latin typeface="Verdana" pitchFamily="34" charset="0"/>
                <a:cs typeface="Arial" pitchFamily="34" charset="0"/>
              </a:defRPr>
            </a:lvl4pPr>
            <a:lvl5pPr marL="2057400" indent="-228600" eaLnBrk="0" hangingPunct="0">
              <a:defRPr sz="2000">
                <a:solidFill>
                  <a:srgbClr val="646464"/>
                </a:solidFill>
                <a:latin typeface="Verdana" pitchFamily="34" charset="0"/>
                <a:cs typeface="Arial" pitchFamily="34" charset="0"/>
              </a:defRPr>
            </a:lvl5pPr>
            <a:lvl6pPr marL="2514600" indent="-228600" eaLnBrk="0" fontAlgn="base" hangingPunct="0">
              <a:spcBef>
                <a:spcPct val="0"/>
              </a:spcBef>
              <a:spcAft>
                <a:spcPct val="0"/>
              </a:spcAft>
              <a:defRPr sz="2000">
                <a:solidFill>
                  <a:srgbClr val="646464"/>
                </a:solidFill>
                <a:latin typeface="Verdana" pitchFamily="34" charset="0"/>
                <a:cs typeface="Arial" pitchFamily="34" charset="0"/>
              </a:defRPr>
            </a:lvl6pPr>
            <a:lvl7pPr marL="2971800" indent="-228600" eaLnBrk="0" fontAlgn="base" hangingPunct="0">
              <a:spcBef>
                <a:spcPct val="0"/>
              </a:spcBef>
              <a:spcAft>
                <a:spcPct val="0"/>
              </a:spcAft>
              <a:defRPr sz="2000">
                <a:solidFill>
                  <a:srgbClr val="646464"/>
                </a:solidFill>
                <a:latin typeface="Verdana" pitchFamily="34" charset="0"/>
                <a:cs typeface="Arial" pitchFamily="34" charset="0"/>
              </a:defRPr>
            </a:lvl7pPr>
            <a:lvl8pPr marL="3429000" indent="-228600" eaLnBrk="0" fontAlgn="base" hangingPunct="0">
              <a:spcBef>
                <a:spcPct val="0"/>
              </a:spcBef>
              <a:spcAft>
                <a:spcPct val="0"/>
              </a:spcAft>
              <a:defRPr sz="2000">
                <a:solidFill>
                  <a:srgbClr val="646464"/>
                </a:solidFill>
                <a:latin typeface="Verdana" pitchFamily="34" charset="0"/>
                <a:cs typeface="Arial" pitchFamily="34" charset="0"/>
              </a:defRPr>
            </a:lvl8pPr>
            <a:lvl9pPr marL="3886200" indent="-228600" eaLnBrk="0" fontAlgn="base" hangingPunct="0">
              <a:spcBef>
                <a:spcPct val="0"/>
              </a:spcBef>
              <a:spcAft>
                <a:spcPct val="0"/>
              </a:spcAft>
              <a:defRPr sz="2000">
                <a:solidFill>
                  <a:srgbClr val="646464"/>
                </a:solidFill>
                <a:latin typeface="Verdana" pitchFamily="34" charset="0"/>
                <a:cs typeface="Arial" pitchFamily="34" charset="0"/>
              </a:defRPr>
            </a:lvl9pPr>
          </a:lstStyle>
          <a:p>
            <a:fld id="{84058C0F-CE7F-45CB-8B8D-17EDE3FEE732}" type="slidenum">
              <a:rPr lang="en-US" sz="1200" smtClean="0">
                <a:solidFill>
                  <a:prstClr val="black"/>
                </a:solidFill>
              </a:rPr>
              <a:pPr/>
              <a:t>21</a:t>
            </a:fld>
            <a:endParaRPr lang="en-US" sz="1200" smtClean="0">
              <a:solidFill>
                <a:prstClr val="black"/>
              </a:solidFill>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a:ln/>
        </p:spPr>
      </p:sp>
      <p:sp>
        <p:nvSpPr>
          <p:cNvPr id="50179"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marL="0" lvl="1"/>
            <a:r>
              <a:rPr lang="en-US" dirty="0" smtClean="0">
                <a:solidFill>
                  <a:srgbClr val="2E2E2E"/>
                </a:solidFill>
              </a:rPr>
              <a:t>The FG–SSC will to assess the standardization requirements of cities aiming to boost their social, economic and environmental sustainability through the integration of information and communication technologies (ICTs) in their infrastructures and operations.</a:t>
            </a:r>
          </a:p>
          <a:p>
            <a:endParaRPr lang="en-US" dirty="0" smtClean="0">
              <a:solidFill>
                <a:srgbClr val="2E2E2E"/>
              </a:solidFill>
            </a:endParaRPr>
          </a:p>
          <a:p>
            <a:r>
              <a:rPr lang="en-US" dirty="0" smtClean="0">
                <a:solidFill>
                  <a:srgbClr val="2E2E2E"/>
                </a:solidFill>
              </a:rPr>
              <a:t>The FG–SSC will analyze ICT solutions and projects that promote environmental sustainability in smart cities and will identify best practices which could facilitate the implementation of such solutions in cities. It will develop a standardization roadmap taking into consideration the activities currently undertaken by the various standards developing organizations (SDOs) and forums. This “Focus Group on Smart and Sustainable Cities (FG – SSC)” will leverage the role of the ICT sector to foster the growth of smart and sustainable cities worldwide.</a:t>
            </a:r>
          </a:p>
          <a:p>
            <a:endParaRPr lang="en-US" dirty="0" smtClean="0"/>
          </a:p>
          <a:p>
            <a:endParaRPr lang="en-US" dirty="0" smtClean="0"/>
          </a:p>
        </p:txBody>
      </p:sp>
      <p:sp>
        <p:nvSpPr>
          <p:cNvPr id="50180"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000">
                <a:solidFill>
                  <a:srgbClr val="646464"/>
                </a:solidFill>
                <a:latin typeface="Verdana" pitchFamily="34" charset="0"/>
                <a:cs typeface="Arial" pitchFamily="34" charset="0"/>
              </a:defRPr>
            </a:lvl1pPr>
            <a:lvl2pPr marL="742950" indent="-285750" eaLnBrk="0" hangingPunct="0">
              <a:defRPr sz="2000">
                <a:solidFill>
                  <a:srgbClr val="646464"/>
                </a:solidFill>
                <a:latin typeface="Verdana" pitchFamily="34" charset="0"/>
                <a:cs typeface="Arial" pitchFamily="34" charset="0"/>
              </a:defRPr>
            </a:lvl2pPr>
            <a:lvl3pPr marL="1143000" indent="-228600" eaLnBrk="0" hangingPunct="0">
              <a:defRPr sz="2000">
                <a:solidFill>
                  <a:srgbClr val="646464"/>
                </a:solidFill>
                <a:latin typeface="Verdana" pitchFamily="34" charset="0"/>
                <a:cs typeface="Arial" pitchFamily="34" charset="0"/>
              </a:defRPr>
            </a:lvl3pPr>
            <a:lvl4pPr marL="1600200" indent="-228600" eaLnBrk="0" hangingPunct="0">
              <a:defRPr sz="2000">
                <a:solidFill>
                  <a:srgbClr val="646464"/>
                </a:solidFill>
                <a:latin typeface="Verdana" pitchFamily="34" charset="0"/>
                <a:cs typeface="Arial" pitchFamily="34" charset="0"/>
              </a:defRPr>
            </a:lvl4pPr>
            <a:lvl5pPr marL="2057400" indent="-228600" eaLnBrk="0" hangingPunct="0">
              <a:defRPr sz="2000">
                <a:solidFill>
                  <a:srgbClr val="646464"/>
                </a:solidFill>
                <a:latin typeface="Verdana" pitchFamily="34" charset="0"/>
                <a:cs typeface="Arial" pitchFamily="34" charset="0"/>
              </a:defRPr>
            </a:lvl5pPr>
            <a:lvl6pPr marL="2514600" indent="-228600" eaLnBrk="0" fontAlgn="base" hangingPunct="0">
              <a:spcBef>
                <a:spcPct val="0"/>
              </a:spcBef>
              <a:spcAft>
                <a:spcPct val="0"/>
              </a:spcAft>
              <a:defRPr sz="2000">
                <a:solidFill>
                  <a:srgbClr val="646464"/>
                </a:solidFill>
                <a:latin typeface="Verdana" pitchFamily="34" charset="0"/>
                <a:cs typeface="Arial" pitchFamily="34" charset="0"/>
              </a:defRPr>
            </a:lvl6pPr>
            <a:lvl7pPr marL="2971800" indent="-228600" eaLnBrk="0" fontAlgn="base" hangingPunct="0">
              <a:spcBef>
                <a:spcPct val="0"/>
              </a:spcBef>
              <a:spcAft>
                <a:spcPct val="0"/>
              </a:spcAft>
              <a:defRPr sz="2000">
                <a:solidFill>
                  <a:srgbClr val="646464"/>
                </a:solidFill>
                <a:latin typeface="Verdana" pitchFamily="34" charset="0"/>
                <a:cs typeface="Arial" pitchFamily="34" charset="0"/>
              </a:defRPr>
            </a:lvl7pPr>
            <a:lvl8pPr marL="3429000" indent="-228600" eaLnBrk="0" fontAlgn="base" hangingPunct="0">
              <a:spcBef>
                <a:spcPct val="0"/>
              </a:spcBef>
              <a:spcAft>
                <a:spcPct val="0"/>
              </a:spcAft>
              <a:defRPr sz="2000">
                <a:solidFill>
                  <a:srgbClr val="646464"/>
                </a:solidFill>
                <a:latin typeface="Verdana" pitchFamily="34" charset="0"/>
                <a:cs typeface="Arial" pitchFamily="34" charset="0"/>
              </a:defRPr>
            </a:lvl8pPr>
            <a:lvl9pPr marL="3886200" indent="-228600" eaLnBrk="0" fontAlgn="base" hangingPunct="0">
              <a:spcBef>
                <a:spcPct val="0"/>
              </a:spcBef>
              <a:spcAft>
                <a:spcPct val="0"/>
              </a:spcAft>
              <a:defRPr sz="2000">
                <a:solidFill>
                  <a:srgbClr val="646464"/>
                </a:solidFill>
                <a:latin typeface="Verdana" pitchFamily="34" charset="0"/>
                <a:cs typeface="Arial" pitchFamily="34" charset="0"/>
              </a:defRPr>
            </a:lvl9pPr>
          </a:lstStyle>
          <a:p>
            <a:fld id="{DE6D7CEC-6EDC-4281-AAEF-E13A3AEF6D2F}" type="slidenum">
              <a:rPr lang="en-US" sz="1200" smtClean="0">
                <a:solidFill>
                  <a:prstClr val="black"/>
                </a:solidFill>
              </a:rPr>
              <a:pPr/>
              <a:t>22</a:t>
            </a:fld>
            <a:endParaRPr lang="en-US" sz="1200" smtClean="0">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62" name="Rectangle 2"/>
          <p:cNvSpPr>
            <a:spLocks noGrp="1" noRot="1" noChangeAspect="1" noTextEdit="1"/>
          </p:cNvSpPr>
          <p:nvPr>
            <p:ph type="sldImg"/>
          </p:nvPr>
        </p:nvSpPr>
        <p:spPr>
          <a:ln/>
        </p:spPr>
      </p:sp>
      <p:sp>
        <p:nvSpPr>
          <p:cNvPr id="245763" name="Rectangle 3"/>
          <p:cNvSpPr>
            <a:spLocks noGrp="1"/>
          </p:cNvSpPr>
          <p:nvPr>
            <p:ph type="body" idx="1"/>
          </p:nvPr>
        </p:nvSpPr>
        <p:spPr/>
        <p:txBody>
          <a:bodyPr/>
          <a:lstStyle/>
          <a:p>
            <a:endParaRPr lang="es-ES_tradnl"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9163">
              <a:defRPr sz="1200" b="1">
                <a:solidFill>
                  <a:schemeClr val="tx1"/>
                </a:solidFill>
                <a:latin typeface="Telefonica Text" pitchFamily="2" charset="0"/>
                <a:ea typeface="MS PGothic" pitchFamily="34" charset="-128"/>
              </a:defRPr>
            </a:lvl1pPr>
            <a:lvl2pPr marL="742950" indent="-285750" defTabSz="919163">
              <a:defRPr sz="1200" b="1">
                <a:solidFill>
                  <a:schemeClr val="tx1"/>
                </a:solidFill>
                <a:latin typeface="Telefonica Text" pitchFamily="2" charset="0"/>
                <a:ea typeface="MS PGothic" pitchFamily="34" charset="-128"/>
              </a:defRPr>
            </a:lvl2pPr>
            <a:lvl3pPr marL="1143000" indent="-228600" defTabSz="919163">
              <a:defRPr sz="1200" b="1">
                <a:solidFill>
                  <a:schemeClr val="tx1"/>
                </a:solidFill>
                <a:latin typeface="Telefonica Text" pitchFamily="2" charset="0"/>
                <a:ea typeface="MS PGothic" pitchFamily="34" charset="-128"/>
              </a:defRPr>
            </a:lvl3pPr>
            <a:lvl4pPr marL="1600200" indent="-228600" defTabSz="919163">
              <a:defRPr sz="1200" b="1">
                <a:solidFill>
                  <a:schemeClr val="tx1"/>
                </a:solidFill>
                <a:latin typeface="Telefonica Text" pitchFamily="2" charset="0"/>
                <a:ea typeface="MS PGothic" pitchFamily="34" charset="-128"/>
              </a:defRPr>
            </a:lvl4pPr>
            <a:lvl5pPr marL="2057400" indent="-228600" defTabSz="919163">
              <a:defRPr sz="1200" b="1">
                <a:solidFill>
                  <a:schemeClr val="tx1"/>
                </a:solidFill>
                <a:latin typeface="Telefonica Text" pitchFamily="2" charset="0"/>
                <a:ea typeface="MS PGothic" pitchFamily="34" charset="-128"/>
              </a:defRPr>
            </a:lvl5pPr>
            <a:lvl6pPr marL="25146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6pPr>
            <a:lvl7pPr marL="29718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7pPr>
            <a:lvl8pPr marL="34290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8pPr>
            <a:lvl9pPr marL="38862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9pPr>
          </a:lstStyle>
          <a:p>
            <a:fld id="{30CFADC4-042E-48DA-9038-8A2008F536A3}" type="slidenum">
              <a:rPr lang="en-US" b="0" smtClean="0">
                <a:latin typeface="TheSansCorrespondence" pitchFamily="34" charset="0"/>
              </a:rPr>
              <a:pPr/>
              <a:t>4</a:t>
            </a:fld>
            <a:endParaRPr lang="en-US" b="0" smtClean="0">
              <a:latin typeface="TheSansCorrespondence" pitchFamily="34" charset="0"/>
            </a:endParaRPr>
          </a:p>
        </p:txBody>
      </p:sp>
      <p:sp>
        <p:nvSpPr>
          <p:cNvPr id="37891" name="Rectangle 2"/>
          <p:cNvSpPr>
            <a:spLocks noGrp="1" noRot="1" noChangeAspect="1" noChangeArrowheads="1" noTextEdit="1"/>
          </p:cNvSpPr>
          <p:nvPr>
            <p:ph type="sldImg"/>
          </p:nvPr>
        </p:nvSpPr>
        <p:spPr>
          <a:ln/>
        </p:spPr>
      </p:sp>
      <p:sp>
        <p:nvSpPr>
          <p:cNvPr id="37892"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GB"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4" name="3 Marcador de número de diapositiva"/>
          <p:cNvSpPr>
            <a:spLocks noGrp="1"/>
          </p:cNvSpPr>
          <p:nvPr>
            <p:ph type="sldNum" sz="quarter" idx="10"/>
          </p:nvPr>
        </p:nvSpPr>
        <p:spPr/>
        <p:txBody>
          <a:bodyPr/>
          <a:lstStyle/>
          <a:p>
            <a:pPr>
              <a:defRPr/>
            </a:pPr>
            <a:fld id="{751A9D15-D533-4120-94CB-E69E8C45009A}" type="slidenum">
              <a:rPr lang="es-ES" smtClean="0"/>
              <a:pPr>
                <a:defRPr/>
              </a:pPr>
              <a:t>5</a:t>
            </a:fld>
            <a:endParaRPr lang="es-ES"/>
          </a:p>
        </p:txBody>
      </p:sp>
      <p:sp>
        <p:nvSpPr>
          <p:cNvPr id="5" name="4 Marcador de notas"/>
          <p:cNvSpPr>
            <a:spLocks noGrp="1"/>
          </p:cNvSpPr>
          <p:nvPr>
            <p:ph type="body" sz="quarter" idx="11"/>
          </p:nvPr>
        </p:nvSpPr>
        <p:spPr/>
        <p:txBody>
          <a:bodyPr/>
          <a:lstStyle/>
          <a:p>
            <a:endParaRPr lang="es-ES"/>
          </a:p>
        </p:txBody>
      </p:sp>
    </p:spTree>
    <p:extLst>
      <p:ext uri="{BB962C8B-B14F-4D97-AF65-F5344CB8AC3E}">
        <p14:creationId xmlns:p14="http://schemas.microsoft.com/office/powerpoint/2010/main" xmlns="" val="26323074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7" name="Slide Image Placeholder 1"/>
          <p:cNvSpPr>
            <a:spLocks noGrp="1" noRot="1" noChangeAspect="1"/>
          </p:cNvSpPr>
          <p:nvPr>
            <p:ph type="sldImg"/>
          </p:nvPr>
        </p:nvSpPr>
        <p:spPr bwMode="auto">
          <a:noFill/>
          <a:ln>
            <a:solidFill>
              <a:srgbClr val="000000"/>
            </a:solidFill>
            <a:miter lim="800000"/>
            <a:headEnd/>
            <a:tailEnd/>
          </a:ln>
        </p:spPr>
      </p:sp>
      <p:sp>
        <p:nvSpPr>
          <p:cNvPr id="11673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10268057-64B3-4441-ADF2-571D3BAF6B71}" type="slidenum">
              <a:rPr lang="en-GB">
                <a:ea typeface="ＭＳ Ｐゴシック"/>
                <a:cs typeface="ＭＳ Ｐゴシック"/>
              </a:rPr>
              <a:pPr fontAlgn="base">
                <a:spcBef>
                  <a:spcPct val="0"/>
                </a:spcBef>
                <a:spcAft>
                  <a:spcPct val="0"/>
                </a:spcAft>
              </a:pPr>
              <a:t>6</a:t>
            </a:fld>
            <a:endParaRPr lang="en-GB" dirty="0">
              <a:ea typeface="ＭＳ Ｐゴシック"/>
              <a:cs typeface="ＭＳ Ｐゴシック"/>
            </a:endParaRPr>
          </a:p>
        </p:txBody>
      </p:sp>
      <p:sp>
        <p:nvSpPr>
          <p:cNvPr id="2" name="1 Marcador de notas"/>
          <p:cNvSpPr>
            <a:spLocks noGrp="1"/>
          </p:cNvSpPr>
          <p:nvPr>
            <p:ph type="body" sz="quarter" idx="10"/>
          </p:nvPr>
        </p:nvSpPr>
        <p:spPr/>
        <p:txBody>
          <a:bodyPr/>
          <a:lstStyle/>
          <a:p>
            <a:endParaRPr lang="es-E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2"/>
          <p:cNvSpPr>
            <a:spLocks noGrp="1" noRot="1" noChangeAspect="1" noChangeArrowheads="1" noTextEdit="1"/>
          </p:cNvSpPr>
          <p:nvPr>
            <p:ph type="sldImg"/>
          </p:nvPr>
        </p:nvSpPr>
        <p:spPr>
          <a:ln/>
        </p:spPr>
      </p:sp>
      <p:sp>
        <p:nvSpPr>
          <p:cNvPr id="2" name="1 Marcador de notas"/>
          <p:cNvSpPr>
            <a:spLocks noGrp="1"/>
          </p:cNvSpPr>
          <p:nvPr>
            <p:ph type="body" sz="quarter" idx="10"/>
          </p:nvPr>
        </p:nvSpPr>
        <p:spPr/>
        <p:txBody>
          <a:bodyPr/>
          <a:lstStyle/>
          <a:p>
            <a:endParaRPr lang="es-E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pPr>
              <a:defRPr/>
            </a:pPr>
            <a:fld id="{751A9D15-D533-4120-94CB-E69E8C45009A}" type="slidenum">
              <a:rPr lang="es-ES" smtClean="0"/>
              <a:pPr>
                <a:defRPr/>
              </a:pPr>
              <a:t>8</a:t>
            </a:fld>
            <a:endParaRPr lang="es-ES"/>
          </a:p>
        </p:txBody>
      </p:sp>
    </p:spTree>
    <p:extLst>
      <p:ext uri="{BB962C8B-B14F-4D97-AF65-F5344CB8AC3E}">
        <p14:creationId xmlns:p14="http://schemas.microsoft.com/office/powerpoint/2010/main" xmlns="" val="26323074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19163">
              <a:defRPr sz="1200" b="1">
                <a:solidFill>
                  <a:schemeClr val="tx1"/>
                </a:solidFill>
                <a:latin typeface="Telefonica Text" pitchFamily="2" charset="0"/>
                <a:ea typeface="MS PGothic" pitchFamily="34" charset="-128"/>
              </a:defRPr>
            </a:lvl1pPr>
            <a:lvl2pPr marL="742950" indent="-285750" defTabSz="919163">
              <a:defRPr sz="1200" b="1">
                <a:solidFill>
                  <a:schemeClr val="tx1"/>
                </a:solidFill>
                <a:latin typeface="Telefonica Text" pitchFamily="2" charset="0"/>
                <a:ea typeface="MS PGothic" pitchFamily="34" charset="-128"/>
              </a:defRPr>
            </a:lvl2pPr>
            <a:lvl3pPr marL="1143000" indent="-228600" defTabSz="919163">
              <a:defRPr sz="1200" b="1">
                <a:solidFill>
                  <a:schemeClr val="tx1"/>
                </a:solidFill>
                <a:latin typeface="Telefonica Text" pitchFamily="2" charset="0"/>
                <a:ea typeface="MS PGothic" pitchFamily="34" charset="-128"/>
              </a:defRPr>
            </a:lvl3pPr>
            <a:lvl4pPr marL="1600200" indent="-228600" defTabSz="919163">
              <a:defRPr sz="1200" b="1">
                <a:solidFill>
                  <a:schemeClr val="tx1"/>
                </a:solidFill>
                <a:latin typeface="Telefonica Text" pitchFamily="2" charset="0"/>
                <a:ea typeface="MS PGothic" pitchFamily="34" charset="-128"/>
              </a:defRPr>
            </a:lvl4pPr>
            <a:lvl5pPr marL="2057400" indent="-228600" defTabSz="919163">
              <a:defRPr sz="1200" b="1">
                <a:solidFill>
                  <a:schemeClr val="tx1"/>
                </a:solidFill>
                <a:latin typeface="Telefonica Text" pitchFamily="2" charset="0"/>
                <a:ea typeface="MS PGothic" pitchFamily="34" charset="-128"/>
              </a:defRPr>
            </a:lvl5pPr>
            <a:lvl6pPr marL="25146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6pPr>
            <a:lvl7pPr marL="29718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7pPr>
            <a:lvl8pPr marL="34290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8pPr>
            <a:lvl9pPr marL="38862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9pPr>
          </a:lstStyle>
          <a:p>
            <a:fld id="{30CFADC4-042E-48DA-9038-8A2008F536A3}" type="slidenum">
              <a:rPr lang="en-US" b="0" smtClean="0">
                <a:latin typeface="TheSansCorrespondence" pitchFamily="34" charset="0"/>
              </a:rPr>
              <a:pPr/>
              <a:t>9</a:t>
            </a:fld>
            <a:endParaRPr lang="en-US" b="0" smtClean="0">
              <a:latin typeface="TheSansCorrespondence" pitchFamily="34" charset="0"/>
            </a:endParaRPr>
          </a:p>
        </p:txBody>
      </p:sp>
      <p:sp>
        <p:nvSpPr>
          <p:cNvPr id="37891" name="Rectangle 2"/>
          <p:cNvSpPr>
            <a:spLocks noGrp="1" noRot="1" noChangeAspect="1" noChangeArrowheads="1" noTextEdit="1"/>
          </p:cNvSpPr>
          <p:nvPr>
            <p:ph type="sldImg"/>
          </p:nvPr>
        </p:nvSpPr>
        <p:spPr>
          <a:ln/>
        </p:spPr>
      </p:sp>
      <p:sp>
        <p:nvSpPr>
          <p:cNvPr id="37892"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GB"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2130427"/>
            <a:ext cx="7772400" cy="1470025"/>
          </a:xfrm>
        </p:spPr>
        <p:txBody>
          <a:bodyPr/>
          <a:lstStyle/>
          <a:p>
            <a:r>
              <a:rPr lang="es-ES" smtClean="0"/>
              <a:t>Haga clic para modificar el estilo de título del patrón</a:t>
            </a:r>
            <a:endParaRPr lang="es-ES"/>
          </a:p>
        </p:txBody>
      </p:sp>
      <p:sp>
        <p:nvSpPr>
          <p:cNvPr id="3" name="2 Subtítulo"/>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smtClean="0"/>
              <a:t>Haga clic para modificar el estilo de subtítulo del patrón</a:t>
            </a:r>
            <a:endParaRPr lang="es-ES"/>
          </a:p>
        </p:txBody>
      </p:sp>
      <p:sp>
        <p:nvSpPr>
          <p:cNvPr id="4" name="3 Marcador de fecha"/>
          <p:cNvSpPr>
            <a:spLocks noGrp="1"/>
          </p:cNvSpPr>
          <p:nvPr>
            <p:ph type="dt" sz="half" idx="10"/>
          </p:nvPr>
        </p:nvSpPr>
        <p:spPr/>
        <p:txBody>
          <a:bodyPr/>
          <a:lstStyle/>
          <a:p>
            <a:fld id="{9D7593B1-B063-41D6-BC06-CB898DB180BD}" type="datetimeFigureOut">
              <a:rPr lang="es-ES" smtClean="0"/>
              <a:pPr/>
              <a:t>15/04/2013</a:t>
            </a:fld>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70E0730B-A52F-4076-90DF-E38164315CE4}" type="slidenum">
              <a:rPr lang="es-ES" smtClean="0"/>
              <a:pPr/>
              <a:t>‹#›</a:t>
            </a:fld>
            <a:endParaRPr lang="es-ES"/>
          </a:p>
        </p:txBody>
      </p:sp>
    </p:spTree>
    <p:extLst>
      <p:ext uri="{BB962C8B-B14F-4D97-AF65-F5344CB8AC3E}">
        <p14:creationId xmlns:p14="http://schemas.microsoft.com/office/powerpoint/2010/main" xmlns="" val="4303767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fecha"/>
          <p:cNvSpPr>
            <a:spLocks noGrp="1"/>
          </p:cNvSpPr>
          <p:nvPr>
            <p:ph type="dt" sz="half" idx="10"/>
          </p:nvPr>
        </p:nvSpPr>
        <p:spPr/>
        <p:txBody>
          <a:bodyPr/>
          <a:lstStyle/>
          <a:p>
            <a:fld id="{9D7593B1-B063-41D6-BC06-CB898DB180BD}" type="datetimeFigureOut">
              <a:rPr lang="es-ES" smtClean="0"/>
              <a:pPr/>
              <a:t>15/04/2013</a:t>
            </a:fld>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70E0730B-A52F-4076-90DF-E38164315CE4}" type="slidenum">
              <a:rPr lang="es-ES" smtClean="0"/>
              <a:pPr/>
              <a:t>‹#›</a:t>
            </a:fld>
            <a:endParaRPr lang="es-ES"/>
          </a:p>
        </p:txBody>
      </p:sp>
    </p:spTree>
    <p:extLst>
      <p:ext uri="{BB962C8B-B14F-4D97-AF65-F5344CB8AC3E}">
        <p14:creationId xmlns:p14="http://schemas.microsoft.com/office/powerpoint/2010/main" xmlns="" val="32491192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274639"/>
            <a:ext cx="2057400" cy="5851525"/>
          </a:xfrm>
        </p:spPr>
        <p:txBody>
          <a:bodyPr vert="eaVert"/>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457201" y="274639"/>
            <a:ext cx="6019800" cy="5851525"/>
          </a:xfr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fecha"/>
          <p:cNvSpPr>
            <a:spLocks noGrp="1"/>
          </p:cNvSpPr>
          <p:nvPr>
            <p:ph type="dt" sz="half" idx="10"/>
          </p:nvPr>
        </p:nvSpPr>
        <p:spPr/>
        <p:txBody>
          <a:bodyPr/>
          <a:lstStyle/>
          <a:p>
            <a:fld id="{9D7593B1-B063-41D6-BC06-CB898DB180BD}" type="datetimeFigureOut">
              <a:rPr lang="es-ES" smtClean="0"/>
              <a:pPr/>
              <a:t>15/04/2013</a:t>
            </a:fld>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70E0730B-A52F-4076-90DF-E38164315CE4}" type="slidenum">
              <a:rPr lang="es-ES" smtClean="0"/>
              <a:pPr/>
              <a:t>‹#›</a:t>
            </a:fld>
            <a:endParaRPr lang="es-ES"/>
          </a:p>
        </p:txBody>
      </p:sp>
    </p:spTree>
    <p:extLst>
      <p:ext uri="{BB962C8B-B14F-4D97-AF65-F5344CB8AC3E}">
        <p14:creationId xmlns:p14="http://schemas.microsoft.com/office/powerpoint/2010/main" xmlns="" val="5955072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7"/>
            <a:ext cx="7772400" cy="1470025"/>
          </a:xfrm>
        </p:spPr>
        <p:txBody>
          <a:bodyPr/>
          <a:lstStyle/>
          <a:p>
            <a:r>
              <a:rPr lang="es-ES_tradnl" smtClean="0"/>
              <a:t>Clic para editar título</a:t>
            </a:r>
            <a:endParaRPr lang="es-ES"/>
          </a:p>
        </p:txBody>
      </p:sp>
      <p:sp>
        <p:nvSpPr>
          <p:cNvPr id="3" name="Subtítulo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s-ES_tradnl" smtClean="0"/>
              <a:t>Haga clic para modificar el estilo de subtítulo del patrón</a:t>
            </a:r>
            <a:endParaRPr lang="es-ES"/>
          </a:p>
        </p:txBody>
      </p:sp>
    </p:spTree>
    <p:extLst>
      <p:ext uri="{BB962C8B-B14F-4D97-AF65-F5344CB8AC3E}">
        <p14:creationId xmlns:p14="http://schemas.microsoft.com/office/powerpoint/2010/main" xmlns="" val="2289688739"/>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contenido 2"/>
          <p:cNvSpPr>
            <a:spLocks noGrp="1"/>
          </p:cNvSpPr>
          <p:nvPr>
            <p:ph idx="1"/>
          </p:nvPr>
        </p:nvSpPr>
        <p:spPr/>
        <p:txBody>
          <a:body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Tree>
    <p:extLst>
      <p:ext uri="{BB962C8B-B14F-4D97-AF65-F5344CB8AC3E}">
        <p14:creationId xmlns:p14="http://schemas.microsoft.com/office/powerpoint/2010/main" xmlns="" val="290891738"/>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722313" y="4406902"/>
            <a:ext cx="7772400" cy="1362075"/>
          </a:xfrm>
        </p:spPr>
        <p:txBody>
          <a:bodyPr anchor="t"/>
          <a:lstStyle>
            <a:lvl1pPr algn="l">
              <a:defRPr sz="4000" b="1" cap="all"/>
            </a:lvl1pPr>
          </a:lstStyle>
          <a:p>
            <a:r>
              <a:rPr lang="es-ES_tradnl" smtClean="0"/>
              <a:t>Clic para editar título</a:t>
            </a:r>
            <a:endParaRPr lang="es-ES"/>
          </a:p>
        </p:txBody>
      </p:sp>
      <p:sp>
        <p:nvSpPr>
          <p:cNvPr id="3" name="Marcador de tex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_tradnl" smtClean="0"/>
              <a:t>Haga clic para modificar el estilo de texto del patrón</a:t>
            </a:r>
          </a:p>
        </p:txBody>
      </p:sp>
    </p:spTree>
    <p:extLst>
      <p:ext uri="{BB962C8B-B14F-4D97-AF65-F5344CB8AC3E}">
        <p14:creationId xmlns:p14="http://schemas.microsoft.com/office/powerpoint/2010/main" xmlns="" val="1815353872"/>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contenido 2"/>
          <p:cNvSpPr>
            <a:spLocks noGrp="1"/>
          </p:cNvSpPr>
          <p:nvPr>
            <p:ph sz="half" idx="1"/>
          </p:nvPr>
        </p:nvSpPr>
        <p:spPr>
          <a:xfrm>
            <a:off x="889001" y="3530600"/>
            <a:ext cx="3600450" cy="800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contenido 3"/>
          <p:cNvSpPr>
            <a:spLocks noGrp="1"/>
          </p:cNvSpPr>
          <p:nvPr>
            <p:ph sz="half" idx="2"/>
          </p:nvPr>
        </p:nvSpPr>
        <p:spPr>
          <a:xfrm>
            <a:off x="4641850" y="3530600"/>
            <a:ext cx="3600450" cy="800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Tree>
    <p:extLst>
      <p:ext uri="{BB962C8B-B14F-4D97-AF65-F5344CB8AC3E}">
        <p14:creationId xmlns:p14="http://schemas.microsoft.com/office/powerpoint/2010/main" xmlns="" val="159036138"/>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457201" y="274638"/>
            <a:ext cx="8229600" cy="1143000"/>
          </a:xfrm>
        </p:spPr>
        <p:txBody>
          <a:bodyPr/>
          <a:lstStyle>
            <a:lvl1pPr>
              <a:defRPr/>
            </a:lvl1pPr>
          </a:lstStyle>
          <a:p>
            <a:r>
              <a:rPr lang="es-ES_tradnl" smtClean="0"/>
              <a:t>Clic para editar título</a:t>
            </a:r>
            <a:endParaRPr lang="es-ES"/>
          </a:p>
        </p:txBody>
      </p:sp>
      <p:sp>
        <p:nvSpPr>
          <p:cNvPr id="3" name="Marcador de tex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smtClean="0"/>
              <a:t>Haga clic para modificar el estilo de texto del patrón</a:t>
            </a:r>
          </a:p>
        </p:txBody>
      </p:sp>
      <p:sp>
        <p:nvSpPr>
          <p:cNvPr id="4" name="Marcador de contenid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5" name="Marcador de texto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smtClean="0"/>
              <a:t>Haga clic para modificar el estilo de texto del patrón</a:t>
            </a:r>
          </a:p>
        </p:txBody>
      </p:sp>
      <p:sp>
        <p:nvSpPr>
          <p:cNvPr id="6" name="Marcador de contenido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Tree>
    <p:extLst>
      <p:ext uri="{BB962C8B-B14F-4D97-AF65-F5344CB8AC3E}">
        <p14:creationId xmlns:p14="http://schemas.microsoft.com/office/powerpoint/2010/main" xmlns="" val="1242736755"/>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Tree>
    <p:extLst>
      <p:ext uri="{BB962C8B-B14F-4D97-AF65-F5344CB8AC3E}">
        <p14:creationId xmlns:p14="http://schemas.microsoft.com/office/powerpoint/2010/main" xmlns="" val="727303482"/>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682410432"/>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457201" y="273050"/>
            <a:ext cx="3008313" cy="1162050"/>
          </a:xfrm>
        </p:spPr>
        <p:txBody>
          <a:bodyPr/>
          <a:lstStyle>
            <a:lvl1pPr algn="l">
              <a:defRPr sz="2000" b="1"/>
            </a:lvl1pPr>
          </a:lstStyle>
          <a:p>
            <a:r>
              <a:rPr lang="es-ES_tradnl" smtClean="0"/>
              <a:t>Clic para editar título</a:t>
            </a:r>
            <a:endParaRPr lang="es-ES"/>
          </a:p>
        </p:txBody>
      </p:sp>
      <p:sp>
        <p:nvSpPr>
          <p:cNvPr id="3" name="Marcador de contenido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texto 3"/>
          <p:cNvSpPr>
            <a:spLocks noGrp="1"/>
          </p:cNvSpPr>
          <p:nvPr>
            <p:ph type="body" sz="half" idx="2"/>
          </p:nvPr>
        </p:nvSpPr>
        <p:spPr>
          <a:xfrm>
            <a:off x="457201"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_tradnl" smtClean="0"/>
              <a:t>Haga clic para modificar el estilo de texto del patrón</a:t>
            </a:r>
          </a:p>
        </p:txBody>
      </p:sp>
    </p:spTree>
    <p:extLst>
      <p:ext uri="{BB962C8B-B14F-4D97-AF65-F5344CB8AC3E}">
        <p14:creationId xmlns:p14="http://schemas.microsoft.com/office/powerpoint/2010/main" xmlns="" val="115001752"/>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contenido"/>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fecha"/>
          <p:cNvSpPr>
            <a:spLocks noGrp="1"/>
          </p:cNvSpPr>
          <p:nvPr>
            <p:ph type="dt" sz="half" idx="10"/>
          </p:nvPr>
        </p:nvSpPr>
        <p:spPr/>
        <p:txBody>
          <a:bodyPr/>
          <a:lstStyle/>
          <a:p>
            <a:fld id="{9D7593B1-B063-41D6-BC06-CB898DB180BD}" type="datetimeFigureOut">
              <a:rPr lang="es-ES" smtClean="0"/>
              <a:pPr/>
              <a:t>15/04/2013</a:t>
            </a:fld>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70E0730B-A52F-4076-90DF-E38164315CE4}" type="slidenum">
              <a:rPr lang="es-ES" smtClean="0"/>
              <a:pPr/>
              <a:t>‹#›</a:t>
            </a:fld>
            <a:endParaRPr lang="es-ES"/>
          </a:p>
        </p:txBody>
      </p:sp>
    </p:spTree>
    <p:extLst>
      <p:ext uri="{BB962C8B-B14F-4D97-AF65-F5344CB8AC3E}">
        <p14:creationId xmlns:p14="http://schemas.microsoft.com/office/powerpoint/2010/main" xmlns="" val="34108362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p:spPr>
        <p:txBody>
          <a:bodyPr/>
          <a:lstStyle>
            <a:lvl1pPr algn="l">
              <a:defRPr sz="2000" b="1"/>
            </a:lvl1pPr>
          </a:lstStyle>
          <a:p>
            <a:r>
              <a:rPr lang="es-ES_tradnl" smtClean="0"/>
              <a:t>Clic para editar título</a:t>
            </a:r>
            <a:endParaRPr lang="es-ES"/>
          </a:p>
        </p:txBody>
      </p:sp>
      <p:sp>
        <p:nvSpPr>
          <p:cNvPr id="3" name="Marcador de posición de imagen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s-ES" noProof="0" smtClean="0">
              <a:sym typeface="Gill Sans" charset="0"/>
            </a:endParaRPr>
          </a:p>
        </p:txBody>
      </p:sp>
      <p:sp>
        <p:nvSpPr>
          <p:cNvPr id="4" name="Marcador de tex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_tradnl" smtClean="0"/>
              <a:t>Haga clic para modificar el estilo de texto del patrón</a:t>
            </a:r>
          </a:p>
        </p:txBody>
      </p:sp>
    </p:spTree>
    <p:extLst>
      <p:ext uri="{BB962C8B-B14F-4D97-AF65-F5344CB8AC3E}">
        <p14:creationId xmlns:p14="http://schemas.microsoft.com/office/powerpoint/2010/main" xmlns="" val="1062813265"/>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texto vertical 2"/>
          <p:cNvSpPr>
            <a:spLocks noGrp="1"/>
          </p:cNvSpPr>
          <p:nvPr>
            <p:ph type="body" orient="vert" idx="1"/>
          </p:nvPr>
        </p:nvSpPr>
        <p:spPr/>
        <p:txBody>
          <a:bodyPr vert="eaVert"/>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Tree>
    <p:extLst>
      <p:ext uri="{BB962C8B-B14F-4D97-AF65-F5344CB8AC3E}">
        <p14:creationId xmlns:p14="http://schemas.microsoft.com/office/powerpoint/2010/main" xmlns="" val="744634087"/>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403976" y="1155700"/>
            <a:ext cx="1838325" cy="3175000"/>
          </a:xfrm>
        </p:spPr>
        <p:txBody>
          <a:bodyPr vert="eaVert"/>
          <a:lstStyle/>
          <a:p>
            <a:r>
              <a:rPr lang="es-ES_tradnl" smtClean="0"/>
              <a:t>Clic para editar título</a:t>
            </a:r>
            <a:endParaRPr lang="es-ES"/>
          </a:p>
        </p:txBody>
      </p:sp>
      <p:sp>
        <p:nvSpPr>
          <p:cNvPr id="3" name="Marcador de texto vertical 2"/>
          <p:cNvSpPr>
            <a:spLocks noGrp="1"/>
          </p:cNvSpPr>
          <p:nvPr>
            <p:ph type="body" orient="vert" idx="1"/>
          </p:nvPr>
        </p:nvSpPr>
        <p:spPr>
          <a:xfrm>
            <a:off x="889000" y="1155700"/>
            <a:ext cx="5362575" cy="3175000"/>
          </a:xfrm>
        </p:spPr>
        <p:txBody>
          <a:bodyPr vert="eaVert"/>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Tree>
    <p:extLst>
      <p:ext uri="{BB962C8B-B14F-4D97-AF65-F5344CB8AC3E}">
        <p14:creationId xmlns:p14="http://schemas.microsoft.com/office/powerpoint/2010/main" xmlns="" val="2108129998"/>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681" y="2130432"/>
            <a:ext cx="7772638" cy="996033"/>
          </a:xfrm>
        </p:spPr>
        <p:txBody>
          <a:bodyPr/>
          <a:lstStyle/>
          <a:p>
            <a:r>
              <a:rPr lang="es-ES" smtClean="0"/>
              <a:t>Haga clic para modificar el estilo de título del patrón</a:t>
            </a:r>
            <a:endParaRPr lang="es-ES"/>
          </a:p>
        </p:txBody>
      </p:sp>
      <p:sp>
        <p:nvSpPr>
          <p:cNvPr id="3" name="2 Subtítulo"/>
          <p:cNvSpPr>
            <a:spLocks noGrp="1"/>
          </p:cNvSpPr>
          <p:nvPr>
            <p:ph type="subTitle" idx="1"/>
          </p:nvPr>
        </p:nvSpPr>
        <p:spPr>
          <a:xfrm>
            <a:off x="1371362" y="3886200"/>
            <a:ext cx="6401276"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s-ES" smtClean="0"/>
              <a:t>Haga clic para modificar el estilo de subtítulo del patrón</a:t>
            </a:r>
            <a:endParaRPr lang="es-ES"/>
          </a:p>
        </p:txBody>
      </p:sp>
      <p:sp>
        <p:nvSpPr>
          <p:cNvPr id="4" name="Rectangle 4"/>
          <p:cNvSpPr>
            <a:spLocks noGrp="1" noChangeArrowheads="1"/>
          </p:cNvSpPr>
          <p:nvPr>
            <p:ph type="sldNum" sz="quarter" idx="10"/>
          </p:nvPr>
        </p:nvSpPr>
        <p:spPr>
          <a:ln/>
        </p:spPr>
        <p:txBody>
          <a:bodyPr/>
          <a:lstStyle>
            <a:lvl1pPr>
              <a:defRPr/>
            </a:lvl1pPr>
          </a:lstStyle>
          <a:p>
            <a:pPr>
              <a:defRPr/>
            </a:pPr>
            <a:fld id="{F0200D03-658E-4D25-8A73-9F6E0A26C561}" type="slidenum">
              <a:rPr lang="es-ES"/>
              <a:pPr>
                <a:defRPr/>
              </a:pPr>
              <a:t>‹#›</a:t>
            </a:fld>
            <a:endParaRPr lang="es-ES" dirty="0"/>
          </a:p>
        </p:txBody>
      </p:sp>
    </p:spTree>
    <p:extLst>
      <p:ext uri="{BB962C8B-B14F-4D97-AF65-F5344CB8AC3E}">
        <p14:creationId xmlns:p14="http://schemas.microsoft.com/office/powerpoint/2010/main" xmlns="" val="3537516532"/>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contenido"/>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Rectangle 4"/>
          <p:cNvSpPr>
            <a:spLocks noGrp="1" noChangeArrowheads="1"/>
          </p:cNvSpPr>
          <p:nvPr>
            <p:ph type="sldNum" sz="quarter" idx="10"/>
          </p:nvPr>
        </p:nvSpPr>
        <p:spPr>
          <a:ln/>
        </p:spPr>
        <p:txBody>
          <a:bodyPr/>
          <a:lstStyle>
            <a:lvl1pPr>
              <a:defRPr/>
            </a:lvl1pPr>
          </a:lstStyle>
          <a:p>
            <a:pPr>
              <a:defRPr/>
            </a:pPr>
            <a:fld id="{C83A413B-9EAC-4AD9-9CF4-8F27C5B7AE57}" type="slidenum">
              <a:rPr lang="es-ES"/>
              <a:pPr>
                <a:defRPr/>
              </a:pPr>
              <a:t>‹#›</a:t>
            </a:fld>
            <a:endParaRPr lang="es-ES" dirty="0"/>
          </a:p>
        </p:txBody>
      </p:sp>
    </p:spTree>
    <p:extLst>
      <p:ext uri="{BB962C8B-B14F-4D97-AF65-F5344CB8AC3E}">
        <p14:creationId xmlns:p14="http://schemas.microsoft.com/office/powerpoint/2010/main" xmlns="" val="3047282082"/>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191" y="4406907"/>
            <a:ext cx="7772637" cy="1303809"/>
          </a:xfrm>
        </p:spPr>
        <p:txBody>
          <a:bodyPr/>
          <a:lstStyle>
            <a:lvl1pPr algn="l">
              <a:defRPr sz="4000" b="1" cap="all"/>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722191" y="2906713"/>
            <a:ext cx="7772637"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 smtClean="0"/>
              <a:t>Haga clic para modificar el estilo de texto del patrón</a:t>
            </a:r>
          </a:p>
        </p:txBody>
      </p:sp>
      <p:sp>
        <p:nvSpPr>
          <p:cNvPr id="4" name="Rectangle 4"/>
          <p:cNvSpPr>
            <a:spLocks noGrp="1" noChangeArrowheads="1"/>
          </p:cNvSpPr>
          <p:nvPr>
            <p:ph type="sldNum" sz="quarter" idx="10"/>
          </p:nvPr>
        </p:nvSpPr>
        <p:spPr>
          <a:ln/>
        </p:spPr>
        <p:txBody>
          <a:bodyPr/>
          <a:lstStyle>
            <a:lvl1pPr>
              <a:defRPr/>
            </a:lvl1pPr>
          </a:lstStyle>
          <a:p>
            <a:pPr>
              <a:defRPr/>
            </a:pPr>
            <a:fld id="{42353B68-4F75-4D0A-B2C7-3022CF332D42}" type="slidenum">
              <a:rPr lang="es-ES"/>
              <a:pPr>
                <a:defRPr/>
              </a:pPr>
              <a:t>‹#›</a:t>
            </a:fld>
            <a:endParaRPr lang="es-ES" dirty="0"/>
          </a:p>
        </p:txBody>
      </p:sp>
    </p:spTree>
    <p:extLst>
      <p:ext uri="{BB962C8B-B14F-4D97-AF65-F5344CB8AC3E}">
        <p14:creationId xmlns:p14="http://schemas.microsoft.com/office/powerpoint/2010/main" xmlns="" val="2575634198"/>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contenido"/>
          <p:cNvSpPr>
            <a:spLocks noGrp="1"/>
          </p:cNvSpPr>
          <p:nvPr>
            <p:ph sz="half" idx="1"/>
          </p:nvPr>
        </p:nvSpPr>
        <p:spPr>
          <a:xfrm>
            <a:off x="349189" y="1341440"/>
            <a:ext cx="4122022" cy="46132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contenido"/>
          <p:cNvSpPr>
            <a:spLocks noGrp="1"/>
          </p:cNvSpPr>
          <p:nvPr>
            <p:ph sz="half" idx="2"/>
          </p:nvPr>
        </p:nvSpPr>
        <p:spPr>
          <a:xfrm>
            <a:off x="4623588" y="1341440"/>
            <a:ext cx="4123609" cy="46132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Rectangle 4"/>
          <p:cNvSpPr>
            <a:spLocks noGrp="1" noChangeArrowheads="1"/>
          </p:cNvSpPr>
          <p:nvPr>
            <p:ph type="sldNum" sz="quarter" idx="10"/>
          </p:nvPr>
        </p:nvSpPr>
        <p:spPr>
          <a:ln/>
        </p:spPr>
        <p:txBody>
          <a:bodyPr/>
          <a:lstStyle>
            <a:lvl1pPr>
              <a:defRPr/>
            </a:lvl1pPr>
          </a:lstStyle>
          <a:p>
            <a:pPr>
              <a:defRPr/>
            </a:pPr>
            <a:fld id="{C1FD04B3-C5F3-44B7-A873-3B926C7DC25D}" type="slidenum">
              <a:rPr lang="es-ES"/>
              <a:pPr>
                <a:defRPr/>
              </a:pPr>
              <a:t>‹#›</a:t>
            </a:fld>
            <a:endParaRPr lang="es-ES" dirty="0"/>
          </a:p>
        </p:txBody>
      </p:sp>
    </p:spTree>
    <p:extLst>
      <p:ext uri="{BB962C8B-B14F-4D97-AF65-F5344CB8AC3E}">
        <p14:creationId xmlns:p14="http://schemas.microsoft.com/office/powerpoint/2010/main" xmlns="" val="1181377301"/>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57121" y="274639"/>
            <a:ext cx="8229759" cy="534368"/>
          </a:xfrm>
        </p:spPr>
        <p:txBody>
          <a:bodyPr/>
          <a:lstStyle>
            <a:lvl1pPr>
              <a:defRPr/>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457121" y="1535113"/>
            <a:ext cx="4039486"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57121" y="2174875"/>
            <a:ext cx="403948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4 Marcador de texto"/>
          <p:cNvSpPr>
            <a:spLocks noGrp="1"/>
          </p:cNvSpPr>
          <p:nvPr>
            <p:ph type="body" sz="quarter" idx="3"/>
          </p:nvPr>
        </p:nvSpPr>
        <p:spPr>
          <a:xfrm>
            <a:off x="4645810" y="1535113"/>
            <a:ext cx="404107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645810" y="2174875"/>
            <a:ext cx="404107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7" name="Rectangle 4"/>
          <p:cNvSpPr>
            <a:spLocks noGrp="1" noChangeArrowheads="1"/>
          </p:cNvSpPr>
          <p:nvPr>
            <p:ph type="sldNum" sz="quarter" idx="10"/>
          </p:nvPr>
        </p:nvSpPr>
        <p:spPr>
          <a:ln/>
        </p:spPr>
        <p:txBody>
          <a:bodyPr/>
          <a:lstStyle>
            <a:lvl1pPr>
              <a:defRPr/>
            </a:lvl1pPr>
          </a:lstStyle>
          <a:p>
            <a:pPr>
              <a:defRPr/>
            </a:pPr>
            <a:fld id="{6BCF7D88-0D30-439B-9208-8E27A1140DE5}" type="slidenum">
              <a:rPr lang="es-ES"/>
              <a:pPr>
                <a:defRPr/>
              </a:pPr>
              <a:t>‹#›</a:t>
            </a:fld>
            <a:endParaRPr lang="es-ES" dirty="0"/>
          </a:p>
        </p:txBody>
      </p:sp>
    </p:spTree>
    <p:extLst>
      <p:ext uri="{BB962C8B-B14F-4D97-AF65-F5344CB8AC3E}">
        <p14:creationId xmlns:p14="http://schemas.microsoft.com/office/powerpoint/2010/main" xmlns="" val="408643819"/>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Rectangle 4"/>
          <p:cNvSpPr>
            <a:spLocks noGrp="1" noChangeArrowheads="1"/>
          </p:cNvSpPr>
          <p:nvPr>
            <p:ph type="sldNum" sz="quarter" idx="10"/>
          </p:nvPr>
        </p:nvSpPr>
        <p:spPr>
          <a:ln/>
        </p:spPr>
        <p:txBody>
          <a:bodyPr/>
          <a:lstStyle>
            <a:lvl1pPr>
              <a:defRPr/>
            </a:lvl1pPr>
          </a:lstStyle>
          <a:p>
            <a:pPr>
              <a:defRPr/>
            </a:pPr>
            <a:fld id="{D0A2A52F-571E-46F5-A70B-98430CFD656E}" type="slidenum">
              <a:rPr lang="es-ES"/>
              <a:pPr>
                <a:defRPr/>
              </a:pPr>
              <a:t>‹#›</a:t>
            </a:fld>
            <a:endParaRPr lang="es-ES" dirty="0"/>
          </a:p>
        </p:txBody>
      </p:sp>
    </p:spTree>
    <p:extLst>
      <p:ext uri="{BB962C8B-B14F-4D97-AF65-F5344CB8AC3E}">
        <p14:creationId xmlns:p14="http://schemas.microsoft.com/office/powerpoint/2010/main" xmlns="" val="3136494853"/>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ln/>
        </p:spPr>
        <p:txBody>
          <a:bodyPr/>
          <a:lstStyle>
            <a:lvl1pPr>
              <a:defRPr/>
            </a:lvl1pPr>
          </a:lstStyle>
          <a:p>
            <a:pPr>
              <a:defRPr/>
            </a:pPr>
            <a:fld id="{BE307AB0-A9A4-4B76-9ECF-D40AC96554EE}" type="slidenum">
              <a:rPr lang="es-ES"/>
              <a:pPr>
                <a:defRPr/>
              </a:pPr>
              <a:t>‹#›</a:t>
            </a:fld>
            <a:endParaRPr lang="es-ES" dirty="0"/>
          </a:p>
        </p:txBody>
      </p:sp>
    </p:spTree>
    <p:extLst>
      <p:ext uri="{BB962C8B-B14F-4D97-AF65-F5344CB8AC3E}">
        <p14:creationId xmlns:p14="http://schemas.microsoft.com/office/powerpoint/2010/main" xmlns="" val="4027042073"/>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4406902"/>
            <a:ext cx="7772400" cy="1362075"/>
          </a:xfrm>
        </p:spPr>
        <p:txBody>
          <a:bodyPr anchor="t"/>
          <a:lstStyle>
            <a:lvl1pPr algn="l">
              <a:defRPr sz="4000" b="1" cap="all"/>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smtClean="0"/>
              <a:t>Haga clic para modificar el estilo de texto del patrón</a:t>
            </a:r>
          </a:p>
        </p:txBody>
      </p:sp>
      <p:sp>
        <p:nvSpPr>
          <p:cNvPr id="4" name="3 Marcador de fecha"/>
          <p:cNvSpPr>
            <a:spLocks noGrp="1"/>
          </p:cNvSpPr>
          <p:nvPr>
            <p:ph type="dt" sz="half" idx="10"/>
          </p:nvPr>
        </p:nvSpPr>
        <p:spPr/>
        <p:txBody>
          <a:bodyPr/>
          <a:lstStyle/>
          <a:p>
            <a:fld id="{9D7593B1-B063-41D6-BC06-CB898DB180BD}" type="datetimeFigureOut">
              <a:rPr lang="es-ES" smtClean="0"/>
              <a:pPr/>
              <a:t>15/04/2013</a:t>
            </a:fld>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70E0730B-A52F-4076-90DF-E38164315CE4}" type="slidenum">
              <a:rPr lang="es-ES" smtClean="0"/>
              <a:pPr/>
              <a:t>‹#›</a:t>
            </a:fld>
            <a:endParaRPr lang="es-ES"/>
          </a:p>
        </p:txBody>
      </p:sp>
    </p:spTree>
    <p:extLst>
      <p:ext uri="{BB962C8B-B14F-4D97-AF65-F5344CB8AC3E}">
        <p14:creationId xmlns:p14="http://schemas.microsoft.com/office/powerpoint/2010/main" xmlns="" val="150757498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124" y="746845"/>
            <a:ext cx="3007791" cy="688256"/>
          </a:xfrm>
        </p:spPr>
        <p:txBody>
          <a:bodyPr anchor="b"/>
          <a:lstStyle>
            <a:lvl1pPr algn="l">
              <a:defRPr sz="2000" b="1"/>
            </a:lvl1pPr>
          </a:lstStyle>
          <a:p>
            <a:r>
              <a:rPr lang="es-ES" smtClean="0"/>
              <a:t>Haga clic para modificar el estilo de título del patrón</a:t>
            </a:r>
            <a:endParaRPr lang="es-ES"/>
          </a:p>
        </p:txBody>
      </p:sp>
      <p:sp>
        <p:nvSpPr>
          <p:cNvPr id="3" name="2 Marcador de contenido"/>
          <p:cNvSpPr>
            <a:spLocks noGrp="1"/>
          </p:cNvSpPr>
          <p:nvPr>
            <p:ph idx="1"/>
          </p:nvPr>
        </p:nvSpPr>
        <p:spPr>
          <a:xfrm>
            <a:off x="3574429" y="273052"/>
            <a:ext cx="51124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texto"/>
          <p:cNvSpPr>
            <a:spLocks noGrp="1"/>
          </p:cNvSpPr>
          <p:nvPr>
            <p:ph type="body" sz="half" idx="2"/>
          </p:nvPr>
        </p:nvSpPr>
        <p:spPr>
          <a:xfrm>
            <a:off x="457124" y="1435102"/>
            <a:ext cx="3007791"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Rectangle 4"/>
          <p:cNvSpPr>
            <a:spLocks noGrp="1" noChangeArrowheads="1"/>
          </p:cNvSpPr>
          <p:nvPr>
            <p:ph type="sldNum" sz="quarter" idx="10"/>
          </p:nvPr>
        </p:nvSpPr>
        <p:spPr>
          <a:ln/>
        </p:spPr>
        <p:txBody>
          <a:bodyPr/>
          <a:lstStyle>
            <a:lvl1pPr>
              <a:defRPr/>
            </a:lvl1pPr>
          </a:lstStyle>
          <a:p>
            <a:pPr>
              <a:defRPr/>
            </a:pPr>
            <a:fld id="{9389DB4F-1410-4175-8BDF-1D484B209638}" type="slidenum">
              <a:rPr lang="es-ES"/>
              <a:pPr>
                <a:defRPr/>
              </a:pPr>
              <a:t>‹#›</a:t>
            </a:fld>
            <a:endParaRPr lang="es-ES" dirty="0"/>
          </a:p>
        </p:txBody>
      </p:sp>
    </p:spTree>
    <p:extLst>
      <p:ext uri="{BB962C8B-B14F-4D97-AF65-F5344CB8AC3E}">
        <p14:creationId xmlns:p14="http://schemas.microsoft.com/office/powerpoint/2010/main" xmlns="" val="4289589126"/>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1977" y="4986858"/>
            <a:ext cx="5487034" cy="380480"/>
          </a:xfrm>
        </p:spPr>
        <p:txBody>
          <a:bodyPr anchor="b"/>
          <a:lstStyle>
            <a:lvl1pPr algn="l">
              <a:defRPr sz="2000" b="1"/>
            </a:lvl1pPr>
          </a:lstStyle>
          <a:p>
            <a:r>
              <a:rPr lang="es-ES" smtClean="0"/>
              <a:t>Haga clic para modificar el estilo de título del patrón</a:t>
            </a:r>
            <a:endParaRPr lang="es-ES"/>
          </a:p>
        </p:txBody>
      </p:sp>
      <p:sp>
        <p:nvSpPr>
          <p:cNvPr id="3" name="2 Marcador de posición de imagen"/>
          <p:cNvSpPr>
            <a:spLocks noGrp="1"/>
          </p:cNvSpPr>
          <p:nvPr>
            <p:ph type="pic" idx="1"/>
          </p:nvPr>
        </p:nvSpPr>
        <p:spPr>
          <a:xfrm>
            <a:off x="1791977" y="612775"/>
            <a:ext cx="5487034"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s-ES" noProof="0" dirty="0" smtClean="0"/>
              <a:t>Haga clic en el icono para agregar una imagen</a:t>
            </a:r>
          </a:p>
        </p:txBody>
      </p:sp>
      <p:sp>
        <p:nvSpPr>
          <p:cNvPr id="4" name="3 Marcador de texto"/>
          <p:cNvSpPr>
            <a:spLocks noGrp="1"/>
          </p:cNvSpPr>
          <p:nvPr>
            <p:ph type="body" sz="half" idx="2"/>
          </p:nvPr>
        </p:nvSpPr>
        <p:spPr>
          <a:xfrm>
            <a:off x="1791977" y="5367338"/>
            <a:ext cx="5487034"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Rectangle 4"/>
          <p:cNvSpPr>
            <a:spLocks noGrp="1" noChangeArrowheads="1"/>
          </p:cNvSpPr>
          <p:nvPr>
            <p:ph type="sldNum" sz="quarter" idx="10"/>
          </p:nvPr>
        </p:nvSpPr>
        <p:spPr>
          <a:ln/>
        </p:spPr>
        <p:txBody>
          <a:bodyPr/>
          <a:lstStyle>
            <a:lvl1pPr>
              <a:defRPr/>
            </a:lvl1pPr>
          </a:lstStyle>
          <a:p>
            <a:pPr>
              <a:defRPr/>
            </a:pPr>
            <a:fld id="{5D97C4A6-D2EC-4530-ACFE-AF80A816929D}" type="slidenum">
              <a:rPr lang="es-ES"/>
              <a:pPr>
                <a:defRPr/>
              </a:pPr>
              <a:t>‹#›</a:t>
            </a:fld>
            <a:endParaRPr lang="es-ES" dirty="0"/>
          </a:p>
        </p:txBody>
      </p:sp>
    </p:spTree>
    <p:extLst>
      <p:ext uri="{BB962C8B-B14F-4D97-AF65-F5344CB8AC3E}">
        <p14:creationId xmlns:p14="http://schemas.microsoft.com/office/powerpoint/2010/main" xmlns="" val="1747804456"/>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Rectangle 4"/>
          <p:cNvSpPr>
            <a:spLocks noGrp="1" noChangeArrowheads="1"/>
          </p:cNvSpPr>
          <p:nvPr>
            <p:ph type="sldNum" sz="quarter" idx="10"/>
          </p:nvPr>
        </p:nvSpPr>
        <p:spPr>
          <a:ln/>
        </p:spPr>
        <p:txBody>
          <a:bodyPr/>
          <a:lstStyle>
            <a:lvl1pPr>
              <a:defRPr/>
            </a:lvl1pPr>
          </a:lstStyle>
          <a:p>
            <a:pPr>
              <a:defRPr/>
            </a:pPr>
            <a:fld id="{1AFC4C75-DD22-4F52-BB93-F3EBAE32E4D4}" type="slidenum">
              <a:rPr lang="es-ES"/>
              <a:pPr>
                <a:defRPr/>
              </a:pPr>
              <a:t>‹#›</a:t>
            </a:fld>
            <a:endParaRPr lang="es-ES" dirty="0"/>
          </a:p>
        </p:txBody>
      </p:sp>
    </p:spTree>
    <p:extLst>
      <p:ext uri="{BB962C8B-B14F-4D97-AF65-F5344CB8AC3E}">
        <p14:creationId xmlns:p14="http://schemas.microsoft.com/office/powerpoint/2010/main" xmlns="" val="4217739855"/>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7751165" y="274642"/>
            <a:ext cx="996033" cy="5680075"/>
          </a:xfrm>
        </p:spPr>
        <p:txBody>
          <a:bodyPr vert="eaVert"/>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349190" y="274642"/>
            <a:ext cx="6147320" cy="5680075"/>
          </a:xfr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Rectangle 4"/>
          <p:cNvSpPr>
            <a:spLocks noGrp="1" noChangeArrowheads="1"/>
          </p:cNvSpPr>
          <p:nvPr>
            <p:ph type="sldNum" sz="quarter" idx="10"/>
          </p:nvPr>
        </p:nvSpPr>
        <p:spPr>
          <a:ln/>
        </p:spPr>
        <p:txBody>
          <a:bodyPr/>
          <a:lstStyle>
            <a:lvl1pPr>
              <a:defRPr/>
            </a:lvl1pPr>
          </a:lstStyle>
          <a:p>
            <a:pPr>
              <a:defRPr/>
            </a:pPr>
            <a:fld id="{5346966D-A075-4CF0-B07C-C0372CFC9B1B}" type="slidenum">
              <a:rPr lang="es-ES"/>
              <a:pPr>
                <a:defRPr/>
              </a:pPr>
              <a:t>‹#›</a:t>
            </a:fld>
            <a:endParaRPr lang="es-ES" dirty="0"/>
          </a:p>
        </p:txBody>
      </p:sp>
    </p:spTree>
    <p:extLst>
      <p:ext uri="{BB962C8B-B14F-4D97-AF65-F5344CB8AC3E}">
        <p14:creationId xmlns:p14="http://schemas.microsoft.com/office/powerpoint/2010/main" xmlns="" val="3573362222"/>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ítulo y tabla">
    <p:spTree>
      <p:nvGrpSpPr>
        <p:cNvPr id="1" name=""/>
        <p:cNvGrpSpPr/>
        <p:nvPr/>
      </p:nvGrpSpPr>
      <p:grpSpPr>
        <a:xfrm>
          <a:off x="0" y="0"/>
          <a:ext cx="0" cy="0"/>
          <a:chOff x="0" y="0"/>
          <a:chExt cx="0" cy="0"/>
        </a:xfrm>
      </p:grpSpPr>
      <p:sp>
        <p:nvSpPr>
          <p:cNvPr id="2" name="1 Rectángulo"/>
          <p:cNvSpPr/>
          <p:nvPr userDrawn="1"/>
        </p:nvSpPr>
        <p:spPr bwMode="auto">
          <a:xfrm>
            <a:off x="0" y="-26987"/>
            <a:ext cx="9144000" cy="831851"/>
          </a:xfrm>
          <a:prstGeom prst="rect">
            <a:avLst/>
          </a:prstGeom>
          <a:solidFill>
            <a:schemeClr val="bg1">
              <a:lumMod val="95000"/>
            </a:schemeClr>
          </a:solidFill>
          <a:ln w="9525" cap="flat" cmpd="sng" algn="ctr">
            <a:noFill/>
            <a:prstDash val="solid"/>
            <a:round/>
            <a:headEnd type="none" w="med" len="med"/>
            <a:tailEnd type="none" w="med" len="med"/>
          </a:ln>
          <a:effectLst/>
          <a:extLst/>
        </p:spPr>
        <p:txBody>
          <a:bodyPr wrap="none" lIns="0" tIns="0" rIns="0" bIns="0" anchor="ctr"/>
          <a:lstStyle/>
          <a:p>
            <a:pPr fontAlgn="base">
              <a:spcBef>
                <a:spcPct val="0"/>
              </a:spcBef>
              <a:spcAft>
                <a:spcPct val="0"/>
              </a:spcAft>
              <a:defRPr/>
            </a:pPr>
            <a:endParaRPr lang="es-ES" sz="1200" b="1" dirty="0">
              <a:solidFill>
                <a:srgbClr val="043F52"/>
              </a:solidFill>
              <a:latin typeface="TheSansCorrespondence" pitchFamily="34" charset="0"/>
              <a:cs typeface="MS PGothic"/>
            </a:endParaRPr>
          </a:p>
        </p:txBody>
      </p:sp>
      <p:sp>
        <p:nvSpPr>
          <p:cNvPr id="3" name="3 Marcador de número de diapositiva"/>
          <p:cNvSpPr>
            <a:spLocks noGrp="1"/>
          </p:cNvSpPr>
          <p:nvPr>
            <p:ph type="sldNum" sz="quarter" idx="10"/>
          </p:nvPr>
        </p:nvSpPr>
        <p:spPr/>
        <p:txBody>
          <a:bodyPr/>
          <a:lstStyle>
            <a:lvl1pPr>
              <a:defRPr/>
            </a:lvl1pPr>
          </a:lstStyle>
          <a:p>
            <a:pPr>
              <a:defRPr/>
            </a:pPr>
            <a:fld id="{DD67165D-BBC5-4216-9BB7-E517FDF1FB26}" type="slidenum">
              <a:rPr lang="es-ES"/>
              <a:pPr>
                <a:defRPr/>
              </a:pPr>
              <a:t>‹#›</a:t>
            </a:fld>
            <a:endParaRPr lang="es-ES" dirty="0"/>
          </a:p>
        </p:txBody>
      </p:sp>
    </p:spTree>
    <p:extLst>
      <p:ext uri="{BB962C8B-B14F-4D97-AF65-F5344CB8AC3E}">
        <p14:creationId xmlns:p14="http://schemas.microsoft.com/office/powerpoint/2010/main" xmlns="" val="2823128612"/>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611260559"/>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noProof="0" smtClean="0"/>
              <a:t>Haga clic para modificar el estilo de título del patrón</a:t>
            </a:r>
            <a:endParaRPr lang="es-ES" dirty="0"/>
          </a:p>
        </p:txBody>
      </p:sp>
      <p:sp>
        <p:nvSpPr>
          <p:cNvPr id="3" name="2 Marcador de contenido"/>
          <p:cNvSpPr>
            <a:spLocks noGrp="1"/>
          </p:cNvSpPr>
          <p:nvPr>
            <p:ph idx="1"/>
          </p:nvPr>
        </p:nvSpPr>
        <p:spPr>
          <a:xfrm>
            <a:off x="467544" y="1556793"/>
            <a:ext cx="8229600" cy="4525963"/>
          </a:xfrm>
        </p:spPr>
        <p:txBody>
          <a:bodyPr/>
          <a:lstStyle>
            <a:lvl1pPr marL="342900" marR="0" indent="-342900" algn="l" defTabSz="914400" rtl="0" eaLnBrk="0" fontAlgn="base" latinLnBrk="0" hangingPunct="0">
              <a:lnSpc>
                <a:spcPct val="100000"/>
              </a:lnSpc>
              <a:spcBef>
                <a:spcPct val="20000"/>
              </a:spcBef>
              <a:spcAft>
                <a:spcPct val="0"/>
              </a:spcAft>
              <a:buClr>
                <a:srgbClr val="00C6D7"/>
              </a:buClr>
              <a:buSzPct val="200000"/>
              <a:buFontTx/>
              <a:buChar char="•"/>
              <a:tabLst/>
              <a:defRPr/>
            </a:lvl1pPr>
            <a:lvl2pPr marL="742950" marR="0" indent="-285750" algn="l" defTabSz="914400" rtl="0" eaLnBrk="0" fontAlgn="base" latinLnBrk="0" hangingPunct="0">
              <a:lnSpc>
                <a:spcPct val="100000"/>
              </a:lnSpc>
              <a:spcBef>
                <a:spcPct val="20000"/>
              </a:spcBef>
              <a:spcAft>
                <a:spcPct val="0"/>
              </a:spcAft>
              <a:buClr>
                <a:srgbClr val="00C6D7"/>
              </a:buClr>
              <a:buSzTx/>
              <a:buFont typeface="Wingdings" pitchFamily="2" charset="2"/>
              <a:buChar char="§"/>
              <a:tabLst/>
              <a:defRPr/>
            </a:lvl2pPr>
            <a:lvl3pPr marL="1143000" marR="0" indent="-228600" algn="l" defTabSz="914400" rtl="0" eaLnBrk="0" fontAlgn="base" latinLnBrk="0" hangingPunct="0">
              <a:lnSpc>
                <a:spcPct val="100000"/>
              </a:lnSpc>
              <a:spcBef>
                <a:spcPct val="20000"/>
              </a:spcBef>
              <a:spcAft>
                <a:spcPct val="0"/>
              </a:spcAft>
              <a:buClr>
                <a:srgbClr val="123E51"/>
              </a:buClr>
              <a:buSzTx/>
              <a:buFontTx/>
              <a:buChar char="•"/>
              <a:tabLst/>
              <a:defRPr/>
            </a:lvl3pPr>
          </a:lstStyle>
          <a:p>
            <a:pPr lvl="0"/>
            <a:r>
              <a:rPr lang="es-ES" noProof="0" smtClean="0"/>
              <a:t>Haga clic para modificar el estilo de texto del patrón</a:t>
            </a:r>
          </a:p>
          <a:p>
            <a:pPr lvl="1"/>
            <a:r>
              <a:rPr lang="es-ES" noProof="0" smtClean="0"/>
              <a:t>Segundo nivel</a:t>
            </a:r>
          </a:p>
          <a:p>
            <a:pPr lvl="2"/>
            <a:r>
              <a:rPr lang="es-ES" noProof="0" smtClean="0"/>
              <a:t>Tercer nivel</a:t>
            </a:r>
          </a:p>
          <a:p>
            <a:pPr lvl="3"/>
            <a:r>
              <a:rPr lang="es-ES" noProof="0" smtClean="0"/>
              <a:t>Cuarto nivel</a:t>
            </a:r>
          </a:p>
          <a:p>
            <a:pPr lvl="4"/>
            <a:r>
              <a:rPr lang="es-ES" noProof="0" smtClean="0"/>
              <a:t>Quinto nivel</a:t>
            </a:r>
            <a:endParaRPr lang="en-GB" noProof="0" dirty="0" smtClean="0"/>
          </a:p>
        </p:txBody>
      </p:sp>
    </p:spTree>
    <p:extLst>
      <p:ext uri="{BB962C8B-B14F-4D97-AF65-F5344CB8AC3E}">
        <p14:creationId xmlns:p14="http://schemas.microsoft.com/office/powerpoint/2010/main" xmlns="" val="1588076589"/>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Solo titulo Def">
    <p:spTree>
      <p:nvGrpSpPr>
        <p:cNvPr id="1" name=""/>
        <p:cNvGrpSpPr/>
        <p:nvPr/>
      </p:nvGrpSpPr>
      <p:grpSpPr>
        <a:xfrm>
          <a:off x="0" y="0"/>
          <a:ext cx="0" cy="0"/>
          <a:chOff x="0" y="0"/>
          <a:chExt cx="0" cy="0"/>
        </a:xfrm>
      </p:grpSpPr>
      <p:sp>
        <p:nvSpPr>
          <p:cNvPr id="2" name="1 Título"/>
          <p:cNvSpPr>
            <a:spLocks noGrp="1"/>
          </p:cNvSpPr>
          <p:nvPr>
            <p:ph type="title"/>
          </p:nvPr>
        </p:nvSpPr>
        <p:spPr>
          <a:xfrm>
            <a:off x="285269" y="93847"/>
            <a:ext cx="8573878" cy="534368"/>
          </a:xfrm>
        </p:spPr>
        <p:txBody>
          <a:bodyPr/>
          <a:lstStyle/>
          <a:p>
            <a:r>
              <a:rPr lang="es-ES" dirty="0" smtClean="0"/>
              <a:t>Haga clic para modificar el estilo de título del patrón</a:t>
            </a:r>
            <a:endParaRPr lang="en-GB" dirty="0"/>
          </a:p>
        </p:txBody>
      </p:sp>
    </p:spTree>
    <p:extLst>
      <p:ext uri="{BB962C8B-B14F-4D97-AF65-F5344CB8AC3E}">
        <p14:creationId xmlns:p14="http://schemas.microsoft.com/office/powerpoint/2010/main" xmlns="" val="1466870406"/>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681" y="2130431"/>
            <a:ext cx="7772638" cy="996033"/>
          </a:xfrm>
        </p:spPr>
        <p:txBody>
          <a:bodyPr/>
          <a:lstStyle/>
          <a:p>
            <a:r>
              <a:rPr lang="es-ES" smtClean="0"/>
              <a:t>Haga clic para modificar el estilo de título del patrón</a:t>
            </a:r>
            <a:endParaRPr lang="es-ES"/>
          </a:p>
        </p:txBody>
      </p:sp>
      <p:sp>
        <p:nvSpPr>
          <p:cNvPr id="3" name="2 Subtítulo"/>
          <p:cNvSpPr>
            <a:spLocks noGrp="1"/>
          </p:cNvSpPr>
          <p:nvPr>
            <p:ph type="subTitle" idx="1"/>
          </p:nvPr>
        </p:nvSpPr>
        <p:spPr>
          <a:xfrm>
            <a:off x="1371362" y="3886200"/>
            <a:ext cx="6401276"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s-ES" smtClean="0"/>
              <a:t>Haga clic para modificar el estilo de subtítulo del patrón</a:t>
            </a:r>
            <a:endParaRPr lang="es-ES"/>
          </a:p>
        </p:txBody>
      </p:sp>
    </p:spTree>
    <p:extLst>
      <p:ext uri="{BB962C8B-B14F-4D97-AF65-F5344CB8AC3E}">
        <p14:creationId xmlns:p14="http://schemas.microsoft.com/office/powerpoint/2010/main" xmlns="" val="3567768781"/>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En blancob">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047398107"/>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contenido"/>
          <p:cNvSpPr>
            <a:spLocks noGrp="1"/>
          </p:cNvSpPr>
          <p:nvPr>
            <p:ph sz="half" idx="1"/>
          </p:nvPr>
        </p:nvSpPr>
        <p:spPr>
          <a:xfrm>
            <a:off x="457201"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contenido"/>
          <p:cNvSpPr>
            <a:spLocks noGrp="1"/>
          </p:cNvSpPr>
          <p:nvPr>
            <p:ph sz="half" idx="2"/>
          </p:nvPr>
        </p:nvSpPr>
        <p:spPr>
          <a:xfrm>
            <a:off x="4648200"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4 Marcador de fecha"/>
          <p:cNvSpPr>
            <a:spLocks noGrp="1"/>
          </p:cNvSpPr>
          <p:nvPr>
            <p:ph type="dt" sz="half" idx="10"/>
          </p:nvPr>
        </p:nvSpPr>
        <p:spPr/>
        <p:txBody>
          <a:bodyPr/>
          <a:lstStyle/>
          <a:p>
            <a:fld id="{9D7593B1-B063-41D6-BC06-CB898DB180BD}" type="datetimeFigureOut">
              <a:rPr lang="es-ES" smtClean="0"/>
              <a:pPr/>
              <a:t>15/04/2013</a:t>
            </a:fld>
            <a:endParaRPr lang="es-ES"/>
          </a:p>
        </p:txBody>
      </p:sp>
      <p:sp>
        <p:nvSpPr>
          <p:cNvPr id="6" name="5 Marcador de pie de página"/>
          <p:cNvSpPr>
            <a:spLocks noGrp="1"/>
          </p:cNvSpPr>
          <p:nvPr>
            <p:ph type="ftr" sz="quarter" idx="11"/>
          </p:nvPr>
        </p:nvSpPr>
        <p:spPr/>
        <p:txBody>
          <a:bodyPr/>
          <a:lstStyle/>
          <a:p>
            <a:endParaRPr lang="es-ES"/>
          </a:p>
        </p:txBody>
      </p:sp>
      <p:sp>
        <p:nvSpPr>
          <p:cNvPr id="7" name="6 Marcador de número de diapositiva"/>
          <p:cNvSpPr>
            <a:spLocks noGrp="1"/>
          </p:cNvSpPr>
          <p:nvPr>
            <p:ph type="sldNum" sz="quarter" idx="12"/>
          </p:nvPr>
        </p:nvSpPr>
        <p:spPr/>
        <p:txBody>
          <a:bodyPr/>
          <a:lstStyle/>
          <a:p>
            <a:fld id="{70E0730B-A52F-4076-90DF-E38164315CE4}" type="slidenum">
              <a:rPr lang="es-ES" smtClean="0"/>
              <a:pPr/>
              <a:t>‹#›</a:t>
            </a:fld>
            <a:endParaRPr lang="es-ES"/>
          </a:p>
        </p:txBody>
      </p:sp>
    </p:spTree>
    <p:extLst>
      <p:ext uri="{BB962C8B-B14F-4D97-AF65-F5344CB8AC3E}">
        <p14:creationId xmlns:p14="http://schemas.microsoft.com/office/powerpoint/2010/main" xmlns="" val="2916896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chart">
  <p:cSld name="Título y gráfico">
    <p:spTree>
      <p:nvGrpSpPr>
        <p:cNvPr id="1" name=""/>
        <p:cNvGrpSpPr/>
        <p:nvPr/>
      </p:nvGrpSpPr>
      <p:grpSpPr>
        <a:xfrm>
          <a:off x="0" y="0"/>
          <a:ext cx="0" cy="0"/>
          <a:chOff x="0" y="0"/>
          <a:chExt cx="0" cy="0"/>
        </a:xfrm>
      </p:grpSpPr>
      <p:sp>
        <p:nvSpPr>
          <p:cNvPr id="2" name="1 Título"/>
          <p:cNvSpPr>
            <a:spLocks noGrp="1"/>
          </p:cNvSpPr>
          <p:nvPr>
            <p:ph type="title"/>
          </p:nvPr>
        </p:nvSpPr>
        <p:spPr>
          <a:xfrm>
            <a:off x="381000" y="190502"/>
            <a:ext cx="8229600" cy="534368"/>
          </a:xfrm>
        </p:spPr>
        <p:txBody>
          <a:bodyPr/>
          <a:lstStyle/>
          <a:p>
            <a:r>
              <a:rPr lang="es-ES" smtClean="0"/>
              <a:t>Haga clic para modificar el estilo de título del patrón</a:t>
            </a:r>
            <a:endParaRPr lang="es-ES"/>
          </a:p>
        </p:txBody>
      </p:sp>
      <p:sp>
        <p:nvSpPr>
          <p:cNvPr id="3" name="2 Marcador de gráfico"/>
          <p:cNvSpPr>
            <a:spLocks noGrp="1"/>
          </p:cNvSpPr>
          <p:nvPr>
            <p:ph type="chart" idx="1"/>
          </p:nvPr>
        </p:nvSpPr>
        <p:spPr>
          <a:xfrm>
            <a:off x="381000" y="1143000"/>
            <a:ext cx="8229600" cy="4953000"/>
          </a:xfrm>
        </p:spPr>
        <p:txBody>
          <a:bodyPr/>
          <a:lstStyle/>
          <a:p>
            <a:pPr lvl="0"/>
            <a:endParaRPr lang="es-ES" noProof="0"/>
          </a:p>
        </p:txBody>
      </p:sp>
    </p:spTree>
    <p:extLst>
      <p:ext uri="{BB962C8B-B14F-4D97-AF65-F5344CB8AC3E}">
        <p14:creationId xmlns:p14="http://schemas.microsoft.com/office/powerpoint/2010/main" xmlns="" val="4141032439"/>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4_Título y objetos">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xfrm>
            <a:off x="4383915" y="6496053"/>
            <a:ext cx="433313" cy="169863"/>
          </a:xfrm>
          <a:prstGeom prst="rect">
            <a:avLst/>
          </a:prstGeom>
        </p:spPr>
        <p:txBody>
          <a:bodyPr/>
          <a:lstStyle>
            <a:lvl1pPr algn="ctr" eaLnBrk="0" hangingPunct="0">
              <a:defRPr/>
            </a:lvl1pPr>
          </a:lstStyle>
          <a:p>
            <a:pPr fontAlgn="base">
              <a:spcBef>
                <a:spcPct val="0"/>
              </a:spcBef>
              <a:spcAft>
                <a:spcPct val="0"/>
              </a:spcAft>
              <a:defRPr/>
            </a:pPr>
            <a:fld id="{B8D5F185-7D4F-4972-BAB6-86A43AB464E2}" type="slidenum">
              <a:rPr lang="es-ES" sz="1200" b="1">
                <a:solidFill>
                  <a:srgbClr val="123E51"/>
                </a:solidFill>
                <a:latin typeface="TheSansCorrespondence" pitchFamily="34" charset="0"/>
              </a:rPr>
              <a:pPr fontAlgn="base">
                <a:spcBef>
                  <a:spcPct val="0"/>
                </a:spcBef>
                <a:spcAft>
                  <a:spcPct val="0"/>
                </a:spcAft>
                <a:defRPr/>
              </a:pPr>
              <a:t>‹#›</a:t>
            </a:fld>
            <a:endParaRPr lang="es-ES" sz="1200" b="1" dirty="0">
              <a:solidFill>
                <a:srgbClr val="123E51"/>
              </a:solidFill>
              <a:latin typeface="TheSansCorrespondence" pitchFamily="34" charset="0"/>
            </a:endParaRPr>
          </a:p>
        </p:txBody>
      </p:sp>
    </p:spTree>
    <p:extLst>
      <p:ext uri="{BB962C8B-B14F-4D97-AF65-F5344CB8AC3E}">
        <p14:creationId xmlns:p14="http://schemas.microsoft.com/office/powerpoint/2010/main" xmlns="" val="3816239641"/>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a:xfrm>
            <a:off x="411313" y="274655"/>
            <a:ext cx="7944057" cy="996033"/>
          </a:xfrm>
        </p:spPr>
        <p:txBody>
          <a:bodyPr/>
          <a:lstStyle/>
          <a:p>
            <a:r>
              <a:rPr lang="es-ES" smtClean="0"/>
              <a:t>Haga clic para modificar el estilo de título del patrón</a:t>
            </a:r>
            <a:endParaRPr lang="es-ES"/>
          </a:p>
        </p:txBody>
      </p:sp>
      <p:sp>
        <p:nvSpPr>
          <p:cNvPr id="3" name="2 Marcador de número de diapositiva"/>
          <p:cNvSpPr>
            <a:spLocks noGrp="1"/>
          </p:cNvSpPr>
          <p:nvPr>
            <p:ph type="sldNum" sz="quarter" idx="10"/>
          </p:nvPr>
        </p:nvSpPr>
        <p:spPr>
          <a:xfrm>
            <a:off x="4383915" y="6497641"/>
            <a:ext cx="434899" cy="168275"/>
          </a:xfrm>
          <a:prstGeom prst="rect">
            <a:avLst/>
          </a:prstGeom>
        </p:spPr>
        <p:txBody>
          <a:bodyPr/>
          <a:lstStyle>
            <a:lvl1pPr algn="ctr" eaLnBrk="0" hangingPunct="0">
              <a:defRPr/>
            </a:lvl1pPr>
          </a:lstStyle>
          <a:p>
            <a:pPr fontAlgn="base">
              <a:spcBef>
                <a:spcPct val="0"/>
              </a:spcBef>
              <a:spcAft>
                <a:spcPct val="0"/>
              </a:spcAft>
              <a:defRPr/>
            </a:pPr>
            <a:fld id="{E6F37808-371A-4640-9D05-FC776335496A}" type="slidenum">
              <a:rPr lang="es-ES" sz="1200" b="1">
                <a:solidFill>
                  <a:srgbClr val="123E51"/>
                </a:solidFill>
                <a:latin typeface="TheSansCorrespondence" pitchFamily="34" charset="0"/>
              </a:rPr>
              <a:pPr fontAlgn="base">
                <a:spcBef>
                  <a:spcPct val="0"/>
                </a:spcBef>
                <a:spcAft>
                  <a:spcPct val="0"/>
                </a:spcAft>
                <a:defRPr/>
              </a:pPr>
              <a:t>‹#›</a:t>
            </a:fld>
            <a:endParaRPr lang="es-ES" sz="1200" b="1">
              <a:solidFill>
                <a:srgbClr val="123E51"/>
              </a:solidFill>
              <a:latin typeface="TheSansCorrespondence" pitchFamily="34" charset="0"/>
            </a:endParaRPr>
          </a:p>
        </p:txBody>
      </p:sp>
    </p:spTree>
    <p:extLst>
      <p:ext uri="{BB962C8B-B14F-4D97-AF65-F5344CB8AC3E}">
        <p14:creationId xmlns:p14="http://schemas.microsoft.com/office/powerpoint/2010/main" xmlns="" val="3966475812"/>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05526832"/>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noProof="0" smtClean="0"/>
              <a:t>Haga clic para modificar el estilo de título del patrón</a:t>
            </a:r>
            <a:endParaRPr lang="es-ES" dirty="0"/>
          </a:p>
        </p:txBody>
      </p:sp>
      <p:sp>
        <p:nvSpPr>
          <p:cNvPr id="3" name="2 Marcador de contenido"/>
          <p:cNvSpPr>
            <a:spLocks noGrp="1"/>
          </p:cNvSpPr>
          <p:nvPr>
            <p:ph idx="1"/>
          </p:nvPr>
        </p:nvSpPr>
        <p:spPr>
          <a:xfrm>
            <a:off x="467544" y="1556793"/>
            <a:ext cx="8229600" cy="4525963"/>
          </a:xfrm>
        </p:spPr>
        <p:txBody>
          <a:bodyPr/>
          <a:lstStyle>
            <a:lvl1pPr marL="342900" marR="0" indent="-342900" algn="l" defTabSz="914400" rtl="0" eaLnBrk="0" fontAlgn="base" latinLnBrk="0" hangingPunct="0">
              <a:lnSpc>
                <a:spcPct val="100000"/>
              </a:lnSpc>
              <a:spcBef>
                <a:spcPct val="20000"/>
              </a:spcBef>
              <a:spcAft>
                <a:spcPct val="0"/>
              </a:spcAft>
              <a:buClr>
                <a:srgbClr val="00C6D7"/>
              </a:buClr>
              <a:buSzPct val="200000"/>
              <a:buFontTx/>
              <a:buChar char="•"/>
              <a:tabLst/>
              <a:defRPr/>
            </a:lvl1pPr>
            <a:lvl2pPr marL="742950" marR="0" indent="-285750" algn="l" defTabSz="914400" rtl="0" eaLnBrk="0" fontAlgn="base" latinLnBrk="0" hangingPunct="0">
              <a:lnSpc>
                <a:spcPct val="100000"/>
              </a:lnSpc>
              <a:spcBef>
                <a:spcPct val="20000"/>
              </a:spcBef>
              <a:spcAft>
                <a:spcPct val="0"/>
              </a:spcAft>
              <a:buClr>
                <a:srgbClr val="00C6D7"/>
              </a:buClr>
              <a:buSzTx/>
              <a:buFont typeface="Wingdings" pitchFamily="2" charset="2"/>
              <a:buChar char="§"/>
              <a:tabLst/>
              <a:defRPr/>
            </a:lvl2pPr>
            <a:lvl3pPr marL="1143000" marR="0" indent="-228600" algn="l" defTabSz="914400" rtl="0" eaLnBrk="0" fontAlgn="base" latinLnBrk="0" hangingPunct="0">
              <a:lnSpc>
                <a:spcPct val="100000"/>
              </a:lnSpc>
              <a:spcBef>
                <a:spcPct val="20000"/>
              </a:spcBef>
              <a:spcAft>
                <a:spcPct val="0"/>
              </a:spcAft>
              <a:buClr>
                <a:srgbClr val="123E51"/>
              </a:buClr>
              <a:buSzTx/>
              <a:buFontTx/>
              <a:buChar char="•"/>
              <a:tabLst/>
              <a:defRPr/>
            </a:lvl3pPr>
          </a:lstStyle>
          <a:p>
            <a:pPr lvl="0"/>
            <a:r>
              <a:rPr lang="es-ES" noProof="0" smtClean="0"/>
              <a:t>Haga clic para modificar el estilo de texto del patrón</a:t>
            </a:r>
          </a:p>
          <a:p>
            <a:pPr lvl="1"/>
            <a:r>
              <a:rPr lang="es-ES" noProof="0" smtClean="0"/>
              <a:t>Segundo nivel</a:t>
            </a:r>
          </a:p>
          <a:p>
            <a:pPr lvl="2"/>
            <a:r>
              <a:rPr lang="es-ES" noProof="0" smtClean="0"/>
              <a:t>Tercer nivel</a:t>
            </a:r>
          </a:p>
          <a:p>
            <a:pPr lvl="3"/>
            <a:r>
              <a:rPr lang="es-ES" noProof="0" smtClean="0"/>
              <a:t>Cuarto nivel</a:t>
            </a:r>
          </a:p>
          <a:p>
            <a:pPr lvl="4"/>
            <a:r>
              <a:rPr lang="es-ES" noProof="0" smtClean="0"/>
              <a:t>Quinto nivel</a:t>
            </a:r>
            <a:endParaRPr lang="en-GB" noProof="0" dirty="0" smtClean="0"/>
          </a:p>
        </p:txBody>
      </p:sp>
    </p:spTree>
    <p:extLst>
      <p:ext uri="{BB962C8B-B14F-4D97-AF65-F5344CB8AC3E}">
        <p14:creationId xmlns:p14="http://schemas.microsoft.com/office/powerpoint/2010/main" xmlns="" val="3456430284"/>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Solo titulo Def">
    <p:spTree>
      <p:nvGrpSpPr>
        <p:cNvPr id="1" name=""/>
        <p:cNvGrpSpPr/>
        <p:nvPr/>
      </p:nvGrpSpPr>
      <p:grpSpPr>
        <a:xfrm>
          <a:off x="0" y="0"/>
          <a:ext cx="0" cy="0"/>
          <a:chOff x="0" y="0"/>
          <a:chExt cx="0" cy="0"/>
        </a:xfrm>
      </p:grpSpPr>
      <p:sp>
        <p:nvSpPr>
          <p:cNvPr id="2" name="1 Título"/>
          <p:cNvSpPr>
            <a:spLocks noGrp="1"/>
          </p:cNvSpPr>
          <p:nvPr>
            <p:ph type="title"/>
          </p:nvPr>
        </p:nvSpPr>
        <p:spPr>
          <a:xfrm>
            <a:off x="285268" y="93847"/>
            <a:ext cx="8573878" cy="534368"/>
          </a:xfrm>
        </p:spPr>
        <p:txBody>
          <a:bodyPr/>
          <a:lstStyle/>
          <a:p>
            <a:r>
              <a:rPr lang="es-ES" dirty="0" smtClean="0"/>
              <a:t>Haga clic para modificar el estilo de título del patrón</a:t>
            </a:r>
            <a:endParaRPr lang="en-GB" dirty="0"/>
          </a:p>
        </p:txBody>
      </p:sp>
    </p:spTree>
    <p:extLst>
      <p:ext uri="{BB962C8B-B14F-4D97-AF65-F5344CB8AC3E}">
        <p14:creationId xmlns:p14="http://schemas.microsoft.com/office/powerpoint/2010/main" xmlns="" val="2059116739"/>
      </p:ext>
    </p:extLst>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681" y="2130429"/>
            <a:ext cx="7772638" cy="996033"/>
          </a:xfrm>
        </p:spPr>
        <p:txBody>
          <a:bodyPr/>
          <a:lstStyle/>
          <a:p>
            <a:r>
              <a:rPr lang="es-ES" smtClean="0"/>
              <a:t>Haga clic para modificar el estilo de título del patrón</a:t>
            </a:r>
            <a:endParaRPr lang="es-ES"/>
          </a:p>
        </p:txBody>
      </p:sp>
      <p:sp>
        <p:nvSpPr>
          <p:cNvPr id="3" name="2 Subtítulo"/>
          <p:cNvSpPr>
            <a:spLocks noGrp="1"/>
          </p:cNvSpPr>
          <p:nvPr>
            <p:ph type="subTitle" idx="1"/>
          </p:nvPr>
        </p:nvSpPr>
        <p:spPr>
          <a:xfrm>
            <a:off x="1371362" y="3886200"/>
            <a:ext cx="6401276"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s-ES" smtClean="0"/>
              <a:t>Haga clic para modificar el estilo de subtítulo del patrón</a:t>
            </a:r>
            <a:endParaRPr lang="es-ES"/>
          </a:p>
        </p:txBody>
      </p:sp>
    </p:spTree>
    <p:extLst>
      <p:ext uri="{BB962C8B-B14F-4D97-AF65-F5344CB8AC3E}">
        <p14:creationId xmlns:p14="http://schemas.microsoft.com/office/powerpoint/2010/main" xmlns="" val="2109155234"/>
      </p:ext>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En blancob">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844998503"/>
      </p:ext>
    </p:extLst>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chart">
  <p:cSld name="Título y gráfico">
    <p:spTree>
      <p:nvGrpSpPr>
        <p:cNvPr id="1" name=""/>
        <p:cNvGrpSpPr/>
        <p:nvPr/>
      </p:nvGrpSpPr>
      <p:grpSpPr>
        <a:xfrm>
          <a:off x="0" y="0"/>
          <a:ext cx="0" cy="0"/>
          <a:chOff x="0" y="0"/>
          <a:chExt cx="0" cy="0"/>
        </a:xfrm>
      </p:grpSpPr>
      <p:sp>
        <p:nvSpPr>
          <p:cNvPr id="2" name="1 Título"/>
          <p:cNvSpPr>
            <a:spLocks noGrp="1"/>
          </p:cNvSpPr>
          <p:nvPr>
            <p:ph type="title"/>
          </p:nvPr>
        </p:nvSpPr>
        <p:spPr>
          <a:xfrm>
            <a:off x="381000" y="190502"/>
            <a:ext cx="8229600" cy="534368"/>
          </a:xfrm>
        </p:spPr>
        <p:txBody>
          <a:bodyPr/>
          <a:lstStyle/>
          <a:p>
            <a:r>
              <a:rPr lang="es-ES" smtClean="0"/>
              <a:t>Haga clic para modificar el estilo de título del patrón</a:t>
            </a:r>
            <a:endParaRPr lang="es-ES"/>
          </a:p>
        </p:txBody>
      </p:sp>
      <p:sp>
        <p:nvSpPr>
          <p:cNvPr id="3" name="2 Marcador de gráfico"/>
          <p:cNvSpPr>
            <a:spLocks noGrp="1"/>
          </p:cNvSpPr>
          <p:nvPr>
            <p:ph type="chart" idx="1"/>
          </p:nvPr>
        </p:nvSpPr>
        <p:spPr>
          <a:xfrm>
            <a:off x="381000" y="1143000"/>
            <a:ext cx="8229600" cy="4953000"/>
          </a:xfrm>
        </p:spPr>
        <p:txBody>
          <a:bodyPr/>
          <a:lstStyle/>
          <a:p>
            <a:pPr lvl="0"/>
            <a:endParaRPr lang="es-ES" noProof="0"/>
          </a:p>
        </p:txBody>
      </p:sp>
    </p:spTree>
    <p:extLst>
      <p:ext uri="{BB962C8B-B14F-4D97-AF65-F5344CB8AC3E}">
        <p14:creationId xmlns:p14="http://schemas.microsoft.com/office/powerpoint/2010/main" xmlns="" val="3275429170"/>
      </p:ext>
    </p:extLst>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_Título y objetos">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xfrm>
            <a:off x="4383914" y="6496051"/>
            <a:ext cx="433313" cy="169863"/>
          </a:xfrm>
          <a:prstGeom prst="rect">
            <a:avLst/>
          </a:prstGeom>
        </p:spPr>
        <p:txBody>
          <a:bodyPr/>
          <a:lstStyle>
            <a:lvl1pPr algn="ctr" eaLnBrk="0" hangingPunct="0">
              <a:defRPr/>
            </a:lvl1pPr>
          </a:lstStyle>
          <a:p>
            <a:pPr fontAlgn="base">
              <a:spcBef>
                <a:spcPct val="0"/>
              </a:spcBef>
              <a:spcAft>
                <a:spcPct val="0"/>
              </a:spcAft>
              <a:defRPr/>
            </a:pPr>
            <a:fld id="{B8D5F185-7D4F-4972-BAB6-86A43AB464E2}" type="slidenum">
              <a:rPr lang="es-ES" sz="1200" b="1">
                <a:solidFill>
                  <a:srgbClr val="123E51"/>
                </a:solidFill>
                <a:latin typeface="TheSansCorrespondence" pitchFamily="34" charset="0"/>
              </a:rPr>
              <a:pPr fontAlgn="base">
                <a:spcBef>
                  <a:spcPct val="0"/>
                </a:spcBef>
                <a:spcAft>
                  <a:spcPct val="0"/>
                </a:spcAft>
                <a:defRPr/>
              </a:pPr>
              <a:t>‹#›</a:t>
            </a:fld>
            <a:endParaRPr lang="es-ES" sz="1200" b="1" dirty="0">
              <a:solidFill>
                <a:srgbClr val="123E51"/>
              </a:solidFill>
              <a:latin typeface="TheSansCorrespondence" pitchFamily="34" charset="0"/>
            </a:endParaRPr>
          </a:p>
        </p:txBody>
      </p:sp>
    </p:spTree>
    <p:extLst>
      <p:ext uri="{BB962C8B-B14F-4D97-AF65-F5344CB8AC3E}">
        <p14:creationId xmlns:p14="http://schemas.microsoft.com/office/powerpoint/2010/main" xmlns="" val="1388147335"/>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4 Marcador de texto"/>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7" name="6 Marcador de fecha"/>
          <p:cNvSpPr>
            <a:spLocks noGrp="1"/>
          </p:cNvSpPr>
          <p:nvPr>
            <p:ph type="dt" sz="half" idx="10"/>
          </p:nvPr>
        </p:nvSpPr>
        <p:spPr/>
        <p:txBody>
          <a:bodyPr/>
          <a:lstStyle/>
          <a:p>
            <a:fld id="{9D7593B1-B063-41D6-BC06-CB898DB180BD}" type="datetimeFigureOut">
              <a:rPr lang="es-ES" smtClean="0"/>
              <a:pPr/>
              <a:t>15/04/2013</a:t>
            </a:fld>
            <a:endParaRPr lang="es-ES"/>
          </a:p>
        </p:txBody>
      </p:sp>
      <p:sp>
        <p:nvSpPr>
          <p:cNvPr id="8" name="7 Marcador de pie de página"/>
          <p:cNvSpPr>
            <a:spLocks noGrp="1"/>
          </p:cNvSpPr>
          <p:nvPr>
            <p:ph type="ftr" sz="quarter" idx="11"/>
          </p:nvPr>
        </p:nvSpPr>
        <p:spPr/>
        <p:txBody>
          <a:bodyPr/>
          <a:lstStyle/>
          <a:p>
            <a:endParaRPr lang="es-ES"/>
          </a:p>
        </p:txBody>
      </p:sp>
      <p:sp>
        <p:nvSpPr>
          <p:cNvPr id="9" name="8 Marcador de número de diapositiva"/>
          <p:cNvSpPr>
            <a:spLocks noGrp="1"/>
          </p:cNvSpPr>
          <p:nvPr>
            <p:ph type="sldNum" sz="quarter" idx="12"/>
          </p:nvPr>
        </p:nvSpPr>
        <p:spPr/>
        <p:txBody>
          <a:bodyPr/>
          <a:lstStyle/>
          <a:p>
            <a:fld id="{70E0730B-A52F-4076-90DF-E38164315CE4}" type="slidenum">
              <a:rPr lang="es-ES" smtClean="0"/>
              <a:pPr/>
              <a:t>‹#›</a:t>
            </a:fld>
            <a:endParaRPr lang="es-ES"/>
          </a:p>
        </p:txBody>
      </p:sp>
    </p:spTree>
    <p:extLst>
      <p:ext uri="{BB962C8B-B14F-4D97-AF65-F5344CB8AC3E}">
        <p14:creationId xmlns:p14="http://schemas.microsoft.com/office/powerpoint/2010/main" xmlns="" val="72917293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a:xfrm>
            <a:off x="411312" y="274655"/>
            <a:ext cx="7944057" cy="996033"/>
          </a:xfrm>
        </p:spPr>
        <p:txBody>
          <a:bodyPr/>
          <a:lstStyle/>
          <a:p>
            <a:r>
              <a:rPr lang="es-ES" smtClean="0"/>
              <a:t>Haga clic para modificar el estilo de título del patrón</a:t>
            </a:r>
            <a:endParaRPr lang="es-ES"/>
          </a:p>
        </p:txBody>
      </p:sp>
      <p:sp>
        <p:nvSpPr>
          <p:cNvPr id="3" name="2 Marcador de número de diapositiva"/>
          <p:cNvSpPr>
            <a:spLocks noGrp="1"/>
          </p:cNvSpPr>
          <p:nvPr>
            <p:ph type="sldNum" sz="quarter" idx="10"/>
          </p:nvPr>
        </p:nvSpPr>
        <p:spPr>
          <a:xfrm>
            <a:off x="4383914" y="6497639"/>
            <a:ext cx="434899" cy="168275"/>
          </a:xfrm>
          <a:prstGeom prst="rect">
            <a:avLst/>
          </a:prstGeom>
        </p:spPr>
        <p:txBody>
          <a:bodyPr/>
          <a:lstStyle>
            <a:lvl1pPr algn="ctr" eaLnBrk="0" hangingPunct="0">
              <a:defRPr/>
            </a:lvl1pPr>
          </a:lstStyle>
          <a:p>
            <a:pPr fontAlgn="base">
              <a:spcBef>
                <a:spcPct val="0"/>
              </a:spcBef>
              <a:spcAft>
                <a:spcPct val="0"/>
              </a:spcAft>
              <a:defRPr/>
            </a:pPr>
            <a:fld id="{E6F37808-371A-4640-9D05-FC776335496A}" type="slidenum">
              <a:rPr lang="es-ES" sz="1200" b="1">
                <a:solidFill>
                  <a:srgbClr val="123E51"/>
                </a:solidFill>
                <a:latin typeface="TheSansCorrespondence" pitchFamily="34" charset="0"/>
              </a:rPr>
              <a:pPr fontAlgn="base">
                <a:spcBef>
                  <a:spcPct val="0"/>
                </a:spcBef>
                <a:spcAft>
                  <a:spcPct val="0"/>
                </a:spcAft>
                <a:defRPr/>
              </a:pPr>
              <a:t>‹#›</a:t>
            </a:fld>
            <a:endParaRPr lang="es-ES" sz="1200" b="1">
              <a:solidFill>
                <a:srgbClr val="123E51"/>
              </a:solidFill>
              <a:latin typeface="TheSansCorrespondence" pitchFamily="34" charset="0"/>
            </a:endParaRPr>
          </a:p>
        </p:txBody>
      </p:sp>
    </p:spTree>
    <p:extLst>
      <p:ext uri="{BB962C8B-B14F-4D97-AF65-F5344CB8AC3E}">
        <p14:creationId xmlns:p14="http://schemas.microsoft.com/office/powerpoint/2010/main" xmlns="" val="892693371"/>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fecha"/>
          <p:cNvSpPr>
            <a:spLocks noGrp="1"/>
          </p:cNvSpPr>
          <p:nvPr>
            <p:ph type="dt" sz="half" idx="10"/>
          </p:nvPr>
        </p:nvSpPr>
        <p:spPr/>
        <p:txBody>
          <a:bodyPr/>
          <a:lstStyle/>
          <a:p>
            <a:fld id="{9D7593B1-B063-41D6-BC06-CB898DB180BD}" type="datetimeFigureOut">
              <a:rPr lang="es-ES" smtClean="0"/>
              <a:pPr/>
              <a:t>15/04/2013</a:t>
            </a:fld>
            <a:endParaRPr lang="es-ES"/>
          </a:p>
        </p:txBody>
      </p:sp>
      <p:sp>
        <p:nvSpPr>
          <p:cNvPr id="4" name="3 Marcador de pie de página"/>
          <p:cNvSpPr>
            <a:spLocks noGrp="1"/>
          </p:cNvSpPr>
          <p:nvPr>
            <p:ph type="ftr" sz="quarter" idx="11"/>
          </p:nvPr>
        </p:nvSpPr>
        <p:spPr/>
        <p:txBody>
          <a:bodyPr/>
          <a:lstStyle/>
          <a:p>
            <a:endParaRPr lang="es-ES"/>
          </a:p>
        </p:txBody>
      </p:sp>
      <p:sp>
        <p:nvSpPr>
          <p:cNvPr id="5" name="4 Marcador de número de diapositiva"/>
          <p:cNvSpPr>
            <a:spLocks noGrp="1"/>
          </p:cNvSpPr>
          <p:nvPr>
            <p:ph type="sldNum" sz="quarter" idx="12"/>
          </p:nvPr>
        </p:nvSpPr>
        <p:spPr/>
        <p:txBody>
          <a:bodyPr/>
          <a:lstStyle/>
          <a:p>
            <a:fld id="{70E0730B-A52F-4076-90DF-E38164315CE4}" type="slidenum">
              <a:rPr lang="es-ES" smtClean="0"/>
              <a:pPr/>
              <a:t>‹#›</a:t>
            </a:fld>
            <a:endParaRPr lang="es-ES"/>
          </a:p>
        </p:txBody>
      </p:sp>
    </p:spTree>
    <p:extLst>
      <p:ext uri="{BB962C8B-B14F-4D97-AF65-F5344CB8AC3E}">
        <p14:creationId xmlns:p14="http://schemas.microsoft.com/office/powerpoint/2010/main" xmlns="" val="29355059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1 Marcador de fecha"/>
          <p:cNvSpPr>
            <a:spLocks noGrp="1"/>
          </p:cNvSpPr>
          <p:nvPr>
            <p:ph type="dt" sz="half" idx="10"/>
          </p:nvPr>
        </p:nvSpPr>
        <p:spPr/>
        <p:txBody>
          <a:bodyPr/>
          <a:lstStyle/>
          <a:p>
            <a:fld id="{9D7593B1-B063-41D6-BC06-CB898DB180BD}" type="datetimeFigureOut">
              <a:rPr lang="es-ES" smtClean="0"/>
              <a:pPr/>
              <a:t>15/04/2013</a:t>
            </a:fld>
            <a:endParaRPr lang="es-ES"/>
          </a:p>
        </p:txBody>
      </p:sp>
      <p:sp>
        <p:nvSpPr>
          <p:cNvPr id="3" name="2 Marcador de pie de página"/>
          <p:cNvSpPr>
            <a:spLocks noGrp="1"/>
          </p:cNvSpPr>
          <p:nvPr>
            <p:ph type="ftr" sz="quarter" idx="11"/>
          </p:nvPr>
        </p:nvSpPr>
        <p:spPr/>
        <p:txBody>
          <a:bodyPr/>
          <a:lstStyle/>
          <a:p>
            <a:endParaRPr lang="es-ES"/>
          </a:p>
        </p:txBody>
      </p:sp>
      <p:sp>
        <p:nvSpPr>
          <p:cNvPr id="4" name="3 Marcador de número de diapositiva"/>
          <p:cNvSpPr>
            <a:spLocks noGrp="1"/>
          </p:cNvSpPr>
          <p:nvPr>
            <p:ph type="sldNum" sz="quarter" idx="12"/>
          </p:nvPr>
        </p:nvSpPr>
        <p:spPr/>
        <p:txBody>
          <a:bodyPr/>
          <a:lstStyle/>
          <a:p>
            <a:fld id="{70E0730B-A52F-4076-90DF-E38164315CE4}" type="slidenum">
              <a:rPr lang="es-ES" smtClean="0"/>
              <a:pPr/>
              <a:t>‹#›</a:t>
            </a:fld>
            <a:endParaRPr lang="es-ES"/>
          </a:p>
        </p:txBody>
      </p:sp>
    </p:spTree>
    <p:extLst>
      <p:ext uri="{BB962C8B-B14F-4D97-AF65-F5344CB8AC3E}">
        <p14:creationId xmlns:p14="http://schemas.microsoft.com/office/powerpoint/2010/main" xmlns="" val="25957284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1" y="273050"/>
            <a:ext cx="3008313" cy="1162050"/>
          </a:xfrm>
        </p:spPr>
        <p:txBody>
          <a:bodyPr anchor="b"/>
          <a:lstStyle>
            <a:lvl1pPr algn="l">
              <a:defRPr sz="2000" b="1"/>
            </a:lvl1pPr>
          </a:lstStyle>
          <a:p>
            <a:r>
              <a:rPr lang="es-ES" smtClean="0"/>
              <a:t>Haga clic para modificar el estilo de título del patrón</a:t>
            </a:r>
            <a:endParaRPr lang="es-ES"/>
          </a:p>
        </p:txBody>
      </p:sp>
      <p:sp>
        <p:nvSpPr>
          <p:cNvPr id="3" name="2 Marcador de contenido"/>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texto"/>
          <p:cNvSpPr>
            <a:spLocks noGrp="1"/>
          </p:cNvSpPr>
          <p:nvPr>
            <p:ph type="body" sz="half" idx="2"/>
          </p:nvPr>
        </p:nvSpPr>
        <p:spPr>
          <a:xfrm>
            <a:off x="457201"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4 Marcador de fecha"/>
          <p:cNvSpPr>
            <a:spLocks noGrp="1"/>
          </p:cNvSpPr>
          <p:nvPr>
            <p:ph type="dt" sz="half" idx="10"/>
          </p:nvPr>
        </p:nvSpPr>
        <p:spPr/>
        <p:txBody>
          <a:bodyPr/>
          <a:lstStyle/>
          <a:p>
            <a:fld id="{9D7593B1-B063-41D6-BC06-CB898DB180BD}" type="datetimeFigureOut">
              <a:rPr lang="es-ES" smtClean="0"/>
              <a:pPr/>
              <a:t>15/04/2013</a:t>
            </a:fld>
            <a:endParaRPr lang="es-ES"/>
          </a:p>
        </p:txBody>
      </p:sp>
      <p:sp>
        <p:nvSpPr>
          <p:cNvPr id="6" name="5 Marcador de pie de página"/>
          <p:cNvSpPr>
            <a:spLocks noGrp="1"/>
          </p:cNvSpPr>
          <p:nvPr>
            <p:ph type="ftr" sz="quarter" idx="11"/>
          </p:nvPr>
        </p:nvSpPr>
        <p:spPr/>
        <p:txBody>
          <a:bodyPr/>
          <a:lstStyle/>
          <a:p>
            <a:endParaRPr lang="es-ES"/>
          </a:p>
        </p:txBody>
      </p:sp>
      <p:sp>
        <p:nvSpPr>
          <p:cNvPr id="7" name="6 Marcador de número de diapositiva"/>
          <p:cNvSpPr>
            <a:spLocks noGrp="1"/>
          </p:cNvSpPr>
          <p:nvPr>
            <p:ph type="sldNum" sz="quarter" idx="12"/>
          </p:nvPr>
        </p:nvSpPr>
        <p:spPr/>
        <p:txBody>
          <a:bodyPr/>
          <a:lstStyle/>
          <a:p>
            <a:fld id="{70E0730B-A52F-4076-90DF-E38164315CE4}" type="slidenum">
              <a:rPr lang="es-ES" smtClean="0"/>
              <a:pPr/>
              <a:t>‹#›</a:t>
            </a:fld>
            <a:endParaRPr lang="es-ES"/>
          </a:p>
        </p:txBody>
      </p:sp>
    </p:spTree>
    <p:extLst>
      <p:ext uri="{BB962C8B-B14F-4D97-AF65-F5344CB8AC3E}">
        <p14:creationId xmlns:p14="http://schemas.microsoft.com/office/powerpoint/2010/main" xmlns="" val="2664321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4800600"/>
            <a:ext cx="5486400" cy="566738"/>
          </a:xfrm>
        </p:spPr>
        <p:txBody>
          <a:bodyPr anchor="b"/>
          <a:lstStyle>
            <a:lvl1pPr algn="l">
              <a:defRPr sz="2000" b="1"/>
            </a:lvl1pPr>
          </a:lstStyle>
          <a:p>
            <a:r>
              <a:rPr lang="es-ES" smtClean="0"/>
              <a:t>Haga clic para modificar el estilo de título del patrón</a:t>
            </a:r>
            <a:endParaRPr lang="es-ES"/>
          </a:p>
        </p:txBody>
      </p:sp>
      <p:sp>
        <p:nvSpPr>
          <p:cNvPr id="3" name="2 Marcador de posición de imagen"/>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3 Marcador de texto"/>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4 Marcador de fecha"/>
          <p:cNvSpPr>
            <a:spLocks noGrp="1"/>
          </p:cNvSpPr>
          <p:nvPr>
            <p:ph type="dt" sz="half" idx="10"/>
          </p:nvPr>
        </p:nvSpPr>
        <p:spPr/>
        <p:txBody>
          <a:bodyPr/>
          <a:lstStyle/>
          <a:p>
            <a:fld id="{9D7593B1-B063-41D6-BC06-CB898DB180BD}" type="datetimeFigureOut">
              <a:rPr lang="es-ES" smtClean="0"/>
              <a:pPr/>
              <a:t>15/04/2013</a:t>
            </a:fld>
            <a:endParaRPr lang="es-ES"/>
          </a:p>
        </p:txBody>
      </p:sp>
      <p:sp>
        <p:nvSpPr>
          <p:cNvPr id="6" name="5 Marcador de pie de página"/>
          <p:cNvSpPr>
            <a:spLocks noGrp="1"/>
          </p:cNvSpPr>
          <p:nvPr>
            <p:ph type="ftr" sz="quarter" idx="11"/>
          </p:nvPr>
        </p:nvSpPr>
        <p:spPr/>
        <p:txBody>
          <a:bodyPr/>
          <a:lstStyle/>
          <a:p>
            <a:endParaRPr lang="es-ES"/>
          </a:p>
        </p:txBody>
      </p:sp>
      <p:sp>
        <p:nvSpPr>
          <p:cNvPr id="7" name="6 Marcador de número de diapositiva"/>
          <p:cNvSpPr>
            <a:spLocks noGrp="1"/>
          </p:cNvSpPr>
          <p:nvPr>
            <p:ph type="sldNum" sz="quarter" idx="12"/>
          </p:nvPr>
        </p:nvSpPr>
        <p:spPr/>
        <p:txBody>
          <a:bodyPr/>
          <a:lstStyle/>
          <a:p>
            <a:fld id="{70E0730B-A52F-4076-90DF-E38164315CE4}" type="slidenum">
              <a:rPr lang="es-ES" smtClean="0"/>
              <a:pPr/>
              <a:t>‹#›</a:t>
            </a:fld>
            <a:endParaRPr lang="es-ES"/>
          </a:p>
        </p:txBody>
      </p:sp>
    </p:spTree>
    <p:extLst>
      <p:ext uri="{BB962C8B-B14F-4D97-AF65-F5344CB8AC3E}">
        <p14:creationId xmlns:p14="http://schemas.microsoft.com/office/powerpoint/2010/main" xmlns="" val="9939112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2.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heme" Target="../theme/theme3.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image" Target="../media/image3.png"/><Relationship Id="rId5" Type="http://schemas.openxmlformats.org/officeDocument/2006/relationships/slideLayout" Target="../slideLayouts/slideLayout39.xml"/><Relationship Id="rId10" Type="http://schemas.openxmlformats.org/officeDocument/2006/relationships/image" Target="../media/image2.png"/><Relationship Id="rId4" Type="http://schemas.openxmlformats.org/officeDocument/2006/relationships/slideLayout" Target="../slideLayouts/slideLayout38.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image" Target="../media/image3.png"/><Relationship Id="rId5" Type="http://schemas.openxmlformats.org/officeDocument/2006/relationships/slideLayout" Target="../slideLayouts/slideLayout47.xml"/><Relationship Id="rId10" Type="http://schemas.openxmlformats.org/officeDocument/2006/relationships/image" Target="../media/image2.png"/><Relationship Id="rId4" Type="http://schemas.openxmlformats.org/officeDocument/2006/relationships/slideLayout" Target="../slideLayouts/slideLayout46.xml"/><Relationship Id="rId9"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título"/>
          <p:cNvSpPr>
            <a:spLocks noGrp="1"/>
          </p:cNvSpPr>
          <p:nvPr>
            <p:ph type="title"/>
          </p:nvPr>
        </p:nvSpPr>
        <p:spPr>
          <a:xfrm>
            <a:off x="457201" y="274638"/>
            <a:ext cx="8229600" cy="1143000"/>
          </a:xfrm>
          <a:prstGeom prst="rect">
            <a:avLst/>
          </a:prstGeom>
        </p:spPr>
        <p:txBody>
          <a:bodyPr vert="horz" lIns="91440" tIns="45720" rIns="91440" bIns="45720" rtlCol="0" anchor="ctr">
            <a:normAutofit/>
          </a:body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457201" y="1600202"/>
            <a:ext cx="8229600" cy="4525963"/>
          </a:xfrm>
          <a:prstGeom prst="rect">
            <a:avLst/>
          </a:prstGeom>
        </p:spPr>
        <p:txBody>
          <a:bodyPr vert="horz" lIns="91440" tIns="45720" rIns="91440" bIns="45720" rtlCol="0">
            <a:normAutofit/>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fecha"/>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7593B1-B063-41D6-BC06-CB898DB180BD}" type="datetimeFigureOut">
              <a:rPr lang="es-ES" smtClean="0"/>
              <a:pPr/>
              <a:t>15/04/2013</a:t>
            </a:fld>
            <a:endParaRPr lang="es-ES"/>
          </a:p>
        </p:txBody>
      </p:sp>
      <p:sp>
        <p:nvSpPr>
          <p:cNvPr id="5" name="4 Marcador de pie de página"/>
          <p:cNvSpPr>
            <a:spLocks noGrp="1"/>
          </p:cNvSpPr>
          <p:nvPr>
            <p:ph type="ftr" sz="quarter" idx="3"/>
          </p:nvPr>
        </p:nvSpPr>
        <p:spPr>
          <a:xfrm>
            <a:off x="3124201" y="6356352"/>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p>
        </p:txBody>
      </p:sp>
      <p:sp>
        <p:nvSpPr>
          <p:cNvPr id="6" name="5 Marcador de número de diapositiva"/>
          <p:cNvSpPr>
            <a:spLocks noGrp="1"/>
          </p:cNvSpPr>
          <p:nvPr>
            <p:ph type="sldNum" sz="quarter" idx="4"/>
          </p:nvPr>
        </p:nvSpPr>
        <p:spPr>
          <a:xfrm>
            <a:off x="6553201" y="6356352"/>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0E0730B-A52F-4076-90DF-E38164315CE4}" type="slidenum">
              <a:rPr lang="es-ES" smtClean="0"/>
              <a:pPr/>
              <a:t>‹#›</a:t>
            </a:fld>
            <a:endParaRPr lang="es-ES"/>
          </a:p>
        </p:txBody>
      </p:sp>
    </p:spTree>
    <p:extLst>
      <p:ext uri="{BB962C8B-B14F-4D97-AF65-F5344CB8AC3E}">
        <p14:creationId xmlns:p14="http://schemas.microsoft.com/office/powerpoint/2010/main" xmlns="" val="363174957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30" name="AutoShape 10"/>
          <p:cNvSpPr>
            <a:spLocks/>
          </p:cNvSpPr>
          <p:nvPr/>
        </p:nvSpPr>
        <p:spPr bwMode="auto">
          <a:xfrm>
            <a:off x="4343401" y="6400800"/>
            <a:ext cx="457200" cy="254000"/>
          </a:xfrm>
          <a:prstGeom prst="roundRect">
            <a:avLst>
              <a:gd name="adj" fmla="val 50000"/>
            </a:avLst>
          </a:prstGeom>
          <a:noFill/>
          <a:ln w="19050" cap="rnd">
            <a:solidFill>
              <a:srgbClr val="44B5CA"/>
            </a:solidFill>
            <a:prstDash val="sysDot"/>
            <a:miter lim="800000"/>
            <a:headEnd/>
            <a:tailEnd/>
          </a:ln>
          <a:extLst>
            <a:ext uri="{909E8E84-426E-40DD-AFC4-6F175D3DCCD1}">
              <a14:hiddenFill xmlns:a14="http://schemas.microsoft.com/office/drawing/2010/main" xmlns="">
                <a:solidFill>
                  <a:srgbClr val="FFFFFF"/>
                </a:solidFill>
              </a14:hiddenFill>
            </a:ext>
          </a:extLst>
        </p:spPr>
        <p:txBody>
          <a:bodyPr lIns="0" tIns="0" rIns="0" bIns="0"/>
          <a:lstStyle/>
          <a:p>
            <a:endParaRPr lang="es-ES">
              <a:latin typeface="Gill Sans" charset="0"/>
            </a:endParaRPr>
          </a:p>
        </p:txBody>
      </p:sp>
      <p:sp>
        <p:nvSpPr>
          <p:cNvPr id="1029" name="Rectangle 3"/>
          <p:cNvSpPr>
            <a:spLocks/>
          </p:cNvSpPr>
          <p:nvPr/>
        </p:nvSpPr>
        <p:spPr bwMode="auto">
          <a:xfrm>
            <a:off x="4449764" y="6445252"/>
            <a:ext cx="244475"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Lst>
        </p:spPr>
        <p:txBody>
          <a:bodyPr wrap="none" lIns="0" tIns="0" rIns="0" bIns="0">
            <a:spAutoFit/>
          </a:bodyPr>
          <a:lstStyle/>
          <a:p>
            <a:fld id="{81403EFC-71BB-4A78-803D-C70797CF6297}" type="slidenum">
              <a:rPr lang="en-US" sz="1100">
                <a:solidFill>
                  <a:srgbClr val="003F52"/>
                </a:solidFill>
                <a:ea typeface="MS PGothic" pitchFamily="34" charset="-128"/>
                <a:sym typeface="Arial" pitchFamily="34" charset="0"/>
              </a:rPr>
              <a:pPr/>
              <a:t>‹#›</a:t>
            </a:fld>
            <a:endParaRPr lang="en-US" sz="1100" dirty="0">
              <a:solidFill>
                <a:srgbClr val="003F52"/>
              </a:solidFill>
              <a:ea typeface="MS PGothic" pitchFamily="34" charset="-128"/>
              <a:sym typeface="Arial" pitchFamily="34" charset="0"/>
            </a:endParaRPr>
          </a:p>
        </p:txBody>
      </p:sp>
      <p:sp>
        <p:nvSpPr>
          <p:cNvPr id="1025" name="Rectangle 1"/>
          <p:cNvSpPr>
            <a:spLocks noGrp="1" noChangeArrowheads="1"/>
          </p:cNvSpPr>
          <p:nvPr>
            <p:ph type="body" idx="1"/>
          </p:nvPr>
        </p:nvSpPr>
        <p:spPr bwMode="auto">
          <a:xfrm>
            <a:off x="889000" y="3530600"/>
            <a:ext cx="7353300" cy="8001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 xmlns:ma14="http://schemas.microsoft.com/office/mac/drawingml/2011/main" val="1"/>
            </a:ext>
          </a:extLst>
        </p:spPr>
        <p:txBody>
          <a:bodyPr vert="horz" wrap="square" lIns="50800" tIns="50800" rIns="50800" bIns="50800" numCol="1" anchor="t" anchorCtr="0" compatLnSpc="1">
            <a:prstTxWarp prst="textNoShape">
              <a:avLst/>
            </a:prstTxWarp>
          </a:bodyPr>
          <a:lstStyle/>
          <a:p>
            <a:pPr lvl="0"/>
            <a:r>
              <a:rPr lang="en-US">
                <a:sym typeface="Gill Sans" charset="0"/>
              </a:rPr>
              <a:t>Click to edit Master text styles</a:t>
            </a:r>
          </a:p>
          <a:p>
            <a:pPr lvl="1"/>
            <a:r>
              <a:rPr lang="en-US">
                <a:sym typeface="Gill Sans" charset="0"/>
              </a:rPr>
              <a:t>Second level</a:t>
            </a:r>
          </a:p>
          <a:p>
            <a:pPr lvl="2"/>
            <a:r>
              <a:rPr lang="en-US">
                <a:sym typeface="Gill Sans" charset="0"/>
              </a:rPr>
              <a:t>Third level</a:t>
            </a:r>
          </a:p>
          <a:p>
            <a:pPr lvl="3"/>
            <a:r>
              <a:rPr lang="en-US">
                <a:sym typeface="Gill Sans" charset="0"/>
              </a:rPr>
              <a:t>Fourth level</a:t>
            </a:r>
          </a:p>
          <a:p>
            <a:pPr lvl="4"/>
            <a:r>
              <a:rPr lang="en-US">
                <a:sym typeface="Gill Sans" charset="0"/>
              </a:rPr>
              <a:t>Fifth level</a:t>
            </a:r>
          </a:p>
        </p:txBody>
      </p:sp>
      <p:sp>
        <p:nvSpPr>
          <p:cNvPr id="1026" name="Rectangle 2"/>
          <p:cNvSpPr>
            <a:spLocks noGrp="1" noChangeArrowheads="1"/>
          </p:cNvSpPr>
          <p:nvPr>
            <p:ph type="title"/>
          </p:nvPr>
        </p:nvSpPr>
        <p:spPr bwMode="auto">
          <a:xfrm>
            <a:off x="889000" y="1155700"/>
            <a:ext cx="7353300" cy="23241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 xmlns:ma14="http://schemas.microsoft.com/office/mac/drawingml/2011/main" val="1"/>
            </a:ext>
          </a:extLst>
        </p:spPr>
        <p:txBody>
          <a:bodyPr vert="horz" wrap="square" lIns="50800" tIns="50800" rIns="50800" bIns="50800" numCol="1" anchor="b" anchorCtr="0" compatLnSpc="1">
            <a:prstTxWarp prst="textNoShape">
              <a:avLst/>
            </a:prstTxWarp>
          </a:bodyPr>
          <a:lstStyle/>
          <a:p>
            <a:pPr lvl="0"/>
            <a:r>
              <a:rPr lang="en-US">
                <a:sym typeface="Gill Sans" charset="0"/>
              </a:rPr>
              <a:t>Click to edit Master title style</a:t>
            </a:r>
          </a:p>
        </p:txBody>
      </p:sp>
      <p:pic>
        <p:nvPicPr>
          <p:cNvPr id="1031" name="Picture 11"/>
          <p:cNvPicPr>
            <a:picLocks noChangeAspect="1" noChangeArrowheads="1"/>
          </p:cNvPicPr>
          <p:nvPr/>
        </p:nvPicPr>
        <p:blipFill>
          <a:blip r:embed="rId13" cstate="print">
            <a:extLst>
              <a:ext uri="{28A0092B-C50C-407E-A947-70E740481C1C}">
                <a14:useLocalDpi xmlns:a14="http://schemas.microsoft.com/office/drawing/2010/main" xmlns="" val="0"/>
              </a:ext>
            </a:extLst>
          </a:blip>
          <a:srcRect/>
          <a:stretch>
            <a:fillRect/>
          </a:stretch>
        </p:blipFill>
        <p:spPr bwMode="auto">
          <a:xfrm>
            <a:off x="7962900" y="6399215"/>
            <a:ext cx="1016000" cy="2746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Lst>
        </p:spPr>
      </p:pic>
      <p:pic>
        <p:nvPicPr>
          <p:cNvPr id="1033" name="Picture 14"/>
          <p:cNvPicPr>
            <a:picLocks noChangeAspect="1" noChangeArrowheads="1"/>
          </p:cNvPicPr>
          <p:nvPr/>
        </p:nvPicPr>
        <p:blipFill>
          <a:blip r:embed="rId14" cstate="print">
            <a:extLst>
              <a:ext uri="{28A0092B-C50C-407E-A947-70E740481C1C}">
                <a14:useLocalDpi xmlns:a14="http://schemas.microsoft.com/office/drawing/2010/main" xmlns="" val="0"/>
              </a:ext>
            </a:extLst>
          </a:blip>
          <a:srcRect/>
          <a:stretch>
            <a:fillRect/>
          </a:stretch>
        </p:blipFill>
        <p:spPr bwMode="auto">
          <a:xfrm>
            <a:off x="139700" y="6197602"/>
            <a:ext cx="8763000" cy="36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ransition/>
  <p:txStyles>
    <p:titleStyle>
      <a:lvl1pPr algn="ctr" rtl="0" eaLnBrk="0" fontAlgn="base" hangingPunct="0">
        <a:spcBef>
          <a:spcPct val="0"/>
        </a:spcBef>
        <a:spcAft>
          <a:spcPct val="0"/>
        </a:spcAft>
        <a:defRPr sz="5800">
          <a:solidFill>
            <a:schemeClr val="tx1"/>
          </a:solidFill>
          <a:latin typeface="+mj-lt"/>
          <a:ea typeface="+mj-ea"/>
          <a:cs typeface="+mj-cs"/>
          <a:sym typeface="Gill Sans" charset="0"/>
        </a:defRPr>
      </a:lvl1pPr>
      <a:lvl2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2pPr>
      <a:lvl3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3pPr>
      <a:lvl4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4pPr>
      <a:lvl5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5pPr>
      <a:lvl6pPr marL="457200"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6pPr>
      <a:lvl7pPr marL="914400"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7pPr>
      <a:lvl8pPr marL="1371600"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8pPr>
      <a:lvl9pPr marL="1828800"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9pPr>
    </p:titleStyle>
    <p:bodyStyle>
      <a:lvl1pPr marL="342900" indent="-342900" algn="ctr" rtl="0" eaLnBrk="0" fontAlgn="base" hangingPunct="0">
        <a:spcBef>
          <a:spcPct val="0"/>
        </a:spcBef>
        <a:spcAft>
          <a:spcPct val="0"/>
        </a:spcAft>
        <a:defRPr sz="2400">
          <a:solidFill>
            <a:schemeClr val="tx1"/>
          </a:solidFill>
          <a:latin typeface="+mn-lt"/>
          <a:ea typeface="+mn-ea"/>
          <a:cs typeface="+mn-cs"/>
          <a:sym typeface="Gill Sans" charset="0"/>
        </a:defRPr>
      </a:lvl1pPr>
      <a:lvl2pPr marL="742950" indent="-285750" algn="ctr" rtl="0" eaLnBrk="0" fontAlgn="base" hangingPunct="0">
        <a:spcBef>
          <a:spcPct val="0"/>
        </a:spcBef>
        <a:spcAft>
          <a:spcPct val="0"/>
        </a:spcAft>
        <a:defRPr sz="2400">
          <a:solidFill>
            <a:schemeClr val="tx1"/>
          </a:solidFill>
          <a:latin typeface="+mn-lt"/>
          <a:ea typeface="+mn-ea"/>
          <a:cs typeface="+mn-cs"/>
          <a:sym typeface="Gill Sans" charset="0"/>
        </a:defRPr>
      </a:lvl2pPr>
      <a:lvl3pPr marL="1143000" indent="-228600" algn="ctr" rtl="0" eaLnBrk="0" fontAlgn="base" hangingPunct="0">
        <a:spcBef>
          <a:spcPct val="0"/>
        </a:spcBef>
        <a:spcAft>
          <a:spcPct val="0"/>
        </a:spcAft>
        <a:defRPr sz="2400">
          <a:solidFill>
            <a:schemeClr val="tx1"/>
          </a:solidFill>
          <a:latin typeface="+mn-lt"/>
          <a:ea typeface="+mn-ea"/>
          <a:cs typeface="+mn-cs"/>
          <a:sym typeface="Gill Sans" charset="0"/>
        </a:defRPr>
      </a:lvl3pPr>
      <a:lvl4pPr marL="1600200" indent="-228600" algn="ctr" rtl="0" eaLnBrk="0" fontAlgn="base" hangingPunct="0">
        <a:spcBef>
          <a:spcPct val="0"/>
        </a:spcBef>
        <a:spcAft>
          <a:spcPct val="0"/>
        </a:spcAft>
        <a:defRPr sz="2400">
          <a:solidFill>
            <a:schemeClr val="tx1"/>
          </a:solidFill>
          <a:latin typeface="+mn-lt"/>
          <a:ea typeface="+mn-ea"/>
          <a:cs typeface="+mn-cs"/>
          <a:sym typeface="Gill Sans" charset="0"/>
        </a:defRPr>
      </a:lvl4pPr>
      <a:lvl5pPr marL="2057400" indent="-228600" algn="ctr" rtl="0" eaLnBrk="0" fontAlgn="base" hangingPunct="0">
        <a:spcBef>
          <a:spcPct val="0"/>
        </a:spcBef>
        <a:spcAft>
          <a:spcPct val="0"/>
        </a:spcAft>
        <a:defRPr sz="2400">
          <a:solidFill>
            <a:schemeClr val="tx1"/>
          </a:solidFill>
          <a:latin typeface="+mn-lt"/>
          <a:ea typeface="+mn-ea"/>
          <a:cs typeface="+mn-cs"/>
          <a:sym typeface="Gill Sans" charset="0"/>
        </a:defRPr>
      </a:lvl5pPr>
      <a:lvl6pPr marL="457200" algn="ctr" rtl="0" fontAlgn="base">
        <a:spcBef>
          <a:spcPct val="0"/>
        </a:spcBef>
        <a:spcAft>
          <a:spcPct val="0"/>
        </a:spcAft>
        <a:defRPr sz="2400">
          <a:solidFill>
            <a:schemeClr val="tx1"/>
          </a:solidFill>
          <a:latin typeface="+mn-lt"/>
          <a:ea typeface="+mn-ea"/>
          <a:cs typeface="+mn-cs"/>
          <a:sym typeface="Gill Sans" charset="0"/>
        </a:defRPr>
      </a:lvl6pPr>
      <a:lvl7pPr marL="914400" algn="ctr" rtl="0" fontAlgn="base">
        <a:spcBef>
          <a:spcPct val="0"/>
        </a:spcBef>
        <a:spcAft>
          <a:spcPct val="0"/>
        </a:spcAft>
        <a:defRPr sz="2400">
          <a:solidFill>
            <a:schemeClr val="tx1"/>
          </a:solidFill>
          <a:latin typeface="+mn-lt"/>
          <a:ea typeface="+mn-ea"/>
          <a:cs typeface="+mn-cs"/>
          <a:sym typeface="Gill Sans" charset="0"/>
        </a:defRPr>
      </a:lvl7pPr>
      <a:lvl8pPr marL="1371600" algn="ctr" rtl="0" fontAlgn="base">
        <a:spcBef>
          <a:spcPct val="0"/>
        </a:spcBef>
        <a:spcAft>
          <a:spcPct val="0"/>
        </a:spcAft>
        <a:defRPr sz="2400">
          <a:solidFill>
            <a:schemeClr val="tx1"/>
          </a:solidFill>
          <a:latin typeface="+mn-lt"/>
          <a:ea typeface="+mn-ea"/>
          <a:cs typeface="+mn-cs"/>
          <a:sym typeface="Gill Sans" charset="0"/>
        </a:defRPr>
      </a:lvl8pPr>
      <a:lvl9pPr marL="1828800" algn="ctr" rtl="0" fontAlgn="base">
        <a:spcBef>
          <a:spcPct val="0"/>
        </a:spcBef>
        <a:spcAft>
          <a:spcPct val="0"/>
        </a:spcAft>
        <a:defRPr sz="2400">
          <a:solidFill>
            <a:schemeClr val="tx1"/>
          </a:solidFill>
          <a:latin typeface="+mn-lt"/>
          <a:ea typeface="+mn-ea"/>
          <a:cs typeface="+mn-cs"/>
          <a:sym typeface="Gill Sans" charset="0"/>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cNvSpPr>
            <a:spLocks noGrp="1" noChangeArrowheads="1"/>
          </p:cNvSpPr>
          <p:nvPr>
            <p:ph type="title"/>
          </p:nvPr>
        </p:nvSpPr>
        <p:spPr bwMode="auto">
          <a:xfrm>
            <a:off x="411093" y="274638"/>
            <a:ext cx="7944057" cy="9953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vert="horz" wrap="square" lIns="36000" tIns="36000" rIns="36000" bIns="36000" numCol="1" anchor="t" anchorCtr="0" compatLnSpc="1">
            <a:prstTxWarp prst="textNoShape">
              <a:avLst/>
            </a:prstTxWarp>
            <a:spAutoFit/>
          </a:bodyPr>
          <a:lstStyle/>
          <a:p>
            <a:pPr lvl="0"/>
            <a:r>
              <a:rPr lang="es-ES" smtClean="0"/>
              <a:t>Haga clic para modificar el estilo de título del patrón</a:t>
            </a:r>
            <a:endParaRPr lang="en-US" smtClean="0"/>
          </a:p>
        </p:txBody>
      </p:sp>
      <p:sp>
        <p:nvSpPr>
          <p:cNvPr id="1027" name="BodyText"/>
          <p:cNvSpPr>
            <a:spLocks noGrp="1" noChangeArrowheads="1"/>
          </p:cNvSpPr>
          <p:nvPr>
            <p:ph type="body" idx="1"/>
          </p:nvPr>
        </p:nvSpPr>
        <p:spPr bwMode="auto">
          <a:xfrm>
            <a:off x="349191" y="1341439"/>
            <a:ext cx="8398005" cy="4613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smtClean="0"/>
          </a:p>
        </p:txBody>
      </p:sp>
      <p:sp>
        <p:nvSpPr>
          <p:cNvPr id="844804" name="Rectangle 4"/>
          <p:cNvSpPr>
            <a:spLocks noGrp="1" noChangeArrowheads="1"/>
          </p:cNvSpPr>
          <p:nvPr>
            <p:ph type="sldNum" sz="quarter" idx="4"/>
          </p:nvPr>
        </p:nvSpPr>
        <p:spPr bwMode="auto">
          <a:xfrm>
            <a:off x="4383915" y="6497641"/>
            <a:ext cx="434899" cy="174625"/>
          </a:xfrm>
          <a:prstGeom prst="rect">
            <a:avLst/>
          </a:prstGeom>
          <a:noFill/>
          <a:ln>
            <a:noFill/>
          </a:ln>
          <a:effectLst/>
          <a:extLst/>
        </p:spPr>
        <p:txBody>
          <a:bodyPr vert="horz" wrap="square" lIns="0" tIns="0" rIns="0" bIns="0" numCol="1" anchor="t" anchorCtr="0" compatLnSpc="1">
            <a:prstTxWarp prst="textNoShape">
              <a:avLst/>
            </a:prstTxWarp>
            <a:spAutoFit/>
          </a:bodyPr>
          <a:lstStyle>
            <a:lvl1pPr algn="ctr" eaLnBrk="0" hangingPunct="0">
              <a:defRPr sz="1100" b="0">
                <a:solidFill>
                  <a:srgbClr val="003F52"/>
                </a:solidFill>
                <a:latin typeface="+mj-lt"/>
                <a:ea typeface="+mn-ea"/>
                <a:cs typeface="+mn-cs"/>
              </a:defRPr>
            </a:lvl1pPr>
          </a:lstStyle>
          <a:p>
            <a:pPr fontAlgn="base">
              <a:spcBef>
                <a:spcPct val="0"/>
              </a:spcBef>
              <a:spcAft>
                <a:spcPct val="0"/>
              </a:spcAft>
              <a:defRPr/>
            </a:pPr>
            <a:fld id="{2BB6409E-6852-4C60-A5E3-28DA8A0FEA07}" type="slidenum">
              <a:rPr lang="es-ES"/>
              <a:pPr fontAlgn="base">
                <a:spcBef>
                  <a:spcPct val="0"/>
                </a:spcBef>
                <a:spcAft>
                  <a:spcPct val="0"/>
                </a:spcAft>
                <a:defRPr/>
              </a:pPr>
              <a:t>‹#›</a:t>
            </a:fld>
            <a:endParaRPr lang="es-ES" dirty="0"/>
          </a:p>
        </p:txBody>
      </p:sp>
      <p:sp>
        <p:nvSpPr>
          <p:cNvPr id="1029" name="Line 17"/>
          <p:cNvSpPr>
            <a:spLocks noChangeShapeType="1"/>
          </p:cNvSpPr>
          <p:nvPr/>
        </p:nvSpPr>
        <p:spPr bwMode="auto">
          <a:xfrm>
            <a:off x="0" y="6381750"/>
            <a:ext cx="9144000" cy="0"/>
          </a:xfrm>
          <a:prstGeom prst="line">
            <a:avLst/>
          </a:prstGeom>
          <a:noFill/>
          <a:ln w="9525">
            <a:solidFill>
              <a:schemeClr val="accent1"/>
            </a:solidFill>
            <a:round/>
            <a:headEnd/>
            <a:tailEnd/>
          </a:ln>
          <a:extLst>
            <a:ext uri="{909E8E84-426E-40DD-AFC4-6F175D3DCCD1}">
              <a14:hiddenFill xmlns:a14="http://schemas.microsoft.com/office/drawing/2010/main" xmlns="">
                <a:noFill/>
              </a14:hiddenFill>
            </a:ext>
          </a:extLst>
        </p:spPr>
        <p:txBody>
          <a:bodyPr wrap="none" lIns="0" tIns="0" rIns="0" bIns="0" anchor="ctr"/>
          <a:lstStyle/>
          <a:p>
            <a:pPr fontAlgn="base">
              <a:spcBef>
                <a:spcPct val="0"/>
              </a:spcBef>
              <a:spcAft>
                <a:spcPct val="0"/>
              </a:spcAft>
            </a:pPr>
            <a:endParaRPr lang="en-US" sz="1200" b="1" smtClean="0">
              <a:solidFill>
                <a:srgbClr val="043F52"/>
              </a:solidFill>
              <a:latin typeface="TheSansCorrespondence" pitchFamily="34" charset="0"/>
            </a:endParaRPr>
          </a:p>
        </p:txBody>
      </p:sp>
      <p:pic>
        <p:nvPicPr>
          <p:cNvPr id="1030" name="Imagen 6" descr="TFN_Logo Port_Azul.png"/>
          <p:cNvPicPr>
            <a:picLocks noChangeAspect="1"/>
          </p:cNvPicPr>
          <p:nvPr/>
        </p:nvPicPr>
        <p:blipFill>
          <a:blip r:embed="rId14" cstate="print">
            <a:extLst>
              <a:ext uri="{28A0092B-C50C-407E-A947-70E740481C1C}">
                <a14:useLocalDpi xmlns:a14="http://schemas.microsoft.com/office/drawing/2010/main" xmlns="" val="0"/>
              </a:ext>
            </a:extLst>
          </a:blip>
          <a:srcRect/>
          <a:stretch>
            <a:fillRect/>
          </a:stretch>
        </p:blipFill>
        <p:spPr bwMode="auto">
          <a:xfrm>
            <a:off x="7899618" y="6510341"/>
            <a:ext cx="847578"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3169497323"/>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Lst>
  <p:transition/>
  <p:timing>
    <p:tnLst>
      <p:par>
        <p:cTn id="1" dur="indefinite" restart="never" nodeType="tmRoot"/>
      </p:par>
    </p:tnLst>
  </p:timing>
  <p:hf hdr="0" ftr="0" dt="0"/>
  <p:txStyles>
    <p:titleStyle>
      <a:lvl1pPr algn="l" defTabSz="457200" rtl="0" eaLnBrk="0" fontAlgn="base" hangingPunct="0">
        <a:spcBef>
          <a:spcPct val="0"/>
        </a:spcBef>
        <a:spcAft>
          <a:spcPct val="0"/>
        </a:spcAft>
        <a:defRPr sz="3000" b="1">
          <a:solidFill>
            <a:srgbClr val="61B8CD"/>
          </a:solidFill>
          <a:latin typeface="+mj-lt"/>
          <a:ea typeface="+mj-ea"/>
          <a:cs typeface="+mj-cs"/>
        </a:defRPr>
      </a:lvl1pPr>
      <a:lvl2pPr algn="l" defTabSz="457200" rtl="0" eaLnBrk="0" fontAlgn="base" hangingPunct="0">
        <a:spcBef>
          <a:spcPct val="0"/>
        </a:spcBef>
        <a:spcAft>
          <a:spcPct val="0"/>
        </a:spcAft>
        <a:defRPr sz="3000" b="1">
          <a:solidFill>
            <a:srgbClr val="61B8CD"/>
          </a:solidFill>
          <a:latin typeface="Telefonica Headline Light" charset="0"/>
          <a:ea typeface="Arial Unicode MS" pitchFamily="34" charset="-128"/>
          <a:cs typeface="Arial Unicode MS" pitchFamily="34" charset="-128"/>
        </a:defRPr>
      </a:lvl2pPr>
      <a:lvl3pPr algn="l" defTabSz="457200" rtl="0" eaLnBrk="0" fontAlgn="base" hangingPunct="0">
        <a:spcBef>
          <a:spcPct val="0"/>
        </a:spcBef>
        <a:spcAft>
          <a:spcPct val="0"/>
        </a:spcAft>
        <a:defRPr sz="3000" b="1">
          <a:solidFill>
            <a:srgbClr val="61B8CD"/>
          </a:solidFill>
          <a:latin typeface="Telefonica Headline Light" charset="0"/>
          <a:ea typeface="Arial Unicode MS" pitchFamily="34" charset="-128"/>
          <a:cs typeface="Arial Unicode MS" pitchFamily="34" charset="-128"/>
        </a:defRPr>
      </a:lvl3pPr>
      <a:lvl4pPr algn="l" defTabSz="457200" rtl="0" eaLnBrk="0" fontAlgn="base" hangingPunct="0">
        <a:spcBef>
          <a:spcPct val="0"/>
        </a:spcBef>
        <a:spcAft>
          <a:spcPct val="0"/>
        </a:spcAft>
        <a:defRPr sz="3000" b="1">
          <a:solidFill>
            <a:srgbClr val="61B8CD"/>
          </a:solidFill>
          <a:latin typeface="Telefonica Headline Light" charset="0"/>
          <a:ea typeface="Arial Unicode MS" pitchFamily="34" charset="-128"/>
          <a:cs typeface="Arial Unicode MS" pitchFamily="34" charset="-128"/>
        </a:defRPr>
      </a:lvl4pPr>
      <a:lvl5pPr algn="l" defTabSz="457200" rtl="0" eaLnBrk="0" fontAlgn="base" hangingPunct="0">
        <a:spcBef>
          <a:spcPct val="0"/>
        </a:spcBef>
        <a:spcAft>
          <a:spcPct val="0"/>
        </a:spcAft>
        <a:defRPr sz="3000" b="1">
          <a:solidFill>
            <a:srgbClr val="61B8CD"/>
          </a:solidFill>
          <a:latin typeface="Telefonica Headline Light" charset="0"/>
          <a:ea typeface="Arial Unicode MS" pitchFamily="34" charset="-128"/>
          <a:cs typeface="Arial Unicode MS" pitchFamily="34" charset="-128"/>
        </a:defRPr>
      </a:lvl5pPr>
      <a:lvl6pPr marL="457200" algn="l" defTabSz="457200" rtl="0" eaLnBrk="1" fontAlgn="base" hangingPunct="1">
        <a:spcBef>
          <a:spcPct val="0"/>
        </a:spcBef>
        <a:spcAft>
          <a:spcPct val="0"/>
        </a:spcAft>
        <a:defRPr sz="3000" b="1">
          <a:solidFill>
            <a:srgbClr val="61B8CD"/>
          </a:solidFill>
          <a:latin typeface="Telefonica Headline Light" charset="0"/>
          <a:ea typeface="Arial Unicode MS" pitchFamily="34" charset="-128"/>
          <a:cs typeface="Arial Unicode MS" pitchFamily="34" charset="-128"/>
        </a:defRPr>
      </a:lvl6pPr>
      <a:lvl7pPr marL="914400" algn="l" defTabSz="457200" rtl="0" eaLnBrk="1" fontAlgn="base" hangingPunct="1">
        <a:spcBef>
          <a:spcPct val="0"/>
        </a:spcBef>
        <a:spcAft>
          <a:spcPct val="0"/>
        </a:spcAft>
        <a:defRPr sz="3000" b="1">
          <a:solidFill>
            <a:srgbClr val="61B8CD"/>
          </a:solidFill>
          <a:latin typeface="Telefonica Headline Light" charset="0"/>
          <a:ea typeface="Arial Unicode MS" pitchFamily="34" charset="-128"/>
          <a:cs typeface="Arial Unicode MS" pitchFamily="34" charset="-128"/>
        </a:defRPr>
      </a:lvl7pPr>
      <a:lvl8pPr marL="1371600" algn="l" defTabSz="457200" rtl="0" eaLnBrk="1" fontAlgn="base" hangingPunct="1">
        <a:spcBef>
          <a:spcPct val="0"/>
        </a:spcBef>
        <a:spcAft>
          <a:spcPct val="0"/>
        </a:spcAft>
        <a:defRPr sz="3000" b="1">
          <a:solidFill>
            <a:srgbClr val="61B8CD"/>
          </a:solidFill>
          <a:latin typeface="Telefonica Headline Light" charset="0"/>
          <a:ea typeface="Arial Unicode MS" pitchFamily="34" charset="-128"/>
          <a:cs typeface="Arial Unicode MS" pitchFamily="34" charset="-128"/>
        </a:defRPr>
      </a:lvl8pPr>
      <a:lvl9pPr marL="1828800" algn="l" defTabSz="457200" rtl="0" eaLnBrk="1" fontAlgn="base" hangingPunct="1">
        <a:spcBef>
          <a:spcPct val="0"/>
        </a:spcBef>
        <a:spcAft>
          <a:spcPct val="0"/>
        </a:spcAft>
        <a:defRPr sz="3000" b="1">
          <a:solidFill>
            <a:srgbClr val="61B8CD"/>
          </a:solidFill>
          <a:latin typeface="Telefonica Headline Light" charset="0"/>
          <a:ea typeface="Arial Unicode MS" pitchFamily="34" charset="-128"/>
          <a:cs typeface="Arial Unicode MS" pitchFamily="34" charset="-128"/>
        </a:defRPr>
      </a:lvl9pPr>
    </p:titleStyle>
    <p:bodyStyle>
      <a:lvl1pPr marL="171450" indent="-171450" algn="just" defTabSz="457200" rtl="0" eaLnBrk="0" fontAlgn="base" hangingPunct="0">
        <a:spcBef>
          <a:spcPct val="0"/>
        </a:spcBef>
        <a:spcAft>
          <a:spcPts val="600"/>
        </a:spcAft>
        <a:buClr>
          <a:srgbClr val="65C3D4"/>
        </a:buClr>
        <a:buSzPct val="150000"/>
        <a:buFont typeface="Wingdings" pitchFamily="2" charset="2"/>
        <a:buChar char="§"/>
        <a:defRPr sz="2000">
          <a:solidFill>
            <a:schemeClr val="tx1"/>
          </a:solidFill>
          <a:latin typeface="+mn-lt"/>
          <a:ea typeface="MS PGothic" pitchFamily="34" charset="-128"/>
          <a:cs typeface="ＭＳ Ｐゴシック"/>
        </a:defRPr>
      </a:lvl1pPr>
      <a:lvl2pPr marL="536575" indent="-185738" algn="just" defTabSz="457200" rtl="0" eaLnBrk="0" fontAlgn="base" hangingPunct="0">
        <a:spcBef>
          <a:spcPct val="0"/>
        </a:spcBef>
        <a:spcAft>
          <a:spcPts val="600"/>
        </a:spcAft>
        <a:buSzPct val="150000"/>
        <a:buChar char="•"/>
        <a:defRPr>
          <a:solidFill>
            <a:schemeClr val="tx1"/>
          </a:solidFill>
          <a:latin typeface="+mn-lt"/>
          <a:ea typeface="MS PGothic" pitchFamily="34" charset="-128"/>
          <a:cs typeface="ＭＳ Ｐゴシック"/>
        </a:defRPr>
      </a:lvl2pPr>
      <a:lvl3pPr marL="900113" indent="-184150" algn="just" defTabSz="457200" rtl="0" eaLnBrk="0" fontAlgn="base" hangingPunct="0">
        <a:spcBef>
          <a:spcPct val="0"/>
        </a:spcBef>
        <a:spcAft>
          <a:spcPts val="600"/>
        </a:spcAft>
        <a:buSzPct val="150000"/>
        <a:buFont typeface="Lucida Grande"/>
        <a:buChar char="›"/>
        <a:defRPr sz="1600">
          <a:solidFill>
            <a:schemeClr val="tx1"/>
          </a:solidFill>
          <a:latin typeface="+mn-lt"/>
          <a:ea typeface="MS PGothic" pitchFamily="34" charset="-128"/>
          <a:cs typeface="ＭＳ Ｐゴシック"/>
        </a:defRPr>
      </a:lvl3pPr>
      <a:lvl4pPr marL="1257300" indent="-177800" algn="just" defTabSz="457200" rtl="0" eaLnBrk="0" fontAlgn="base" hangingPunct="0">
        <a:spcBef>
          <a:spcPct val="0"/>
        </a:spcBef>
        <a:spcAft>
          <a:spcPts val="600"/>
        </a:spcAft>
        <a:buSzPct val="150000"/>
        <a:buFont typeface="Lucida Grande"/>
        <a:buChar char="›"/>
        <a:defRPr sz="1200">
          <a:solidFill>
            <a:schemeClr val="tx1"/>
          </a:solidFill>
          <a:latin typeface="+mn-lt"/>
          <a:ea typeface="MS PGothic" pitchFamily="34" charset="-128"/>
          <a:cs typeface="ＭＳ Ｐゴシック"/>
        </a:defRPr>
      </a:lvl4pPr>
      <a:lvl5pPr marL="1614488" indent="-177800" algn="just" defTabSz="457200" rtl="0" eaLnBrk="0" fontAlgn="base" hangingPunct="0">
        <a:spcBef>
          <a:spcPct val="0"/>
        </a:spcBef>
        <a:spcAft>
          <a:spcPts val="600"/>
        </a:spcAft>
        <a:buSzPct val="150000"/>
        <a:buFont typeface="Lucida Grande"/>
        <a:buChar char="›"/>
        <a:defRPr sz="1200">
          <a:solidFill>
            <a:schemeClr val="tx1"/>
          </a:solidFill>
          <a:latin typeface="+mn-lt"/>
          <a:ea typeface="MS PGothic" pitchFamily="34" charset="-128"/>
          <a:cs typeface="ＭＳ Ｐゴシック"/>
        </a:defRPr>
      </a:lvl5pPr>
      <a:lvl6pPr marL="2071688" indent="-177800" algn="just" defTabSz="457200" rtl="0" eaLnBrk="1" fontAlgn="base" hangingPunct="1">
        <a:spcBef>
          <a:spcPct val="0"/>
        </a:spcBef>
        <a:spcAft>
          <a:spcPts val="600"/>
        </a:spcAft>
        <a:buSzPct val="150000"/>
        <a:buFont typeface="Lucida Grande" pitchFamily="4" charset="0"/>
        <a:buChar char="›"/>
        <a:defRPr sz="1200">
          <a:solidFill>
            <a:schemeClr val="tx1"/>
          </a:solidFill>
          <a:latin typeface="+mn-lt"/>
          <a:ea typeface="+mn-ea"/>
        </a:defRPr>
      </a:lvl6pPr>
      <a:lvl7pPr marL="2528888" indent="-177800" algn="just" defTabSz="457200" rtl="0" eaLnBrk="1" fontAlgn="base" hangingPunct="1">
        <a:spcBef>
          <a:spcPct val="0"/>
        </a:spcBef>
        <a:spcAft>
          <a:spcPts val="600"/>
        </a:spcAft>
        <a:buSzPct val="150000"/>
        <a:buFont typeface="Lucida Grande" pitchFamily="4" charset="0"/>
        <a:buChar char="›"/>
        <a:defRPr sz="1200">
          <a:solidFill>
            <a:schemeClr val="tx1"/>
          </a:solidFill>
          <a:latin typeface="+mn-lt"/>
          <a:ea typeface="+mn-ea"/>
        </a:defRPr>
      </a:lvl7pPr>
      <a:lvl8pPr marL="2986088" indent="-177800" algn="just" defTabSz="457200" rtl="0" eaLnBrk="1" fontAlgn="base" hangingPunct="1">
        <a:spcBef>
          <a:spcPct val="0"/>
        </a:spcBef>
        <a:spcAft>
          <a:spcPts val="600"/>
        </a:spcAft>
        <a:buSzPct val="150000"/>
        <a:buFont typeface="Lucida Grande" pitchFamily="4" charset="0"/>
        <a:buChar char="›"/>
        <a:defRPr sz="1200">
          <a:solidFill>
            <a:schemeClr val="tx1"/>
          </a:solidFill>
          <a:latin typeface="+mn-lt"/>
          <a:ea typeface="+mn-ea"/>
        </a:defRPr>
      </a:lvl8pPr>
      <a:lvl9pPr marL="3443288" indent="-177800" algn="just" defTabSz="457200" rtl="0" eaLnBrk="1" fontAlgn="base" hangingPunct="1">
        <a:spcBef>
          <a:spcPct val="0"/>
        </a:spcBef>
        <a:spcAft>
          <a:spcPts val="600"/>
        </a:spcAft>
        <a:buSzPct val="150000"/>
        <a:buFont typeface="Lucida Grande" pitchFamily="4" charset="0"/>
        <a:buChar char="›"/>
        <a:defRPr sz="1200">
          <a:solidFill>
            <a:schemeClr val="tx1"/>
          </a:solidFill>
          <a:latin typeface="+mn-lt"/>
          <a:ea typeface="+mn-ea"/>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121" y="188913"/>
            <a:ext cx="8229759" cy="647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smtClean="0"/>
              <a:t>First level title</a:t>
            </a:r>
          </a:p>
        </p:txBody>
      </p:sp>
      <p:sp>
        <p:nvSpPr>
          <p:cNvPr id="1027" name="Rectangle 3"/>
          <p:cNvSpPr>
            <a:spLocks noGrp="1" noChangeArrowheads="1"/>
          </p:cNvSpPr>
          <p:nvPr>
            <p:ph type="body" idx="1"/>
          </p:nvPr>
        </p:nvSpPr>
        <p:spPr bwMode="auto">
          <a:xfrm>
            <a:off x="457121" y="1600203"/>
            <a:ext cx="8229759"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smtClean="0"/>
              <a:t>Text here</a:t>
            </a:r>
          </a:p>
          <a:p>
            <a:pPr lvl="0"/>
            <a:endParaRPr lang="en-GB" smtClean="0"/>
          </a:p>
          <a:p>
            <a:pPr lvl="1"/>
            <a:r>
              <a:rPr lang="en-GB" smtClean="0"/>
              <a:t>Arial 16</a:t>
            </a:r>
          </a:p>
          <a:p>
            <a:pPr lvl="1"/>
            <a:endParaRPr lang="en-GB" smtClean="0"/>
          </a:p>
          <a:p>
            <a:pPr lvl="2"/>
            <a:r>
              <a:rPr lang="en-GB" smtClean="0"/>
              <a:t>Arial 14</a:t>
            </a:r>
          </a:p>
          <a:p>
            <a:pPr lvl="2"/>
            <a:r>
              <a:rPr lang="en-GB" smtClean="0"/>
              <a:t>Arial 14</a:t>
            </a:r>
          </a:p>
          <a:p>
            <a:pPr lvl="2"/>
            <a:r>
              <a:rPr lang="en-GB" smtClean="0"/>
              <a:t>Arial 14</a:t>
            </a:r>
          </a:p>
          <a:p>
            <a:pPr lvl="1"/>
            <a:endParaRPr lang="en-GB" smtClean="0"/>
          </a:p>
        </p:txBody>
      </p:sp>
      <p:sp>
        <p:nvSpPr>
          <p:cNvPr id="1028" name="AutoShape 10"/>
          <p:cNvSpPr>
            <a:spLocks/>
          </p:cNvSpPr>
          <p:nvPr/>
        </p:nvSpPr>
        <p:spPr bwMode="auto">
          <a:xfrm>
            <a:off x="4342646" y="6400800"/>
            <a:ext cx="458708" cy="254000"/>
          </a:xfrm>
          <a:prstGeom prst="roundRect">
            <a:avLst>
              <a:gd name="adj" fmla="val 50000"/>
            </a:avLst>
          </a:prstGeom>
          <a:noFill/>
          <a:ln w="19050" cap="rnd">
            <a:solidFill>
              <a:srgbClr val="44B5CA"/>
            </a:solidFill>
            <a:prstDash val="sysDot"/>
            <a:miter lim="800000"/>
            <a:headEnd/>
            <a:tailEnd/>
          </a:ln>
          <a:extLst>
            <a:ext uri="{909E8E84-426E-40DD-AFC4-6F175D3DCCD1}">
              <a14:hiddenFill xmlns:a14="http://schemas.microsoft.com/office/drawing/2010/main" xmlns="">
                <a:solidFill>
                  <a:srgbClr val="FFFFFF"/>
                </a:solidFill>
              </a14:hiddenFill>
            </a:ext>
          </a:extLst>
        </p:spPr>
        <p:txBody>
          <a:bodyPr lIns="0" tIns="0" rIns="0" bIns="0"/>
          <a:lstStyle/>
          <a:p>
            <a:pPr algn="ctr" fontAlgn="base">
              <a:spcBef>
                <a:spcPct val="0"/>
              </a:spcBef>
              <a:spcAft>
                <a:spcPct val="0"/>
              </a:spcAft>
            </a:pPr>
            <a:endParaRPr lang="es-ES_tradnl" sz="2800" smtClean="0">
              <a:solidFill>
                <a:srgbClr val="000000"/>
              </a:solidFill>
              <a:latin typeface="Gill Sans"/>
              <a:ea typeface="ヒラギノ角ゴ ProN W3"/>
              <a:cs typeface="ヒラギノ角ゴ ProN W3"/>
              <a:sym typeface="Gill Sans"/>
            </a:endParaRPr>
          </a:p>
        </p:txBody>
      </p:sp>
      <p:sp>
        <p:nvSpPr>
          <p:cNvPr id="1029" name="Rectangle 3"/>
          <p:cNvSpPr>
            <a:spLocks/>
          </p:cNvSpPr>
          <p:nvPr/>
        </p:nvSpPr>
        <p:spPr bwMode="auto">
          <a:xfrm>
            <a:off x="4447403" y="6445253"/>
            <a:ext cx="246020"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lgn="ctr" fontAlgn="base">
              <a:spcBef>
                <a:spcPct val="0"/>
              </a:spcBef>
              <a:spcAft>
                <a:spcPct val="0"/>
              </a:spcAft>
            </a:pPr>
            <a:fld id="{5043D9A4-8E04-433D-845D-751AF2AFB58E}" type="slidenum">
              <a:rPr lang="en-GB" sz="1100" smtClean="0">
                <a:solidFill>
                  <a:srgbClr val="123E51"/>
                </a:solidFill>
                <a:ea typeface="ＭＳ Ｐゴシック" pitchFamily="34" charset="-128"/>
                <a:sym typeface="Arial" pitchFamily="34" charset="0"/>
              </a:rPr>
              <a:pPr algn="ctr" fontAlgn="base">
                <a:spcBef>
                  <a:spcPct val="0"/>
                </a:spcBef>
                <a:spcAft>
                  <a:spcPct val="0"/>
                </a:spcAft>
              </a:pPr>
              <a:t>‹#›</a:t>
            </a:fld>
            <a:endParaRPr lang="en-GB" sz="1100" smtClean="0">
              <a:solidFill>
                <a:srgbClr val="123E51"/>
              </a:solidFill>
              <a:ea typeface="ＭＳ Ｐゴシック" pitchFamily="34" charset="-128"/>
              <a:sym typeface="Arial" pitchFamily="34" charset="0"/>
            </a:endParaRPr>
          </a:p>
        </p:txBody>
      </p:sp>
      <p:pic>
        <p:nvPicPr>
          <p:cNvPr id="1030" name="Picture 11"/>
          <p:cNvPicPr>
            <a:picLocks noChangeAspect="1" noChangeArrowheads="1"/>
          </p:cNvPicPr>
          <p:nvPr/>
        </p:nvPicPr>
        <p:blipFill>
          <a:blip r:embed="rId10" cstate="print">
            <a:extLst>
              <a:ext uri="{28A0092B-C50C-407E-A947-70E740481C1C}">
                <a14:useLocalDpi xmlns:a14="http://schemas.microsoft.com/office/drawing/2010/main" xmlns="" val="0"/>
              </a:ext>
            </a:extLst>
          </a:blip>
          <a:srcRect/>
          <a:stretch>
            <a:fillRect/>
          </a:stretch>
        </p:blipFill>
        <p:spPr bwMode="auto">
          <a:xfrm>
            <a:off x="7963105" y="6399216"/>
            <a:ext cx="1015824" cy="2746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32" name="Picture 14"/>
          <p:cNvPicPr>
            <a:picLocks noChangeAspect="1" noChangeArrowheads="1"/>
          </p:cNvPicPr>
          <p:nvPr/>
        </p:nvPicPr>
        <p:blipFill>
          <a:blip r:embed="rId11" cstate="print">
            <a:extLst>
              <a:ext uri="{28A0092B-C50C-407E-A947-70E740481C1C}">
                <a14:useLocalDpi xmlns:a14="http://schemas.microsoft.com/office/drawing/2010/main" xmlns="" val="0"/>
              </a:ext>
            </a:extLst>
          </a:blip>
          <a:srcRect/>
          <a:stretch>
            <a:fillRect/>
          </a:stretch>
        </p:blipFill>
        <p:spPr bwMode="auto">
          <a:xfrm>
            <a:off x="139676" y="6197603"/>
            <a:ext cx="8763066" cy="36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33" name="Rectangle 1"/>
          <p:cNvSpPr>
            <a:spLocks/>
          </p:cNvSpPr>
          <p:nvPr/>
        </p:nvSpPr>
        <p:spPr bwMode="auto">
          <a:xfrm>
            <a:off x="0" y="0"/>
            <a:ext cx="368236" cy="647700"/>
          </a:xfrm>
          <a:prstGeom prst="rect">
            <a:avLst/>
          </a:prstGeom>
          <a:gradFill rotWithShape="0">
            <a:gsLst>
              <a:gs pos="0">
                <a:srgbClr val="0A1519"/>
              </a:gs>
              <a:gs pos="100000">
                <a:srgbClr val="2A5E77"/>
              </a:gs>
            </a:gsLst>
            <a:lin ang="2700000" scaled="1"/>
          </a:gradFill>
          <a:ln>
            <a:noFill/>
          </a:ln>
          <a:extLs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ctr" fontAlgn="base">
              <a:spcBef>
                <a:spcPct val="0"/>
              </a:spcBef>
              <a:spcAft>
                <a:spcPct val="0"/>
              </a:spcAft>
            </a:pPr>
            <a:endParaRPr lang="es-ES_tradnl" sz="2800" smtClean="0">
              <a:solidFill>
                <a:srgbClr val="000000"/>
              </a:solidFill>
              <a:ea typeface="ヒラギノ角ゴ ProN W3"/>
              <a:cs typeface="Arial" pitchFamily="34" charset="0"/>
              <a:sym typeface="Gill Sans"/>
            </a:endParaRPr>
          </a:p>
        </p:txBody>
      </p:sp>
    </p:spTree>
    <p:extLst>
      <p:ext uri="{BB962C8B-B14F-4D97-AF65-F5344CB8AC3E}">
        <p14:creationId xmlns:p14="http://schemas.microsoft.com/office/powerpoint/2010/main" xmlns="" val="2944422460"/>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Lst>
  <p:transition/>
  <p:timing>
    <p:tnLst>
      <p:par>
        <p:cTn id="1" dur="indefinite" restart="never" nodeType="tmRoot"/>
      </p:par>
    </p:tnLst>
  </p:timing>
  <p:txStyles>
    <p:titleStyle>
      <a:lvl1pPr algn="l" rtl="0" eaLnBrk="0" fontAlgn="base" hangingPunct="0">
        <a:spcBef>
          <a:spcPct val="0"/>
        </a:spcBef>
        <a:spcAft>
          <a:spcPct val="0"/>
        </a:spcAft>
        <a:defRPr sz="2800">
          <a:solidFill>
            <a:schemeClr val="tx2"/>
          </a:solidFill>
          <a:latin typeface="+mj-lt"/>
          <a:ea typeface="+mj-ea"/>
          <a:cs typeface="+mj-cs"/>
        </a:defRPr>
      </a:lvl1pPr>
      <a:lvl2pPr algn="l" rtl="0" eaLnBrk="0" fontAlgn="base" hangingPunct="0">
        <a:spcBef>
          <a:spcPct val="0"/>
        </a:spcBef>
        <a:spcAft>
          <a:spcPct val="0"/>
        </a:spcAft>
        <a:defRPr sz="2800">
          <a:solidFill>
            <a:schemeClr val="tx2"/>
          </a:solidFill>
          <a:latin typeface="Arial" pitchFamily="34" charset="0"/>
        </a:defRPr>
      </a:lvl2pPr>
      <a:lvl3pPr algn="l" rtl="0" eaLnBrk="0" fontAlgn="base" hangingPunct="0">
        <a:spcBef>
          <a:spcPct val="0"/>
        </a:spcBef>
        <a:spcAft>
          <a:spcPct val="0"/>
        </a:spcAft>
        <a:defRPr sz="2800">
          <a:solidFill>
            <a:schemeClr val="tx2"/>
          </a:solidFill>
          <a:latin typeface="Arial" pitchFamily="34" charset="0"/>
        </a:defRPr>
      </a:lvl3pPr>
      <a:lvl4pPr algn="l" rtl="0" eaLnBrk="0" fontAlgn="base" hangingPunct="0">
        <a:spcBef>
          <a:spcPct val="0"/>
        </a:spcBef>
        <a:spcAft>
          <a:spcPct val="0"/>
        </a:spcAft>
        <a:defRPr sz="2800">
          <a:solidFill>
            <a:schemeClr val="tx2"/>
          </a:solidFill>
          <a:latin typeface="Arial" pitchFamily="34" charset="0"/>
        </a:defRPr>
      </a:lvl4pPr>
      <a:lvl5pPr algn="l" rtl="0" eaLnBrk="0" fontAlgn="base" hangingPunct="0">
        <a:spcBef>
          <a:spcPct val="0"/>
        </a:spcBef>
        <a:spcAft>
          <a:spcPct val="0"/>
        </a:spcAft>
        <a:defRPr sz="2800">
          <a:solidFill>
            <a:schemeClr val="tx2"/>
          </a:solidFill>
          <a:latin typeface="Arial" pitchFamily="34" charset="0"/>
        </a:defRPr>
      </a:lvl5pPr>
      <a:lvl6pPr marL="457200" algn="l" rtl="0" eaLnBrk="1" fontAlgn="base" hangingPunct="1">
        <a:spcBef>
          <a:spcPct val="0"/>
        </a:spcBef>
        <a:spcAft>
          <a:spcPct val="0"/>
        </a:spcAft>
        <a:defRPr sz="2800">
          <a:solidFill>
            <a:schemeClr val="tx2"/>
          </a:solidFill>
          <a:latin typeface="Arial" pitchFamily="34" charset="0"/>
        </a:defRPr>
      </a:lvl6pPr>
      <a:lvl7pPr marL="914400" algn="l" rtl="0" eaLnBrk="1" fontAlgn="base" hangingPunct="1">
        <a:spcBef>
          <a:spcPct val="0"/>
        </a:spcBef>
        <a:spcAft>
          <a:spcPct val="0"/>
        </a:spcAft>
        <a:defRPr sz="2800">
          <a:solidFill>
            <a:schemeClr val="tx2"/>
          </a:solidFill>
          <a:latin typeface="Arial" pitchFamily="34" charset="0"/>
        </a:defRPr>
      </a:lvl7pPr>
      <a:lvl8pPr marL="1371600" algn="l" rtl="0" eaLnBrk="1" fontAlgn="base" hangingPunct="1">
        <a:spcBef>
          <a:spcPct val="0"/>
        </a:spcBef>
        <a:spcAft>
          <a:spcPct val="0"/>
        </a:spcAft>
        <a:defRPr sz="2800">
          <a:solidFill>
            <a:schemeClr val="tx2"/>
          </a:solidFill>
          <a:latin typeface="Arial" pitchFamily="34" charset="0"/>
        </a:defRPr>
      </a:lvl8pPr>
      <a:lvl9pPr marL="1828800" algn="l" rtl="0" eaLnBrk="1" fontAlgn="base" hangingPunct="1">
        <a:spcBef>
          <a:spcPct val="0"/>
        </a:spcBef>
        <a:spcAft>
          <a:spcPct val="0"/>
        </a:spcAft>
        <a:defRPr sz="2800">
          <a:solidFill>
            <a:schemeClr val="tx2"/>
          </a:solidFill>
          <a:latin typeface="Arial" pitchFamily="34" charset="0"/>
        </a:defRPr>
      </a:lvl9pPr>
    </p:titleStyle>
    <p:bodyStyle>
      <a:lvl1pPr marL="342900" indent="-342900" algn="l" rtl="0" eaLnBrk="0" fontAlgn="base" hangingPunct="0">
        <a:spcBef>
          <a:spcPct val="20000"/>
        </a:spcBef>
        <a:spcAft>
          <a:spcPct val="0"/>
        </a:spcAft>
        <a:buClr>
          <a:schemeClr val="tx2"/>
        </a:buClr>
        <a:buSzPct val="200000"/>
        <a:buChar char="•"/>
        <a:defRPr>
          <a:solidFill>
            <a:schemeClr val="tx1"/>
          </a:solidFill>
          <a:latin typeface="+mn-lt"/>
          <a:ea typeface="+mn-ea"/>
          <a:cs typeface="+mn-cs"/>
        </a:defRPr>
      </a:lvl1pPr>
      <a:lvl2pPr marL="742950" indent="-285750" algn="l" rtl="0" eaLnBrk="0" fontAlgn="base" hangingPunct="0">
        <a:spcBef>
          <a:spcPct val="20000"/>
        </a:spcBef>
        <a:spcAft>
          <a:spcPct val="0"/>
        </a:spcAft>
        <a:buClr>
          <a:schemeClr val="tx2"/>
        </a:buClr>
        <a:buFont typeface="Wingdings" pitchFamily="2" charset="2"/>
        <a:buChar char="§"/>
        <a:defRPr sz="1600">
          <a:solidFill>
            <a:schemeClr val="tx1"/>
          </a:solidFill>
          <a:latin typeface="+mn-lt"/>
        </a:defRPr>
      </a:lvl2pPr>
      <a:lvl3pPr marL="1143000" indent="-228600" algn="l" rtl="0" eaLnBrk="0" fontAlgn="base" hangingPunct="0">
        <a:spcBef>
          <a:spcPct val="20000"/>
        </a:spcBef>
        <a:spcAft>
          <a:spcPct val="0"/>
        </a:spcAft>
        <a:buClr>
          <a:schemeClr val="tx1"/>
        </a:buClr>
        <a:buChar char="•"/>
        <a:defRPr sz="1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121" y="188913"/>
            <a:ext cx="8229759" cy="647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smtClean="0"/>
              <a:t>First level title</a:t>
            </a:r>
          </a:p>
        </p:txBody>
      </p:sp>
      <p:sp>
        <p:nvSpPr>
          <p:cNvPr id="1027" name="Rectangle 3"/>
          <p:cNvSpPr>
            <a:spLocks noGrp="1" noChangeArrowheads="1"/>
          </p:cNvSpPr>
          <p:nvPr>
            <p:ph type="body" idx="1"/>
          </p:nvPr>
        </p:nvSpPr>
        <p:spPr bwMode="auto">
          <a:xfrm>
            <a:off x="457121" y="1600201"/>
            <a:ext cx="8229759"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smtClean="0"/>
              <a:t>Text here</a:t>
            </a:r>
          </a:p>
          <a:p>
            <a:pPr lvl="0"/>
            <a:endParaRPr lang="en-GB" smtClean="0"/>
          </a:p>
          <a:p>
            <a:pPr lvl="1"/>
            <a:r>
              <a:rPr lang="en-GB" smtClean="0"/>
              <a:t>Arial 16</a:t>
            </a:r>
          </a:p>
          <a:p>
            <a:pPr lvl="1"/>
            <a:endParaRPr lang="en-GB" smtClean="0"/>
          </a:p>
          <a:p>
            <a:pPr lvl="2"/>
            <a:r>
              <a:rPr lang="en-GB" smtClean="0"/>
              <a:t>Arial 14</a:t>
            </a:r>
          </a:p>
          <a:p>
            <a:pPr lvl="2"/>
            <a:r>
              <a:rPr lang="en-GB" smtClean="0"/>
              <a:t>Arial 14</a:t>
            </a:r>
          </a:p>
          <a:p>
            <a:pPr lvl="2"/>
            <a:r>
              <a:rPr lang="en-GB" smtClean="0"/>
              <a:t>Arial 14</a:t>
            </a:r>
          </a:p>
          <a:p>
            <a:pPr lvl="1"/>
            <a:endParaRPr lang="en-GB" smtClean="0"/>
          </a:p>
        </p:txBody>
      </p:sp>
      <p:sp>
        <p:nvSpPr>
          <p:cNvPr id="1028" name="AutoShape 10"/>
          <p:cNvSpPr>
            <a:spLocks/>
          </p:cNvSpPr>
          <p:nvPr/>
        </p:nvSpPr>
        <p:spPr bwMode="auto">
          <a:xfrm>
            <a:off x="4342646" y="6400800"/>
            <a:ext cx="458708" cy="254000"/>
          </a:xfrm>
          <a:prstGeom prst="roundRect">
            <a:avLst>
              <a:gd name="adj" fmla="val 50000"/>
            </a:avLst>
          </a:prstGeom>
          <a:noFill/>
          <a:ln w="19050" cap="rnd">
            <a:solidFill>
              <a:srgbClr val="44B5CA"/>
            </a:solidFill>
            <a:prstDash val="sysDot"/>
            <a:miter lim="800000"/>
            <a:headEnd/>
            <a:tailEnd/>
          </a:ln>
          <a:extLst>
            <a:ext uri="{909E8E84-426E-40DD-AFC4-6F175D3DCCD1}">
              <a14:hiddenFill xmlns:a14="http://schemas.microsoft.com/office/drawing/2010/main" xmlns="">
                <a:solidFill>
                  <a:srgbClr val="FFFFFF"/>
                </a:solidFill>
              </a14:hiddenFill>
            </a:ext>
          </a:extLst>
        </p:spPr>
        <p:txBody>
          <a:bodyPr lIns="0" tIns="0" rIns="0" bIns="0"/>
          <a:lstStyle/>
          <a:p>
            <a:pPr algn="ctr" fontAlgn="base">
              <a:spcBef>
                <a:spcPct val="0"/>
              </a:spcBef>
              <a:spcAft>
                <a:spcPct val="0"/>
              </a:spcAft>
            </a:pPr>
            <a:endParaRPr lang="es-ES_tradnl" sz="2800" smtClean="0">
              <a:solidFill>
                <a:srgbClr val="000000"/>
              </a:solidFill>
              <a:latin typeface="Gill Sans"/>
              <a:ea typeface="ヒラギノ角ゴ ProN W3"/>
              <a:cs typeface="ヒラギノ角ゴ ProN W3"/>
              <a:sym typeface="Gill Sans"/>
            </a:endParaRPr>
          </a:p>
        </p:txBody>
      </p:sp>
      <p:sp>
        <p:nvSpPr>
          <p:cNvPr id="1029" name="Rectangle 3"/>
          <p:cNvSpPr>
            <a:spLocks/>
          </p:cNvSpPr>
          <p:nvPr/>
        </p:nvSpPr>
        <p:spPr bwMode="auto">
          <a:xfrm>
            <a:off x="4447403" y="6445251"/>
            <a:ext cx="246020" cy="168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pPr algn="ctr" fontAlgn="base">
              <a:spcBef>
                <a:spcPct val="0"/>
              </a:spcBef>
              <a:spcAft>
                <a:spcPct val="0"/>
              </a:spcAft>
            </a:pPr>
            <a:fld id="{5043D9A4-8E04-433D-845D-751AF2AFB58E}" type="slidenum">
              <a:rPr lang="en-GB" sz="1100" smtClean="0">
                <a:solidFill>
                  <a:srgbClr val="123E51"/>
                </a:solidFill>
                <a:ea typeface="ＭＳ Ｐゴシック" pitchFamily="34" charset="-128"/>
                <a:sym typeface="Arial" pitchFamily="34" charset="0"/>
              </a:rPr>
              <a:pPr algn="ctr" fontAlgn="base">
                <a:spcBef>
                  <a:spcPct val="0"/>
                </a:spcBef>
                <a:spcAft>
                  <a:spcPct val="0"/>
                </a:spcAft>
              </a:pPr>
              <a:t>‹#›</a:t>
            </a:fld>
            <a:endParaRPr lang="en-GB" sz="1100" smtClean="0">
              <a:solidFill>
                <a:srgbClr val="123E51"/>
              </a:solidFill>
              <a:ea typeface="ＭＳ Ｐゴシック" pitchFamily="34" charset="-128"/>
              <a:sym typeface="Arial" pitchFamily="34" charset="0"/>
            </a:endParaRPr>
          </a:p>
        </p:txBody>
      </p:sp>
      <p:pic>
        <p:nvPicPr>
          <p:cNvPr id="1030" name="Picture 11"/>
          <p:cNvPicPr>
            <a:picLocks noChangeAspect="1" noChangeArrowheads="1"/>
          </p:cNvPicPr>
          <p:nvPr/>
        </p:nvPicPr>
        <p:blipFill>
          <a:blip r:embed="rId10" cstate="print">
            <a:extLst>
              <a:ext uri="{28A0092B-C50C-407E-A947-70E740481C1C}">
                <a14:useLocalDpi xmlns:a14="http://schemas.microsoft.com/office/drawing/2010/main" xmlns="" val="0"/>
              </a:ext>
            </a:extLst>
          </a:blip>
          <a:srcRect/>
          <a:stretch>
            <a:fillRect/>
          </a:stretch>
        </p:blipFill>
        <p:spPr bwMode="auto">
          <a:xfrm>
            <a:off x="7963105" y="6399214"/>
            <a:ext cx="1015824" cy="2746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32" name="Picture 14"/>
          <p:cNvPicPr>
            <a:picLocks noChangeAspect="1" noChangeArrowheads="1"/>
          </p:cNvPicPr>
          <p:nvPr/>
        </p:nvPicPr>
        <p:blipFill>
          <a:blip r:embed="rId11" cstate="print">
            <a:extLst>
              <a:ext uri="{28A0092B-C50C-407E-A947-70E740481C1C}">
                <a14:useLocalDpi xmlns:a14="http://schemas.microsoft.com/office/drawing/2010/main" xmlns="" val="0"/>
              </a:ext>
            </a:extLst>
          </a:blip>
          <a:srcRect/>
          <a:stretch>
            <a:fillRect/>
          </a:stretch>
        </p:blipFill>
        <p:spPr bwMode="auto">
          <a:xfrm>
            <a:off x="139676" y="6197601"/>
            <a:ext cx="8763066" cy="36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33" name="Rectangle 1"/>
          <p:cNvSpPr>
            <a:spLocks/>
          </p:cNvSpPr>
          <p:nvPr/>
        </p:nvSpPr>
        <p:spPr bwMode="auto">
          <a:xfrm>
            <a:off x="0" y="0"/>
            <a:ext cx="368236" cy="647700"/>
          </a:xfrm>
          <a:prstGeom prst="rect">
            <a:avLst/>
          </a:prstGeom>
          <a:gradFill rotWithShape="0">
            <a:gsLst>
              <a:gs pos="0">
                <a:srgbClr val="0A1519"/>
              </a:gs>
              <a:gs pos="100000">
                <a:srgbClr val="2A5E77"/>
              </a:gs>
            </a:gsLst>
            <a:lin ang="2700000" scaled="1"/>
          </a:gradFill>
          <a:ln>
            <a:noFill/>
          </a:ln>
          <a:extLs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ctr" fontAlgn="base">
              <a:spcBef>
                <a:spcPct val="0"/>
              </a:spcBef>
              <a:spcAft>
                <a:spcPct val="0"/>
              </a:spcAft>
            </a:pPr>
            <a:endParaRPr lang="es-ES_tradnl" sz="2800" smtClean="0">
              <a:solidFill>
                <a:srgbClr val="000000"/>
              </a:solidFill>
              <a:ea typeface="ヒラギノ角ゴ ProN W3"/>
              <a:cs typeface="Arial" pitchFamily="34" charset="0"/>
              <a:sym typeface="Gill Sans"/>
            </a:endParaRPr>
          </a:p>
        </p:txBody>
      </p:sp>
    </p:spTree>
    <p:extLst>
      <p:ext uri="{BB962C8B-B14F-4D97-AF65-F5344CB8AC3E}">
        <p14:creationId xmlns:p14="http://schemas.microsoft.com/office/powerpoint/2010/main" xmlns="" val="182685877"/>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Lst>
  <p:transition/>
  <p:timing>
    <p:tnLst>
      <p:par>
        <p:cTn id="1" dur="indefinite" restart="never" nodeType="tmRoot"/>
      </p:par>
    </p:tnLst>
  </p:timing>
  <p:txStyles>
    <p:titleStyle>
      <a:lvl1pPr algn="l" rtl="0" eaLnBrk="0" fontAlgn="base" hangingPunct="0">
        <a:spcBef>
          <a:spcPct val="0"/>
        </a:spcBef>
        <a:spcAft>
          <a:spcPct val="0"/>
        </a:spcAft>
        <a:defRPr sz="2800">
          <a:solidFill>
            <a:schemeClr val="tx2"/>
          </a:solidFill>
          <a:latin typeface="+mj-lt"/>
          <a:ea typeface="+mj-ea"/>
          <a:cs typeface="+mj-cs"/>
        </a:defRPr>
      </a:lvl1pPr>
      <a:lvl2pPr algn="l" rtl="0" eaLnBrk="0" fontAlgn="base" hangingPunct="0">
        <a:spcBef>
          <a:spcPct val="0"/>
        </a:spcBef>
        <a:spcAft>
          <a:spcPct val="0"/>
        </a:spcAft>
        <a:defRPr sz="2800">
          <a:solidFill>
            <a:schemeClr val="tx2"/>
          </a:solidFill>
          <a:latin typeface="Arial" pitchFamily="34" charset="0"/>
        </a:defRPr>
      </a:lvl2pPr>
      <a:lvl3pPr algn="l" rtl="0" eaLnBrk="0" fontAlgn="base" hangingPunct="0">
        <a:spcBef>
          <a:spcPct val="0"/>
        </a:spcBef>
        <a:spcAft>
          <a:spcPct val="0"/>
        </a:spcAft>
        <a:defRPr sz="2800">
          <a:solidFill>
            <a:schemeClr val="tx2"/>
          </a:solidFill>
          <a:latin typeface="Arial" pitchFamily="34" charset="0"/>
        </a:defRPr>
      </a:lvl3pPr>
      <a:lvl4pPr algn="l" rtl="0" eaLnBrk="0" fontAlgn="base" hangingPunct="0">
        <a:spcBef>
          <a:spcPct val="0"/>
        </a:spcBef>
        <a:spcAft>
          <a:spcPct val="0"/>
        </a:spcAft>
        <a:defRPr sz="2800">
          <a:solidFill>
            <a:schemeClr val="tx2"/>
          </a:solidFill>
          <a:latin typeface="Arial" pitchFamily="34" charset="0"/>
        </a:defRPr>
      </a:lvl4pPr>
      <a:lvl5pPr algn="l" rtl="0" eaLnBrk="0" fontAlgn="base" hangingPunct="0">
        <a:spcBef>
          <a:spcPct val="0"/>
        </a:spcBef>
        <a:spcAft>
          <a:spcPct val="0"/>
        </a:spcAft>
        <a:defRPr sz="2800">
          <a:solidFill>
            <a:schemeClr val="tx2"/>
          </a:solidFill>
          <a:latin typeface="Arial" pitchFamily="34" charset="0"/>
        </a:defRPr>
      </a:lvl5pPr>
      <a:lvl6pPr marL="457200" algn="l" rtl="0" eaLnBrk="1" fontAlgn="base" hangingPunct="1">
        <a:spcBef>
          <a:spcPct val="0"/>
        </a:spcBef>
        <a:spcAft>
          <a:spcPct val="0"/>
        </a:spcAft>
        <a:defRPr sz="2800">
          <a:solidFill>
            <a:schemeClr val="tx2"/>
          </a:solidFill>
          <a:latin typeface="Arial" pitchFamily="34" charset="0"/>
        </a:defRPr>
      </a:lvl6pPr>
      <a:lvl7pPr marL="914400" algn="l" rtl="0" eaLnBrk="1" fontAlgn="base" hangingPunct="1">
        <a:spcBef>
          <a:spcPct val="0"/>
        </a:spcBef>
        <a:spcAft>
          <a:spcPct val="0"/>
        </a:spcAft>
        <a:defRPr sz="2800">
          <a:solidFill>
            <a:schemeClr val="tx2"/>
          </a:solidFill>
          <a:latin typeface="Arial" pitchFamily="34" charset="0"/>
        </a:defRPr>
      </a:lvl7pPr>
      <a:lvl8pPr marL="1371600" algn="l" rtl="0" eaLnBrk="1" fontAlgn="base" hangingPunct="1">
        <a:spcBef>
          <a:spcPct val="0"/>
        </a:spcBef>
        <a:spcAft>
          <a:spcPct val="0"/>
        </a:spcAft>
        <a:defRPr sz="2800">
          <a:solidFill>
            <a:schemeClr val="tx2"/>
          </a:solidFill>
          <a:latin typeface="Arial" pitchFamily="34" charset="0"/>
        </a:defRPr>
      </a:lvl8pPr>
      <a:lvl9pPr marL="1828800" algn="l" rtl="0" eaLnBrk="1" fontAlgn="base" hangingPunct="1">
        <a:spcBef>
          <a:spcPct val="0"/>
        </a:spcBef>
        <a:spcAft>
          <a:spcPct val="0"/>
        </a:spcAft>
        <a:defRPr sz="2800">
          <a:solidFill>
            <a:schemeClr val="tx2"/>
          </a:solidFill>
          <a:latin typeface="Arial" pitchFamily="34" charset="0"/>
        </a:defRPr>
      </a:lvl9pPr>
    </p:titleStyle>
    <p:bodyStyle>
      <a:lvl1pPr marL="342900" indent="-342900" algn="l" rtl="0" eaLnBrk="0" fontAlgn="base" hangingPunct="0">
        <a:spcBef>
          <a:spcPct val="20000"/>
        </a:spcBef>
        <a:spcAft>
          <a:spcPct val="0"/>
        </a:spcAft>
        <a:buClr>
          <a:schemeClr val="tx2"/>
        </a:buClr>
        <a:buSzPct val="200000"/>
        <a:buChar char="•"/>
        <a:defRPr>
          <a:solidFill>
            <a:schemeClr val="tx1"/>
          </a:solidFill>
          <a:latin typeface="+mn-lt"/>
          <a:ea typeface="+mn-ea"/>
          <a:cs typeface="+mn-cs"/>
        </a:defRPr>
      </a:lvl1pPr>
      <a:lvl2pPr marL="742950" indent="-285750" algn="l" rtl="0" eaLnBrk="0" fontAlgn="base" hangingPunct="0">
        <a:spcBef>
          <a:spcPct val="20000"/>
        </a:spcBef>
        <a:spcAft>
          <a:spcPct val="0"/>
        </a:spcAft>
        <a:buClr>
          <a:schemeClr val="tx2"/>
        </a:buClr>
        <a:buFont typeface="Wingdings" pitchFamily="2" charset="2"/>
        <a:buChar char="§"/>
        <a:defRPr sz="1600">
          <a:solidFill>
            <a:schemeClr val="tx1"/>
          </a:solidFill>
          <a:latin typeface="+mn-lt"/>
        </a:defRPr>
      </a:lvl2pPr>
      <a:lvl3pPr marL="1143000" indent="-228600" algn="l" rtl="0" eaLnBrk="0" fontAlgn="base" hangingPunct="0">
        <a:spcBef>
          <a:spcPct val="20000"/>
        </a:spcBef>
        <a:spcAft>
          <a:spcPct val="0"/>
        </a:spcAft>
        <a:buClr>
          <a:schemeClr val="tx1"/>
        </a:buClr>
        <a:buChar char="•"/>
        <a:defRPr sz="1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35.xml"/><Relationship Id="rId6" Type="http://schemas.openxmlformats.org/officeDocument/2006/relationships/image" Target="../media/image8.png"/><Relationship Id="rId5" Type="http://schemas.openxmlformats.org/officeDocument/2006/relationships/image" Target="../media/image7.jpe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image" Target="../media/image31.png"/><Relationship Id="rId7" Type="http://schemas.openxmlformats.org/officeDocument/2006/relationships/image" Target="../media/image35.jpeg"/><Relationship Id="rId12" Type="http://schemas.openxmlformats.org/officeDocument/2006/relationships/image" Target="../media/image40.png"/><Relationship Id="rId2" Type="http://schemas.openxmlformats.org/officeDocument/2006/relationships/notesSlide" Target="../notesSlides/notesSlide10.xml"/><Relationship Id="rId1" Type="http://schemas.openxmlformats.org/officeDocument/2006/relationships/slideLayout" Target="../slideLayouts/slideLayout17.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emf"/><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s/_rels/slide11.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png"/><Relationship Id="rId3" Type="http://schemas.openxmlformats.org/officeDocument/2006/relationships/notesSlide" Target="../notesSlides/notesSlide11.xml"/><Relationship Id="rId7" Type="http://schemas.openxmlformats.org/officeDocument/2006/relationships/image" Target="../media/image44.png"/><Relationship Id="rId12" Type="http://schemas.openxmlformats.org/officeDocument/2006/relationships/image" Target="../media/image49.jpeg"/><Relationship Id="rId2" Type="http://schemas.openxmlformats.org/officeDocument/2006/relationships/slideLayout" Target="../slideLayouts/slideLayout18.xml"/><Relationship Id="rId16" Type="http://schemas.openxmlformats.org/officeDocument/2006/relationships/image" Target="../media/image53.jpeg"/><Relationship Id="rId1" Type="http://schemas.openxmlformats.org/officeDocument/2006/relationships/themeOverride" Target="../theme/themeOverride2.xml"/><Relationship Id="rId6" Type="http://schemas.openxmlformats.org/officeDocument/2006/relationships/image" Target="../media/image43.png"/><Relationship Id="rId11" Type="http://schemas.openxmlformats.org/officeDocument/2006/relationships/image" Target="../media/image48.png"/><Relationship Id="rId5" Type="http://schemas.openxmlformats.org/officeDocument/2006/relationships/image" Target="../media/image42.png"/><Relationship Id="rId15" Type="http://schemas.openxmlformats.org/officeDocument/2006/relationships/image" Target="../media/image52.jpeg"/><Relationship Id="rId10" Type="http://schemas.openxmlformats.org/officeDocument/2006/relationships/image" Target="../media/image47.jpeg"/><Relationship Id="rId4" Type="http://schemas.openxmlformats.org/officeDocument/2006/relationships/image" Target="../media/image41.png"/><Relationship Id="rId9" Type="http://schemas.openxmlformats.org/officeDocument/2006/relationships/image" Target="../media/image46.png"/><Relationship Id="rId14" Type="http://schemas.openxmlformats.org/officeDocument/2006/relationships/image" Target="../media/image51.png"/></Relationships>
</file>

<file path=ppt/slides/_rels/slide12.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12.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5.png"/><Relationship Id="rId7" Type="http://schemas.openxmlformats.org/officeDocument/2006/relationships/image" Target="../media/image33.emf"/><Relationship Id="rId2" Type="http://schemas.openxmlformats.org/officeDocument/2006/relationships/notesSlide" Target="../notesSlides/notesSlide13.xml"/><Relationship Id="rId1" Type="http://schemas.openxmlformats.org/officeDocument/2006/relationships/slideLayout" Target="../slideLayouts/slideLayout17.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1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21.png"/></Relationships>
</file>

<file path=ppt/slides/_rels/slide15.xml.rels><?xml version="1.0" encoding="UTF-8" standalone="yes"?>
<Relationships xmlns="http://schemas.openxmlformats.org/package/2006/relationships"><Relationship Id="rId8" Type="http://schemas.openxmlformats.org/officeDocument/2006/relationships/image" Target="../media/image64.png"/><Relationship Id="rId13" Type="http://schemas.openxmlformats.org/officeDocument/2006/relationships/image" Target="../media/image69.png"/><Relationship Id="rId18" Type="http://schemas.openxmlformats.org/officeDocument/2006/relationships/image" Target="../media/image73.png"/><Relationship Id="rId3" Type="http://schemas.openxmlformats.org/officeDocument/2006/relationships/notesSlide" Target="../notesSlides/notesSlide15.xml"/><Relationship Id="rId21" Type="http://schemas.openxmlformats.org/officeDocument/2006/relationships/image" Target="../media/image76.emf"/><Relationship Id="rId7" Type="http://schemas.openxmlformats.org/officeDocument/2006/relationships/image" Target="../media/image63.png"/><Relationship Id="rId12" Type="http://schemas.openxmlformats.org/officeDocument/2006/relationships/image" Target="../media/image68.png"/><Relationship Id="rId17" Type="http://schemas.openxmlformats.org/officeDocument/2006/relationships/image" Target="../media/image34.png"/><Relationship Id="rId2" Type="http://schemas.openxmlformats.org/officeDocument/2006/relationships/slideLayout" Target="../slideLayouts/slideLayout17.xml"/><Relationship Id="rId16" Type="http://schemas.openxmlformats.org/officeDocument/2006/relationships/image" Target="../media/image72.jpeg"/><Relationship Id="rId20" Type="http://schemas.openxmlformats.org/officeDocument/2006/relationships/image" Target="../media/image75.jpeg"/><Relationship Id="rId1" Type="http://schemas.openxmlformats.org/officeDocument/2006/relationships/themeOverride" Target="../theme/themeOverride3.xml"/><Relationship Id="rId6" Type="http://schemas.openxmlformats.org/officeDocument/2006/relationships/image" Target="../media/image62.png"/><Relationship Id="rId11" Type="http://schemas.openxmlformats.org/officeDocument/2006/relationships/image" Target="../media/image67.png"/><Relationship Id="rId5" Type="http://schemas.openxmlformats.org/officeDocument/2006/relationships/image" Target="../media/image61.png"/><Relationship Id="rId15" Type="http://schemas.openxmlformats.org/officeDocument/2006/relationships/image" Target="../media/image71.emf"/><Relationship Id="rId23" Type="http://schemas.openxmlformats.org/officeDocument/2006/relationships/image" Target="../media/image78.png"/><Relationship Id="rId10" Type="http://schemas.openxmlformats.org/officeDocument/2006/relationships/image" Target="../media/image66.jpeg"/><Relationship Id="rId19" Type="http://schemas.openxmlformats.org/officeDocument/2006/relationships/image" Target="../media/image74.png"/><Relationship Id="rId4" Type="http://schemas.openxmlformats.org/officeDocument/2006/relationships/image" Target="../media/image60.png"/><Relationship Id="rId9" Type="http://schemas.openxmlformats.org/officeDocument/2006/relationships/image" Target="../media/image65.jpeg"/><Relationship Id="rId14" Type="http://schemas.openxmlformats.org/officeDocument/2006/relationships/image" Target="../media/image70.png"/><Relationship Id="rId22" Type="http://schemas.openxmlformats.org/officeDocument/2006/relationships/image" Target="../media/image77.emf"/></Relationships>
</file>

<file path=ppt/slides/_rels/slide16.xml.rels><?xml version="1.0" encoding="UTF-8" standalone="yes"?>
<Relationships xmlns="http://schemas.openxmlformats.org/package/2006/relationships"><Relationship Id="rId3" Type="http://schemas.openxmlformats.org/officeDocument/2006/relationships/image" Target="../media/image79.png"/><Relationship Id="rId7" Type="http://schemas.openxmlformats.org/officeDocument/2006/relationships/image" Target="../media/image71.emf"/><Relationship Id="rId2" Type="http://schemas.openxmlformats.org/officeDocument/2006/relationships/notesSlide" Target="../notesSlides/notesSlide16.xml"/><Relationship Id="rId1" Type="http://schemas.openxmlformats.org/officeDocument/2006/relationships/slideLayout" Target="../slideLayouts/slideLayout17.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17.xml.rels><?xml version="1.0" encoding="UTF-8" standalone="yes"?>
<Relationships xmlns="http://schemas.openxmlformats.org/package/2006/relationships"><Relationship Id="rId8" Type="http://schemas.openxmlformats.org/officeDocument/2006/relationships/image" Target="../media/image85.jpeg"/><Relationship Id="rId3" Type="http://schemas.openxmlformats.org/officeDocument/2006/relationships/image" Target="../media/image80.png"/><Relationship Id="rId7" Type="http://schemas.openxmlformats.org/officeDocument/2006/relationships/image" Target="../media/image84.png"/><Relationship Id="rId2" Type="http://schemas.openxmlformats.org/officeDocument/2006/relationships/notesSlide" Target="../notesSlides/notesSlide17.xml"/><Relationship Id="rId1" Type="http://schemas.openxmlformats.org/officeDocument/2006/relationships/slideLayout" Target="../slideLayouts/slideLayout17.xml"/><Relationship Id="rId6" Type="http://schemas.openxmlformats.org/officeDocument/2006/relationships/image" Target="../media/image83.png"/><Relationship Id="rId5" Type="http://schemas.openxmlformats.org/officeDocument/2006/relationships/image" Target="../media/image82.jpeg"/><Relationship Id="rId4" Type="http://schemas.openxmlformats.org/officeDocument/2006/relationships/image" Target="../media/image81.jpeg"/><Relationship Id="rId9" Type="http://schemas.openxmlformats.org/officeDocument/2006/relationships/image" Target="../media/image86.png"/></Relationships>
</file>

<file path=ppt/slides/_rels/slide18.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8.xml"/><Relationship Id="rId1" Type="http://schemas.openxmlformats.org/officeDocument/2006/relationships/slideLayout" Target="../slideLayouts/slideLayout18.xml"/><Relationship Id="rId4" Type="http://schemas.openxmlformats.org/officeDocument/2006/relationships/image" Target="../media/image21.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5.jpeg"/><Relationship Id="rId18" Type="http://schemas.openxmlformats.org/officeDocument/2006/relationships/image" Target="../media/image19.png"/><Relationship Id="rId3" Type="http://schemas.openxmlformats.org/officeDocument/2006/relationships/tags" Target="../tags/tag1.xml"/><Relationship Id="rId7" Type="http://schemas.openxmlformats.org/officeDocument/2006/relationships/image" Target="../media/image10.png"/><Relationship Id="rId12" Type="http://schemas.openxmlformats.org/officeDocument/2006/relationships/image" Target="../media/image14.jpeg"/><Relationship Id="rId17" Type="http://schemas.openxmlformats.org/officeDocument/2006/relationships/image" Target="../media/image18.png"/><Relationship Id="rId2" Type="http://schemas.openxmlformats.org/officeDocument/2006/relationships/vmlDrawing" Target="../drawings/vmlDrawing1.vml"/><Relationship Id="rId16" Type="http://schemas.openxmlformats.org/officeDocument/2006/relationships/image" Target="../media/image17.png"/><Relationship Id="rId1" Type="http://schemas.openxmlformats.org/officeDocument/2006/relationships/themeOverride" Target="../theme/themeOverride1.xml"/><Relationship Id="rId6" Type="http://schemas.openxmlformats.org/officeDocument/2006/relationships/notesSlide" Target="../notesSlides/notesSlide2.xml"/><Relationship Id="rId11" Type="http://schemas.openxmlformats.org/officeDocument/2006/relationships/hyperlink" Target="http://images.google.be/imgres?imgurl=http://www.net4u.be/catalog/images/products/652.jpg&amp;imgrefurl=http://www.net4u.be/catalog/index.php?cPath=77&amp;h=480&amp;w=400&amp;sz=17&amp;tbnid=NaRt4qX7Ub-vAM:&amp;tbnh=129&amp;tbnw=108&amp;hl=en&amp;start=2&amp;prev=/images?q=modem+router+phillips&amp;gbv=1&amp;svnum=10&amp;hl=en" TargetMode="External"/><Relationship Id="rId5" Type="http://schemas.openxmlformats.org/officeDocument/2006/relationships/slideLayout" Target="../slideLayouts/slideLayout18.xml"/><Relationship Id="rId15" Type="http://schemas.openxmlformats.org/officeDocument/2006/relationships/image" Target="../media/image16.png"/><Relationship Id="rId10" Type="http://schemas.openxmlformats.org/officeDocument/2006/relationships/image" Target="../media/image13.png"/><Relationship Id="rId4" Type="http://schemas.openxmlformats.org/officeDocument/2006/relationships/tags" Target="../tags/tag2.xml"/><Relationship Id="rId9" Type="http://schemas.openxmlformats.org/officeDocument/2006/relationships/image" Target="../media/image12.jpeg"/><Relationship Id="rId14" Type="http://schemas.openxmlformats.org/officeDocument/2006/relationships/oleObject" Target="../embeddings/oleObject1.bin"/></Relationships>
</file>

<file path=ppt/slides/_rels/slide20.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0.xml"/><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1.xml"/><Relationship Id="rId1" Type="http://schemas.openxmlformats.org/officeDocument/2006/relationships/slideLayout" Target="../slideLayouts/slideLayout13.xml"/><Relationship Id="rId4" Type="http://schemas.openxmlformats.org/officeDocument/2006/relationships/image" Target="../media/image89.jpe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hyperlink" Target="http://www.itu.int/en/ITU-T/focusgroups/ssc/Pages/default.aspx" TargetMode="External"/><Relationship Id="rId2" Type="http://schemas.openxmlformats.org/officeDocument/2006/relationships/hyperlink" Target="mailto:greenstandard@itu.int" TargetMode="External"/><Relationship Id="rId1" Type="http://schemas.openxmlformats.org/officeDocument/2006/relationships/slideLayout" Target="../slideLayouts/slideLayout17.xml"/><Relationship Id="rId4" Type="http://schemas.openxmlformats.org/officeDocument/2006/relationships/image" Target="../media/image91.jpeg"/></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21.png"/></Relationships>
</file>

<file path=ppt/slides/_rels/slide5.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image" Target="../media/image22.png"/><Relationship Id="rId7" Type="http://schemas.openxmlformats.org/officeDocument/2006/relationships/image" Target="../media/image26.jpe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5.jpeg"/><Relationship Id="rId5" Type="http://schemas.openxmlformats.org/officeDocument/2006/relationships/image" Target="../media/image24.png"/><Relationship Id="rId4" Type="http://schemas.openxmlformats.org/officeDocument/2006/relationships/image" Target="../media/image23.jpeg"/></Relationships>
</file>

<file path=ppt/slides/_rels/slide6.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29.png"/></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9.xml"/><Relationship Id="rId1" Type="http://schemas.openxmlformats.org/officeDocument/2006/relationships/slideLayout" Target="../slideLayouts/slideLayout18.xml"/><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3" cstate="print"/>
          <a:srcRect/>
          <a:stretch>
            <a:fillRect/>
          </a:stretch>
        </a:blipFill>
        <a:effectLst/>
      </p:bgPr>
    </p:bg>
    <p:spTree>
      <p:nvGrpSpPr>
        <p:cNvPr id="1" name=""/>
        <p:cNvGrpSpPr/>
        <p:nvPr/>
      </p:nvGrpSpPr>
      <p:grpSpPr>
        <a:xfrm>
          <a:off x="0" y="0"/>
          <a:ext cx="0" cy="0"/>
          <a:chOff x="0" y="0"/>
          <a:chExt cx="0" cy="0"/>
        </a:xfrm>
      </p:grpSpPr>
      <p:grpSp>
        <p:nvGrpSpPr>
          <p:cNvPr id="4098" name="Group 7"/>
          <p:cNvGrpSpPr>
            <a:grpSpLocks/>
          </p:cNvGrpSpPr>
          <p:nvPr/>
        </p:nvGrpSpPr>
        <p:grpSpPr bwMode="auto">
          <a:xfrm>
            <a:off x="5293394" y="476250"/>
            <a:ext cx="3482370" cy="3416300"/>
            <a:chOff x="3198" y="164"/>
            <a:chExt cx="2194" cy="2152"/>
          </a:xfrm>
        </p:grpSpPr>
        <p:sp>
          <p:nvSpPr>
            <p:cNvPr id="4103" name="Freeform 3"/>
            <p:cNvSpPr>
              <a:spLocks/>
            </p:cNvSpPr>
            <p:nvPr/>
          </p:nvSpPr>
          <p:spPr bwMode="auto">
            <a:xfrm>
              <a:off x="3198" y="164"/>
              <a:ext cx="2194" cy="2152"/>
            </a:xfrm>
            <a:custGeom>
              <a:avLst/>
              <a:gdLst>
                <a:gd name="T0" fmla="*/ 0 w 21600"/>
                <a:gd name="T1" fmla="*/ 0 h 21600"/>
                <a:gd name="T2" fmla="*/ 240 w 21600"/>
                <a:gd name="T3" fmla="*/ 209 h 21600"/>
                <a:gd name="T4" fmla="*/ 240 w 21600"/>
                <a:gd name="T5" fmla="*/ 209 h 21600"/>
                <a:gd name="T6" fmla="*/ 0 w 21600"/>
                <a:gd name="T7" fmla="*/ 209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 name="T18" fmla="*/ 0 w 21600"/>
                <a:gd name="T19" fmla="*/ 0 h 21600"/>
                <a:gd name="T20" fmla="*/ 216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0" y="0"/>
                  </a:moveTo>
                  <a:lnTo>
                    <a:pt x="21600" y="1579"/>
                  </a:lnTo>
                  <a:lnTo>
                    <a:pt x="21574" y="21600"/>
                  </a:lnTo>
                  <a:lnTo>
                    <a:pt x="0" y="19994"/>
                  </a:lnTo>
                  <a:lnTo>
                    <a:pt x="0" y="0"/>
                  </a:lnTo>
                  <a:close/>
                  <a:moveTo>
                    <a:pt x="0" y="0"/>
                  </a:moveTo>
                </a:path>
              </a:pathLst>
            </a:custGeom>
            <a:gradFill rotWithShape="0">
              <a:gsLst>
                <a:gs pos="0">
                  <a:srgbClr val="0C2128"/>
                </a:gs>
                <a:gs pos="100000">
                  <a:srgbClr val="216085"/>
                </a:gs>
              </a:gsLst>
              <a:lin ang="3420000" scaled="1"/>
            </a:gradFill>
            <a:ln>
              <a:noFill/>
            </a:ln>
            <a:extLst>
              <a:ext uri="{91240B29-F687-4F45-9708-019B960494DF}">
                <a14:hiddenLine xmlns:a14="http://schemas.microsoft.com/office/drawing/2010/main" xmlns="" w="12700">
                  <a:solidFill>
                    <a:srgbClr val="000000"/>
                  </a:solidFill>
                  <a:miter lim="800000"/>
                  <a:headEnd/>
                  <a:tailEnd/>
                </a14:hiddenLine>
              </a:ext>
            </a:extLst>
          </p:spPr>
          <p:txBody>
            <a:bodyPr lIns="0" tIns="0" rIns="0" bIns="0"/>
            <a:lstStyle/>
            <a:p>
              <a:pPr fontAlgn="base">
                <a:spcBef>
                  <a:spcPct val="0"/>
                </a:spcBef>
                <a:spcAft>
                  <a:spcPct val="0"/>
                </a:spcAft>
              </a:pPr>
              <a:endParaRPr lang="es-ES" sz="1200" b="1" smtClean="0">
                <a:solidFill>
                  <a:srgbClr val="123E51"/>
                </a:solidFill>
                <a:latin typeface="TheSansCorrespondence" pitchFamily="34" charset="0"/>
              </a:endParaRPr>
            </a:p>
          </p:txBody>
        </p:sp>
        <p:pic>
          <p:nvPicPr>
            <p:cNvPr id="4104" name="Picture 4"/>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372" y="1737"/>
              <a:ext cx="880" cy="24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25400">
                  <a:solidFill>
                    <a:srgbClr val="000000"/>
                  </a:solidFill>
                  <a:round/>
                  <a:headEnd/>
                  <a:tailEnd/>
                </a14:hiddenLine>
              </a:ext>
            </a:extLst>
          </p:spPr>
        </p:pic>
      </p:grpSp>
      <p:sp>
        <p:nvSpPr>
          <p:cNvPr id="4099" name="Rectangle 6"/>
          <p:cNvSpPr>
            <a:spLocks/>
          </p:cNvSpPr>
          <p:nvPr/>
        </p:nvSpPr>
        <p:spPr bwMode="auto">
          <a:xfrm>
            <a:off x="5725119" y="1844675"/>
            <a:ext cx="2704630" cy="838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38100" tIns="38100" rIns="38100" bIns="38100"/>
          <a:lstStyle/>
          <a:p>
            <a:pPr fontAlgn="base">
              <a:spcBef>
                <a:spcPct val="0"/>
              </a:spcBef>
              <a:spcAft>
                <a:spcPct val="0"/>
              </a:spcAft>
            </a:pPr>
            <a:endParaRPr lang="es-ES" sz="1600" u="sng" smtClean="0">
              <a:solidFill>
                <a:srgbClr val="FFFFFF"/>
              </a:solidFill>
              <a:ea typeface="ＭＳ Ｐゴシック" pitchFamily="34" charset="-128"/>
              <a:sym typeface="Telefonica Text" pitchFamily="2" charset="0"/>
            </a:endParaRPr>
          </a:p>
        </p:txBody>
      </p:sp>
      <p:sp>
        <p:nvSpPr>
          <p:cNvPr id="4100" name="Rectangle 2"/>
          <p:cNvSpPr>
            <a:spLocks/>
          </p:cNvSpPr>
          <p:nvPr/>
        </p:nvSpPr>
        <p:spPr bwMode="auto">
          <a:xfrm>
            <a:off x="5375487" y="4437112"/>
            <a:ext cx="3522685" cy="14524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38100" tIns="38100" rIns="38100" bIns="38100"/>
          <a:lstStyle/>
          <a:p>
            <a:pPr fontAlgn="base">
              <a:spcBef>
                <a:spcPct val="0"/>
              </a:spcBef>
              <a:spcAft>
                <a:spcPct val="0"/>
              </a:spcAft>
            </a:pPr>
            <a:r>
              <a:rPr lang="en-US" baseline="30000" dirty="0" smtClean="0">
                <a:solidFill>
                  <a:srgbClr val="FFFFFF"/>
                </a:solidFill>
                <a:ea typeface="ＭＳ Ｐゴシック" pitchFamily="34" charset="-128"/>
                <a:sym typeface="Telefonica Text Bold"/>
              </a:rPr>
              <a:t>Silvia </a:t>
            </a:r>
            <a:r>
              <a:rPr lang="en-US" baseline="30000" dirty="0" err="1" smtClean="0">
                <a:solidFill>
                  <a:srgbClr val="FFFFFF"/>
                </a:solidFill>
                <a:ea typeface="ＭＳ Ｐゴシック" pitchFamily="34" charset="-128"/>
                <a:sym typeface="Telefonica Text Bold"/>
              </a:rPr>
              <a:t>Guzmán</a:t>
            </a:r>
            <a:r>
              <a:rPr lang="en-US" baseline="30000" dirty="0" smtClean="0">
                <a:solidFill>
                  <a:srgbClr val="FFFFFF"/>
                </a:solidFill>
                <a:ea typeface="ＭＳ Ｐゴシック" pitchFamily="34" charset="-128"/>
                <a:sym typeface="Telefonica Text Bold"/>
              </a:rPr>
              <a:t> Araña</a:t>
            </a:r>
          </a:p>
          <a:p>
            <a:pPr fontAlgn="base">
              <a:spcBef>
                <a:spcPct val="0"/>
              </a:spcBef>
              <a:spcAft>
                <a:spcPct val="0"/>
              </a:spcAft>
            </a:pPr>
            <a:r>
              <a:rPr lang="en-US" baseline="30000" dirty="0" err="1">
                <a:solidFill>
                  <a:srgbClr val="FFFFFF"/>
                </a:solidFill>
                <a:ea typeface="ＭＳ Ｐゴシック" pitchFamily="34" charset="-128"/>
                <a:sym typeface="Telefonica Text Bold"/>
              </a:rPr>
              <a:t>Corprate</a:t>
            </a:r>
            <a:r>
              <a:rPr lang="en-US" baseline="30000" dirty="0">
                <a:solidFill>
                  <a:srgbClr val="FFFFFF"/>
                </a:solidFill>
                <a:ea typeface="ＭＳ Ｐゴシック" pitchFamily="34" charset="-128"/>
                <a:sym typeface="Telefonica Text Bold"/>
              </a:rPr>
              <a:t> </a:t>
            </a:r>
            <a:r>
              <a:rPr lang="en-US" baseline="30000" dirty="0" err="1">
                <a:solidFill>
                  <a:srgbClr val="FFFFFF"/>
                </a:solidFill>
                <a:ea typeface="ＭＳ Ｐゴシック" pitchFamily="34" charset="-128"/>
                <a:sym typeface="Telefonica Text Bold"/>
              </a:rPr>
              <a:t>Reputation&amp;Sustainability</a:t>
            </a:r>
            <a:r>
              <a:rPr lang="en-US" baseline="30000" dirty="0">
                <a:solidFill>
                  <a:srgbClr val="FFFFFF"/>
                </a:solidFill>
                <a:ea typeface="ＭＳ Ｐゴシック" pitchFamily="34" charset="-128"/>
                <a:sym typeface="Telefonica Text Bold"/>
              </a:rPr>
              <a:t> Director</a:t>
            </a:r>
          </a:p>
          <a:p>
            <a:pPr fontAlgn="base">
              <a:spcBef>
                <a:spcPct val="0"/>
              </a:spcBef>
              <a:spcAft>
                <a:spcPct val="0"/>
              </a:spcAft>
            </a:pPr>
            <a:r>
              <a:rPr lang="en-US" baseline="30000" dirty="0" smtClean="0">
                <a:solidFill>
                  <a:srgbClr val="FFFFFF"/>
                </a:solidFill>
                <a:ea typeface="ＭＳ Ｐゴシック" pitchFamily="34" charset="-128"/>
                <a:sym typeface="Telefonica Text Bold"/>
              </a:rPr>
              <a:t>Telefónica, S.A</a:t>
            </a:r>
          </a:p>
          <a:p>
            <a:pPr fontAlgn="base">
              <a:spcBef>
                <a:spcPct val="0"/>
              </a:spcBef>
              <a:spcAft>
                <a:spcPct val="0"/>
              </a:spcAft>
            </a:pPr>
            <a:r>
              <a:rPr lang="en-US" dirty="0" smtClean="0">
                <a:solidFill>
                  <a:schemeClr val="bg1"/>
                </a:solidFill>
              </a:rPr>
              <a:t>FG–SSC Chairman</a:t>
            </a:r>
            <a:endParaRPr lang="en-US" baseline="30000" dirty="0">
              <a:solidFill>
                <a:schemeClr val="bg1"/>
              </a:solidFill>
              <a:ea typeface="ＭＳ Ｐゴシック" pitchFamily="34" charset="-128"/>
              <a:sym typeface="Telefonica Text Bold"/>
            </a:endParaRPr>
          </a:p>
        </p:txBody>
      </p:sp>
      <p:sp>
        <p:nvSpPr>
          <p:cNvPr id="4101" name="Rectangle 6"/>
          <p:cNvSpPr>
            <a:spLocks/>
          </p:cNvSpPr>
          <p:nvPr/>
        </p:nvSpPr>
        <p:spPr bwMode="auto">
          <a:xfrm>
            <a:off x="5394175" y="2420888"/>
            <a:ext cx="2706217" cy="838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38100" tIns="38100" rIns="38100" bIns="38100"/>
          <a:lstStyle/>
          <a:p>
            <a:pPr fontAlgn="base">
              <a:spcBef>
                <a:spcPct val="0"/>
              </a:spcBef>
              <a:spcAft>
                <a:spcPct val="0"/>
              </a:spcAft>
            </a:pPr>
            <a:r>
              <a:rPr lang="es-ES" dirty="0">
                <a:solidFill>
                  <a:schemeClr val="bg1"/>
                </a:solidFill>
                <a:ea typeface="MS PGothic" pitchFamily="34" charset="-128"/>
                <a:sym typeface="Telefonica Text" pitchFamily="2" charset="0"/>
              </a:rPr>
              <a:t>Green ICT </a:t>
            </a:r>
            <a:r>
              <a:rPr lang="es-ES" dirty="0" err="1">
                <a:solidFill>
                  <a:schemeClr val="bg1"/>
                </a:solidFill>
                <a:ea typeface="MS PGothic" pitchFamily="34" charset="-128"/>
                <a:sym typeface="Telefonica Text" pitchFamily="2" charset="0"/>
              </a:rPr>
              <a:t>services</a:t>
            </a:r>
            <a:r>
              <a:rPr lang="es-ES" dirty="0">
                <a:solidFill>
                  <a:schemeClr val="bg1"/>
                </a:solidFill>
                <a:ea typeface="MS PGothic" pitchFamily="34" charset="-128"/>
                <a:sym typeface="Telefonica Text" pitchFamily="2" charset="0"/>
              </a:rPr>
              <a:t> in  </a:t>
            </a:r>
            <a:r>
              <a:rPr lang="es-ES" dirty="0" err="1">
                <a:solidFill>
                  <a:schemeClr val="bg1"/>
                </a:solidFill>
                <a:ea typeface="MS PGothic" pitchFamily="34" charset="-128"/>
                <a:sym typeface="Telefonica Text" pitchFamily="2" charset="0"/>
              </a:rPr>
              <a:t>cities</a:t>
            </a:r>
            <a:endParaRPr lang="en-US" dirty="0">
              <a:solidFill>
                <a:schemeClr val="bg1"/>
              </a:solidFill>
              <a:ea typeface="ＭＳ Ｐゴシック" pitchFamily="34" charset="-128"/>
              <a:sym typeface="Telefonica Text" pitchFamily="2" charset="0"/>
            </a:endParaRPr>
          </a:p>
        </p:txBody>
      </p:sp>
      <p:sp>
        <p:nvSpPr>
          <p:cNvPr id="4102" name="Rectangle 5"/>
          <p:cNvSpPr>
            <a:spLocks/>
          </p:cNvSpPr>
          <p:nvPr/>
        </p:nvSpPr>
        <p:spPr bwMode="auto">
          <a:xfrm>
            <a:off x="5369689" y="1176040"/>
            <a:ext cx="3085564" cy="812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38100" tIns="38100" rIns="38100" bIns="38100" anchor="ctr"/>
          <a:lstStyle/>
          <a:p>
            <a:pPr algn="ctr">
              <a:lnSpc>
                <a:spcPct val="80000"/>
              </a:lnSpc>
            </a:pPr>
            <a:r>
              <a:rPr lang="en-US" sz="2000" b="1" dirty="0">
                <a:solidFill>
                  <a:schemeClr val="bg1"/>
                </a:solidFill>
              </a:rPr>
              <a:t>ITU Workshop on </a:t>
            </a:r>
          </a:p>
          <a:p>
            <a:pPr algn="ctr">
              <a:lnSpc>
                <a:spcPct val="80000"/>
              </a:lnSpc>
            </a:pPr>
            <a:r>
              <a:rPr lang="en-US" sz="2000" b="1" dirty="0">
                <a:solidFill>
                  <a:schemeClr val="bg1"/>
                </a:solidFill>
              </a:rPr>
              <a:t>“ICT as an Enabler for Smart Water Management”</a:t>
            </a:r>
          </a:p>
          <a:p>
            <a:pPr algn="ctr">
              <a:lnSpc>
                <a:spcPct val="80000"/>
              </a:lnSpc>
            </a:pPr>
            <a:endParaRPr lang="en-US" sz="2000" b="1" dirty="0">
              <a:solidFill>
                <a:schemeClr val="bg1"/>
              </a:solidFill>
            </a:endParaRPr>
          </a:p>
          <a:p>
            <a:pPr algn="ctr">
              <a:lnSpc>
                <a:spcPct val="80000"/>
              </a:lnSpc>
            </a:pPr>
            <a:r>
              <a:rPr lang="en-US" sz="1600" b="1" dirty="0">
                <a:solidFill>
                  <a:schemeClr val="bg1"/>
                </a:solidFill>
              </a:rPr>
              <a:t>(Luxor, Egypt, 14-15 </a:t>
            </a:r>
            <a:r>
              <a:rPr lang="en-US" sz="1600" b="1" dirty="0" smtClean="0">
                <a:solidFill>
                  <a:schemeClr val="bg1"/>
                </a:solidFill>
              </a:rPr>
              <a:t>April</a:t>
            </a:r>
            <a:endParaRPr lang="es-ES" sz="2200" dirty="0" smtClean="0">
              <a:solidFill>
                <a:schemeClr val="bg1"/>
              </a:solidFill>
              <a:ea typeface="MS PGothic" pitchFamily="34" charset="-128"/>
              <a:sym typeface="Telefonica Text" pitchFamily="2" charset="0"/>
            </a:endParaRPr>
          </a:p>
        </p:txBody>
      </p:sp>
      <p:pic>
        <p:nvPicPr>
          <p:cNvPr id="10" name="Picture 16" descr="ITUseries"/>
          <p:cNvPicPr>
            <a:picLocks noChangeAspect="1" noChangeArrowheads="1"/>
          </p:cNvPicPr>
          <p:nvPr/>
        </p:nvPicPr>
        <p:blipFill>
          <a:blip r:embed="rId5" cstate="print"/>
          <a:srcRect t="17264" b="69327"/>
          <a:stretch>
            <a:fillRect/>
          </a:stretch>
        </p:blipFill>
        <p:spPr bwMode="auto">
          <a:xfrm>
            <a:off x="6156325" y="6092825"/>
            <a:ext cx="1350963" cy="511175"/>
          </a:xfrm>
          <a:prstGeom prst="rect">
            <a:avLst/>
          </a:prstGeom>
          <a:noFill/>
          <a:ln w="9525">
            <a:noFill/>
            <a:miter lim="800000"/>
            <a:headEnd/>
            <a:tailEnd/>
          </a:ln>
        </p:spPr>
      </p:pic>
      <p:pic>
        <p:nvPicPr>
          <p:cNvPr id="11" name="Picture 13" descr="logo-FINAL.png"/>
          <p:cNvPicPr>
            <a:picLocks noChangeAspect="1" noChangeArrowheads="1"/>
          </p:cNvPicPr>
          <p:nvPr/>
        </p:nvPicPr>
        <p:blipFill>
          <a:blip r:embed="rId6" cstate="print"/>
          <a:srcRect/>
          <a:stretch>
            <a:fillRect/>
          </a:stretch>
        </p:blipFill>
        <p:spPr bwMode="auto">
          <a:xfrm>
            <a:off x="7729538" y="5783263"/>
            <a:ext cx="1122362" cy="887412"/>
          </a:xfrm>
          <a:prstGeom prst="rect">
            <a:avLst/>
          </a:prstGeom>
          <a:noFill/>
          <a:ln w="9525">
            <a:noFill/>
            <a:miter lim="800000"/>
            <a:headEnd/>
            <a:tailEnd/>
          </a:ln>
        </p:spPr>
      </p:pic>
    </p:spTree>
    <p:extLst>
      <p:ext uri="{BB962C8B-B14F-4D97-AF65-F5344CB8AC3E}">
        <p14:creationId xmlns:p14="http://schemas.microsoft.com/office/powerpoint/2010/main" xmlns="" val="3394023071"/>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5" name="Group 74"/>
          <p:cNvGrpSpPr/>
          <p:nvPr/>
        </p:nvGrpSpPr>
        <p:grpSpPr>
          <a:xfrm>
            <a:off x="772992" y="1615152"/>
            <a:ext cx="1800200" cy="720080"/>
            <a:chOff x="6012160" y="1268760"/>
            <a:chExt cx="1800200" cy="720080"/>
          </a:xfrm>
        </p:grpSpPr>
        <p:sp>
          <p:nvSpPr>
            <p:cNvPr id="28" name="Rounded Rectangular Callout 27"/>
            <p:cNvSpPr/>
            <p:nvPr/>
          </p:nvSpPr>
          <p:spPr>
            <a:xfrm>
              <a:off x="6012160" y="1268760"/>
              <a:ext cx="1800200" cy="720080"/>
            </a:xfrm>
            <a:prstGeom prst="wedgeRoundRectCallout">
              <a:avLst>
                <a:gd name="adj1" fmla="val 70563"/>
                <a:gd name="adj2" fmla="val -7626"/>
                <a:gd name="adj3" fmla="val 16667"/>
              </a:avLst>
            </a:prstGeom>
            <a:solidFill>
              <a:schemeClr val="bg1"/>
            </a:solidFill>
            <a:ln>
              <a:solidFill>
                <a:schemeClr val="accent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000000"/>
                </a:solidFill>
              </a:endParaRPr>
            </a:p>
          </p:txBody>
        </p:sp>
        <p:pic>
          <p:nvPicPr>
            <p:cNvPr id="71" name="Picture 13"/>
            <p:cNvPicPr>
              <a:picLocks noChangeAspect="1" noChangeArrowheads="1"/>
            </p:cNvPicPr>
            <p:nvPr/>
          </p:nvPicPr>
          <p:blipFill>
            <a:blip r:embed="rId3" cstate="print"/>
            <a:srcRect/>
            <a:stretch>
              <a:fillRect/>
            </a:stretch>
          </p:blipFill>
          <p:spPr bwMode="auto">
            <a:xfrm>
              <a:off x="7577101" y="1714456"/>
              <a:ext cx="207963" cy="179388"/>
            </a:xfrm>
            <a:prstGeom prst="rect">
              <a:avLst/>
            </a:prstGeom>
            <a:noFill/>
            <a:ln w="9525">
              <a:noFill/>
              <a:miter lim="800000"/>
              <a:headEnd/>
              <a:tailEnd/>
            </a:ln>
          </p:spPr>
        </p:pic>
        <p:pic>
          <p:nvPicPr>
            <p:cNvPr id="72" name="Picture 13"/>
            <p:cNvPicPr>
              <a:picLocks noChangeAspect="1" noChangeArrowheads="1"/>
            </p:cNvPicPr>
            <p:nvPr/>
          </p:nvPicPr>
          <p:blipFill>
            <a:blip r:embed="rId4" cstate="print"/>
            <a:srcRect/>
            <a:stretch>
              <a:fillRect/>
            </a:stretch>
          </p:blipFill>
          <p:spPr bwMode="auto">
            <a:xfrm>
              <a:off x="6100167" y="1399128"/>
              <a:ext cx="200025" cy="180975"/>
            </a:xfrm>
            <a:prstGeom prst="rect">
              <a:avLst/>
            </a:prstGeom>
            <a:gradFill rotWithShape="0">
              <a:gsLst>
                <a:gs pos="0">
                  <a:srgbClr val="FFFFFF"/>
                </a:gs>
                <a:gs pos="7773">
                  <a:srgbClr val="5EADB4"/>
                </a:gs>
                <a:gs pos="28499">
                  <a:srgbClr val="4A9396"/>
                </a:gs>
                <a:gs pos="100000">
                  <a:srgbClr val="2B5B5A"/>
                </a:gs>
              </a:gsLst>
              <a:lin ang="5400000" scaled="1"/>
            </a:gradFill>
            <a:ln w="9525">
              <a:noFill/>
              <a:round/>
              <a:headEnd/>
              <a:tailEnd/>
            </a:ln>
          </p:spPr>
        </p:pic>
        <p:sp>
          <p:nvSpPr>
            <p:cNvPr id="73" name="TextBox 72"/>
            <p:cNvSpPr txBox="1"/>
            <p:nvPr/>
          </p:nvSpPr>
          <p:spPr>
            <a:xfrm>
              <a:off x="6642816" y="1286176"/>
              <a:ext cx="864096" cy="369332"/>
            </a:xfrm>
            <a:prstGeom prst="rect">
              <a:avLst/>
            </a:prstGeom>
            <a:noFill/>
          </p:spPr>
          <p:txBody>
            <a:bodyPr wrap="square" rtlCol="0">
              <a:spAutoFit/>
            </a:bodyPr>
            <a:lstStyle/>
            <a:p>
              <a:pPr algn="ctr"/>
              <a:r>
                <a:rPr lang="es-ES" i="1" dirty="0" err="1" smtClean="0">
                  <a:solidFill>
                    <a:srgbClr val="000000"/>
                  </a:solidFill>
                </a:rPr>
                <a:t>green</a:t>
              </a:r>
              <a:r>
                <a:rPr lang="es-ES" i="1" dirty="0" smtClean="0">
                  <a:solidFill>
                    <a:srgbClr val="000000"/>
                  </a:solidFill>
                </a:rPr>
                <a:t> </a:t>
              </a:r>
              <a:endParaRPr lang="en-US" i="1" dirty="0">
                <a:solidFill>
                  <a:srgbClr val="000000"/>
                </a:solidFill>
              </a:endParaRPr>
            </a:p>
          </p:txBody>
        </p:sp>
        <p:sp>
          <p:nvSpPr>
            <p:cNvPr id="74" name="TextBox 73"/>
            <p:cNvSpPr txBox="1"/>
            <p:nvPr/>
          </p:nvSpPr>
          <p:spPr>
            <a:xfrm>
              <a:off x="6214536" y="1574208"/>
              <a:ext cx="1368152" cy="369332"/>
            </a:xfrm>
            <a:prstGeom prst="rect">
              <a:avLst/>
            </a:prstGeom>
            <a:noFill/>
          </p:spPr>
          <p:txBody>
            <a:bodyPr wrap="square" rtlCol="0">
              <a:spAutoFit/>
            </a:bodyPr>
            <a:lstStyle/>
            <a:p>
              <a:pPr algn="ctr"/>
              <a:r>
                <a:rPr lang="es-ES" i="1" dirty="0" err="1" smtClean="0">
                  <a:solidFill>
                    <a:srgbClr val="000000"/>
                  </a:solidFill>
                </a:rPr>
                <a:t>sustainable</a:t>
              </a:r>
              <a:endParaRPr lang="en-US" i="1" dirty="0">
                <a:solidFill>
                  <a:srgbClr val="000000"/>
                </a:solidFill>
              </a:endParaRPr>
            </a:p>
          </p:txBody>
        </p:sp>
      </p:grpSp>
      <p:grpSp>
        <p:nvGrpSpPr>
          <p:cNvPr id="155" name="Group 154"/>
          <p:cNvGrpSpPr/>
          <p:nvPr/>
        </p:nvGrpSpPr>
        <p:grpSpPr>
          <a:xfrm>
            <a:off x="772992" y="2983304"/>
            <a:ext cx="1800200" cy="720080"/>
            <a:chOff x="6012160" y="1268760"/>
            <a:chExt cx="1800200" cy="720080"/>
          </a:xfrm>
        </p:grpSpPr>
        <p:sp>
          <p:nvSpPr>
            <p:cNvPr id="156" name="Rounded Rectangular Callout 155"/>
            <p:cNvSpPr/>
            <p:nvPr/>
          </p:nvSpPr>
          <p:spPr>
            <a:xfrm>
              <a:off x="6012160" y="1268760"/>
              <a:ext cx="1800200" cy="720080"/>
            </a:xfrm>
            <a:prstGeom prst="wedgeRoundRectCallout">
              <a:avLst>
                <a:gd name="adj1" fmla="val 79660"/>
                <a:gd name="adj2" fmla="val -7626"/>
                <a:gd name="adj3" fmla="val 16667"/>
              </a:avLst>
            </a:prstGeom>
            <a:solidFill>
              <a:schemeClr val="bg1"/>
            </a:solidFill>
            <a:ln>
              <a:solidFill>
                <a:schemeClr val="accent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000000"/>
                </a:solidFill>
              </a:endParaRPr>
            </a:p>
          </p:txBody>
        </p:sp>
        <p:pic>
          <p:nvPicPr>
            <p:cNvPr id="157" name="Picture 13"/>
            <p:cNvPicPr>
              <a:picLocks noChangeAspect="1" noChangeArrowheads="1"/>
            </p:cNvPicPr>
            <p:nvPr/>
          </p:nvPicPr>
          <p:blipFill>
            <a:blip r:embed="rId3" cstate="print"/>
            <a:srcRect/>
            <a:stretch>
              <a:fillRect/>
            </a:stretch>
          </p:blipFill>
          <p:spPr bwMode="auto">
            <a:xfrm>
              <a:off x="7577101" y="1714456"/>
              <a:ext cx="207963" cy="179388"/>
            </a:xfrm>
            <a:prstGeom prst="rect">
              <a:avLst/>
            </a:prstGeom>
            <a:noFill/>
            <a:ln w="9525">
              <a:noFill/>
              <a:miter lim="800000"/>
              <a:headEnd/>
              <a:tailEnd/>
            </a:ln>
          </p:spPr>
        </p:pic>
        <p:pic>
          <p:nvPicPr>
            <p:cNvPr id="158" name="Picture 13"/>
            <p:cNvPicPr>
              <a:picLocks noChangeAspect="1" noChangeArrowheads="1"/>
            </p:cNvPicPr>
            <p:nvPr/>
          </p:nvPicPr>
          <p:blipFill>
            <a:blip r:embed="rId4" cstate="print"/>
            <a:srcRect/>
            <a:stretch>
              <a:fillRect/>
            </a:stretch>
          </p:blipFill>
          <p:spPr bwMode="auto">
            <a:xfrm>
              <a:off x="6100167" y="1399128"/>
              <a:ext cx="200025" cy="180975"/>
            </a:xfrm>
            <a:prstGeom prst="rect">
              <a:avLst/>
            </a:prstGeom>
            <a:gradFill rotWithShape="0">
              <a:gsLst>
                <a:gs pos="0">
                  <a:srgbClr val="FFFFFF"/>
                </a:gs>
                <a:gs pos="7773">
                  <a:srgbClr val="5EADB4"/>
                </a:gs>
                <a:gs pos="28499">
                  <a:srgbClr val="4A9396"/>
                </a:gs>
                <a:gs pos="100000">
                  <a:srgbClr val="2B5B5A"/>
                </a:gs>
              </a:gsLst>
              <a:lin ang="5400000" scaled="1"/>
            </a:gradFill>
            <a:ln w="9525">
              <a:noFill/>
              <a:round/>
              <a:headEnd/>
              <a:tailEnd/>
            </a:ln>
          </p:spPr>
        </p:pic>
        <p:sp>
          <p:nvSpPr>
            <p:cNvPr id="159" name="TextBox 158"/>
            <p:cNvSpPr txBox="1"/>
            <p:nvPr/>
          </p:nvSpPr>
          <p:spPr>
            <a:xfrm>
              <a:off x="6064408" y="1461844"/>
              <a:ext cx="1607704" cy="369332"/>
            </a:xfrm>
            <a:prstGeom prst="rect">
              <a:avLst/>
            </a:prstGeom>
            <a:noFill/>
          </p:spPr>
          <p:txBody>
            <a:bodyPr wrap="square" rtlCol="0">
              <a:spAutoFit/>
            </a:bodyPr>
            <a:lstStyle/>
            <a:p>
              <a:pPr algn="ctr"/>
              <a:r>
                <a:rPr lang="es-ES" i="1" dirty="0" smtClean="0">
                  <a:solidFill>
                    <a:srgbClr val="000000"/>
                  </a:solidFill>
                </a:rPr>
                <a:t>more humane</a:t>
              </a:r>
              <a:endParaRPr lang="en-US" i="1" dirty="0">
                <a:solidFill>
                  <a:srgbClr val="000000"/>
                </a:solidFill>
              </a:endParaRPr>
            </a:p>
          </p:txBody>
        </p:sp>
      </p:grpSp>
      <p:grpSp>
        <p:nvGrpSpPr>
          <p:cNvPr id="141" name="Group 140"/>
          <p:cNvGrpSpPr/>
          <p:nvPr/>
        </p:nvGrpSpPr>
        <p:grpSpPr>
          <a:xfrm>
            <a:off x="757916" y="4547720"/>
            <a:ext cx="1898200" cy="738924"/>
            <a:chOff x="5997084" y="1268760"/>
            <a:chExt cx="1898200" cy="738924"/>
          </a:xfrm>
        </p:grpSpPr>
        <p:sp>
          <p:nvSpPr>
            <p:cNvPr id="142" name="Rounded Rectangular Callout 141"/>
            <p:cNvSpPr/>
            <p:nvPr/>
          </p:nvSpPr>
          <p:spPr>
            <a:xfrm>
              <a:off x="6012160" y="1268760"/>
              <a:ext cx="1800200" cy="720080"/>
            </a:xfrm>
            <a:prstGeom prst="wedgeRoundRectCallout">
              <a:avLst>
                <a:gd name="adj1" fmla="val 71321"/>
                <a:gd name="adj2" fmla="val -30370"/>
                <a:gd name="adj3" fmla="val 16667"/>
              </a:avLst>
            </a:prstGeom>
            <a:solidFill>
              <a:schemeClr val="bg1"/>
            </a:solidFill>
            <a:ln>
              <a:solidFill>
                <a:schemeClr val="accent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000000"/>
                </a:solidFill>
              </a:endParaRPr>
            </a:p>
          </p:txBody>
        </p:sp>
        <p:pic>
          <p:nvPicPr>
            <p:cNvPr id="143" name="Picture 13"/>
            <p:cNvPicPr>
              <a:picLocks noChangeAspect="1" noChangeArrowheads="1"/>
            </p:cNvPicPr>
            <p:nvPr/>
          </p:nvPicPr>
          <p:blipFill>
            <a:blip r:embed="rId3" cstate="print"/>
            <a:srcRect/>
            <a:stretch>
              <a:fillRect/>
            </a:stretch>
          </p:blipFill>
          <p:spPr bwMode="auto">
            <a:xfrm>
              <a:off x="7557736" y="1673512"/>
              <a:ext cx="207963" cy="179388"/>
            </a:xfrm>
            <a:prstGeom prst="rect">
              <a:avLst/>
            </a:prstGeom>
            <a:noFill/>
            <a:ln w="9525">
              <a:noFill/>
              <a:miter lim="800000"/>
              <a:headEnd/>
              <a:tailEnd/>
            </a:ln>
          </p:spPr>
        </p:pic>
        <p:pic>
          <p:nvPicPr>
            <p:cNvPr id="144" name="Picture 13"/>
            <p:cNvPicPr>
              <a:picLocks noChangeAspect="1" noChangeArrowheads="1"/>
            </p:cNvPicPr>
            <p:nvPr/>
          </p:nvPicPr>
          <p:blipFill>
            <a:blip r:embed="rId4" cstate="print"/>
            <a:srcRect/>
            <a:stretch>
              <a:fillRect/>
            </a:stretch>
          </p:blipFill>
          <p:spPr bwMode="auto">
            <a:xfrm>
              <a:off x="6074288" y="1358184"/>
              <a:ext cx="200025" cy="180975"/>
            </a:xfrm>
            <a:prstGeom prst="rect">
              <a:avLst/>
            </a:prstGeom>
            <a:gradFill rotWithShape="0">
              <a:gsLst>
                <a:gs pos="0">
                  <a:srgbClr val="FFFFFF"/>
                </a:gs>
                <a:gs pos="7773">
                  <a:srgbClr val="5EADB4"/>
                </a:gs>
                <a:gs pos="28499">
                  <a:srgbClr val="4A9396"/>
                </a:gs>
                <a:gs pos="100000">
                  <a:srgbClr val="2B5B5A"/>
                </a:gs>
              </a:gsLst>
              <a:lin ang="5400000" scaled="1"/>
            </a:gradFill>
            <a:ln w="9525">
              <a:noFill/>
              <a:round/>
              <a:headEnd/>
              <a:tailEnd/>
            </a:ln>
          </p:spPr>
        </p:pic>
        <p:sp>
          <p:nvSpPr>
            <p:cNvPr id="145" name="TextBox 144"/>
            <p:cNvSpPr txBox="1"/>
            <p:nvPr/>
          </p:nvSpPr>
          <p:spPr>
            <a:xfrm>
              <a:off x="5997084" y="1373260"/>
              <a:ext cx="1898200" cy="369332"/>
            </a:xfrm>
            <a:prstGeom prst="rect">
              <a:avLst/>
            </a:prstGeom>
            <a:noFill/>
          </p:spPr>
          <p:txBody>
            <a:bodyPr wrap="square" rtlCol="0">
              <a:spAutoFit/>
            </a:bodyPr>
            <a:lstStyle/>
            <a:p>
              <a:pPr algn="ctr"/>
              <a:r>
                <a:rPr lang="es-ES" i="1" dirty="0" smtClean="0">
                  <a:solidFill>
                    <a:srgbClr val="000000"/>
                  </a:solidFill>
                </a:rPr>
                <a:t>new </a:t>
              </a:r>
              <a:r>
                <a:rPr lang="es-ES" i="1" dirty="0" err="1" smtClean="0">
                  <a:solidFill>
                    <a:srgbClr val="000000"/>
                  </a:solidFill>
                </a:rPr>
                <a:t>businesses</a:t>
              </a:r>
              <a:endParaRPr lang="en-US" i="1" dirty="0">
                <a:solidFill>
                  <a:srgbClr val="000000"/>
                </a:solidFill>
              </a:endParaRPr>
            </a:p>
          </p:txBody>
        </p:sp>
        <p:sp>
          <p:nvSpPr>
            <p:cNvPr id="146" name="TextBox 145"/>
            <p:cNvSpPr txBox="1"/>
            <p:nvPr/>
          </p:nvSpPr>
          <p:spPr>
            <a:xfrm>
              <a:off x="6152404" y="1638352"/>
              <a:ext cx="1368152" cy="369332"/>
            </a:xfrm>
            <a:prstGeom prst="rect">
              <a:avLst/>
            </a:prstGeom>
            <a:noFill/>
          </p:spPr>
          <p:txBody>
            <a:bodyPr wrap="square" rtlCol="0">
              <a:spAutoFit/>
            </a:bodyPr>
            <a:lstStyle/>
            <a:p>
              <a:pPr algn="ctr"/>
              <a:r>
                <a:rPr lang="es-ES" i="1" dirty="0" err="1" smtClean="0">
                  <a:solidFill>
                    <a:srgbClr val="000000"/>
                  </a:solidFill>
                </a:rPr>
                <a:t>enabler</a:t>
              </a:r>
              <a:endParaRPr lang="en-US" i="1" dirty="0">
                <a:solidFill>
                  <a:srgbClr val="000000"/>
                </a:solidFill>
              </a:endParaRPr>
            </a:p>
          </p:txBody>
        </p:sp>
      </p:grpSp>
      <p:sp>
        <p:nvSpPr>
          <p:cNvPr id="3" name="2 Marcador de número de diapositiva"/>
          <p:cNvSpPr>
            <a:spLocks noGrp="1"/>
          </p:cNvSpPr>
          <p:nvPr>
            <p:ph type="sldNum" sz="quarter" idx="4294967295"/>
          </p:nvPr>
        </p:nvSpPr>
        <p:spPr>
          <a:xfrm>
            <a:off x="4252382" y="6497640"/>
            <a:ext cx="697976" cy="276225"/>
          </a:xfrm>
          <a:prstGeom prst="rect">
            <a:avLst/>
          </a:prstGeom>
        </p:spPr>
        <p:txBody>
          <a:bodyPr/>
          <a:lstStyle/>
          <a:p>
            <a:pPr>
              <a:defRPr/>
            </a:pPr>
            <a:fld id="{45D05667-E392-4BBB-9E54-875D26221B34}" type="slidenum">
              <a:rPr lang="es-ES" smtClean="0">
                <a:latin typeface="Arial" pitchFamily="34" charset="0"/>
                <a:cs typeface="Arial" pitchFamily="34" charset="0"/>
              </a:rPr>
              <a:pPr>
                <a:defRPr/>
              </a:pPr>
              <a:t>10</a:t>
            </a:fld>
            <a:endParaRPr lang="es-ES" dirty="0">
              <a:latin typeface="Arial" pitchFamily="34" charset="0"/>
              <a:cs typeface="Arial" pitchFamily="34" charset="0"/>
            </a:endParaRPr>
          </a:p>
        </p:txBody>
      </p:sp>
      <p:sp>
        <p:nvSpPr>
          <p:cNvPr id="4" name="AutoShape 2"/>
          <p:cNvSpPr>
            <a:spLocks noChangeArrowheads="1"/>
          </p:cNvSpPr>
          <p:nvPr/>
        </p:nvSpPr>
        <p:spPr bwMode="auto">
          <a:xfrm>
            <a:off x="525464" y="151780"/>
            <a:ext cx="8618537" cy="448198"/>
          </a:xfrm>
          <a:prstGeom prst="roundRect">
            <a:avLst>
              <a:gd name="adj" fmla="val 16667"/>
            </a:avLst>
          </a:prstGeom>
          <a:noFill/>
          <a:ln w="9525" algn="ctr">
            <a:noFill/>
            <a:round/>
            <a:headEnd/>
            <a:tailEnd/>
          </a:ln>
        </p:spPr>
        <p:txBody>
          <a:bodyPr lIns="36000" tIns="36000" rIns="36000" bIns="36000">
            <a:spAutoFit/>
          </a:bodyPr>
          <a:lstStyle/>
          <a:p>
            <a:pPr defTabSz="457200">
              <a:lnSpc>
                <a:spcPct val="90000"/>
              </a:lnSpc>
              <a:spcBef>
                <a:spcPct val="20000"/>
              </a:spcBef>
            </a:pPr>
            <a:r>
              <a:rPr lang="en-GB" sz="2400" b="1" dirty="0" smtClean="0">
                <a:solidFill>
                  <a:schemeClr val="accent6">
                    <a:lumMod val="50000"/>
                  </a:schemeClr>
                </a:solidFill>
                <a:latin typeface="Arial" pitchFamily="34" charset="0"/>
                <a:ea typeface="Arial Unicode MS" pitchFamily="34" charset="-128"/>
                <a:cs typeface="Arial" pitchFamily="34" charset="0"/>
              </a:rPr>
              <a:t>The Smart City is an undefined heterogeneous concept</a:t>
            </a:r>
            <a:endParaRPr lang="en-GB" sz="2400" b="1" dirty="0">
              <a:solidFill>
                <a:schemeClr val="accent6">
                  <a:lumMod val="50000"/>
                </a:schemeClr>
              </a:solidFill>
              <a:latin typeface="Arial" pitchFamily="34" charset="0"/>
              <a:ea typeface="Arial Unicode MS" pitchFamily="34" charset="-128"/>
              <a:cs typeface="Arial" pitchFamily="34" charset="0"/>
            </a:endParaRPr>
          </a:p>
        </p:txBody>
      </p:sp>
      <p:grpSp>
        <p:nvGrpSpPr>
          <p:cNvPr id="22" name="Group 21"/>
          <p:cNvGrpSpPr/>
          <p:nvPr/>
        </p:nvGrpSpPr>
        <p:grpSpPr>
          <a:xfrm>
            <a:off x="3356992" y="1027752"/>
            <a:ext cx="2312544" cy="5163628"/>
            <a:chOff x="3400873" y="1041400"/>
            <a:chExt cx="2312544" cy="5163628"/>
          </a:xfrm>
        </p:grpSpPr>
        <p:sp>
          <p:nvSpPr>
            <p:cNvPr id="19" name="10 Triángulo isósceles"/>
            <p:cNvSpPr/>
            <p:nvPr/>
          </p:nvSpPr>
          <p:spPr bwMode="auto">
            <a:xfrm rot="16200000" flipV="1">
              <a:off x="1418599" y="3023674"/>
              <a:ext cx="5163628" cy="1199080"/>
            </a:xfrm>
            <a:prstGeom prst="triangle">
              <a:avLst/>
            </a:prstGeom>
            <a:gradFill flip="none" rotWithShape="1">
              <a:gsLst>
                <a:gs pos="28000">
                  <a:schemeClr val="tx2">
                    <a:lumMod val="40000"/>
                    <a:lumOff val="60000"/>
                  </a:schemeClr>
                </a:gs>
                <a:gs pos="59000">
                  <a:schemeClr val="accent1">
                    <a:lumMod val="40000"/>
                    <a:lumOff val="60000"/>
                  </a:schemeClr>
                </a:gs>
                <a:gs pos="79000">
                  <a:schemeClr val="bg1">
                    <a:alpha val="0"/>
                  </a:schemeClr>
                </a:gs>
              </a:gsLst>
              <a:lin ang="5400000" scaled="1"/>
              <a:tileRect/>
            </a:gradFill>
            <a:ln w="9525"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algn="ctr">
                <a:lnSpc>
                  <a:spcPct val="105000"/>
                </a:lnSpc>
                <a:spcBef>
                  <a:spcPct val="30000"/>
                </a:spcBef>
              </a:pPr>
              <a:endParaRPr lang="en-GB" sz="1300" smtClean="0">
                <a:latin typeface="Telefonica Text" pitchFamily="2" charset="0"/>
                <a:ea typeface="ＭＳ Ｐゴシック" pitchFamily="34" charset="-128"/>
              </a:endParaRPr>
            </a:p>
          </p:txBody>
        </p:sp>
        <p:sp>
          <p:nvSpPr>
            <p:cNvPr id="20" name="10 Triángulo isósceles"/>
            <p:cNvSpPr/>
            <p:nvPr/>
          </p:nvSpPr>
          <p:spPr bwMode="auto">
            <a:xfrm rot="16200000">
              <a:off x="2540791" y="3007002"/>
              <a:ext cx="5112828" cy="1232424"/>
            </a:xfrm>
            <a:prstGeom prst="triangle">
              <a:avLst/>
            </a:prstGeom>
            <a:gradFill flip="none" rotWithShape="1">
              <a:gsLst>
                <a:gs pos="28000">
                  <a:schemeClr val="tx2">
                    <a:lumMod val="40000"/>
                    <a:lumOff val="60000"/>
                  </a:schemeClr>
                </a:gs>
                <a:gs pos="59000">
                  <a:schemeClr val="accent1">
                    <a:lumMod val="40000"/>
                    <a:lumOff val="60000"/>
                  </a:schemeClr>
                </a:gs>
                <a:gs pos="79000">
                  <a:schemeClr val="bg1">
                    <a:alpha val="0"/>
                  </a:schemeClr>
                </a:gs>
              </a:gsLst>
              <a:lin ang="5400000" scaled="1"/>
              <a:tileRect/>
            </a:gradFill>
            <a:ln w="9525"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marL="0" marR="0" indent="0" algn="ctr" defTabSz="914400" rtl="0" eaLnBrk="1" fontAlgn="base" latinLnBrk="0" hangingPunct="1">
                <a:lnSpc>
                  <a:spcPct val="105000"/>
                </a:lnSpc>
                <a:spcBef>
                  <a:spcPct val="30000"/>
                </a:spcBef>
                <a:spcAft>
                  <a:spcPct val="0"/>
                </a:spcAft>
                <a:buClrTx/>
                <a:buSzTx/>
                <a:buFontTx/>
                <a:buNone/>
                <a:tabLst/>
              </a:pPr>
              <a:endParaRPr kumimoji="0" lang="en-GB" sz="1300" b="0" i="0" u="none" strike="noStrike" cap="none" normalizeH="0" baseline="0" smtClean="0">
                <a:ln>
                  <a:noFill/>
                </a:ln>
                <a:solidFill>
                  <a:schemeClr val="tx1"/>
                </a:solidFill>
                <a:effectLst/>
                <a:latin typeface="Telefonica Text" pitchFamily="2" charset="0"/>
                <a:ea typeface="ＭＳ Ｐゴシック" pitchFamily="34" charset="-128"/>
              </a:endParaRPr>
            </a:p>
          </p:txBody>
        </p:sp>
        <p:pic>
          <p:nvPicPr>
            <p:cNvPr id="21" name="Imagen 31"/>
            <p:cNvPicPr>
              <a:picLocks noChangeAspect="1"/>
            </p:cNvPicPr>
            <p:nvPr/>
          </p:nvPicPr>
          <p:blipFill>
            <a:blip r:embed="rId5" cstate="print">
              <a:extLst>
                <a:ext uri="{28A0092B-C50C-407E-A947-70E740481C1C}">
                  <a14:useLocalDpi xmlns:a14="http://schemas.microsoft.com/office/drawing/2010/main" xmlns="" val="0"/>
                </a:ext>
              </a:extLst>
            </a:blip>
            <a:srcRect l="16021" r="64238" b="23078"/>
            <a:stretch>
              <a:fillRect/>
            </a:stretch>
          </p:blipFill>
          <p:spPr bwMode="auto">
            <a:xfrm>
              <a:off x="3923928" y="2537608"/>
              <a:ext cx="1368152" cy="1759053"/>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76" name="Group 75"/>
          <p:cNvGrpSpPr/>
          <p:nvPr/>
        </p:nvGrpSpPr>
        <p:grpSpPr>
          <a:xfrm>
            <a:off x="6533632" y="1327120"/>
            <a:ext cx="1854792" cy="720080"/>
            <a:chOff x="6372200" y="1268760"/>
            <a:chExt cx="1854792" cy="720080"/>
          </a:xfrm>
        </p:grpSpPr>
        <p:sp>
          <p:nvSpPr>
            <p:cNvPr id="77" name="Rounded Rectangular Callout 76"/>
            <p:cNvSpPr/>
            <p:nvPr/>
          </p:nvSpPr>
          <p:spPr>
            <a:xfrm>
              <a:off x="6372200" y="1268760"/>
              <a:ext cx="1854792" cy="720080"/>
            </a:xfrm>
            <a:prstGeom prst="wedgeRoundRectCallout">
              <a:avLst>
                <a:gd name="adj1" fmla="val -76826"/>
                <a:gd name="adj2" fmla="val 5641"/>
                <a:gd name="adj3" fmla="val 16667"/>
              </a:avLst>
            </a:prstGeom>
            <a:solidFill>
              <a:schemeClr val="bg1"/>
            </a:solidFill>
            <a:ln>
              <a:solidFill>
                <a:schemeClr val="accent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000000"/>
                </a:solidFill>
              </a:endParaRPr>
            </a:p>
          </p:txBody>
        </p:sp>
        <p:pic>
          <p:nvPicPr>
            <p:cNvPr id="78" name="Picture 13"/>
            <p:cNvPicPr>
              <a:picLocks noChangeAspect="1" noChangeArrowheads="1"/>
            </p:cNvPicPr>
            <p:nvPr/>
          </p:nvPicPr>
          <p:blipFill>
            <a:blip r:embed="rId3" cstate="print"/>
            <a:srcRect/>
            <a:stretch>
              <a:fillRect/>
            </a:stretch>
          </p:blipFill>
          <p:spPr bwMode="auto">
            <a:xfrm>
              <a:off x="7993552" y="1728104"/>
              <a:ext cx="207963" cy="179388"/>
            </a:xfrm>
            <a:prstGeom prst="rect">
              <a:avLst/>
            </a:prstGeom>
            <a:noFill/>
            <a:ln w="9525">
              <a:noFill/>
              <a:miter lim="800000"/>
              <a:headEnd/>
              <a:tailEnd/>
            </a:ln>
          </p:spPr>
        </p:pic>
        <p:pic>
          <p:nvPicPr>
            <p:cNvPr id="79" name="Picture 13"/>
            <p:cNvPicPr>
              <a:picLocks noChangeAspect="1" noChangeArrowheads="1"/>
            </p:cNvPicPr>
            <p:nvPr/>
          </p:nvPicPr>
          <p:blipFill>
            <a:blip r:embed="rId4" cstate="print"/>
            <a:srcRect/>
            <a:stretch>
              <a:fillRect/>
            </a:stretch>
          </p:blipFill>
          <p:spPr bwMode="auto">
            <a:xfrm>
              <a:off x="6504919" y="1399128"/>
              <a:ext cx="200025" cy="180975"/>
            </a:xfrm>
            <a:prstGeom prst="rect">
              <a:avLst/>
            </a:prstGeom>
            <a:gradFill rotWithShape="0">
              <a:gsLst>
                <a:gs pos="0">
                  <a:srgbClr val="FFFFFF"/>
                </a:gs>
                <a:gs pos="7773">
                  <a:srgbClr val="5EADB4"/>
                </a:gs>
                <a:gs pos="28499">
                  <a:srgbClr val="4A9396"/>
                </a:gs>
                <a:gs pos="100000">
                  <a:srgbClr val="2B5B5A"/>
                </a:gs>
              </a:gsLst>
              <a:lin ang="5400000" scaled="1"/>
            </a:gradFill>
            <a:ln w="9525">
              <a:noFill/>
              <a:round/>
              <a:headEnd/>
              <a:tailEnd/>
            </a:ln>
          </p:spPr>
        </p:pic>
        <p:sp>
          <p:nvSpPr>
            <p:cNvPr id="80" name="TextBox 79"/>
            <p:cNvSpPr txBox="1"/>
            <p:nvPr/>
          </p:nvSpPr>
          <p:spPr>
            <a:xfrm>
              <a:off x="6615520" y="1412776"/>
              <a:ext cx="1313560" cy="369332"/>
            </a:xfrm>
            <a:prstGeom prst="rect">
              <a:avLst/>
            </a:prstGeom>
            <a:noFill/>
          </p:spPr>
          <p:txBody>
            <a:bodyPr wrap="square" rtlCol="0">
              <a:spAutoFit/>
            </a:bodyPr>
            <a:lstStyle/>
            <a:p>
              <a:pPr algn="ctr"/>
              <a:r>
                <a:rPr lang="es-ES" i="1" dirty="0" err="1" smtClean="0">
                  <a:solidFill>
                    <a:srgbClr val="000000"/>
                  </a:solidFill>
                </a:rPr>
                <a:t>efficient</a:t>
              </a:r>
              <a:endParaRPr lang="en-US" i="1" dirty="0">
                <a:solidFill>
                  <a:srgbClr val="000000"/>
                </a:solidFill>
              </a:endParaRPr>
            </a:p>
          </p:txBody>
        </p:sp>
      </p:grpSp>
      <p:grpSp>
        <p:nvGrpSpPr>
          <p:cNvPr id="161" name="Group 160"/>
          <p:cNvGrpSpPr/>
          <p:nvPr/>
        </p:nvGrpSpPr>
        <p:grpSpPr>
          <a:xfrm>
            <a:off x="6375968" y="3864816"/>
            <a:ext cx="1957864" cy="720080"/>
            <a:chOff x="6269128" y="1268760"/>
            <a:chExt cx="1957864" cy="720080"/>
          </a:xfrm>
        </p:grpSpPr>
        <p:sp>
          <p:nvSpPr>
            <p:cNvPr id="162" name="Rounded Rectangular Callout 161"/>
            <p:cNvSpPr/>
            <p:nvPr/>
          </p:nvSpPr>
          <p:spPr>
            <a:xfrm>
              <a:off x="6372200" y="1268760"/>
              <a:ext cx="1854792" cy="720080"/>
            </a:xfrm>
            <a:prstGeom prst="wedgeRoundRectCallout">
              <a:avLst>
                <a:gd name="adj1" fmla="val -81241"/>
                <a:gd name="adj2" fmla="val 24594"/>
                <a:gd name="adj3" fmla="val 16667"/>
              </a:avLst>
            </a:prstGeom>
            <a:solidFill>
              <a:schemeClr val="bg1"/>
            </a:solidFill>
            <a:ln>
              <a:solidFill>
                <a:schemeClr val="accent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000000"/>
                </a:solidFill>
              </a:endParaRPr>
            </a:p>
          </p:txBody>
        </p:sp>
        <p:pic>
          <p:nvPicPr>
            <p:cNvPr id="163" name="Picture 13"/>
            <p:cNvPicPr>
              <a:picLocks noChangeAspect="1" noChangeArrowheads="1"/>
            </p:cNvPicPr>
            <p:nvPr/>
          </p:nvPicPr>
          <p:blipFill>
            <a:blip r:embed="rId3" cstate="print"/>
            <a:srcRect/>
            <a:stretch>
              <a:fillRect/>
            </a:stretch>
          </p:blipFill>
          <p:spPr bwMode="auto">
            <a:xfrm>
              <a:off x="7993552" y="1728104"/>
              <a:ext cx="207963" cy="179388"/>
            </a:xfrm>
            <a:prstGeom prst="rect">
              <a:avLst/>
            </a:prstGeom>
            <a:noFill/>
            <a:ln w="9525">
              <a:noFill/>
              <a:miter lim="800000"/>
              <a:headEnd/>
              <a:tailEnd/>
            </a:ln>
          </p:spPr>
        </p:pic>
        <p:pic>
          <p:nvPicPr>
            <p:cNvPr id="164" name="Picture 13"/>
            <p:cNvPicPr>
              <a:picLocks noChangeAspect="1" noChangeArrowheads="1"/>
            </p:cNvPicPr>
            <p:nvPr/>
          </p:nvPicPr>
          <p:blipFill>
            <a:blip r:embed="rId4" cstate="print"/>
            <a:srcRect/>
            <a:stretch>
              <a:fillRect/>
            </a:stretch>
          </p:blipFill>
          <p:spPr bwMode="auto">
            <a:xfrm>
              <a:off x="6504919" y="1399128"/>
              <a:ext cx="200025" cy="180975"/>
            </a:xfrm>
            <a:prstGeom prst="rect">
              <a:avLst/>
            </a:prstGeom>
            <a:gradFill rotWithShape="0">
              <a:gsLst>
                <a:gs pos="0">
                  <a:srgbClr val="FFFFFF"/>
                </a:gs>
                <a:gs pos="7773">
                  <a:srgbClr val="5EADB4"/>
                </a:gs>
                <a:gs pos="28499">
                  <a:srgbClr val="4A9396"/>
                </a:gs>
                <a:gs pos="100000">
                  <a:srgbClr val="2B5B5A"/>
                </a:gs>
              </a:gsLst>
              <a:lin ang="5400000" scaled="1"/>
            </a:gradFill>
            <a:ln w="9525">
              <a:noFill/>
              <a:round/>
              <a:headEnd/>
              <a:tailEnd/>
            </a:ln>
          </p:spPr>
        </p:pic>
        <p:sp>
          <p:nvSpPr>
            <p:cNvPr id="165" name="TextBox 164"/>
            <p:cNvSpPr txBox="1"/>
            <p:nvPr/>
          </p:nvSpPr>
          <p:spPr>
            <a:xfrm>
              <a:off x="6642816" y="1303592"/>
              <a:ext cx="1313560" cy="369332"/>
            </a:xfrm>
            <a:prstGeom prst="rect">
              <a:avLst/>
            </a:prstGeom>
            <a:noFill/>
          </p:spPr>
          <p:txBody>
            <a:bodyPr wrap="square" rtlCol="0">
              <a:spAutoFit/>
            </a:bodyPr>
            <a:lstStyle/>
            <a:p>
              <a:pPr algn="ctr"/>
              <a:r>
                <a:rPr lang="es-ES" i="1" dirty="0" err="1" smtClean="0">
                  <a:solidFill>
                    <a:srgbClr val="000000"/>
                  </a:solidFill>
                </a:rPr>
                <a:t>smart</a:t>
              </a:r>
              <a:r>
                <a:rPr lang="es-ES" i="1" dirty="0" smtClean="0">
                  <a:solidFill>
                    <a:srgbClr val="000000"/>
                  </a:solidFill>
                </a:rPr>
                <a:t> </a:t>
              </a:r>
              <a:r>
                <a:rPr lang="es-ES" i="1" dirty="0" err="1" smtClean="0">
                  <a:solidFill>
                    <a:srgbClr val="000000"/>
                  </a:solidFill>
                </a:rPr>
                <a:t>grid</a:t>
              </a:r>
              <a:r>
                <a:rPr lang="es-ES" i="1" dirty="0" smtClean="0">
                  <a:solidFill>
                    <a:srgbClr val="000000"/>
                  </a:solidFill>
                </a:rPr>
                <a:t> </a:t>
              </a:r>
            </a:p>
          </p:txBody>
        </p:sp>
        <p:sp>
          <p:nvSpPr>
            <p:cNvPr id="217" name="TextBox 216"/>
            <p:cNvSpPr txBox="1"/>
            <p:nvPr/>
          </p:nvSpPr>
          <p:spPr>
            <a:xfrm>
              <a:off x="6269128" y="1638680"/>
              <a:ext cx="1944216" cy="338554"/>
            </a:xfrm>
            <a:prstGeom prst="rect">
              <a:avLst/>
            </a:prstGeom>
            <a:noFill/>
          </p:spPr>
          <p:txBody>
            <a:bodyPr wrap="square" rtlCol="0">
              <a:spAutoFit/>
            </a:bodyPr>
            <a:lstStyle/>
            <a:p>
              <a:pPr algn="ctr"/>
              <a:r>
                <a:rPr lang="es-ES" sz="1600" i="1" dirty="0" err="1" smtClean="0">
                  <a:solidFill>
                    <a:srgbClr val="000000"/>
                  </a:solidFill>
                </a:rPr>
                <a:t>energy</a:t>
              </a:r>
              <a:r>
                <a:rPr lang="es-ES" sz="1600" i="1" dirty="0" smtClean="0">
                  <a:solidFill>
                    <a:srgbClr val="000000"/>
                  </a:solidFill>
                </a:rPr>
                <a:t> </a:t>
              </a:r>
              <a:r>
                <a:rPr lang="es-ES" sz="1600" i="1" dirty="0" err="1" smtClean="0">
                  <a:solidFill>
                    <a:srgbClr val="000000"/>
                  </a:solidFill>
                </a:rPr>
                <a:t>efficiency</a:t>
              </a:r>
              <a:endParaRPr lang="es-ES" sz="1600" i="1" dirty="0" smtClean="0">
                <a:solidFill>
                  <a:srgbClr val="000000"/>
                </a:solidFill>
              </a:endParaRPr>
            </a:p>
          </p:txBody>
        </p:sp>
      </p:grpSp>
      <p:grpSp>
        <p:nvGrpSpPr>
          <p:cNvPr id="166" name="Group 165"/>
          <p:cNvGrpSpPr/>
          <p:nvPr/>
        </p:nvGrpSpPr>
        <p:grpSpPr>
          <a:xfrm>
            <a:off x="6461624" y="4991992"/>
            <a:ext cx="1854792" cy="720080"/>
            <a:chOff x="6372200" y="1268760"/>
            <a:chExt cx="1854792" cy="720080"/>
          </a:xfrm>
        </p:grpSpPr>
        <p:sp>
          <p:nvSpPr>
            <p:cNvPr id="167" name="Rounded Rectangular Callout 166"/>
            <p:cNvSpPr/>
            <p:nvPr/>
          </p:nvSpPr>
          <p:spPr>
            <a:xfrm>
              <a:off x="6372200" y="1268760"/>
              <a:ext cx="1854792" cy="720080"/>
            </a:xfrm>
            <a:prstGeom prst="wedgeRoundRectCallout">
              <a:avLst>
                <a:gd name="adj1" fmla="val -76826"/>
                <a:gd name="adj2" fmla="val 5641"/>
                <a:gd name="adj3" fmla="val 16667"/>
              </a:avLst>
            </a:prstGeom>
            <a:solidFill>
              <a:schemeClr val="bg1"/>
            </a:solidFill>
            <a:ln>
              <a:solidFill>
                <a:schemeClr val="accent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000000"/>
                </a:solidFill>
              </a:endParaRPr>
            </a:p>
          </p:txBody>
        </p:sp>
        <p:pic>
          <p:nvPicPr>
            <p:cNvPr id="168" name="Picture 13"/>
            <p:cNvPicPr>
              <a:picLocks noChangeAspect="1" noChangeArrowheads="1"/>
            </p:cNvPicPr>
            <p:nvPr/>
          </p:nvPicPr>
          <p:blipFill>
            <a:blip r:embed="rId3" cstate="print"/>
            <a:srcRect/>
            <a:stretch>
              <a:fillRect/>
            </a:stretch>
          </p:blipFill>
          <p:spPr bwMode="auto">
            <a:xfrm>
              <a:off x="7993552" y="1728104"/>
              <a:ext cx="207963" cy="179388"/>
            </a:xfrm>
            <a:prstGeom prst="rect">
              <a:avLst/>
            </a:prstGeom>
            <a:noFill/>
            <a:ln w="9525">
              <a:noFill/>
              <a:miter lim="800000"/>
              <a:headEnd/>
              <a:tailEnd/>
            </a:ln>
          </p:spPr>
        </p:pic>
        <p:pic>
          <p:nvPicPr>
            <p:cNvPr id="169" name="Picture 13"/>
            <p:cNvPicPr>
              <a:picLocks noChangeAspect="1" noChangeArrowheads="1"/>
            </p:cNvPicPr>
            <p:nvPr/>
          </p:nvPicPr>
          <p:blipFill>
            <a:blip r:embed="rId4" cstate="print"/>
            <a:srcRect/>
            <a:stretch>
              <a:fillRect/>
            </a:stretch>
          </p:blipFill>
          <p:spPr bwMode="auto">
            <a:xfrm>
              <a:off x="6504919" y="1399128"/>
              <a:ext cx="200025" cy="180975"/>
            </a:xfrm>
            <a:prstGeom prst="rect">
              <a:avLst/>
            </a:prstGeom>
            <a:gradFill rotWithShape="0">
              <a:gsLst>
                <a:gs pos="0">
                  <a:srgbClr val="FFFFFF"/>
                </a:gs>
                <a:gs pos="7773">
                  <a:srgbClr val="5EADB4"/>
                </a:gs>
                <a:gs pos="28499">
                  <a:srgbClr val="4A9396"/>
                </a:gs>
                <a:gs pos="100000">
                  <a:srgbClr val="2B5B5A"/>
                </a:gs>
              </a:gsLst>
              <a:lin ang="5400000" scaled="1"/>
            </a:gradFill>
            <a:ln w="9525">
              <a:noFill/>
              <a:round/>
              <a:headEnd/>
              <a:tailEnd/>
            </a:ln>
          </p:spPr>
        </p:pic>
        <p:sp>
          <p:nvSpPr>
            <p:cNvPr id="170" name="TextBox 169"/>
            <p:cNvSpPr txBox="1"/>
            <p:nvPr/>
          </p:nvSpPr>
          <p:spPr>
            <a:xfrm>
              <a:off x="6615520" y="1313472"/>
              <a:ext cx="1313560" cy="646331"/>
            </a:xfrm>
            <a:prstGeom prst="rect">
              <a:avLst/>
            </a:prstGeom>
            <a:noFill/>
          </p:spPr>
          <p:txBody>
            <a:bodyPr wrap="square" rtlCol="0">
              <a:spAutoFit/>
            </a:bodyPr>
            <a:lstStyle/>
            <a:p>
              <a:pPr algn="ctr"/>
              <a:r>
                <a:rPr lang="es-ES" i="1" dirty="0" err="1" smtClean="0">
                  <a:solidFill>
                    <a:srgbClr val="000000"/>
                  </a:solidFill>
                </a:rPr>
                <a:t>electric</a:t>
              </a:r>
              <a:r>
                <a:rPr lang="es-ES" i="1" dirty="0" smtClean="0">
                  <a:solidFill>
                    <a:srgbClr val="000000"/>
                  </a:solidFill>
                </a:rPr>
                <a:t> </a:t>
              </a:r>
              <a:r>
                <a:rPr lang="es-ES" i="1" dirty="0" err="1" smtClean="0">
                  <a:solidFill>
                    <a:srgbClr val="000000"/>
                  </a:solidFill>
                </a:rPr>
                <a:t>vehicle</a:t>
              </a:r>
              <a:endParaRPr lang="en-US" i="1" dirty="0">
                <a:solidFill>
                  <a:srgbClr val="000000"/>
                </a:solidFill>
              </a:endParaRPr>
            </a:p>
          </p:txBody>
        </p:sp>
      </p:grpSp>
      <p:grpSp>
        <p:nvGrpSpPr>
          <p:cNvPr id="212" name="Group 211"/>
          <p:cNvGrpSpPr/>
          <p:nvPr/>
        </p:nvGrpSpPr>
        <p:grpSpPr>
          <a:xfrm>
            <a:off x="6492688" y="2605848"/>
            <a:ext cx="1854792" cy="720080"/>
            <a:chOff x="6372200" y="1268760"/>
            <a:chExt cx="1854792" cy="720080"/>
          </a:xfrm>
        </p:grpSpPr>
        <p:sp>
          <p:nvSpPr>
            <p:cNvPr id="213" name="Rounded Rectangular Callout 212"/>
            <p:cNvSpPr/>
            <p:nvPr/>
          </p:nvSpPr>
          <p:spPr>
            <a:xfrm>
              <a:off x="6372200" y="1268760"/>
              <a:ext cx="1854792" cy="720080"/>
            </a:xfrm>
            <a:prstGeom prst="wedgeRoundRectCallout">
              <a:avLst>
                <a:gd name="adj1" fmla="val -78297"/>
                <a:gd name="adj2" fmla="val 18908"/>
                <a:gd name="adj3" fmla="val 16667"/>
              </a:avLst>
            </a:prstGeom>
            <a:solidFill>
              <a:schemeClr val="bg1"/>
            </a:solidFill>
            <a:ln>
              <a:solidFill>
                <a:schemeClr val="accent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000000"/>
                </a:solidFill>
              </a:endParaRPr>
            </a:p>
          </p:txBody>
        </p:sp>
        <p:pic>
          <p:nvPicPr>
            <p:cNvPr id="214" name="Picture 13"/>
            <p:cNvPicPr>
              <a:picLocks noChangeAspect="1" noChangeArrowheads="1"/>
            </p:cNvPicPr>
            <p:nvPr/>
          </p:nvPicPr>
          <p:blipFill>
            <a:blip r:embed="rId3" cstate="print"/>
            <a:srcRect/>
            <a:stretch>
              <a:fillRect/>
            </a:stretch>
          </p:blipFill>
          <p:spPr bwMode="auto">
            <a:xfrm>
              <a:off x="7993552" y="1728104"/>
              <a:ext cx="207963" cy="179388"/>
            </a:xfrm>
            <a:prstGeom prst="rect">
              <a:avLst/>
            </a:prstGeom>
            <a:noFill/>
            <a:ln w="9525">
              <a:noFill/>
              <a:miter lim="800000"/>
              <a:headEnd/>
              <a:tailEnd/>
            </a:ln>
          </p:spPr>
        </p:pic>
        <p:pic>
          <p:nvPicPr>
            <p:cNvPr id="215" name="Picture 13"/>
            <p:cNvPicPr>
              <a:picLocks noChangeAspect="1" noChangeArrowheads="1"/>
            </p:cNvPicPr>
            <p:nvPr/>
          </p:nvPicPr>
          <p:blipFill>
            <a:blip r:embed="rId4" cstate="print"/>
            <a:srcRect/>
            <a:stretch>
              <a:fillRect/>
            </a:stretch>
          </p:blipFill>
          <p:spPr bwMode="auto">
            <a:xfrm>
              <a:off x="6504919" y="1399128"/>
              <a:ext cx="200025" cy="180975"/>
            </a:xfrm>
            <a:prstGeom prst="rect">
              <a:avLst/>
            </a:prstGeom>
            <a:gradFill rotWithShape="0">
              <a:gsLst>
                <a:gs pos="0">
                  <a:srgbClr val="FFFFFF"/>
                </a:gs>
                <a:gs pos="7773">
                  <a:srgbClr val="5EADB4"/>
                </a:gs>
                <a:gs pos="28499">
                  <a:srgbClr val="4A9396"/>
                </a:gs>
                <a:gs pos="100000">
                  <a:srgbClr val="2B5B5A"/>
                </a:gs>
              </a:gsLst>
              <a:lin ang="5400000" scaled="1"/>
            </a:gradFill>
            <a:ln w="9525">
              <a:noFill/>
              <a:round/>
              <a:headEnd/>
              <a:tailEnd/>
            </a:ln>
          </p:spPr>
        </p:pic>
        <p:sp>
          <p:nvSpPr>
            <p:cNvPr id="216" name="TextBox 215"/>
            <p:cNvSpPr txBox="1"/>
            <p:nvPr/>
          </p:nvSpPr>
          <p:spPr>
            <a:xfrm>
              <a:off x="6642816" y="1467368"/>
              <a:ext cx="1313560" cy="369332"/>
            </a:xfrm>
            <a:prstGeom prst="rect">
              <a:avLst/>
            </a:prstGeom>
            <a:noFill/>
          </p:spPr>
          <p:txBody>
            <a:bodyPr wrap="square" rtlCol="0">
              <a:spAutoFit/>
            </a:bodyPr>
            <a:lstStyle/>
            <a:p>
              <a:pPr algn="ctr"/>
              <a:r>
                <a:rPr lang="es-ES" i="1" dirty="0" err="1" smtClean="0">
                  <a:solidFill>
                    <a:srgbClr val="000000"/>
                  </a:solidFill>
                </a:rPr>
                <a:t>automated</a:t>
              </a:r>
              <a:endParaRPr lang="en-US" i="1" dirty="0">
                <a:solidFill>
                  <a:srgbClr val="000000"/>
                </a:solidFill>
              </a:endParaRPr>
            </a:p>
          </p:txBody>
        </p:sp>
      </p:grpSp>
      <p:pic>
        <p:nvPicPr>
          <p:cNvPr id="160" name="Picture 7" descr="http://www.vision-works.com/img/features/reporting.png"/>
          <p:cNvPicPr>
            <a:picLocks noChangeAspect="1" noChangeArrowheads="1"/>
          </p:cNvPicPr>
          <p:nvPr/>
        </p:nvPicPr>
        <p:blipFill>
          <a:blip r:embed="rId6" cstate="print"/>
          <a:srcRect/>
          <a:stretch>
            <a:fillRect/>
          </a:stretch>
        </p:blipFill>
        <p:spPr bwMode="auto">
          <a:xfrm>
            <a:off x="2933232" y="4417352"/>
            <a:ext cx="792088" cy="580634"/>
          </a:xfrm>
          <a:prstGeom prst="rect">
            <a:avLst/>
          </a:prstGeom>
          <a:noFill/>
          <a:ln w="9525">
            <a:noFill/>
            <a:miter lim="800000"/>
            <a:headEnd/>
            <a:tailEnd/>
          </a:ln>
        </p:spPr>
      </p:pic>
      <p:pic>
        <p:nvPicPr>
          <p:cNvPr id="171" name="Picture 6" descr="http://www.scwo.org.sg/iwd2011/img/icon-debate.jpg"/>
          <p:cNvPicPr>
            <a:picLocks noChangeAspect="1" noChangeArrowheads="1"/>
          </p:cNvPicPr>
          <p:nvPr/>
        </p:nvPicPr>
        <p:blipFill>
          <a:blip r:embed="rId7" cstate="print"/>
          <a:srcRect/>
          <a:stretch>
            <a:fillRect/>
          </a:stretch>
        </p:blipFill>
        <p:spPr bwMode="auto">
          <a:xfrm>
            <a:off x="5381505" y="1348304"/>
            <a:ext cx="735335" cy="927162"/>
          </a:xfrm>
          <a:prstGeom prst="rect">
            <a:avLst/>
          </a:prstGeom>
          <a:noFill/>
        </p:spPr>
      </p:pic>
      <p:pic>
        <p:nvPicPr>
          <p:cNvPr id="172" name="Picture 2" descr="http://t0.gstatic.com/images?q=tbn:ANd9GcQdt7FGITI-TN47YSLAKfVj0o41VNDJHUJ-t7hNGgAgIUV9taGYQVXmidJP_Q"/>
          <p:cNvPicPr>
            <a:picLocks noChangeAspect="1" noChangeArrowheads="1"/>
          </p:cNvPicPr>
          <p:nvPr/>
        </p:nvPicPr>
        <p:blipFill>
          <a:blip r:embed="rId8" cstate="print"/>
          <a:srcRect/>
          <a:stretch>
            <a:fillRect/>
          </a:stretch>
        </p:blipFill>
        <p:spPr bwMode="auto">
          <a:xfrm>
            <a:off x="2956760" y="1792578"/>
            <a:ext cx="648072" cy="650965"/>
          </a:xfrm>
          <a:prstGeom prst="rect">
            <a:avLst/>
          </a:prstGeom>
          <a:noFill/>
        </p:spPr>
      </p:pic>
      <p:sp>
        <p:nvSpPr>
          <p:cNvPr id="173" name="TextBox 172"/>
          <p:cNvSpPr txBox="1"/>
          <p:nvPr/>
        </p:nvSpPr>
        <p:spPr>
          <a:xfrm>
            <a:off x="2658848" y="2382839"/>
            <a:ext cx="1368152" cy="307777"/>
          </a:xfrm>
          <a:prstGeom prst="rect">
            <a:avLst/>
          </a:prstGeom>
          <a:noFill/>
        </p:spPr>
        <p:txBody>
          <a:bodyPr wrap="square" rtlCol="0">
            <a:spAutoFit/>
          </a:bodyPr>
          <a:lstStyle/>
          <a:p>
            <a:r>
              <a:rPr lang="es-ES" sz="1400" b="1" dirty="0" err="1" smtClean="0">
                <a:solidFill>
                  <a:srgbClr val="000000"/>
                </a:solidFill>
              </a:rPr>
              <a:t>Ecologists</a:t>
            </a:r>
            <a:endParaRPr lang="en-US" sz="1400" b="1" dirty="0">
              <a:solidFill>
                <a:srgbClr val="000000"/>
              </a:solidFill>
            </a:endParaRPr>
          </a:p>
        </p:txBody>
      </p:sp>
      <p:grpSp>
        <p:nvGrpSpPr>
          <p:cNvPr id="174" name="Group 173"/>
          <p:cNvGrpSpPr/>
          <p:nvPr/>
        </p:nvGrpSpPr>
        <p:grpSpPr>
          <a:xfrm>
            <a:off x="5422448" y="4077074"/>
            <a:ext cx="438406" cy="573759"/>
            <a:chOff x="5367856" y="4158960"/>
            <a:chExt cx="438406" cy="573759"/>
          </a:xfrm>
        </p:grpSpPr>
        <p:grpSp>
          <p:nvGrpSpPr>
            <p:cNvPr id="175" name="Group 174"/>
            <p:cNvGrpSpPr>
              <a:grpSpLocks noChangeAspect="1"/>
            </p:cNvGrpSpPr>
            <p:nvPr/>
          </p:nvGrpSpPr>
          <p:grpSpPr>
            <a:xfrm>
              <a:off x="5367856" y="4158960"/>
              <a:ext cx="239163" cy="423664"/>
              <a:chOff x="762212" y="192617"/>
              <a:chExt cx="3653473" cy="6471920"/>
            </a:xfrm>
            <a:solidFill>
              <a:schemeClr val="tx2">
                <a:lumMod val="60000"/>
                <a:lumOff val="40000"/>
              </a:schemeClr>
            </a:solidFill>
          </p:grpSpPr>
          <p:sp>
            <p:nvSpPr>
              <p:cNvPr id="196" name="Freeform 195"/>
              <p:cNvSpPr/>
              <p:nvPr/>
            </p:nvSpPr>
            <p:spPr>
              <a:xfrm>
                <a:off x="762212" y="192617"/>
                <a:ext cx="3653473" cy="6471920"/>
              </a:xfrm>
              <a:custGeom>
                <a:avLst/>
                <a:gdLst>
                  <a:gd name="connsiteX0" fmla="*/ 1536700 w 3390900"/>
                  <a:gd name="connsiteY0" fmla="*/ 0 h 6261100"/>
                  <a:gd name="connsiteX1" fmla="*/ 1536700 w 3390900"/>
                  <a:gd name="connsiteY1" fmla="*/ 0 h 6261100"/>
                  <a:gd name="connsiteX2" fmla="*/ 1295400 w 3390900"/>
                  <a:gd name="connsiteY2" fmla="*/ 685800 h 6261100"/>
                  <a:gd name="connsiteX3" fmla="*/ 0 w 3390900"/>
                  <a:gd name="connsiteY3" fmla="*/ 1219200 h 6261100"/>
                  <a:gd name="connsiteX4" fmla="*/ 12700 w 3390900"/>
                  <a:gd name="connsiteY4" fmla="*/ 1485900 h 6261100"/>
                  <a:gd name="connsiteX5" fmla="*/ 1282700 w 3390900"/>
                  <a:gd name="connsiteY5" fmla="*/ 1460500 h 6261100"/>
                  <a:gd name="connsiteX6" fmla="*/ 1295400 w 3390900"/>
                  <a:gd name="connsiteY6" fmla="*/ 2400300 h 6261100"/>
                  <a:gd name="connsiteX7" fmla="*/ 279400 w 3390900"/>
                  <a:gd name="connsiteY7" fmla="*/ 6248400 h 6261100"/>
                  <a:gd name="connsiteX8" fmla="*/ 444500 w 3390900"/>
                  <a:gd name="connsiteY8" fmla="*/ 6261100 h 6261100"/>
                  <a:gd name="connsiteX9" fmla="*/ 444500 w 3390900"/>
                  <a:gd name="connsiteY9" fmla="*/ 6096000 h 6261100"/>
                  <a:gd name="connsiteX10" fmla="*/ 1422400 w 3390900"/>
                  <a:gd name="connsiteY10" fmla="*/ 2362200 h 6261100"/>
                  <a:gd name="connsiteX11" fmla="*/ 1358900 w 3390900"/>
                  <a:gd name="connsiteY11" fmla="*/ 1257300 h 6261100"/>
                  <a:gd name="connsiteX12" fmla="*/ 508000 w 3390900"/>
                  <a:gd name="connsiteY12" fmla="*/ 1257300 h 6261100"/>
                  <a:gd name="connsiteX13" fmla="*/ 1371600 w 3390900"/>
                  <a:gd name="connsiteY13" fmla="*/ 800100 h 6261100"/>
                  <a:gd name="connsiteX14" fmla="*/ 1663700 w 3390900"/>
                  <a:gd name="connsiteY14" fmla="*/ 139700 h 6261100"/>
                  <a:gd name="connsiteX15" fmla="*/ 1930400 w 3390900"/>
                  <a:gd name="connsiteY15" fmla="*/ 736600 h 6261100"/>
                  <a:gd name="connsiteX16" fmla="*/ 2946400 w 3390900"/>
                  <a:gd name="connsiteY16" fmla="*/ 1231900 h 6261100"/>
                  <a:gd name="connsiteX17" fmla="*/ 1981200 w 3390900"/>
                  <a:gd name="connsiteY17" fmla="*/ 1219200 h 6261100"/>
                  <a:gd name="connsiteX18" fmla="*/ 1968500 w 3390900"/>
                  <a:gd name="connsiteY18" fmla="*/ 2324100 h 6261100"/>
                  <a:gd name="connsiteX19" fmla="*/ 2984500 w 3390900"/>
                  <a:gd name="connsiteY19" fmla="*/ 6248400 h 6261100"/>
                  <a:gd name="connsiteX20" fmla="*/ 3124200 w 3390900"/>
                  <a:gd name="connsiteY20" fmla="*/ 6172200 h 6261100"/>
                  <a:gd name="connsiteX21" fmla="*/ 2108200 w 3390900"/>
                  <a:gd name="connsiteY21" fmla="*/ 2362200 h 6261100"/>
                  <a:gd name="connsiteX22" fmla="*/ 2120900 w 3390900"/>
                  <a:gd name="connsiteY22" fmla="*/ 1473200 h 6261100"/>
                  <a:gd name="connsiteX23" fmla="*/ 3390900 w 3390900"/>
                  <a:gd name="connsiteY23" fmla="*/ 1460500 h 6261100"/>
                  <a:gd name="connsiteX24" fmla="*/ 3365500 w 3390900"/>
                  <a:gd name="connsiteY24" fmla="*/ 1231900 h 6261100"/>
                  <a:gd name="connsiteX25" fmla="*/ 2082800 w 3390900"/>
                  <a:gd name="connsiteY25" fmla="*/ 596900 h 6261100"/>
                  <a:gd name="connsiteX26" fmla="*/ 1892300 w 3390900"/>
                  <a:gd name="connsiteY26" fmla="*/ 0 h 6261100"/>
                  <a:gd name="connsiteX27" fmla="*/ 1536700 w 3390900"/>
                  <a:gd name="connsiteY27" fmla="*/ 0 h 6261100"/>
                  <a:gd name="connsiteX0" fmla="*/ 1536700 w 3390900"/>
                  <a:gd name="connsiteY0" fmla="*/ 0 h 6261100"/>
                  <a:gd name="connsiteX1" fmla="*/ 1536700 w 3390900"/>
                  <a:gd name="connsiteY1" fmla="*/ 0 h 6261100"/>
                  <a:gd name="connsiteX2" fmla="*/ 1310640 w 3390900"/>
                  <a:gd name="connsiteY2" fmla="*/ 579120 h 6261100"/>
                  <a:gd name="connsiteX3" fmla="*/ 0 w 3390900"/>
                  <a:gd name="connsiteY3" fmla="*/ 1219200 h 6261100"/>
                  <a:gd name="connsiteX4" fmla="*/ 12700 w 3390900"/>
                  <a:gd name="connsiteY4" fmla="*/ 1485900 h 6261100"/>
                  <a:gd name="connsiteX5" fmla="*/ 1282700 w 3390900"/>
                  <a:gd name="connsiteY5" fmla="*/ 1460500 h 6261100"/>
                  <a:gd name="connsiteX6" fmla="*/ 1295400 w 3390900"/>
                  <a:gd name="connsiteY6" fmla="*/ 2400300 h 6261100"/>
                  <a:gd name="connsiteX7" fmla="*/ 279400 w 3390900"/>
                  <a:gd name="connsiteY7" fmla="*/ 6248400 h 6261100"/>
                  <a:gd name="connsiteX8" fmla="*/ 444500 w 3390900"/>
                  <a:gd name="connsiteY8" fmla="*/ 6261100 h 6261100"/>
                  <a:gd name="connsiteX9" fmla="*/ 444500 w 3390900"/>
                  <a:gd name="connsiteY9" fmla="*/ 6096000 h 6261100"/>
                  <a:gd name="connsiteX10" fmla="*/ 1422400 w 3390900"/>
                  <a:gd name="connsiteY10" fmla="*/ 2362200 h 6261100"/>
                  <a:gd name="connsiteX11" fmla="*/ 1358900 w 3390900"/>
                  <a:gd name="connsiteY11" fmla="*/ 1257300 h 6261100"/>
                  <a:gd name="connsiteX12" fmla="*/ 508000 w 3390900"/>
                  <a:gd name="connsiteY12" fmla="*/ 1257300 h 6261100"/>
                  <a:gd name="connsiteX13" fmla="*/ 1371600 w 3390900"/>
                  <a:gd name="connsiteY13" fmla="*/ 800100 h 6261100"/>
                  <a:gd name="connsiteX14" fmla="*/ 1663700 w 3390900"/>
                  <a:gd name="connsiteY14" fmla="*/ 139700 h 6261100"/>
                  <a:gd name="connsiteX15" fmla="*/ 1930400 w 3390900"/>
                  <a:gd name="connsiteY15" fmla="*/ 736600 h 6261100"/>
                  <a:gd name="connsiteX16" fmla="*/ 2946400 w 3390900"/>
                  <a:gd name="connsiteY16" fmla="*/ 1231900 h 6261100"/>
                  <a:gd name="connsiteX17" fmla="*/ 1981200 w 3390900"/>
                  <a:gd name="connsiteY17" fmla="*/ 1219200 h 6261100"/>
                  <a:gd name="connsiteX18" fmla="*/ 1968500 w 3390900"/>
                  <a:gd name="connsiteY18" fmla="*/ 2324100 h 6261100"/>
                  <a:gd name="connsiteX19" fmla="*/ 2984500 w 3390900"/>
                  <a:gd name="connsiteY19" fmla="*/ 6248400 h 6261100"/>
                  <a:gd name="connsiteX20" fmla="*/ 3124200 w 3390900"/>
                  <a:gd name="connsiteY20" fmla="*/ 6172200 h 6261100"/>
                  <a:gd name="connsiteX21" fmla="*/ 2108200 w 3390900"/>
                  <a:gd name="connsiteY21" fmla="*/ 2362200 h 6261100"/>
                  <a:gd name="connsiteX22" fmla="*/ 2120900 w 3390900"/>
                  <a:gd name="connsiteY22" fmla="*/ 1473200 h 6261100"/>
                  <a:gd name="connsiteX23" fmla="*/ 3390900 w 3390900"/>
                  <a:gd name="connsiteY23" fmla="*/ 1460500 h 6261100"/>
                  <a:gd name="connsiteX24" fmla="*/ 3365500 w 3390900"/>
                  <a:gd name="connsiteY24" fmla="*/ 1231900 h 6261100"/>
                  <a:gd name="connsiteX25" fmla="*/ 2082800 w 3390900"/>
                  <a:gd name="connsiteY25" fmla="*/ 596900 h 6261100"/>
                  <a:gd name="connsiteX26" fmla="*/ 1892300 w 3390900"/>
                  <a:gd name="connsiteY26" fmla="*/ 0 h 6261100"/>
                  <a:gd name="connsiteX27" fmla="*/ 1536700 w 3390900"/>
                  <a:gd name="connsiteY27" fmla="*/ 0 h 6261100"/>
                  <a:gd name="connsiteX0" fmla="*/ 1524000 w 3378200"/>
                  <a:gd name="connsiteY0" fmla="*/ 0 h 6261100"/>
                  <a:gd name="connsiteX1" fmla="*/ 1524000 w 3378200"/>
                  <a:gd name="connsiteY1" fmla="*/ 0 h 6261100"/>
                  <a:gd name="connsiteX2" fmla="*/ 1297940 w 3378200"/>
                  <a:gd name="connsiteY2" fmla="*/ 579120 h 6261100"/>
                  <a:gd name="connsiteX3" fmla="*/ 10160 w 3378200"/>
                  <a:gd name="connsiteY3" fmla="*/ 1196340 h 6261100"/>
                  <a:gd name="connsiteX4" fmla="*/ 0 w 3378200"/>
                  <a:gd name="connsiteY4" fmla="*/ 1485900 h 6261100"/>
                  <a:gd name="connsiteX5" fmla="*/ 1270000 w 3378200"/>
                  <a:gd name="connsiteY5" fmla="*/ 1460500 h 6261100"/>
                  <a:gd name="connsiteX6" fmla="*/ 1282700 w 3378200"/>
                  <a:gd name="connsiteY6" fmla="*/ 2400300 h 6261100"/>
                  <a:gd name="connsiteX7" fmla="*/ 266700 w 3378200"/>
                  <a:gd name="connsiteY7" fmla="*/ 6248400 h 6261100"/>
                  <a:gd name="connsiteX8" fmla="*/ 431800 w 3378200"/>
                  <a:gd name="connsiteY8" fmla="*/ 6261100 h 6261100"/>
                  <a:gd name="connsiteX9" fmla="*/ 431800 w 3378200"/>
                  <a:gd name="connsiteY9" fmla="*/ 6096000 h 6261100"/>
                  <a:gd name="connsiteX10" fmla="*/ 1409700 w 3378200"/>
                  <a:gd name="connsiteY10" fmla="*/ 2362200 h 6261100"/>
                  <a:gd name="connsiteX11" fmla="*/ 1346200 w 3378200"/>
                  <a:gd name="connsiteY11" fmla="*/ 1257300 h 6261100"/>
                  <a:gd name="connsiteX12" fmla="*/ 495300 w 3378200"/>
                  <a:gd name="connsiteY12" fmla="*/ 1257300 h 6261100"/>
                  <a:gd name="connsiteX13" fmla="*/ 1358900 w 3378200"/>
                  <a:gd name="connsiteY13" fmla="*/ 800100 h 6261100"/>
                  <a:gd name="connsiteX14" fmla="*/ 1651000 w 3378200"/>
                  <a:gd name="connsiteY14" fmla="*/ 139700 h 6261100"/>
                  <a:gd name="connsiteX15" fmla="*/ 1917700 w 3378200"/>
                  <a:gd name="connsiteY15" fmla="*/ 736600 h 6261100"/>
                  <a:gd name="connsiteX16" fmla="*/ 2933700 w 3378200"/>
                  <a:gd name="connsiteY16" fmla="*/ 1231900 h 6261100"/>
                  <a:gd name="connsiteX17" fmla="*/ 1968500 w 3378200"/>
                  <a:gd name="connsiteY17" fmla="*/ 1219200 h 6261100"/>
                  <a:gd name="connsiteX18" fmla="*/ 1955800 w 3378200"/>
                  <a:gd name="connsiteY18" fmla="*/ 2324100 h 6261100"/>
                  <a:gd name="connsiteX19" fmla="*/ 2971800 w 3378200"/>
                  <a:gd name="connsiteY19" fmla="*/ 6248400 h 6261100"/>
                  <a:gd name="connsiteX20" fmla="*/ 3111500 w 3378200"/>
                  <a:gd name="connsiteY20" fmla="*/ 6172200 h 6261100"/>
                  <a:gd name="connsiteX21" fmla="*/ 2095500 w 3378200"/>
                  <a:gd name="connsiteY21" fmla="*/ 2362200 h 6261100"/>
                  <a:gd name="connsiteX22" fmla="*/ 2108200 w 3378200"/>
                  <a:gd name="connsiteY22" fmla="*/ 1473200 h 6261100"/>
                  <a:gd name="connsiteX23" fmla="*/ 3378200 w 3378200"/>
                  <a:gd name="connsiteY23" fmla="*/ 1460500 h 6261100"/>
                  <a:gd name="connsiteX24" fmla="*/ 3352800 w 3378200"/>
                  <a:gd name="connsiteY24" fmla="*/ 1231900 h 6261100"/>
                  <a:gd name="connsiteX25" fmla="*/ 2070100 w 3378200"/>
                  <a:gd name="connsiteY25" fmla="*/ 596900 h 6261100"/>
                  <a:gd name="connsiteX26" fmla="*/ 1879600 w 3378200"/>
                  <a:gd name="connsiteY26" fmla="*/ 0 h 6261100"/>
                  <a:gd name="connsiteX27" fmla="*/ 1524000 w 3378200"/>
                  <a:gd name="connsiteY27" fmla="*/ 0 h 6261100"/>
                  <a:gd name="connsiteX0" fmla="*/ 1524000 w 3378200"/>
                  <a:gd name="connsiteY0" fmla="*/ 0 h 6261100"/>
                  <a:gd name="connsiteX1" fmla="*/ 1524000 w 3378200"/>
                  <a:gd name="connsiteY1" fmla="*/ 0 h 6261100"/>
                  <a:gd name="connsiteX2" fmla="*/ 1297940 w 3378200"/>
                  <a:gd name="connsiteY2" fmla="*/ 579120 h 6261100"/>
                  <a:gd name="connsiteX3" fmla="*/ 10160 w 3378200"/>
                  <a:gd name="connsiteY3" fmla="*/ 1196340 h 6261100"/>
                  <a:gd name="connsiteX4" fmla="*/ 0 w 3378200"/>
                  <a:gd name="connsiteY4" fmla="*/ 1455420 h 6261100"/>
                  <a:gd name="connsiteX5" fmla="*/ 1270000 w 3378200"/>
                  <a:gd name="connsiteY5" fmla="*/ 1460500 h 6261100"/>
                  <a:gd name="connsiteX6" fmla="*/ 1282700 w 3378200"/>
                  <a:gd name="connsiteY6" fmla="*/ 2400300 h 6261100"/>
                  <a:gd name="connsiteX7" fmla="*/ 266700 w 3378200"/>
                  <a:gd name="connsiteY7" fmla="*/ 6248400 h 6261100"/>
                  <a:gd name="connsiteX8" fmla="*/ 431800 w 3378200"/>
                  <a:gd name="connsiteY8" fmla="*/ 6261100 h 6261100"/>
                  <a:gd name="connsiteX9" fmla="*/ 431800 w 3378200"/>
                  <a:gd name="connsiteY9" fmla="*/ 6096000 h 6261100"/>
                  <a:gd name="connsiteX10" fmla="*/ 1409700 w 3378200"/>
                  <a:gd name="connsiteY10" fmla="*/ 2362200 h 6261100"/>
                  <a:gd name="connsiteX11" fmla="*/ 1346200 w 3378200"/>
                  <a:gd name="connsiteY11" fmla="*/ 1257300 h 6261100"/>
                  <a:gd name="connsiteX12" fmla="*/ 495300 w 3378200"/>
                  <a:gd name="connsiteY12" fmla="*/ 1257300 h 6261100"/>
                  <a:gd name="connsiteX13" fmla="*/ 1358900 w 3378200"/>
                  <a:gd name="connsiteY13" fmla="*/ 800100 h 6261100"/>
                  <a:gd name="connsiteX14" fmla="*/ 1651000 w 3378200"/>
                  <a:gd name="connsiteY14" fmla="*/ 139700 h 6261100"/>
                  <a:gd name="connsiteX15" fmla="*/ 1917700 w 3378200"/>
                  <a:gd name="connsiteY15" fmla="*/ 736600 h 6261100"/>
                  <a:gd name="connsiteX16" fmla="*/ 2933700 w 3378200"/>
                  <a:gd name="connsiteY16" fmla="*/ 1231900 h 6261100"/>
                  <a:gd name="connsiteX17" fmla="*/ 1968500 w 3378200"/>
                  <a:gd name="connsiteY17" fmla="*/ 1219200 h 6261100"/>
                  <a:gd name="connsiteX18" fmla="*/ 1955800 w 3378200"/>
                  <a:gd name="connsiteY18" fmla="*/ 2324100 h 6261100"/>
                  <a:gd name="connsiteX19" fmla="*/ 2971800 w 3378200"/>
                  <a:gd name="connsiteY19" fmla="*/ 6248400 h 6261100"/>
                  <a:gd name="connsiteX20" fmla="*/ 3111500 w 3378200"/>
                  <a:gd name="connsiteY20" fmla="*/ 6172200 h 6261100"/>
                  <a:gd name="connsiteX21" fmla="*/ 2095500 w 3378200"/>
                  <a:gd name="connsiteY21" fmla="*/ 2362200 h 6261100"/>
                  <a:gd name="connsiteX22" fmla="*/ 2108200 w 3378200"/>
                  <a:gd name="connsiteY22" fmla="*/ 1473200 h 6261100"/>
                  <a:gd name="connsiteX23" fmla="*/ 3378200 w 3378200"/>
                  <a:gd name="connsiteY23" fmla="*/ 1460500 h 6261100"/>
                  <a:gd name="connsiteX24" fmla="*/ 3352800 w 3378200"/>
                  <a:gd name="connsiteY24" fmla="*/ 1231900 h 6261100"/>
                  <a:gd name="connsiteX25" fmla="*/ 2070100 w 3378200"/>
                  <a:gd name="connsiteY25" fmla="*/ 596900 h 6261100"/>
                  <a:gd name="connsiteX26" fmla="*/ 1879600 w 3378200"/>
                  <a:gd name="connsiteY26" fmla="*/ 0 h 6261100"/>
                  <a:gd name="connsiteX27" fmla="*/ 1524000 w 3378200"/>
                  <a:gd name="connsiteY27" fmla="*/ 0 h 6261100"/>
                  <a:gd name="connsiteX0" fmla="*/ 1524000 w 3378200"/>
                  <a:gd name="connsiteY0" fmla="*/ 0 h 6261100"/>
                  <a:gd name="connsiteX1" fmla="*/ 1524000 w 3378200"/>
                  <a:gd name="connsiteY1" fmla="*/ 0 h 6261100"/>
                  <a:gd name="connsiteX2" fmla="*/ 1297940 w 3378200"/>
                  <a:gd name="connsiteY2" fmla="*/ 579120 h 6261100"/>
                  <a:gd name="connsiteX3" fmla="*/ 10160 w 3378200"/>
                  <a:gd name="connsiteY3" fmla="*/ 1196340 h 6261100"/>
                  <a:gd name="connsiteX4" fmla="*/ 0 w 3378200"/>
                  <a:gd name="connsiteY4" fmla="*/ 1455420 h 6261100"/>
                  <a:gd name="connsiteX5" fmla="*/ 1270000 w 3378200"/>
                  <a:gd name="connsiteY5" fmla="*/ 1460500 h 6261100"/>
                  <a:gd name="connsiteX6" fmla="*/ 1282700 w 3378200"/>
                  <a:gd name="connsiteY6" fmla="*/ 2400300 h 6261100"/>
                  <a:gd name="connsiteX7" fmla="*/ 266700 w 3378200"/>
                  <a:gd name="connsiteY7" fmla="*/ 6248400 h 6261100"/>
                  <a:gd name="connsiteX8" fmla="*/ 431800 w 3378200"/>
                  <a:gd name="connsiteY8" fmla="*/ 6261100 h 6261100"/>
                  <a:gd name="connsiteX9" fmla="*/ 431800 w 3378200"/>
                  <a:gd name="connsiteY9" fmla="*/ 6096000 h 6261100"/>
                  <a:gd name="connsiteX10" fmla="*/ 1409700 w 3378200"/>
                  <a:gd name="connsiteY10" fmla="*/ 2362200 h 6261100"/>
                  <a:gd name="connsiteX11" fmla="*/ 1346200 w 3378200"/>
                  <a:gd name="connsiteY11" fmla="*/ 1257300 h 6261100"/>
                  <a:gd name="connsiteX12" fmla="*/ 495300 w 3378200"/>
                  <a:gd name="connsiteY12" fmla="*/ 1257300 h 6261100"/>
                  <a:gd name="connsiteX13" fmla="*/ 1358900 w 3378200"/>
                  <a:gd name="connsiteY13" fmla="*/ 800100 h 6261100"/>
                  <a:gd name="connsiteX14" fmla="*/ 1651000 w 3378200"/>
                  <a:gd name="connsiteY14" fmla="*/ 139700 h 6261100"/>
                  <a:gd name="connsiteX15" fmla="*/ 1917700 w 3378200"/>
                  <a:gd name="connsiteY15" fmla="*/ 736600 h 6261100"/>
                  <a:gd name="connsiteX16" fmla="*/ 2933700 w 3378200"/>
                  <a:gd name="connsiteY16" fmla="*/ 1231900 h 6261100"/>
                  <a:gd name="connsiteX17" fmla="*/ 1968500 w 3378200"/>
                  <a:gd name="connsiteY17" fmla="*/ 1219200 h 6261100"/>
                  <a:gd name="connsiteX18" fmla="*/ 1955800 w 3378200"/>
                  <a:gd name="connsiteY18" fmla="*/ 2324100 h 6261100"/>
                  <a:gd name="connsiteX19" fmla="*/ 2971800 w 3378200"/>
                  <a:gd name="connsiteY19" fmla="*/ 6248400 h 6261100"/>
                  <a:gd name="connsiteX20" fmla="*/ 3111500 w 3378200"/>
                  <a:gd name="connsiteY20" fmla="*/ 6172200 h 6261100"/>
                  <a:gd name="connsiteX21" fmla="*/ 2095500 w 3378200"/>
                  <a:gd name="connsiteY21" fmla="*/ 2362200 h 6261100"/>
                  <a:gd name="connsiteX22" fmla="*/ 2077720 w 3378200"/>
                  <a:gd name="connsiteY22" fmla="*/ 1419860 h 6261100"/>
                  <a:gd name="connsiteX23" fmla="*/ 3378200 w 3378200"/>
                  <a:gd name="connsiteY23" fmla="*/ 1460500 h 6261100"/>
                  <a:gd name="connsiteX24" fmla="*/ 3352800 w 3378200"/>
                  <a:gd name="connsiteY24" fmla="*/ 1231900 h 6261100"/>
                  <a:gd name="connsiteX25" fmla="*/ 2070100 w 3378200"/>
                  <a:gd name="connsiteY25" fmla="*/ 596900 h 6261100"/>
                  <a:gd name="connsiteX26" fmla="*/ 1879600 w 3378200"/>
                  <a:gd name="connsiteY26" fmla="*/ 0 h 6261100"/>
                  <a:gd name="connsiteX27" fmla="*/ 1524000 w 3378200"/>
                  <a:gd name="connsiteY27" fmla="*/ 0 h 6261100"/>
                  <a:gd name="connsiteX0" fmla="*/ 1524000 w 3352800"/>
                  <a:gd name="connsiteY0" fmla="*/ 0 h 6261100"/>
                  <a:gd name="connsiteX1" fmla="*/ 1524000 w 3352800"/>
                  <a:gd name="connsiteY1" fmla="*/ 0 h 6261100"/>
                  <a:gd name="connsiteX2" fmla="*/ 1297940 w 3352800"/>
                  <a:gd name="connsiteY2" fmla="*/ 579120 h 6261100"/>
                  <a:gd name="connsiteX3" fmla="*/ 10160 w 3352800"/>
                  <a:gd name="connsiteY3" fmla="*/ 1196340 h 6261100"/>
                  <a:gd name="connsiteX4" fmla="*/ 0 w 3352800"/>
                  <a:gd name="connsiteY4" fmla="*/ 1455420 h 6261100"/>
                  <a:gd name="connsiteX5" fmla="*/ 1270000 w 3352800"/>
                  <a:gd name="connsiteY5" fmla="*/ 1460500 h 6261100"/>
                  <a:gd name="connsiteX6" fmla="*/ 1282700 w 3352800"/>
                  <a:gd name="connsiteY6" fmla="*/ 2400300 h 6261100"/>
                  <a:gd name="connsiteX7" fmla="*/ 266700 w 3352800"/>
                  <a:gd name="connsiteY7" fmla="*/ 6248400 h 6261100"/>
                  <a:gd name="connsiteX8" fmla="*/ 431800 w 3352800"/>
                  <a:gd name="connsiteY8" fmla="*/ 6261100 h 6261100"/>
                  <a:gd name="connsiteX9" fmla="*/ 431800 w 3352800"/>
                  <a:gd name="connsiteY9" fmla="*/ 6096000 h 6261100"/>
                  <a:gd name="connsiteX10" fmla="*/ 1409700 w 3352800"/>
                  <a:gd name="connsiteY10" fmla="*/ 2362200 h 6261100"/>
                  <a:gd name="connsiteX11" fmla="*/ 1346200 w 3352800"/>
                  <a:gd name="connsiteY11" fmla="*/ 1257300 h 6261100"/>
                  <a:gd name="connsiteX12" fmla="*/ 495300 w 3352800"/>
                  <a:gd name="connsiteY12" fmla="*/ 1257300 h 6261100"/>
                  <a:gd name="connsiteX13" fmla="*/ 1358900 w 3352800"/>
                  <a:gd name="connsiteY13" fmla="*/ 800100 h 6261100"/>
                  <a:gd name="connsiteX14" fmla="*/ 1651000 w 3352800"/>
                  <a:gd name="connsiteY14" fmla="*/ 139700 h 6261100"/>
                  <a:gd name="connsiteX15" fmla="*/ 1917700 w 3352800"/>
                  <a:gd name="connsiteY15" fmla="*/ 736600 h 6261100"/>
                  <a:gd name="connsiteX16" fmla="*/ 2933700 w 3352800"/>
                  <a:gd name="connsiteY16" fmla="*/ 1231900 h 6261100"/>
                  <a:gd name="connsiteX17" fmla="*/ 1968500 w 3352800"/>
                  <a:gd name="connsiteY17" fmla="*/ 1219200 h 6261100"/>
                  <a:gd name="connsiteX18" fmla="*/ 1955800 w 3352800"/>
                  <a:gd name="connsiteY18" fmla="*/ 2324100 h 6261100"/>
                  <a:gd name="connsiteX19" fmla="*/ 2971800 w 3352800"/>
                  <a:gd name="connsiteY19" fmla="*/ 6248400 h 6261100"/>
                  <a:gd name="connsiteX20" fmla="*/ 3111500 w 3352800"/>
                  <a:gd name="connsiteY20" fmla="*/ 6172200 h 6261100"/>
                  <a:gd name="connsiteX21" fmla="*/ 2095500 w 3352800"/>
                  <a:gd name="connsiteY21" fmla="*/ 2362200 h 6261100"/>
                  <a:gd name="connsiteX22" fmla="*/ 2077720 w 3352800"/>
                  <a:gd name="connsiteY22" fmla="*/ 1419860 h 6261100"/>
                  <a:gd name="connsiteX23" fmla="*/ 3241040 w 3352800"/>
                  <a:gd name="connsiteY23" fmla="*/ 1445260 h 6261100"/>
                  <a:gd name="connsiteX24" fmla="*/ 3352800 w 3352800"/>
                  <a:gd name="connsiteY24" fmla="*/ 1231900 h 6261100"/>
                  <a:gd name="connsiteX25" fmla="*/ 2070100 w 3352800"/>
                  <a:gd name="connsiteY25" fmla="*/ 596900 h 6261100"/>
                  <a:gd name="connsiteX26" fmla="*/ 1879600 w 3352800"/>
                  <a:gd name="connsiteY26" fmla="*/ 0 h 6261100"/>
                  <a:gd name="connsiteX27" fmla="*/ 1524000 w 33528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51000 w 3314700"/>
                  <a:gd name="connsiteY14" fmla="*/ 139700 h 6261100"/>
                  <a:gd name="connsiteX15" fmla="*/ 1917700 w 3314700"/>
                  <a:gd name="connsiteY15" fmla="*/ 736600 h 6261100"/>
                  <a:gd name="connsiteX16" fmla="*/ 293370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51000 w 3314700"/>
                  <a:gd name="connsiteY14" fmla="*/ 139700 h 6261100"/>
                  <a:gd name="connsiteX15" fmla="*/ 1917700 w 3314700"/>
                  <a:gd name="connsiteY15" fmla="*/ 736600 h 6261100"/>
                  <a:gd name="connsiteX16" fmla="*/ 2750820 w 3314700"/>
                  <a:gd name="connsiteY16" fmla="*/ 124714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51000 w 3314700"/>
                  <a:gd name="connsiteY14" fmla="*/ 13970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5382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5382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5382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6906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379220 w 3314700"/>
                  <a:gd name="connsiteY10" fmla="*/ 2354580 h 6261100"/>
                  <a:gd name="connsiteX11" fmla="*/ 136906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1379220 w 3314700"/>
                  <a:gd name="connsiteY9" fmla="*/ 2354580 h 6261100"/>
                  <a:gd name="connsiteX10" fmla="*/ 1369060 w 3314700"/>
                  <a:gd name="connsiteY10" fmla="*/ 1211580 h 6261100"/>
                  <a:gd name="connsiteX11" fmla="*/ 464820 w 3314700"/>
                  <a:gd name="connsiteY11" fmla="*/ 1219200 h 6261100"/>
                  <a:gd name="connsiteX12" fmla="*/ 1358900 w 3314700"/>
                  <a:gd name="connsiteY12" fmla="*/ 800100 h 6261100"/>
                  <a:gd name="connsiteX13" fmla="*/ 1696720 w 3314700"/>
                  <a:gd name="connsiteY13" fmla="*/ 154940 h 6261100"/>
                  <a:gd name="connsiteX14" fmla="*/ 1917700 w 3314700"/>
                  <a:gd name="connsiteY14" fmla="*/ 736600 h 6261100"/>
                  <a:gd name="connsiteX15" fmla="*/ 2887980 w 3314700"/>
                  <a:gd name="connsiteY15" fmla="*/ 1231900 h 6261100"/>
                  <a:gd name="connsiteX16" fmla="*/ 1968500 w 3314700"/>
                  <a:gd name="connsiteY16" fmla="*/ 1219200 h 6261100"/>
                  <a:gd name="connsiteX17" fmla="*/ 1955800 w 3314700"/>
                  <a:gd name="connsiteY17" fmla="*/ 2324100 h 6261100"/>
                  <a:gd name="connsiteX18" fmla="*/ 2971800 w 3314700"/>
                  <a:gd name="connsiteY18" fmla="*/ 6248400 h 6261100"/>
                  <a:gd name="connsiteX19" fmla="*/ 3111500 w 3314700"/>
                  <a:gd name="connsiteY19" fmla="*/ 6172200 h 6261100"/>
                  <a:gd name="connsiteX20" fmla="*/ 2095500 w 3314700"/>
                  <a:gd name="connsiteY20" fmla="*/ 2362200 h 6261100"/>
                  <a:gd name="connsiteX21" fmla="*/ 2077720 w 3314700"/>
                  <a:gd name="connsiteY21" fmla="*/ 1419860 h 6261100"/>
                  <a:gd name="connsiteX22" fmla="*/ 3241040 w 3314700"/>
                  <a:gd name="connsiteY22" fmla="*/ 1445260 h 6261100"/>
                  <a:gd name="connsiteX23" fmla="*/ 3314700 w 3314700"/>
                  <a:gd name="connsiteY23" fmla="*/ 1224280 h 6261100"/>
                  <a:gd name="connsiteX24" fmla="*/ 2070100 w 3314700"/>
                  <a:gd name="connsiteY24" fmla="*/ 596900 h 6261100"/>
                  <a:gd name="connsiteX25" fmla="*/ 1879600 w 3314700"/>
                  <a:gd name="connsiteY25" fmla="*/ 0 h 6261100"/>
                  <a:gd name="connsiteX26" fmla="*/ 1524000 w 3314700"/>
                  <a:gd name="connsiteY26"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1379220 w 3314700"/>
                  <a:gd name="connsiteY9" fmla="*/ 2354580 h 6261100"/>
                  <a:gd name="connsiteX10" fmla="*/ 1369060 w 3314700"/>
                  <a:gd name="connsiteY10" fmla="*/ 1211580 h 6261100"/>
                  <a:gd name="connsiteX11" fmla="*/ 464820 w 3314700"/>
                  <a:gd name="connsiteY11" fmla="*/ 1219200 h 6261100"/>
                  <a:gd name="connsiteX12" fmla="*/ 1358900 w 3314700"/>
                  <a:gd name="connsiteY12" fmla="*/ 800100 h 6261100"/>
                  <a:gd name="connsiteX13" fmla="*/ 1696720 w 3314700"/>
                  <a:gd name="connsiteY13" fmla="*/ 154940 h 6261100"/>
                  <a:gd name="connsiteX14" fmla="*/ 1917700 w 3314700"/>
                  <a:gd name="connsiteY14" fmla="*/ 736600 h 6261100"/>
                  <a:gd name="connsiteX15" fmla="*/ 2887980 w 3314700"/>
                  <a:gd name="connsiteY15" fmla="*/ 1231900 h 6261100"/>
                  <a:gd name="connsiteX16" fmla="*/ 1968500 w 3314700"/>
                  <a:gd name="connsiteY16" fmla="*/ 1219200 h 6261100"/>
                  <a:gd name="connsiteX17" fmla="*/ 1955800 w 3314700"/>
                  <a:gd name="connsiteY17" fmla="*/ 2324100 h 6261100"/>
                  <a:gd name="connsiteX18" fmla="*/ 2971800 w 3314700"/>
                  <a:gd name="connsiteY18" fmla="*/ 6248400 h 6261100"/>
                  <a:gd name="connsiteX19" fmla="*/ 3149600 w 3314700"/>
                  <a:gd name="connsiteY19" fmla="*/ 6164580 h 6261100"/>
                  <a:gd name="connsiteX20" fmla="*/ 2095500 w 3314700"/>
                  <a:gd name="connsiteY20" fmla="*/ 2362200 h 6261100"/>
                  <a:gd name="connsiteX21" fmla="*/ 2077720 w 3314700"/>
                  <a:gd name="connsiteY21" fmla="*/ 1419860 h 6261100"/>
                  <a:gd name="connsiteX22" fmla="*/ 3241040 w 3314700"/>
                  <a:gd name="connsiteY22" fmla="*/ 1445260 h 6261100"/>
                  <a:gd name="connsiteX23" fmla="*/ 3314700 w 3314700"/>
                  <a:gd name="connsiteY23" fmla="*/ 1224280 h 6261100"/>
                  <a:gd name="connsiteX24" fmla="*/ 2070100 w 3314700"/>
                  <a:gd name="connsiteY24" fmla="*/ 596900 h 6261100"/>
                  <a:gd name="connsiteX25" fmla="*/ 1879600 w 3314700"/>
                  <a:gd name="connsiteY25" fmla="*/ 0 h 6261100"/>
                  <a:gd name="connsiteX26" fmla="*/ 1524000 w 3314700"/>
                  <a:gd name="connsiteY26" fmla="*/ 0 h 626110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31800 w 3314700"/>
                  <a:gd name="connsiteY8" fmla="*/ 6261100 h 6263640"/>
                  <a:gd name="connsiteX9" fmla="*/ 137922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85140 w 3314700"/>
                  <a:gd name="connsiteY8" fmla="*/ 6253480 h 6263640"/>
                  <a:gd name="connsiteX9" fmla="*/ 137922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37922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110740 w 3314700"/>
                  <a:gd name="connsiteY20" fmla="*/ 231648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087880 w 3314700"/>
                  <a:gd name="connsiteY20" fmla="*/ 231648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110740 w 3314700"/>
                  <a:gd name="connsiteY20" fmla="*/ 23241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110740 w 3314700"/>
                  <a:gd name="connsiteY20" fmla="*/ 2324100 h 6263640"/>
                  <a:gd name="connsiteX21" fmla="*/ 21158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641052 w 3431752"/>
                  <a:gd name="connsiteY0" fmla="*/ 0 h 6263640"/>
                  <a:gd name="connsiteX1" fmla="*/ 1641052 w 3431752"/>
                  <a:gd name="connsiteY1" fmla="*/ 0 h 6263640"/>
                  <a:gd name="connsiteX2" fmla="*/ 1414992 w 3431752"/>
                  <a:gd name="connsiteY2" fmla="*/ 579120 h 6263640"/>
                  <a:gd name="connsiteX3" fmla="*/ 127212 w 3431752"/>
                  <a:gd name="connsiteY3" fmla="*/ 1196340 h 6263640"/>
                  <a:gd name="connsiteX4" fmla="*/ 117052 w 3431752"/>
                  <a:gd name="connsiteY4" fmla="*/ 1455420 h 6263640"/>
                  <a:gd name="connsiteX5" fmla="*/ 1356572 w 3431752"/>
                  <a:gd name="connsiteY5" fmla="*/ 1460500 h 6263640"/>
                  <a:gd name="connsiteX6" fmla="*/ 1338792 w 3431752"/>
                  <a:gd name="connsiteY6" fmla="*/ 2407920 h 6263640"/>
                  <a:gd name="connsiteX7" fmla="*/ 383752 w 3431752"/>
                  <a:gd name="connsiteY7" fmla="*/ 6248400 h 6263640"/>
                  <a:gd name="connsiteX8" fmla="*/ 571712 w 3431752"/>
                  <a:gd name="connsiteY8" fmla="*/ 6253480 h 6263640"/>
                  <a:gd name="connsiteX9" fmla="*/ 1526752 w 3431752"/>
                  <a:gd name="connsiteY9" fmla="*/ 2354580 h 6263640"/>
                  <a:gd name="connsiteX10" fmla="*/ 1486112 w 3431752"/>
                  <a:gd name="connsiteY10" fmla="*/ 1211580 h 6263640"/>
                  <a:gd name="connsiteX11" fmla="*/ 581872 w 3431752"/>
                  <a:gd name="connsiteY11" fmla="*/ 1219200 h 6263640"/>
                  <a:gd name="connsiteX12" fmla="*/ 1475952 w 3431752"/>
                  <a:gd name="connsiteY12" fmla="*/ 800100 h 6263640"/>
                  <a:gd name="connsiteX13" fmla="*/ 1813772 w 3431752"/>
                  <a:gd name="connsiteY13" fmla="*/ 154940 h 6263640"/>
                  <a:gd name="connsiteX14" fmla="*/ 2034752 w 3431752"/>
                  <a:gd name="connsiteY14" fmla="*/ 736600 h 6263640"/>
                  <a:gd name="connsiteX15" fmla="*/ 3005032 w 3431752"/>
                  <a:gd name="connsiteY15" fmla="*/ 1231900 h 6263640"/>
                  <a:gd name="connsiteX16" fmla="*/ 2085552 w 3431752"/>
                  <a:gd name="connsiteY16" fmla="*/ 1219200 h 6263640"/>
                  <a:gd name="connsiteX17" fmla="*/ 2080472 w 3431752"/>
                  <a:gd name="connsiteY17" fmla="*/ 2324100 h 6263640"/>
                  <a:gd name="connsiteX18" fmla="*/ 3073612 w 3431752"/>
                  <a:gd name="connsiteY18" fmla="*/ 6263640 h 6263640"/>
                  <a:gd name="connsiteX19" fmla="*/ 3266652 w 3431752"/>
                  <a:gd name="connsiteY19" fmla="*/ 6164580 h 6263640"/>
                  <a:gd name="connsiteX20" fmla="*/ 2227792 w 3431752"/>
                  <a:gd name="connsiteY20" fmla="*/ 2324100 h 6263640"/>
                  <a:gd name="connsiteX21" fmla="*/ 2232872 w 3431752"/>
                  <a:gd name="connsiteY21" fmla="*/ 1419860 h 6263640"/>
                  <a:gd name="connsiteX22" fmla="*/ 3358092 w 3431752"/>
                  <a:gd name="connsiteY22" fmla="*/ 1445260 h 6263640"/>
                  <a:gd name="connsiteX23" fmla="*/ 3431752 w 3431752"/>
                  <a:gd name="connsiteY23" fmla="*/ 1224280 h 6263640"/>
                  <a:gd name="connsiteX24" fmla="*/ 2187152 w 3431752"/>
                  <a:gd name="connsiteY24" fmla="*/ 596900 h 6263640"/>
                  <a:gd name="connsiteX25" fmla="*/ 1996652 w 3431752"/>
                  <a:gd name="connsiteY25" fmla="*/ 0 h 6263640"/>
                  <a:gd name="connsiteX26" fmla="*/ 1641052 w 3431752"/>
                  <a:gd name="connsiteY26" fmla="*/ 0 h 6263640"/>
                  <a:gd name="connsiteX0" fmla="*/ 1663488 w 3454188"/>
                  <a:gd name="connsiteY0" fmla="*/ 0 h 6263640"/>
                  <a:gd name="connsiteX1" fmla="*/ 1663488 w 3454188"/>
                  <a:gd name="connsiteY1" fmla="*/ 0 h 6263640"/>
                  <a:gd name="connsiteX2" fmla="*/ 1437428 w 3454188"/>
                  <a:gd name="connsiteY2" fmla="*/ 579120 h 6263640"/>
                  <a:gd name="connsiteX3" fmla="*/ 149648 w 3454188"/>
                  <a:gd name="connsiteY3" fmla="*/ 1196340 h 6263640"/>
                  <a:gd name="connsiteX4" fmla="*/ 139488 w 3454188"/>
                  <a:gd name="connsiteY4" fmla="*/ 1455420 h 6263640"/>
                  <a:gd name="connsiteX5" fmla="*/ 1379008 w 3454188"/>
                  <a:gd name="connsiteY5" fmla="*/ 1460500 h 6263640"/>
                  <a:gd name="connsiteX6" fmla="*/ 1361228 w 3454188"/>
                  <a:gd name="connsiteY6" fmla="*/ 2407920 h 6263640"/>
                  <a:gd name="connsiteX7" fmla="*/ 406188 w 3454188"/>
                  <a:gd name="connsiteY7" fmla="*/ 6248400 h 6263640"/>
                  <a:gd name="connsiteX8" fmla="*/ 594148 w 3454188"/>
                  <a:gd name="connsiteY8" fmla="*/ 6253480 h 6263640"/>
                  <a:gd name="connsiteX9" fmla="*/ 1549188 w 3454188"/>
                  <a:gd name="connsiteY9" fmla="*/ 2354580 h 6263640"/>
                  <a:gd name="connsiteX10" fmla="*/ 1508548 w 3454188"/>
                  <a:gd name="connsiteY10" fmla="*/ 1211580 h 6263640"/>
                  <a:gd name="connsiteX11" fmla="*/ 604308 w 3454188"/>
                  <a:gd name="connsiteY11" fmla="*/ 1219200 h 6263640"/>
                  <a:gd name="connsiteX12" fmla="*/ 1498388 w 3454188"/>
                  <a:gd name="connsiteY12" fmla="*/ 800100 h 6263640"/>
                  <a:gd name="connsiteX13" fmla="*/ 1836208 w 3454188"/>
                  <a:gd name="connsiteY13" fmla="*/ 154940 h 6263640"/>
                  <a:gd name="connsiteX14" fmla="*/ 2057188 w 3454188"/>
                  <a:gd name="connsiteY14" fmla="*/ 736600 h 6263640"/>
                  <a:gd name="connsiteX15" fmla="*/ 3027468 w 3454188"/>
                  <a:gd name="connsiteY15" fmla="*/ 1231900 h 6263640"/>
                  <a:gd name="connsiteX16" fmla="*/ 2107988 w 3454188"/>
                  <a:gd name="connsiteY16" fmla="*/ 1219200 h 6263640"/>
                  <a:gd name="connsiteX17" fmla="*/ 2102908 w 3454188"/>
                  <a:gd name="connsiteY17" fmla="*/ 2324100 h 6263640"/>
                  <a:gd name="connsiteX18" fmla="*/ 3096048 w 3454188"/>
                  <a:gd name="connsiteY18" fmla="*/ 6263640 h 6263640"/>
                  <a:gd name="connsiteX19" fmla="*/ 3289088 w 3454188"/>
                  <a:gd name="connsiteY19" fmla="*/ 6164580 h 6263640"/>
                  <a:gd name="connsiteX20" fmla="*/ 2250228 w 3454188"/>
                  <a:gd name="connsiteY20" fmla="*/ 2324100 h 6263640"/>
                  <a:gd name="connsiteX21" fmla="*/ 2255308 w 3454188"/>
                  <a:gd name="connsiteY21" fmla="*/ 1419860 h 6263640"/>
                  <a:gd name="connsiteX22" fmla="*/ 3380528 w 3454188"/>
                  <a:gd name="connsiteY22" fmla="*/ 1445260 h 6263640"/>
                  <a:gd name="connsiteX23" fmla="*/ 3454188 w 3454188"/>
                  <a:gd name="connsiteY23" fmla="*/ 1224280 h 6263640"/>
                  <a:gd name="connsiteX24" fmla="*/ 2209588 w 3454188"/>
                  <a:gd name="connsiteY24" fmla="*/ 596900 h 6263640"/>
                  <a:gd name="connsiteX25" fmla="*/ 2019088 w 3454188"/>
                  <a:gd name="connsiteY25" fmla="*/ 0 h 6263640"/>
                  <a:gd name="connsiteX26" fmla="*/ 1663488 w 3454188"/>
                  <a:gd name="connsiteY26" fmla="*/ 0 h 6263640"/>
                  <a:gd name="connsiteX0" fmla="*/ 1663488 w 3653473"/>
                  <a:gd name="connsiteY0" fmla="*/ 0 h 6263640"/>
                  <a:gd name="connsiteX1" fmla="*/ 1663488 w 3653473"/>
                  <a:gd name="connsiteY1" fmla="*/ 0 h 6263640"/>
                  <a:gd name="connsiteX2" fmla="*/ 1437428 w 3653473"/>
                  <a:gd name="connsiteY2" fmla="*/ 579120 h 6263640"/>
                  <a:gd name="connsiteX3" fmla="*/ 149648 w 3653473"/>
                  <a:gd name="connsiteY3" fmla="*/ 1196340 h 6263640"/>
                  <a:gd name="connsiteX4" fmla="*/ 139488 w 3653473"/>
                  <a:gd name="connsiteY4" fmla="*/ 1455420 h 6263640"/>
                  <a:gd name="connsiteX5" fmla="*/ 1379008 w 3653473"/>
                  <a:gd name="connsiteY5" fmla="*/ 1460500 h 6263640"/>
                  <a:gd name="connsiteX6" fmla="*/ 1361228 w 3653473"/>
                  <a:gd name="connsiteY6" fmla="*/ 2407920 h 6263640"/>
                  <a:gd name="connsiteX7" fmla="*/ 406188 w 3653473"/>
                  <a:gd name="connsiteY7" fmla="*/ 6248400 h 6263640"/>
                  <a:gd name="connsiteX8" fmla="*/ 594148 w 3653473"/>
                  <a:gd name="connsiteY8" fmla="*/ 6253480 h 6263640"/>
                  <a:gd name="connsiteX9" fmla="*/ 1549188 w 3653473"/>
                  <a:gd name="connsiteY9" fmla="*/ 2354580 h 6263640"/>
                  <a:gd name="connsiteX10" fmla="*/ 1508548 w 3653473"/>
                  <a:gd name="connsiteY10" fmla="*/ 1211580 h 6263640"/>
                  <a:gd name="connsiteX11" fmla="*/ 604308 w 3653473"/>
                  <a:gd name="connsiteY11" fmla="*/ 1219200 h 6263640"/>
                  <a:gd name="connsiteX12" fmla="*/ 1498388 w 3653473"/>
                  <a:gd name="connsiteY12" fmla="*/ 800100 h 6263640"/>
                  <a:gd name="connsiteX13" fmla="*/ 1836208 w 3653473"/>
                  <a:gd name="connsiteY13" fmla="*/ 154940 h 6263640"/>
                  <a:gd name="connsiteX14" fmla="*/ 2057188 w 3653473"/>
                  <a:gd name="connsiteY14" fmla="*/ 736600 h 6263640"/>
                  <a:gd name="connsiteX15" fmla="*/ 3027468 w 3653473"/>
                  <a:gd name="connsiteY15" fmla="*/ 1231900 h 6263640"/>
                  <a:gd name="connsiteX16" fmla="*/ 2107988 w 3653473"/>
                  <a:gd name="connsiteY16" fmla="*/ 1219200 h 6263640"/>
                  <a:gd name="connsiteX17" fmla="*/ 2102908 w 3653473"/>
                  <a:gd name="connsiteY17" fmla="*/ 2324100 h 6263640"/>
                  <a:gd name="connsiteX18" fmla="*/ 3096048 w 3653473"/>
                  <a:gd name="connsiteY18" fmla="*/ 6263640 h 6263640"/>
                  <a:gd name="connsiteX19" fmla="*/ 3289088 w 3653473"/>
                  <a:gd name="connsiteY19" fmla="*/ 6164580 h 6263640"/>
                  <a:gd name="connsiteX20" fmla="*/ 2250228 w 3653473"/>
                  <a:gd name="connsiteY20" fmla="*/ 2324100 h 6263640"/>
                  <a:gd name="connsiteX21" fmla="*/ 2255308 w 3653473"/>
                  <a:gd name="connsiteY21" fmla="*/ 1419860 h 6263640"/>
                  <a:gd name="connsiteX22" fmla="*/ 3380528 w 3653473"/>
                  <a:gd name="connsiteY22" fmla="*/ 1445260 h 6263640"/>
                  <a:gd name="connsiteX23" fmla="*/ 3454188 w 3653473"/>
                  <a:gd name="connsiteY23" fmla="*/ 1224280 h 6263640"/>
                  <a:gd name="connsiteX24" fmla="*/ 2209588 w 3653473"/>
                  <a:gd name="connsiteY24" fmla="*/ 596900 h 6263640"/>
                  <a:gd name="connsiteX25" fmla="*/ 2019088 w 3653473"/>
                  <a:gd name="connsiteY25" fmla="*/ 0 h 6263640"/>
                  <a:gd name="connsiteX26" fmla="*/ 1663488 w 3653473"/>
                  <a:gd name="connsiteY26" fmla="*/ 0 h 6263640"/>
                  <a:gd name="connsiteX0" fmla="*/ 1663488 w 3653473"/>
                  <a:gd name="connsiteY0" fmla="*/ 0 h 6263640"/>
                  <a:gd name="connsiteX1" fmla="*/ 1663488 w 3653473"/>
                  <a:gd name="connsiteY1" fmla="*/ 0 h 6263640"/>
                  <a:gd name="connsiteX2" fmla="*/ 1437428 w 3653473"/>
                  <a:gd name="connsiteY2" fmla="*/ 579120 h 6263640"/>
                  <a:gd name="connsiteX3" fmla="*/ 149648 w 3653473"/>
                  <a:gd name="connsiteY3" fmla="*/ 1196340 h 6263640"/>
                  <a:gd name="connsiteX4" fmla="*/ 139488 w 3653473"/>
                  <a:gd name="connsiteY4" fmla="*/ 1455420 h 6263640"/>
                  <a:gd name="connsiteX5" fmla="*/ 1379008 w 3653473"/>
                  <a:gd name="connsiteY5" fmla="*/ 1460500 h 6263640"/>
                  <a:gd name="connsiteX6" fmla="*/ 1361228 w 3653473"/>
                  <a:gd name="connsiteY6" fmla="*/ 2407920 h 6263640"/>
                  <a:gd name="connsiteX7" fmla="*/ 406188 w 3653473"/>
                  <a:gd name="connsiteY7" fmla="*/ 6248400 h 6263640"/>
                  <a:gd name="connsiteX8" fmla="*/ 594148 w 3653473"/>
                  <a:gd name="connsiteY8" fmla="*/ 6253480 h 6263640"/>
                  <a:gd name="connsiteX9" fmla="*/ 1549188 w 3653473"/>
                  <a:gd name="connsiteY9" fmla="*/ 2354580 h 6263640"/>
                  <a:gd name="connsiteX10" fmla="*/ 1508548 w 3653473"/>
                  <a:gd name="connsiteY10" fmla="*/ 1211580 h 6263640"/>
                  <a:gd name="connsiteX11" fmla="*/ 604308 w 3653473"/>
                  <a:gd name="connsiteY11" fmla="*/ 1219200 h 6263640"/>
                  <a:gd name="connsiteX12" fmla="*/ 1498388 w 3653473"/>
                  <a:gd name="connsiteY12" fmla="*/ 800100 h 6263640"/>
                  <a:gd name="connsiteX13" fmla="*/ 1836208 w 3653473"/>
                  <a:gd name="connsiteY13" fmla="*/ 154940 h 6263640"/>
                  <a:gd name="connsiteX14" fmla="*/ 2057188 w 3653473"/>
                  <a:gd name="connsiteY14" fmla="*/ 736600 h 6263640"/>
                  <a:gd name="connsiteX15" fmla="*/ 3027468 w 3653473"/>
                  <a:gd name="connsiteY15" fmla="*/ 1231900 h 6263640"/>
                  <a:gd name="connsiteX16" fmla="*/ 2107988 w 3653473"/>
                  <a:gd name="connsiteY16" fmla="*/ 1219200 h 6263640"/>
                  <a:gd name="connsiteX17" fmla="*/ 2102908 w 3653473"/>
                  <a:gd name="connsiteY17" fmla="*/ 2324100 h 6263640"/>
                  <a:gd name="connsiteX18" fmla="*/ 3096048 w 3653473"/>
                  <a:gd name="connsiteY18" fmla="*/ 6263640 h 6263640"/>
                  <a:gd name="connsiteX19" fmla="*/ 3289088 w 3653473"/>
                  <a:gd name="connsiteY19" fmla="*/ 6164580 h 6263640"/>
                  <a:gd name="connsiteX20" fmla="*/ 2250228 w 3653473"/>
                  <a:gd name="connsiteY20" fmla="*/ 2324100 h 6263640"/>
                  <a:gd name="connsiteX21" fmla="*/ 2255308 w 3653473"/>
                  <a:gd name="connsiteY21" fmla="*/ 1419860 h 6263640"/>
                  <a:gd name="connsiteX22" fmla="*/ 3380528 w 3653473"/>
                  <a:gd name="connsiteY22" fmla="*/ 1445260 h 6263640"/>
                  <a:gd name="connsiteX23" fmla="*/ 3454188 w 3653473"/>
                  <a:gd name="connsiteY23" fmla="*/ 1224280 h 6263640"/>
                  <a:gd name="connsiteX24" fmla="*/ 2209588 w 3653473"/>
                  <a:gd name="connsiteY24" fmla="*/ 596900 h 6263640"/>
                  <a:gd name="connsiteX25" fmla="*/ 2019088 w 3653473"/>
                  <a:gd name="connsiteY25" fmla="*/ 0 h 6263640"/>
                  <a:gd name="connsiteX26" fmla="*/ 1663488 w 3653473"/>
                  <a:gd name="connsiteY26" fmla="*/ 0 h 6263640"/>
                  <a:gd name="connsiteX0" fmla="*/ 1663488 w 3653473"/>
                  <a:gd name="connsiteY0" fmla="*/ 142875 h 6406515"/>
                  <a:gd name="connsiteX1" fmla="*/ 1663488 w 3653473"/>
                  <a:gd name="connsiteY1" fmla="*/ 142875 h 6406515"/>
                  <a:gd name="connsiteX2" fmla="*/ 1437428 w 3653473"/>
                  <a:gd name="connsiteY2" fmla="*/ 721995 h 6406515"/>
                  <a:gd name="connsiteX3" fmla="*/ 149648 w 3653473"/>
                  <a:gd name="connsiteY3" fmla="*/ 1339215 h 6406515"/>
                  <a:gd name="connsiteX4" fmla="*/ 139488 w 3653473"/>
                  <a:gd name="connsiteY4" fmla="*/ 1598295 h 6406515"/>
                  <a:gd name="connsiteX5" fmla="*/ 1379008 w 3653473"/>
                  <a:gd name="connsiteY5" fmla="*/ 1603375 h 6406515"/>
                  <a:gd name="connsiteX6" fmla="*/ 1361228 w 3653473"/>
                  <a:gd name="connsiteY6" fmla="*/ 2550795 h 6406515"/>
                  <a:gd name="connsiteX7" fmla="*/ 406188 w 3653473"/>
                  <a:gd name="connsiteY7" fmla="*/ 6391275 h 6406515"/>
                  <a:gd name="connsiteX8" fmla="*/ 594148 w 3653473"/>
                  <a:gd name="connsiteY8" fmla="*/ 6396355 h 6406515"/>
                  <a:gd name="connsiteX9" fmla="*/ 1549188 w 3653473"/>
                  <a:gd name="connsiteY9" fmla="*/ 2497455 h 6406515"/>
                  <a:gd name="connsiteX10" fmla="*/ 1508548 w 3653473"/>
                  <a:gd name="connsiteY10" fmla="*/ 1354455 h 6406515"/>
                  <a:gd name="connsiteX11" fmla="*/ 604308 w 3653473"/>
                  <a:gd name="connsiteY11" fmla="*/ 1362075 h 6406515"/>
                  <a:gd name="connsiteX12" fmla="*/ 1498388 w 3653473"/>
                  <a:gd name="connsiteY12" fmla="*/ 942975 h 6406515"/>
                  <a:gd name="connsiteX13" fmla="*/ 1836208 w 3653473"/>
                  <a:gd name="connsiteY13" fmla="*/ 297815 h 6406515"/>
                  <a:gd name="connsiteX14" fmla="*/ 2057188 w 3653473"/>
                  <a:gd name="connsiteY14" fmla="*/ 879475 h 6406515"/>
                  <a:gd name="connsiteX15" fmla="*/ 3027468 w 3653473"/>
                  <a:gd name="connsiteY15" fmla="*/ 1374775 h 6406515"/>
                  <a:gd name="connsiteX16" fmla="*/ 2107988 w 3653473"/>
                  <a:gd name="connsiteY16" fmla="*/ 1362075 h 6406515"/>
                  <a:gd name="connsiteX17" fmla="*/ 2102908 w 3653473"/>
                  <a:gd name="connsiteY17" fmla="*/ 2466975 h 6406515"/>
                  <a:gd name="connsiteX18" fmla="*/ 3096048 w 3653473"/>
                  <a:gd name="connsiteY18" fmla="*/ 6406515 h 6406515"/>
                  <a:gd name="connsiteX19" fmla="*/ 3289088 w 3653473"/>
                  <a:gd name="connsiteY19" fmla="*/ 6307455 h 6406515"/>
                  <a:gd name="connsiteX20" fmla="*/ 2250228 w 3653473"/>
                  <a:gd name="connsiteY20" fmla="*/ 2466975 h 6406515"/>
                  <a:gd name="connsiteX21" fmla="*/ 2255308 w 3653473"/>
                  <a:gd name="connsiteY21" fmla="*/ 1562735 h 6406515"/>
                  <a:gd name="connsiteX22" fmla="*/ 3380528 w 3653473"/>
                  <a:gd name="connsiteY22" fmla="*/ 1588135 h 6406515"/>
                  <a:gd name="connsiteX23" fmla="*/ 3454188 w 3653473"/>
                  <a:gd name="connsiteY23" fmla="*/ 1367155 h 6406515"/>
                  <a:gd name="connsiteX24" fmla="*/ 2209588 w 3653473"/>
                  <a:gd name="connsiteY24" fmla="*/ 739775 h 6406515"/>
                  <a:gd name="connsiteX25" fmla="*/ 2019088 w 3653473"/>
                  <a:gd name="connsiteY25" fmla="*/ 142875 h 6406515"/>
                  <a:gd name="connsiteX26" fmla="*/ 1663488 w 3653473"/>
                  <a:gd name="connsiteY26" fmla="*/ 142875 h 6406515"/>
                  <a:gd name="connsiteX0" fmla="*/ 1663488 w 3653473"/>
                  <a:gd name="connsiteY0" fmla="*/ 142875 h 6406515"/>
                  <a:gd name="connsiteX1" fmla="*/ 1663488 w 3653473"/>
                  <a:gd name="connsiteY1" fmla="*/ 142875 h 6406515"/>
                  <a:gd name="connsiteX2" fmla="*/ 1437428 w 3653473"/>
                  <a:gd name="connsiteY2" fmla="*/ 721995 h 6406515"/>
                  <a:gd name="connsiteX3" fmla="*/ 149648 w 3653473"/>
                  <a:gd name="connsiteY3" fmla="*/ 1339215 h 6406515"/>
                  <a:gd name="connsiteX4" fmla="*/ 139488 w 3653473"/>
                  <a:gd name="connsiteY4" fmla="*/ 1598295 h 6406515"/>
                  <a:gd name="connsiteX5" fmla="*/ 1379008 w 3653473"/>
                  <a:gd name="connsiteY5" fmla="*/ 1603375 h 6406515"/>
                  <a:gd name="connsiteX6" fmla="*/ 1361228 w 3653473"/>
                  <a:gd name="connsiteY6" fmla="*/ 2550795 h 6406515"/>
                  <a:gd name="connsiteX7" fmla="*/ 406188 w 3653473"/>
                  <a:gd name="connsiteY7" fmla="*/ 6391275 h 6406515"/>
                  <a:gd name="connsiteX8" fmla="*/ 594148 w 3653473"/>
                  <a:gd name="connsiteY8" fmla="*/ 6396355 h 6406515"/>
                  <a:gd name="connsiteX9" fmla="*/ 1549188 w 3653473"/>
                  <a:gd name="connsiteY9" fmla="*/ 2497455 h 6406515"/>
                  <a:gd name="connsiteX10" fmla="*/ 1508548 w 3653473"/>
                  <a:gd name="connsiteY10" fmla="*/ 1354455 h 6406515"/>
                  <a:gd name="connsiteX11" fmla="*/ 604308 w 3653473"/>
                  <a:gd name="connsiteY11" fmla="*/ 1362075 h 6406515"/>
                  <a:gd name="connsiteX12" fmla="*/ 1498388 w 3653473"/>
                  <a:gd name="connsiteY12" fmla="*/ 942975 h 6406515"/>
                  <a:gd name="connsiteX13" fmla="*/ 1836208 w 3653473"/>
                  <a:gd name="connsiteY13" fmla="*/ 297815 h 6406515"/>
                  <a:gd name="connsiteX14" fmla="*/ 2057188 w 3653473"/>
                  <a:gd name="connsiteY14" fmla="*/ 879475 h 6406515"/>
                  <a:gd name="connsiteX15" fmla="*/ 3027468 w 3653473"/>
                  <a:gd name="connsiteY15" fmla="*/ 1374775 h 6406515"/>
                  <a:gd name="connsiteX16" fmla="*/ 2107988 w 3653473"/>
                  <a:gd name="connsiteY16" fmla="*/ 1362075 h 6406515"/>
                  <a:gd name="connsiteX17" fmla="*/ 2102908 w 3653473"/>
                  <a:gd name="connsiteY17" fmla="*/ 2466975 h 6406515"/>
                  <a:gd name="connsiteX18" fmla="*/ 3096048 w 3653473"/>
                  <a:gd name="connsiteY18" fmla="*/ 6406515 h 6406515"/>
                  <a:gd name="connsiteX19" fmla="*/ 3289088 w 3653473"/>
                  <a:gd name="connsiteY19" fmla="*/ 6307455 h 6406515"/>
                  <a:gd name="connsiteX20" fmla="*/ 2250228 w 3653473"/>
                  <a:gd name="connsiteY20" fmla="*/ 2466975 h 6406515"/>
                  <a:gd name="connsiteX21" fmla="*/ 2255308 w 3653473"/>
                  <a:gd name="connsiteY21" fmla="*/ 1562735 h 6406515"/>
                  <a:gd name="connsiteX22" fmla="*/ 3380528 w 3653473"/>
                  <a:gd name="connsiteY22" fmla="*/ 1588135 h 6406515"/>
                  <a:gd name="connsiteX23" fmla="*/ 3454188 w 3653473"/>
                  <a:gd name="connsiteY23" fmla="*/ 1367155 h 6406515"/>
                  <a:gd name="connsiteX24" fmla="*/ 2209588 w 3653473"/>
                  <a:gd name="connsiteY24" fmla="*/ 739775 h 6406515"/>
                  <a:gd name="connsiteX25" fmla="*/ 2019088 w 3653473"/>
                  <a:gd name="connsiteY25" fmla="*/ 142875 h 6406515"/>
                  <a:gd name="connsiteX26" fmla="*/ 1663488 w 3653473"/>
                  <a:gd name="connsiteY26" fmla="*/ 142875 h 6406515"/>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836208 w 3653473"/>
                  <a:gd name="connsiteY13" fmla="*/ 254423 h 6363123"/>
                  <a:gd name="connsiteX14" fmla="*/ 2057188 w 3653473"/>
                  <a:gd name="connsiteY14" fmla="*/ 836083 h 6363123"/>
                  <a:gd name="connsiteX15" fmla="*/ 3027468 w 3653473"/>
                  <a:gd name="connsiteY15" fmla="*/ 1331383 h 6363123"/>
                  <a:gd name="connsiteX16" fmla="*/ 2107988 w 3653473"/>
                  <a:gd name="connsiteY16" fmla="*/ 1318683 h 6363123"/>
                  <a:gd name="connsiteX17" fmla="*/ 2102908 w 3653473"/>
                  <a:gd name="connsiteY17" fmla="*/ 2423583 h 6363123"/>
                  <a:gd name="connsiteX18" fmla="*/ 3096048 w 3653473"/>
                  <a:gd name="connsiteY18" fmla="*/ 6363123 h 6363123"/>
                  <a:gd name="connsiteX19" fmla="*/ 3289088 w 3653473"/>
                  <a:gd name="connsiteY19" fmla="*/ 6264063 h 6363123"/>
                  <a:gd name="connsiteX20" fmla="*/ 2250228 w 3653473"/>
                  <a:gd name="connsiteY20" fmla="*/ 2423583 h 6363123"/>
                  <a:gd name="connsiteX21" fmla="*/ 2255308 w 3653473"/>
                  <a:gd name="connsiteY21" fmla="*/ 1519343 h 6363123"/>
                  <a:gd name="connsiteX22" fmla="*/ 3380528 w 3653473"/>
                  <a:gd name="connsiteY22" fmla="*/ 1544743 h 6363123"/>
                  <a:gd name="connsiteX23" fmla="*/ 3454188 w 3653473"/>
                  <a:gd name="connsiteY23" fmla="*/ 1323763 h 6363123"/>
                  <a:gd name="connsiteX24" fmla="*/ 2209588 w 3653473"/>
                  <a:gd name="connsiteY24" fmla="*/ 696383 h 6363123"/>
                  <a:gd name="connsiteX25" fmla="*/ 2019088 w 3653473"/>
                  <a:gd name="connsiteY25"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36208 w 3653473"/>
                  <a:gd name="connsiteY14" fmla="*/ 25442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80658 w 3653473"/>
                  <a:gd name="connsiteY14" fmla="*/ 36237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80658 w 3653473"/>
                  <a:gd name="connsiteY14" fmla="*/ 36237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80658 w 3653473"/>
                  <a:gd name="connsiteY14" fmla="*/ 36237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52963"/>
                  <a:gd name="connsiteX1" fmla="*/ 1663488 w 3653473"/>
                  <a:gd name="connsiteY1" fmla="*/ 99483 h 6352963"/>
                  <a:gd name="connsiteX2" fmla="*/ 1437428 w 3653473"/>
                  <a:gd name="connsiteY2" fmla="*/ 678603 h 6352963"/>
                  <a:gd name="connsiteX3" fmla="*/ 149648 w 3653473"/>
                  <a:gd name="connsiteY3" fmla="*/ 1295823 h 6352963"/>
                  <a:gd name="connsiteX4" fmla="*/ 139488 w 3653473"/>
                  <a:gd name="connsiteY4" fmla="*/ 1554903 h 6352963"/>
                  <a:gd name="connsiteX5" fmla="*/ 1379008 w 3653473"/>
                  <a:gd name="connsiteY5" fmla="*/ 1559983 h 6352963"/>
                  <a:gd name="connsiteX6" fmla="*/ 1361228 w 3653473"/>
                  <a:gd name="connsiteY6" fmla="*/ 2507403 h 6352963"/>
                  <a:gd name="connsiteX7" fmla="*/ 406188 w 3653473"/>
                  <a:gd name="connsiteY7" fmla="*/ 6347883 h 6352963"/>
                  <a:gd name="connsiteX8" fmla="*/ 594148 w 3653473"/>
                  <a:gd name="connsiteY8" fmla="*/ 6352963 h 6352963"/>
                  <a:gd name="connsiteX9" fmla="*/ 1549188 w 3653473"/>
                  <a:gd name="connsiteY9" fmla="*/ 2454063 h 6352963"/>
                  <a:gd name="connsiteX10" fmla="*/ 1508548 w 3653473"/>
                  <a:gd name="connsiteY10" fmla="*/ 1311063 h 6352963"/>
                  <a:gd name="connsiteX11" fmla="*/ 604308 w 3653473"/>
                  <a:gd name="connsiteY11" fmla="*/ 1318683 h 6352963"/>
                  <a:gd name="connsiteX12" fmla="*/ 1498388 w 3653473"/>
                  <a:gd name="connsiteY12" fmla="*/ 899583 h 6352963"/>
                  <a:gd name="connsiteX13" fmla="*/ 1758738 w 3653473"/>
                  <a:gd name="connsiteY13" fmla="*/ 366184 h 6352963"/>
                  <a:gd name="connsiteX14" fmla="*/ 1880658 w 3653473"/>
                  <a:gd name="connsiteY14" fmla="*/ 362373 h 6352963"/>
                  <a:gd name="connsiteX15" fmla="*/ 2057188 w 3653473"/>
                  <a:gd name="connsiteY15" fmla="*/ 836083 h 6352963"/>
                  <a:gd name="connsiteX16" fmla="*/ 3027468 w 3653473"/>
                  <a:gd name="connsiteY16" fmla="*/ 1331383 h 6352963"/>
                  <a:gd name="connsiteX17" fmla="*/ 2107988 w 3653473"/>
                  <a:gd name="connsiteY17" fmla="*/ 1318683 h 6352963"/>
                  <a:gd name="connsiteX18" fmla="*/ 2102908 w 3653473"/>
                  <a:gd name="connsiteY18" fmla="*/ 2423583 h 6352963"/>
                  <a:gd name="connsiteX19" fmla="*/ 3083348 w 3653473"/>
                  <a:gd name="connsiteY19" fmla="*/ 6261523 h 6352963"/>
                  <a:gd name="connsiteX20" fmla="*/ 3289088 w 3653473"/>
                  <a:gd name="connsiteY20" fmla="*/ 6264063 h 6352963"/>
                  <a:gd name="connsiteX21" fmla="*/ 2250228 w 3653473"/>
                  <a:gd name="connsiteY21" fmla="*/ 2423583 h 6352963"/>
                  <a:gd name="connsiteX22" fmla="*/ 2255308 w 3653473"/>
                  <a:gd name="connsiteY22" fmla="*/ 1519343 h 6352963"/>
                  <a:gd name="connsiteX23" fmla="*/ 3380528 w 3653473"/>
                  <a:gd name="connsiteY23" fmla="*/ 1544743 h 6352963"/>
                  <a:gd name="connsiteX24" fmla="*/ 3454188 w 3653473"/>
                  <a:gd name="connsiteY24" fmla="*/ 1323763 h 6352963"/>
                  <a:gd name="connsiteX25" fmla="*/ 2209588 w 3653473"/>
                  <a:gd name="connsiteY25" fmla="*/ 696383 h 6352963"/>
                  <a:gd name="connsiteX26" fmla="*/ 2019088 w 3653473"/>
                  <a:gd name="connsiteY26" fmla="*/ 99483 h 6352963"/>
                  <a:gd name="connsiteX0" fmla="*/ 2019088 w 3653473"/>
                  <a:gd name="connsiteY0" fmla="*/ 99483 h 6441016"/>
                  <a:gd name="connsiteX1" fmla="*/ 1663488 w 3653473"/>
                  <a:gd name="connsiteY1" fmla="*/ 99483 h 6441016"/>
                  <a:gd name="connsiteX2" fmla="*/ 1437428 w 3653473"/>
                  <a:gd name="connsiteY2" fmla="*/ 678603 h 6441016"/>
                  <a:gd name="connsiteX3" fmla="*/ 149648 w 3653473"/>
                  <a:gd name="connsiteY3" fmla="*/ 1295823 h 6441016"/>
                  <a:gd name="connsiteX4" fmla="*/ 139488 w 3653473"/>
                  <a:gd name="connsiteY4" fmla="*/ 1554903 h 6441016"/>
                  <a:gd name="connsiteX5" fmla="*/ 1379008 w 3653473"/>
                  <a:gd name="connsiteY5" fmla="*/ 1559983 h 6441016"/>
                  <a:gd name="connsiteX6" fmla="*/ 1361228 w 3653473"/>
                  <a:gd name="connsiteY6" fmla="*/ 2507403 h 6441016"/>
                  <a:gd name="connsiteX7" fmla="*/ 406188 w 3653473"/>
                  <a:gd name="connsiteY7" fmla="*/ 6347883 h 6441016"/>
                  <a:gd name="connsiteX8" fmla="*/ 594148 w 3653473"/>
                  <a:gd name="connsiteY8" fmla="*/ 6352963 h 6441016"/>
                  <a:gd name="connsiteX9" fmla="*/ 1549188 w 3653473"/>
                  <a:gd name="connsiteY9" fmla="*/ 2454063 h 6441016"/>
                  <a:gd name="connsiteX10" fmla="*/ 1508548 w 3653473"/>
                  <a:gd name="connsiteY10" fmla="*/ 1311063 h 6441016"/>
                  <a:gd name="connsiteX11" fmla="*/ 604308 w 3653473"/>
                  <a:gd name="connsiteY11" fmla="*/ 1318683 h 6441016"/>
                  <a:gd name="connsiteX12" fmla="*/ 1498388 w 3653473"/>
                  <a:gd name="connsiteY12" fmla="*/ 899583 h 6441016"/>
                  <a:gd name="connsiteX13" fmla="*/ 1758738 w 3653473"/>
                  <a:gd name="connsiteY13" fmla="*/ 366184 h 6441016"/>
                  <a:gd name="connsiteX14" fmla="*/ 1880658 w 3653473"/>
                  <a:gd name="connsiteY14" fmla="*/ 362373 h 6441016"/>
                  <a:gd name="connsiteX15" fmla="*/ 2057188 w 3653473"/>
                  <a:gd name="connsiteY15" fmla="*/ 836083 h 6441016"/>
                  <a:gd name="connsiteX16" fmla="*/ 3027468 w 3653473"/>
                  <a:gd name="connsiteY16" fmla="*/ 1331383 h 6441016"/>
                  <a:gd name="connsiteX17" fmla="*/ 2107988 w 3653473"/>
                  <a:gd name="connsiteY17" fmla="*/ 1318683 h 6441016"/>
                  <a:gd name="connsiteX18" fmla="*/ 2102908 w 3653473"/>
                  <a:gd name="connsiteY18" fmla="*/ 2423583 h 6441016"/>
                  <a:gd name="connsiteX19" fmla="*/ 3083348 w 3653473"/>
                  <a:gd name="connsiteY19" fmla="*/ 6261523 h 6441016"/>
                  <a:gd name="connsiteX20" fmla="*/ 3289088 w 3653473"/>
                  <a:gd name="connsiteY20" fmla="*/ 6264063 h 6441016"/>
                  <a:gd name="connsiteX21" fmla="*/ 2250228 w 3653473"/>
                  <a:gd name="connsiteY21" fmla="*/ 2423583 h 6441016"/>
                  <a:gd name="connsiteX22" fmla="*/ 2255308 w 3653473"/>
                  <a:gd name="connsiteY22" fmla="*/ 1519343 h 6441016"/>
                  <a:gd name="connsiteX23" fmla="*/ 3380528 w 3653473"/>
                  <a:gd name="connsiteY23" fmla="*/ 1544743 h 6441016"/>
                  <a:gd name="connsiteX24" fmla="*/ 3454188 w 3653473"/>
                  <a:gd name="connsiteY24" fmla="*/ 1323763 h 6441016"/>
                  <a:gd name="connsiteX25" fmla="*/ 2209588 w 3653473"/>
                  <a:gd name="connsiteY25" fmla="*/ 696383 h 6441016"/>
                  <a:gd name="connsiteX26" fmla="*/ 2019088 w 3653473"/>
                  <a:gd name="connsiteY26" fmla="*/ 99483 h 6441016"/>
                  <a:gd name="connsiteX0" fmla="*/ 2019088 w 3653473"/>
                  <a:gd name="connsiteY0" fmla="*/ 99483 h 6441016"/>
                  <a:gd name="connsiteX1" fmla="*/ 1663488 w 3653473"/>
                  <a:gd name="connsiteY1" fmla="*/ 99483 h 6441016"/>
                  <a:gd name="connsiteX2" fmla="*/ 1437428 w 3653473"/>
                  <a:gd name="connsiteY2" fmla="*/ 678603 h 6441016"/>
                  <a:gd name="connsiteX3" fmla="*/ 149648 w 3653473"/>
                  <a:gd name="connsiteY3" fmla="*/ 1295823 h 6441016"/>
                  <a:gd name="connsiteX4" fmla="*/ 139488 w 3653473"/>
                  <a:gd name="connsiteY4" fmla="*/ 1554903 h 6441016"/>
                  <a:gd name="connsiteX5" fmla="*/ 1379008 w 3653473"/>
                  <a:gd name="connsiteY5" fmla="*/ 1559983 h 6441016"/>
                  <a:gd name="connsiteX6" fmla="*/ 1361228 w 3653473"/>
                  <a:gd name="connsiteY6" fmla="*/ 2507403 h 6441016"/>
                  <a:gd name="connsiteX7" fmla="*/ 406188 w 3653473"/>
                  <a:gd name="connsiteY7" fmla="*/ 6347883 h 6441016"/>
                  <a:gd name="connsiteX8" fmla="*/ 594148 w 3653473"/>
                  <a:gd name="connsiteY8" fmla="*/ 6352963 h 6441016"/>
                  <a:gd name="connsiteX9" fmla="*/ 1549188 w 3653473"/>
                  <a:gd name="connsiteY9" fmla="*/ 2454063 h 6441016"/>
                  <a:gd name="connsiteX10" fmla="*/ 1508548 w 3653473"/>
                  <a:gd name="connsiteY10" fmla="*/ 1311063 h 6441016"/>
                  <a:gd name="connsiteX11" fmla="*/ 604308 w 3653473"/>
                  <a:gd name="connsiteY11" fmla="*/ 1318683 h 6441016"/>
                  <a:gd name="connsiteX12" fmla="*/ 1498388 w 3653473"/>
                  <a:gd name="connsiteY12" fmla="*/ 899583 h 6441016"/>
                  <a:gd name="connsiteX13" fmla="*/ 1758738 w 3653473"/>
                  <a:gd name="connsiteY13" fmla="*/ 366184 h 6441016"/>
                  <a:gd name="connsiteX14" fmla="*/ 1880658 w 3653473"/>
                  <a:gd name="connsiteY14" fmla="*/ 362373 h 6441016"/>
                  <a:gd name="connsiteX15" fmla="*/ 2057188 w 3653473"/>
                  <a:gd name="connsiteY15" fmla="*/ 836083 h 6441016"/>
                  <a:gd name="connsiteX16" fmla="*/ 3027468 w 3653473"/>
                  <a:gd name="connsiteY16" fmla="*/ 1331383 h 6441016"/>
                  <a:gd name="connsiteX17" fmla="*/ 2107988 w 3653473"/>
                  <a:gd name="connsiteY17" fmla="*/ 1318683 h 6441016"/>
                  <a:gd name="connsiteX18" fmla="*/ 2102908 w 3653473"/>
                  <a:gd name="connsiteY18" fmla="*/ 2423583 h 6441016"/>
                  <a:gd name="connsiteX19" fmla="*/ 3083348 w 3653473"/>
                  <a:gd name="connsiteY19" fmla="*/ 6261523 h 6441016"/>
                  <a:gd name="connsiteX20" fmla="*/ 3289088 w 3653473"/>
                  <a:gd name="connsiteY20" fmla="*/ 6264063 h 6441016"/>
                  <a:gd name="connsiteX21" fmla="*/ 2250228 w 3653473"/>
                  <a:gd name="connsiteY21" fmla="*/ 2423583 h 6441016"/>
                  <a:gd name="connsiteX22" fmla="*/ 2255308 w 3653473"/>
                  <a:gd name="connsiteY22" fmla="*/ 1519343 h 6441016"/>
                  <a:gd name="connsiteX23" fmla="*/ 3380528 w 3653473"/>
                  <a:gd name="connsiteY23" fmla="*/ 1544743 h 6441016"/>
                  <a:gd name="connsiteX24" fmla="*/ 3454188 w 3653473"/>
                  <a:gd name="connsiteY24" fmla="*/ 1323763 h 6441016"/>
                  <a:gd name="connsiteX25" fmla="*/ 2209588 w 3653473"/>
                  <a:gd name="connsiteY25" fmla="*/ 696383 h 6441016"/>
                  <a:gd name="connsiteX26" fmla="*/ 2019088 w 3653473"/>
                  <a:gd name="connsiteY26" fmla="*/ 99483 h 6441016"/>
                  <a:gd name="connsiteX0" fmla="*/ 2019088 w 3653473"/>
                  <a:gd name="connsiteY0" fmla="*/ 99483 h 6471920"/>
                  <a:gd name="connsiteX1" fmla="*/ 1663488 w 3653473"/>
                  <a:gd name="connsiteY1" fmla="*/ 99483 h 6471920"/>
                  <a:gd name="connsiteX2" fmla="*/ 1437428 w 3653473"/>
                  <a:gd name="connsiteY2" fmla="*/ 678603 h 6471920"/>
                  <a:gd name="connsiteX3" fmla="*/ 149648 w 3653473"/>
                  <a:gd name="connsiteY3" fmla="*/ 1295823 h 6471920"/>
                  <a:gd name="connsiteX4" fmla="*/ 139488 w 3653473"/>
                  <a:gd name="connsiteY4" fmla="*/ 1554903 h 6471920"/>
                  <a:gd name="connsiteX5" fmla="*/ 1379008 w 3653473"/>
                  <a:gd name="connsiteY5" fmla="*/ 1559983 h 6471920"/>
                  <a:gd name="connsiteX6" fmla="*/ 1361228 w 3653473"/>
                  <a:gd name="connsiteY6" fmla="*/ 2507403 h 6471920"/>
                  <a:gd name="connsiteX7" fmla="*/ 406188 w 3653473"/>
                  <a:gd name="connsiteY7" fmla="*/ 6347883 h 6471920"/>
                  <a:gd name="connsiteX8" fmla="*/ 594148 w 3653473"/>
                  <a:gd name="connsiteY8" fmla="*/ 6352963 h 6471920"/>
                  <a:gd name="connsiteX9" fmla="*/ 1549188 w 3653473"/>
                  <a:gd name="connsiteY9" fmla="*/ 2454063 h 6471920"/>
                  <a:gd name="connsiteX10" fmla="*/ 1508548 w 3653473"/>
                  <a:gd name="connsiteY10" fmla="*/ 1311063 h 6471920"/>
                  <a:gd name="connsiteX11" fmla="*/ 604308 w 3653473"/>
                  <a:gd name="connsiteY11" fmla="*/ 1318683 h 6471920"/>
                  <a:gd name="connsiteX12" fmla="*/ 1498388 w 3653473"/>
                  <a:gd name="connsiteY12" fmla="*/ 899583 h 6471920"/>
                  <a:gd name="connsiteX13" fmla="*/ 1758738 w 3653473"/>
                  <a:gd name="connsiteY13" fmla="*/ 366184 h 6471920"/>
                  <a:gd name="connsiteX14" fmla="*/ 1880658 w 3653473"/>
                  <a:gd name="connsiteY14" fmla="*/ 362373 h 6471920"/>
                  <a:gd name="connsiteX15" fmla="*/ 2057188 w 3653473"/>
                  <a:gd name="connsiteY15" fmla="*/ 836083 h 6471920"/>
                  <a:gd name="connsiteX16" fmla="*/ 3027468 w 3653473"/>
                  <a:gd name="connsiteY16" fmla="*/ 1331383 h 6471920"/>
                  <a:gd name="connsiteX17" fmla="*/ 2107988 w 3653473"/>
                  <a:gd name="connsiteY17" fmla="*/ 1318683 h 6471920"/>
                  <a:gd name="connsiteX18" fmla="*/ 2102908 w 3653473"/>
                  <a:gd name="connsiteY18" fmla="*/ 2423583 h 6471920"/>
                  <a:gd name="connsiteX19" fmla="*/ 3083348 w 3653473"/>
                  <a:gd name="connsiteY19" fmla="*/ 6261523 h 6471920"/>
                  <a:gd name="connsiteX20" fmla="*/ 3289088 w 3653473"/>
                  <a:gd name="connsiteY20" fmla="*/ 6264063 h 6471920"/>
                  <a:gd name="connsiteX21" fmla="*/ 2250228 w 3653473"/>
                  <a:gd name="connsiteY21" fmla="*/ 2423583 h 6471920"/>
                  <a:gd name="connsiteX22" fmla="*/ 2255308 w 3653473"/>
                  <a:gd name="connsiteY22" fmla="*/ 1519343 h 6471920"/>
                  <a:gd name="connsiteX23" fmla="*/ 3380528 w 3653473"/>
                  <a:gd name="connsiteY23" fmla="*/ 1544743 h 6471920"/>
                  <a:gd name="connsiteX24" fmla="*/ 3454188 w 3653473"/>
                  <a:gd name="connsiteY24" fmla="*/ 1323763 h 6471920"/>
                  <a:gd name="connsiteX25" fmla="*/ 2209588 w 3653473"/>
                  <a:gd name="connsiteY25" fmla="*/ 696383 h 6471920"/>
                  <a:gd name="connsiteX26" fmla="*/ 2019088 w 3653473"/>
                  <a:gd name="connsiteY26" fmla="*/ 99483 h 6471920"/>
                  <a:gd name="connsiteX0" fmla="*/ 2019088 w 3653473"/>
                  <a:gd name="connsiteY0" fmla="*/ 99483 h 6471920"/>
                  <a:gd name="connsiteX1" fmla="*/ 1663488 w 3653473"/>
                  <a:gd name="connsiteY1" fmla="*/ 99483 h 6471920"/>
                  <a:gd name="connsiteX2" fmla="*/ 1437428 w 3653473"/>
                  <a:gd name="connsiteY2" fmla="*/ 678603 h 6471920"/>
                  <a:gd name="connsiteX3" fmla="*/ 149648 w 3653473"/>
                  <a:gd name="connsiteY3" fmla="*/ 1295823 h 6471920"/>
                  <a:gd name="connsiteX4" fmla="*/ 139488 w 3653473"/>
                  <a:gd name="connsiteY4" fmla="*/ 1554903 h 6471920"/>
                  <a:gd name="connsiteX5" fmla="*/ 1379008 w 3653473"/>
                  <a:gd name="connsiteY5" fmla="*/ 1559983 h 6471920"/>
                  <a:gd name="connsiteX6" fmla="*/ 1361228 w 3653473"/>
                  <a:gd name="connsiteY6" fmla="*/ 2507403 h 6471920"/>
                  <a:gd name="connsiteX7" fmla="*/ 406188 w 3653473"/>
                  <a:gd name="connsiteY7" fmla="*/ 6347883 h 6471920"/>
                  <a:gd name="connsiteX8" fmla="*/ 594148 w 3653473"/>
                  <a:gd name="connsiteY8" fmla="*/ 6352963 h 6471920"/>
                  <a:gd name="connsiteX9" fmla="*/ 1549188 w 3653473"/>
                  <a:gd name="connsiteY9" fmla="*/ 2454063 h 6471920"/>
                  <a:gd name="connsiteX10" fmla="*/ 1508548 w 3653473"/>
                  <a:gd name="connsiteY10" fmla="*/ 1311063 h 6471920"/>
                  <a:gd name="connsiteX11" fmla="*/ 604308 w 3653473"/>
                  <a:gd name="connsiteY11" fmla="*/ 1318683 h 6471920"/>
                  <a:gd name="connsiteX12" fmla="*/ 1498388 w 3653473"/>
                  <a:gd name="connsiteY12" fmla="*/ 899583 h 6471920"/>
                  <a:gd name="connsiteX13" fmla="*/ 1758738 w 3653473"/>
                  <a:gd name="connsiteY13" fmla="*/ 366184 h 6471920"/>
                  <a:gd name="connsiteX14" fmla="*/ 1880658 w 3653473"/>
                  <a:gd name="connsiteY14" fmla="*/ 362373 h 6471920"/>
                  <a:gd name="connsiteX15" fmla="*/ 2057188 w 3653473"/>
                  <a:gd name="connsiteY15" fmla="*/ 836083 h 6471920"/>
                  <a:gd name="connsiteX16" fmla="*/ 3027468 w 3653473"/>
                  <a:gd name="connsiteY16" fmla="*/ 1331383 h 6471920"/>
                  <a:gd name="connsiteX17" fmla="*/ 2107988 w 3653473"/>
                  <a:gd name="connsiteY17" fmla="*/ 1318683 h 6471920"/>
                  <a:gd name="connsiteX18" fmla="*/ 2102908 w 3653473"/>
                  <a:gd name="connsiteY18" fmla="*/ 2423583 h 6471920"/>
                  <a:gd name="connsiteX19" fmla="*/ 3083348 w 3653473"/>
                  <a:gd name="connsiteY19" fmla="*/ 6261523 h 6471920"/>
                  <a:gd name="connsiteX20" fmla="*/ 3289088 w 3653473"/>
                  <a:gd name="connsiteY20" fmla="*/ 6264063 h 6471920"/>
                  <a:gd name="connsiteX21" fmla="*/ 2250228 w 3653473"/>
                  <a:gd name="connsiteY21" fmla="*/ 2423583 h 6471920"/>
                  <a:gd name="connsiteX22" fmla="*/ 2255308 w 3653473"/>
                  <a:gd name="connsiteY22" fmla="*/ 1519343 h 6471920"/>
                  <a:gd name="connsiteX23" fmla="*/ 3380528 w 3653473"/>
                  <a:gd name="connsiteY23" fmla="*/ 1544743 h 6471920"/>
                  <a:gd name="connsiteX24" fmla="*/ 3454188 w 3653473"/>
                  <a:gd name="connsiteY24" fmla="*/ 1323763 h 6471920"/>
                  <a:gd name="connsiteX25" fmla="*/ 2209588 w 3653473"/>
                  <a:gd name="connsiteY25" fmla="*/ 696383 h 6471920"/>
                  <a:gd name="connsiteX26" fmla="*/ 2019088 w 3653473"/>
                  <a:gd name="connsiteY26" fmla="*/ 99483 h 647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653473" h="6471920">
                    <a:moveTo>
                      <a:pt x="2019088" y="99483"/>
                    </a:moveTo>
                    <a:cubicBezTo>
                      <a:pt x="1928071" y="0"/>
                      <a:pt x="1760431" y="2963"/>
                      <a:pt x="1663488" y="99483"/>
                    </a:cubicBezTo>
                    <a:lnTo>
                      <a:pt x="1437428" y="678603"/>
                    </a:lnTo>
                    <a:lnTo>
                      <a:pt x="149648" y="1295823"/>
                    </a:lnTo>
                    <a:cubicBezTo>
                      <a:pt x="22436" y="1386945"/>
                      <a:pt x="0" y="1525693"/>
                      <a:pt x="139488" y="1554903"/>
                    </a:cubicBezTo>
                    <a:lnTo>
                      <a:pt x="1379008" y="1559983"/>
                    </a:lnTo>
                    <a:lnTo>
                      <a:pt x="1361228" y="2507403"/>
                    </a:lnTo>
                    <a:lnTo>
                      <a:pt x="406188" y="6347883"/>
                    </a:lnTo>
                    <a:cubicBezTo>
                      <a:pt x="386291" y="6419426"/>
                      <a:pt x="531495" y="6471920"/>
                      <a:pt x="594148" y="6352963"/>
                    </a:cubicBezTo>
                    <a:lnTo>
                      <a:pt x="1549188" y="2454063"/>
                    </a:lnTo>
                    <a:cubicBezTo>
                      <a:pt x="1545801" y="2073063"/>
                      <a:pt x="1511935" y="1692063"/>
                      <a:pt x="1508548" y="1311063"/>
                    </a:cubicBezTo>
                    <a:lnTo>
                      <a:pt x="604308" y="1318683"/>
                    </a:lnTo>
                    <a:lnTo>
                      <a:pt x="1498388" y="899583"/>
                    </a:lnTo>
                    <a:lnTo>
                      <a:pt x="1758738" y="366184"/>
                    </a:lnTo>
                    <a:cubicBezTo>
                      <a:pt x="1812078" y="244264"/>
                      <a:pt x="1827318" y="192193"/>
                      <a:pt x="1880658" y="362373"/>
                    </a:cubicBezTo>
                    <a:lnTo>
                      <a:pt x="2057188" y="836083"/>
                    </a:lnTo>
                    <a:lnTo>
                      <a:pt x="3027468" y="1331383"/>
                    </a:lnTo>
                    <a:lnTo>
                      <a:pt x="2107988" y="1318683"/>
                    </a:lnTo>
                    <a:cubicBezTo>
                      <a:pt x="2106295" y="1686983"/>
                      <a:pt x="2104601" y="2055283"/>
                      <a:pt x="2102908" y="2423583"/>
                    </a:cubicBezTo>
                    <a:lnTo>
                      <a:pt x="3083348" y="6261523"/>
                    </a:lnTo>
                    <a:cubicBezTo>
                      <a:pt x="3107478" y="6383020"/>
                      <a:pt x="3245908" y="6441016"/>
                      <a:pt x="3289088" y="6264063"/>
                    </a:cubicBezTo>
                    <a:lnTo>
                      <a:pt x="2250228" y="2423583"/>
                    </a:lnTo>
                    <a:cubicBezTo>
                      <a:pt x="2251921" y="2122170"/>
                      <a:pt x="2253615" y="1820756"/>
                      <a:pt x="2255308" y="1519343"/>
                    </a:cubicBezTo>
                    <a:lnTo>
                      <a:pt x="3380528" y="1544743"/>
                    </a:lnTo>
                    <a:cubicBezTo>
                      <a:pt x="3505094" y="1590145"/>
                      <a:pt x="3653473" y="1440285"/>
                      <a:pt x="3454188" y="1323763"/>
                    </a:cubicBezTo>
                    <a:lnTo>
                      <a:pt x="2209588" y="696383"/>
                    </a:lnTo>
                    <a:lnTo>
                      <a:pt x="2019088" y="99483"/>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Rectangle 196"/>
              <p:cNvSpPr/>
              <p:nvPr/>
            </p:nvSpPr>
            <p:spPr>
              <a:xfrm>
                <a:off x="2203450" y="1504950"/>
                <a:ext cx="812800" cy="317500"/>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8" name="Freeform 197"/>
              <p:cNvSpPr/>
              <p:nvPr/>
            </p:nvSpPr>
            <p:spPr>
              <a:xfrm>
                <a:off x="2209800" y="901700"/>
                <a:ext cx="711200" cy="152400"/>
              </a:xfrm>
              <a:custGeom>
                <a:avLst/>
                <a:gdLst>
                  <a:gd name="connsiteX0" fmla="*/ 127000 w 711200"/>
                  <a:gd name="connsiteY0" fmla="*/ 0 h 152400"/>
                  <a:gd name="connsiteX1" fmla="*/ 698500 w 711200"/>
                  <a:gd name="connsiteY1" fmla="*/ 0 h 152400"/>
                  <a:gd name="connsiteX2" fmla="*/ 711200 w 711200"/>
                  <a:gd name="connsiteY2" fmla="*/ 152400 h 152400"/>
                  <a:gd name="connsiteX3" fmla="*/ 0 w 711200"/>
                  <a:gd name="connsiteY3" fmla="*/ 139700 h 152400"/>
                  <a:gd name="connsiteX4" fmla="*/ 127000 w 71120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1200" h="152400">
                    <a:moveTo>
                      <a:pt x="127000" y="0"/>
                    </a:moveTo>
                    <a:lnTo>
                      <a:pt x="698500" y="0"/>
                    </a:lnTo>
                    <a:lnTo>
                      <a:pt x="711200" y="152400"/>
                    </a:lnTo>
                    <a:lnTo>
                      <a:pt x="0" y="139700"/>
                    </a:lnTo>
                    <a:lnTo>
                      <a:pt x="1270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Freeform 198"/>
              <p:cNvSpPr/>
              <p:nvPr/>
            </p:nvSpPr>
            <p:spPr>
              <a:xfrm>
                <a:off x="2139950" y="933450"/>
                <a:ext cx="171450" cy="736600"/>
              </a:xfrm>
              <a:custGeom>
                <a:avLst/>
                <a:gdLst>
                  <a:gd name="connsiteX0" fmla="*/ 6350 w 171450"/>
                  <a:gd name="connsiteY0" fmla="*/ 730250 h 736600"/>
                  <a:gd name="connsiteX1" fmla="*/ 0 w 171450"/>
                  <a:gd name="connsiteY1" fmla="*/ 95250 h 736600"/>
                  <a:gd name="connsiteX2" fmla="*/ 171450 w 171450"/>
                  <a:gd name="connsiteY2" fmla="*/ 0 h 736600"/>
                  <a:gd name="connsiteX3" fmla="*/ 127000 w 171450"/>
                  <a:gd name="connsiteY3" fmla="*/ 736600 h 736600"/>
                  <a:gd name="connsiteX4" fmla="*/ 6350 w 171450"/>
                  <a:gd name="connsiteY4" fmla="*/ 730250 h 736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736600">
                    <a:moveTo>
                      <a:pt x="6350" y="730250"/>
                    </a:moveTo>
                    <a:cubicBezTo>
                      <a:pt x="4233" y="518583"/>
                      <a:pt x="2117" y="306917"/>
                      <a:pt x="0" y="95250"/>
                    </a:cubicBezTo>
                    <a:lnTo>
                      <a:pt x="171450" y="0"/>
                    </a:lnTo>
                    <a:lnTo>
                      <a:pt x="127000" y="736600"/>
                    </a:lnTo>
                    <a:lnTo>
                      <a:pt x="6350" y="7302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0" name="Freeform 199"/>
              <p:cNvSpPr/>
              <p:nvPr/>
            </p:nvSpPr>
            <p:spPr>
              <a:xfrm>
                <a:off x="2851150" y="850900"/>
                <a:ext cx="184150" cy="838200"/>
              </a:xfrm>
              <a:custGeom>
                <a:avLst/>
                <a:gdLst>
                  <a:gd name="connsiteX0" fmla="*/ 0 w 184150"/>
                  <a:gd name="connsiteY0" fmla="*/ 0 h 838200"/>
                  <a:gd name="connsiteX1" fmla="*/ 25400 w 184150"/>
                  <a:gd name="connsiteY1" fmla="*/ 838200 h 838200"/>
                  <a:gd name="connsiteX2" fmla="*/ 184150 w 184150"/>
                  <a:gd name="connsiteY2" fmla="*/ 819150 h 838200"/>
                  <a:gd name="connsiteX3" fmla="*/ 120650 w 184150"/>
                  <a:gd name="connsiteY3" fmla="*/ 114300 h 838200"/>
                  <a:gd name="connsiteX4" fmla="*/ 0 w 184150"/>
                  <a:gd name="connsiteY4" fmla="*/ 0 h 83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50" h="838200">
                    <a:moveTo>
                      <a:pt x="0" y="0"/>
                    </a:moveTo>
                    <a:lnTo>
                      <a:pt x="25400" y="838200"/>
                    </a:lnTo>
                    <a:lnTo>
                      <a:pt x="184150" y="819150"/>
                    </a:lnTo>
                    <a:lnTo>
                      <a:pt x="120650" y="114300"/>
                    </a:lnTo>
                    <a:lnTo>
                      <a:pt x="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Freeform 200"/>
              <p:cNvSpPr/>
              <p:nvPr/>
            </p:nvSpPr>
            <p:spPr>
              <a:xfrm>
                <a:off x="2216150" y="901700"/>
                <a:ext cx="749300" cy="825500"/>
              </a:xfrm>
              <a:custGeom>
                <a:avLst/>
                <a:gdLst>
                  <a:gd name="connsiteX0" fmla="*/ 0 w 749300"/>
                  <a:gd name="connsiteY0" fmla="*/ 76200 h 825500"/>
                  <a:gd name="connsiteX1" fmla="*/ 711200 w 749300"/>
                  <a:gd name="connsiteY1" fmla="*/ 825500 h 825500"/>
                  <a:gd name="connsiteX2" fmla="*/ 749300 w 749300"/>
                  <a:gd name="connsiteY2" fmla="*/ 641350 h 825500"/>
                  <a:gd name="connsiteX3" fmla="*/ 44450 w 749300"/>
                  <a:gd name="connsiteY3" fmla="*/ 0 h 825500"/>
                  <a:gd name="connsiteX4" fmla="*/ 0 w 749300"/>
                  <a:gd name="connsiteY4" fmla="*/ 76200 h 825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9300" h="825500">
                    <a:moveTo>
                      <a:pt x="0" y="76200"/>
                    </a:moveTo>
                    <a:lnTo>
                      <a:pt x="711200" y="825500"/>
                    </a:lnTo>
                    <a:lnTo>
                      <a:pt x="749300" y="641350"/>
                    </a:lnTo>
                    <a:lnTo>
                      <a:pt x="44450" y="0"/>
                    </a:lnTo>
                    <a:lnTo>
                      <a:pt x="0" y="762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2" name="Freeform 201"/>
              <p:cNvSpPr/>
              <p:nvPr/>
            </p:nvSpPr>
            <p:spPr>
              <a:xfrm>
                <a:off x="2114550" y="946150"/>
                <a:ext cx="844550" cy="654050"/>
              </a:xfrm>
              <a:custGeom>
                <a:avLst/>
                <a:gdLst>
                  <a:gd name="connsiteX0" fmla="*/ 266700 w 844550"/>
                  <a:gd name="connsiteY0" fmla="*/ 615950 h 654050"/>
                  <a:gd name="connsiteX1" fmla="*/ 266700 w 844550"/>
                  <a:gd name="connsiteY1" fmla="*/ 615950 h 654050"/>
                  <a:gd name="connsiteX2" fmla="*/ 311150 w 844550"/>
                  <a:gd name="connsiteY2" fmla="*/ 558800 h 654050"/>
                  <a:gd name="connsiteX3" fmla="*/ 844550 w 844550"/>
                  <a:gd name="connsiteY3" fmla="*/ 88900 h 654050"/>
                  <a:gd name="connsiteX4" fmla="*/ 749300 w 844550"/>
                  <a:gd name="connsiteY4" fmla="*/ 0 h 654050"/>
                  <a:gd name="connsiteX5" fmla="*/ 0 w 844550"/>
                  <a:gd name="connsiteY5" fmla="*/ 654050 h 654050"/>
                  <a:gd name="connsiteX6" fmla="*/ 266700 w 844550"/>
                  <a:gd name="connsiteY6" fmla="*/ 615950 h 65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4550" h="654050">
                    <a:moveTo>
                      <a:pt x="266700" y="615950"/>
                    </a:moveTo>
                    <a:lnTo>
                      <a:pt x="266700" y="615950"/>
                    </a:lnTo>
                    <a:lnTo>
                      <a:pt x="311150" y="558800"/>
                    </a:lnTo>
                    <a:lnTo>
                      <a:pt x="844550" y="88900"/>
                    </a:lnTo>
                    <a:lnTo>
                      <a:pt x="749300" y="0"/>
                    </a:lnTo>
                    <a:lnTo>
                      <a:pt x="0" y="654050"/>
                    </a:lnTo>
                    <a:lnTo>
                      <a:pt x="266700" y="6159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3" name="Freeform 202"/>
              <p:cNvSpPr/>
              <p:nvPr/>
            </p:nvSpPr>
            <p:spPr>
              <a:xfrm>
                <a:off x="2222500" y="1714500"/>
                <a:ext cx="495300" cy="520700"/>
              </a:xfrm>
              <a:custGeom>
                <a:avLst/>
                <a:gdLst>
                  <a:gd name="connsiteX0" fmla="*/ 69850 w 495300"/>
                  <a:gd name="connsiteY0" fmla="*/ 400050 h 520700"/>
                  <a:gd name="connsiteX1" fmla="*/ 495300 w 495300"/>
                  <a:gd name="connsiteY1" fmla="*/ 0 h 520700"/>
                  <a:gd name="connsiteX2" fmla="*/ 0 w 495300"/>
                  <a:gd name="connsiteY2" fmla="*/ 95250 h 520700"/>
                  <a:gd name="connsiteX3" fmla="*/ 6350 w 495300"/>
                  <a:gd name="connsiteY3" fmla="*/ 520700 h 520700"/>
                  <a:gd name="connsiteX4" fmla="*/ 69850 w 495300"/>
                  <a:gd name="connsiteY4" fmla="*/ 400050 h 520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520700">
                    <a:moveTo>
                      <a:pt x="69850" y="400050"/>
                    </a:moveTo>
                    <a:lnTo>
                      <a:pt x="495300" y="0"/>
                    </a:lnTo>
                    <a:lnTo>
                      <a:pt x="0" y="95250"/>
                    </a:lnTo>
                    <a:cubicBezTo>
                      <a:pt x="2117" y="237067"/>
                      <a:pt x="4233" y="378883"/>
                      <a:pt x="6350" y="520700"/>
                    </a:cubicBezTo>
                    <a:lnTo>
                      <a:pt x="69850" y="4000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4" name="Freeform 203"/>
              <p:cNvSpPr/>
              <p:nvPr/>
            </p:nvSpPr>
            <p:spPr>
              <a:xfrm>
                <a:off x="2527300" y="1638300"/>
                <a:ext cx="444500" cy="476250"/>
              </a:xfrm>
              <a:custGeom>
                <a:avLst/>
                <a:gdLst>
                  <a:gd name="connsiteX0" fmla="*/ 425450 w 444500"/>
                  <a:gd name="connsiteY0" fmla="*/ 476250 h 476250"/>
                  <a:gd name="connsiteX1" fmla="*/ 0 w 444500"/>
                  <a:gd name="connsiteY1" fmla="*/ 82550 h 476250"/>
                  <a:gd name="connsiteX2" fmla="*/ 222250 w 444500"/>
                  <a:gd name="connsiteY2" fmla="*/ 0 h 476250"/>
                  <a:gd name="connsiteX3" fmla="*/ 444500 w 444500"/>
                  <a:gd name="connsiteY3" fmla="*/ 82550 h 476250"/>
                  <a:gd name="connsiteX4" fmla="*/ 425450 w 444500"/>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00" h="476250">
                    <a:moveTo>
                      <a:pt x="425450" y="476250"/>
                    </a:moveTo>
                    <a:lnTo>
                      <a:pt x="0" y="82550"/>
                    </a:lnTo>
                    <a:lnTo>
                      <a:pt x="222250" y="0"/>
                    </a:lnTo>
                    <a:lnTo>
                      <a:pt x="444500" y="82550"/>
                    </a:lnTo>
                    <a:lnTo>
                      <a:pt x="425450" y="4762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 name="Freeform 204"/>
              <p:cNvSpPr/>
              <p:nvPr/>
            </p:nvSpPr>
            <p:spPr>
              <a:xfrm>
                <a:off x="2165350" y="1809750"/>
                <a:ext cx="749300" cy="812800"/>
              </a:xfrm>
              <a:custGeom>
                <a:avLst/>
                <a:gdLst>
                  <a:gd name="connsiteX0" fmla="*/ 723900 w 749300"/>
                  <a:gd name="connsiteY0" fmla="*/ 0 h 812800"/>
                  <a:gd name="connsiteX1" fmla="*/ 0 w 749300"/>
                  <a:gd name="connsiteY1" fmla="*/ 692150 h 812800"/>
                  <a:gd name="connsiteX2" fmla="*/ 63500 w 749300"/>
                  <a:gd name="connsiteY2" fmla="*/ 812800 h 812800"/>
                  <a:gd name="connsiteX3" fmla="*/ 749300 w 749300"/>
                  <a:gd name="connsiteY3" fmla="*/ 114300 h 812800"/>
                  <a:gd name="connsiteX4" fmla="*/ 723900 w 749300"/>
                  <a:gd name="connsiteY4" fmla="*/ 0 h 812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9300" h="812800">
                    <a:moveTo>
                      <a:pt x="723900" y="0"/>
                    </a:moveTo>
                    <a:lnTo>
                      <a:pt x="0" y="692150"/>
                    </a:lnTo>
                    <a:lnTo>
                      <a:pt x="63500" y="812800"/>
                    </a:lnTo>
                    <a:lnTo>
                      <a:pt x="749300" y="114300"/>
                    </a:lnTo>
                    <a:lnTo>
                      <a:pt x="7239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 name="Freeform 205"/>
              <p:cNvSpPr/>
              <p:nvPr/>
            </p:nvSpPr>
            <p:spPr>
              <a:xfrm>
                <a:off x="2286000" y="1885950"/>
                <a:ext cx="654050" cy="647700"/>
              </a:xfrm>
              <a:custGeom>
                <a:avLst/>
                <a:gdLst>
                  <a:gd name="connsiteX0" fmla="*/ 0 w 654050"/>
                  <a:gd name="connsiteY0" fmla="*/ 76200 h 647700"/>
                  <a:gd name="connsiteX1" fmla="*/ 628650 w 654050"/>
                  <a:gd name="connsiteY1" fmla="*/ 647700 h 647700"/>
                  <a:gd name="connsiteX2" fmla="*/ 654050 w 654050"/>
                  <a:gd name="connsiteY2" fmla="*/ 457200 h 647700"/>
                  <a:gd name="connsiteX3" fmla="*/ 63500 w 654050"/>
                  <a:gd name="connsiteY3" fmla="*/ 0 h 647700"/>
                  <a:gd name="connsiteX4" fmla="*/ 0 w 654050"/>
                  <a:gd name="connsiteY4" fmla="*/ 76200 h 647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050" h="647700">
                    <a:moveTo>
                      <a:pt x="0" y="76200"/>
                    </a:moveTo>
                    <a:lnTo>
                      <a:pt x="628650" y="647700"/>
                    </a:lnTo>
                    <a:lnTo>
                      <a:pt x="654050" y="457200"/>
                    </a:lnTo>
                    <a:lnTo>
                      <a:pt x="63500" y="0"/>
                    </a:lnTo>
                    <a:lnTo>
                      <a:pt x="0" y="762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7" name="Freeform 206"/>
              <p:cNvSpPr/>
              <p:nvPr/>
            </p:nvSpPr>
            <p:spPr>
              <a:xfrm>
                <a:off x="2171700" y="2400300"/>
                <a:ext cx="946150" cy="793750"/>
              </a:xfrm>
              <a:custGeom>
                <a:avLst/>
                <a:gdLst>
                  <a:gd name="connsiteX0" fmla="*/ 165100 w 946150"/>
                  <a:gd name="connsiteY0" fmla="*/ 0 h 793750"/>
                  <a:gd name="connsiteX1" fmla="*/ 946150 w 946150"/>
                  <a:gd name="connsiteY1" fmla="*/ 730250 h 793750"/>
                  <a:gd name="connsiteX2" fmla="*/ 908050 w 946150"/>
                  <a:gd name="connsiteY2" fmla="*/ 793750 h 793750"/>
                  <a:gd name="connsiteX3" fmla="*/ 0 w 946150"/>
                  <a:gd name="connsiteY3" fmla="*/ 25400 h 793750"/>
                  <a:gd name="connsiteX4" fmla="*/ 165100 w 946150"/>
                  <a:gd name="connsiteY4" fmla="*/ 0 h 79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6150" h="793750">
                    <a:moveTo>
                      <a:pt x="165100" y="0"/>
                    </a:moveTo>
                    <a:lnTo>
                      <a:pt x="946150" y="730250"/>
                    </a:lnTo>
                    <a:lnTo>
                      <a:pt x="908050" y="793750"/>
                    </a:lnTo>
                    <a:lnTo>
                      <a:pt x="0" y="25400"/>
                    </a:lnTo>
                    <a:lnTo>
                      <a:pt x="1651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8" name="Freeform 207"/>
              <p:cNvSpPr/>
              <p:nvPr/>
            </p:nvSpPr>
            <p:spPr>
              <a:xfrm>
                <a:off x="2063750" y="2381250"/>
                <a:ext cx="889000" cy="895350"/>
              </a:xfrm>
              <a:custGeom>
                <a:avLst/>
                <a:gdLst>
                  <a:gd name="connsiteX0" fmla="*/ 889000 w 889000"/>
                  <a:gd name="connsiteY0" fmla="*/ 139700 h 895350"/>
                  <a:gd name="connsiteX1" fmla="*/ 0 w 889000"/>
                  <a:gd name="connsiteY1" fmla="*/ 895350 h 895350"/>
                  <a:gd name="connsiteX2" fmla="*/ 57150 w 889000"/>
                  <a:gd name="connsiteY2" fmla="*/ 666750 h 895350"/>
                  <a:gd name="connsiteX3" fmla="*/ 889000 w 889000"/>
                  <a:gd name="connsiteY3" fmla="*/ 0 h 895350"/>
                  <a:gd name="connsiteX4" fmla="*/ 889000 w 889000"/>
                  <a:gd name="connsiteY4" fmla="*/ 139700 h 895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000" h="895350">
                    <a:moveTo>
                      <a:pt x="889000" y="139700"/>
                    </a:moveTo>
                    <a:lnTo>
                      <a:pt x="0" y="895350"/>
                    </a:lnTo>
                    <a:lnTo>
                      <a:pt x="57150" y="666750"/>
                    </a:lnTo>
                    <a:lnTo>
                      <a:pt x="889000" y="0"/>
                    </a:lnTo>
                    <a:lnTo>
                      <a:pt x="889000" y="1397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9" name="Freeform 208"/>
              <p:cNvSpPr/>
              <p:nvPr/>
            </p:nvSpPr>
            <p:spPr>
              <a:xfrm>
                <a:off x="2108200" y="3048000"/>
                <a:ext cx="1181100" cy="984250"/>
              </a:xfrm>
              <a:custGeom>
                <a:avLst/>
                <a:gdLst>
                  <a:gd name="connsiteX0" fmla="*/ 101600 w 1181100"/>
                  <a:gd name="connsiteY0" fmla="*/ 0 h 984250"/>
                  <a:gd name="connsiteX1" fmla="*/ 1181100 w 1181100"/>
                  <a:gd name="connsiteY1" fmla="*/ 857250 h 984250"/>
                  <a:gd name="connsiteX2" fmla="*/ 1155700 w 1181100"/>
                  <a:gd name="connsiteY2" fmla="*/ 984250 h 984250"/>
                  <a:gd name="connsiteX3" fmla="*/ 0 w 1181100"/>
                  <a:gd name="connsiteY3" fmla="*/ 127000 h 984250"/>
                  <a:gd name="connsiteX4" fmla="*/ 101600 w 1181100"/>
                  <a:gd name="connsiteY4" fmla="*/ 0 h 984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100" h="984250">
                    <a:moveTo>
                      <a:pt x="101600" y="0"/>
                    </a:moveTo>
                    <a:lnTo>
                      <a:pt x="1181100" y="857250"/>
                    </a:lnTo>
                    <a:lnTo>
                      <a:pt x="1155700" y="984250"/>
                    </a:lnTo>
                    <a:lnTo>
                      <a:pt x="0" y="127000"/>
                    </a:lnTo>
                    <a:lnTo>
                      <a:pt x="1016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0" name="Freeform 209"/>
              <p:cNvSpPr/>
              <p:nvPr/>
            </p:nvSpPr>
            <p:spPr>
              <a:xfrm>
                <a:off x="1879600" y="3003550"/>
                <a:ext cx="1219200" cy="1117600"/>
              </a:xfrm>
              <a:custGeom>
                <a:avLst/>
                <a:gdLst>
                  <a:gd name="connsiteX0" fmla="*/ 1219200 w 1219200"/>
                  <a:gd name="connsiteY0" fmla="*/ 158750 h 1117600"/>
                  <a:gd name="connsiteX1" fmla="*/ 0 w 1219200"/>
                  <a:gd name="connsiteY1" fmla="*/ 1117600 h 1117600"/>
                  <a:gd name="connsiteX2" fmla="*/ 69850 w 1219200"/>
                  <a:gd name="connsiteY2" fmla="*/ 806450 h 1117600"/>
                  <a:gd name="connsiteX3" fmla="*/ 1187450 w 1219200"/>
                  <a:gd name="connsiteY3" fmla="*/ 0 h 1117600"/>
                  <a:gd name="connsiteX4" fmla="*/ 1219200 w 1219200"/>
                  <a:gd name="connsiteY4" fmla="*/ 158750 h 1117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 h="1117600">
                    <a:moveTo>
                      <a:pt x="1219200" y="158750"/>
                    </a:moveTo>
                    <a:lnTo>
                      <a:pt x="0" y="1117600"/>
                    </a:lnTo>
                    <a:lnTo>
                      <a:pt x="69850" y="806450"/>
                    </a:lnTo>
                    <a:lnTo>
                      <a:pt x="1187450" y="0"/>
                    </a:lnTo>
                    <a:lnTo>
                      <a:pt x="1219200" y="1587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8" name="Freeform 217"/>
              <p:cNvSpPr/>
              <p:nvPr/>
            </p:nvSpPr>
            <p:spPr>
              <a:xfrm>
                <a:off x="1879600" y="3873500"/>
                <a:ext cx="1689100" cy="1397000"/>
              </a:xfrm>
              <a:custGeom>
                <a:avLst/>
                <a:gdLst>
                  <a:gd name="connsiteX0" fmla="*/ 114300 w 1689100"/>
                  <a:gd name="connsiteY0" fmla="*/ 0 h 1397000"/>
                  <a:gd name="connsiteX1" fmla="*/ 1689100 w 1689100"/>
                  <a:gd name="connsiteY1" fmla="*/ 1155700 h 1397000"/>
                  <a:gd name="connsiteX2" fmla="*/ 1689100 w 1689100"/>
                  <a:gd name="connsiteY2" fmla="*/ 1397000 h 1397000"/>
                  <a:gd name="connsiteX3" fmla="*/ 0 w 1689100"/>
                  <a:gd name="connsiteY3" fmla="*/ 158750 h 1397000"/>
                  <a:gd name="connsiteX4" fmla="*/ 114300 w 1689100"/>
                  <a:gd name="connsiteY4" fmla="*/ 0 h 139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9100" h="1397000">
                    <a:moveTo>
                      <a:pt x="114300" y="0"/>
                    </a:moveTo>
                    <a:lnTo>
                      <a:pt x="1689100" y="1155700"/>
                    </a:lnTo>
                    <a:lnTo>
                      <a:pt x="1689100" y="1397000"/>
                    </a:lnTo>
                    <a:lnTo>
                      <a:pt x="0" y="158750"/>
                    </a:lnTo>
                    <a:lnTo>
                      <a:pt x="1143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9" name="Freeform 218"/>
              <p:cNvSpPr/>
              <p:nvPr/>
            </p:nvSpPr>
            <p:spPr>
              <a:xfrm>
                <a:off x="1593850" y="3835400"/>
                <a:ext cx="1708150" cy="1460500"/>
              </a:xfrm>
              <a:custGeom>
                <a:avLst/>
                <a:gdLst>
                  <a:gd name="connsiteX0" fmla="*/ 1695450 w 1708150"/>
                  <a:gd name="connsiteY0" fmla="*/ 165100 h 1460500"/>
                  <a:gd name="connsiteX1" fmla="*/ 0 w 1708150"/>
                  <a:gd name="connsiteY1" fmla="*/ 1460500 h 1460500"/>
                  <a:gd name="connsiteX2" fmla="*/ 101600 w 1708150"/>
                  <a:gd name="connsiteY2" fmla="*/ 1130300 h 1460500"/>
                  <a:gd name="connsiteX3" fmla="*/ 1708150 w 1708150"/>
                  <a:gd name="connsiteY3" fmla="*/ 0 h 1460500"/>
                  <a:gd name="connsiteX4" fmla="*/ 1695450 w 1708150"/>
                  <a:gd name="connsiteY4" fmla="*/ 165100 h 146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8150" h="1460500">
                    <a:moveTo>
                      <a:pt x="1695450" y="165100"/>
                    </a:moveTo>
                    <a:lnTo>
                      <a:pt x="0" y="1460500"/>
                    </a:lnTo>
                    <a:lnTo>
                      <a:pt x="101600" y="1130300"/>
                    </a:lnTo>
                    <a:lnTo>
                      <a:pt x="1708150" y="0"/>
                    </a:lnTo>
                    <a:lnTo>
                      <a:pt x="1695450" y="1651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3" name="Freeform 222"/>
              <p:cNvSpPr/>
              <p:nvPr/>
            </p:nvSpPr>
            <p:spPr>
              <a:xfrm>
                <a:off x="1587500" y="5111750"/>
                <a:ext cx="2298700" cy="1250950"/>
              </a:xfrm>
              <a:custGeom>
                <a:avLst/>
                <a:gdLst>
                  <a:gd name="connsiteX0" fmla="*/ 69850 w 2298700"/>
                  <a:gd name="connsiteY0" fmla="*/ 0 h 1250950"/>
                  <a:gd name="connsiteX1" fmla="*/ 69850 w 2298700"/>
                  <a:gd name="connsiteY1" fmla="*/ 0 h 1250950"/>
                  <a:gd name="connsiteX2" fmla="*/ 2298700 w 2298700"/>
                  <a:gd name="connsiteY2" fmla="*/ 1054100 h 1250950"/>
                  <a:gd name="connsiteX3" fmla="*/ 2279650 w 2298700"/>
                  <a:gd name="connsiteY3" fmla="*/ 1250950 h 1250950"/>
                  <a:gd name="connsiteX4" fmla="*/ 0 w 2298700"/>
                  <a:gd name="connsiteY4" fmla="*/ 165100 h 1250950"/>
                  <a:gd name="connsiteX5" fmla="*/ 69850 w 2298700"/>
                  <a:gd name="connsiteY5" fmla="*/ 0 h 1250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98700" h="1250950">
                    <a:moveTo>
                      <a:pt x="69850" y="0"/>
                    </a:moveTo>
                    <a:lnTo>
                      <a:pt x="69850" y="0"/>
                    </a:lnTo>
                    <a:lnTo>
                      <a:pt x="2298700" y="1054100"/>
                    </a:lnTo>
                    <a:lnTo>
                      <a:pt x="2279650" y="1250950"/>
                    </a:lnTo>
                    <a:lnTo>
                      <a:pt x="0" y="165100"/>
                    </a:lnTo>
                    <a:lnTo>
                      <a:pt x="6985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4" name="Freeform 223"/>
              <p:cNvSpPr/>
              <p:nvPr/>
            </p:nvSpPr>
            <p:spPr>
              <a:xfrm>
                <a:off x="1308100" y="5016500"/>
                <a:ext cx="2311400" cy="1397000"/>
              </a:xfrm>
              <a:custGeom>
                <a:avLst/>
                <a:gdLst>
                  <a:gd name="connsiteX0" fmla="*/ 69850 w 2311400"/>
                  <a:gd name="connsiteY0" fmla="*/ 1123950 h 1397000"/>
                  <a:gd name="connsiteX1" fmla="*/ 2286000 w 2311400"/>
                  <a:gd name="connsiteY1" fmla="*/ 0 h 1397000"/>
                  <a:gd name="connsiteX2" fmla="*/ 2311400 w 2311400"/>
                  <a:gd name="connsiteY2" fmla="*/ 234950 h 1397000"/>
                  <a:gd name="connsiteX3" fmla="*/ 0 w 2311400"/>
                  <a:gd name="connsiteY3" fmla="*/ 1397000 h 1397000"/>
                  <a:gd name="connsiteX4" fmla="*/ 69850 w 2311400"/>
                  <a:gd name="connsiteY4" fmla="*/ 1123950 h 139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1400" h="1397000">
                    <a:moveTo>
                      <a:pt x="69850" y="1123950"/>
                    </a:moveTo>
                    <a:lnTo>
                      <a:pt x="2286000" y="0"/>
                    </a:lnTo>
                    <a:lnTo>
                      <a:pt x="2311400" y="234950"/>
                    </a:lnTo>
                    <a:lnTo>
                      <a:pt x="0" y="1397000"/>
                    </a:lnTo>
                    <a:lnTo>
                      <a:pt x="69850" y="11239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6" name="Group 175"/>
            <p:cNvGrpSpPr>
              <a:grpSpLocks noChangeAspect="1"/>
            </p:cNvGrpSpPr>
            <p:nvPr/>
          </p:nvGrpSpPr>
          <p:grpSpPr>
            <a:xfrm>
              <a:off x="5511872" y="4211223"/>
              <a:ext cx="294390" cy="521496"/>
              <a:chOff x="762212" y="192617"/>
              <a:chExt cx="3653473" cy="6471920"/>
            </a:xfrm>
            <a:solidFill>
              <a:schemeClr val="tx2">
                <a:lumMod val="75000"/>
              </a:schemeClr>
            </a:solidFill>
          </p:grpSpPr>
          <p:sp>
            <p:nvSpPr>
              <p:cNvPr id="177" name="Freeform 176"/>
              <p:cNvSpPr/>
              <p:nvPr/>
            </p:nvSpPr>
            <p:spPr>
              <a:xfrm>
                <a:off x="762212" y="192617"/>
                <a:ext cx="3653473" cy="6471920"/>
              </a:xfrm>
              <a:custGeom>
                <a:avLst/>
                <a:gdLst>
                  <a:gd name="connsiteX0" fmla="*/ 1536700 w 3390900"/>
                  <a:gd name="connsiteY0" fmla="*/ 0 h 6261100"/>
                  <a:gd name="connsiteX1" fmla="*/ 1536700 w 3390900"/>
                  <a:gd name="connsiteY1" fmla="*/ 0 h 6261100"/>
                  <a:gd name="connsiteX2" fmla="*/ 1295400 w 3390900"/>
                  <a:gd name="connsiteY2" fmla="*/ 685800 h 6261100"/>
                  <a:gd name="connsiteX3" fmla="*/ 0 w 3390900"/>
                  <a:gd name="connsiteY3" fmla="*/ 1219200 h 6261100"/>
                  <a:gd name="connsiteX4" fmla="*/ 12700 w 3390900"/>
                  <a:gd name="connsiteY4" fmla="*/ 1485900 h 6261100"/>
                  <a:gd name="connsiteX5" fmla="*/ 1282700 w 3390900"/>
                  <a:gd name="connsiteY5" fmla="*/ 1460500 h 6261100"/>
                  <a:gd name="connsiteX6" fmla="*/ 1295400 w 3390900"/>
                  <a:gd name="connsiteY6" fmla="*/ 2400300 h 6261100"/>
                  <a:gd name="connsiteX7" fmla="*/ 279400 w 3390900"/>
                  <a:gd name="connsiteY7" fmla="*/ 6248400 h 6261100"/>
                  <a:gd name="connsiteX8" fmla="*/ 444500 w 3390900"/>
                  <a:gd name="connsiteY8" fmla="*/ 6261100 h 6261100"/>
                  <a:gd name="connsiteX9" fmla="*/ 444500 w 3390900"/>
                  <a:gd name="connsiteY9" fmla="*/ 6096000 h 6261100"/>
                  <a:gd name="connsiteX10" fmla="*/ 1422400 w 3390900"/>
                  <a:gd name="connsiteY10" fmla="*/ 2362200 h 6261100"/>
                  <a:gd name="connsiteX11" fmla="*/ 1358900 w 3390900"/>
                  <a:gd name="connsiteY11" fmla="*/ 1257300 h 6261100"/>
                  <a:gd name="connsiteX12" fmla="*/ 508000 w 3390900"/>
                  <a:gd name="connsiteY12" fmla="*/ 1257300 h 6261100"/>
                  <a:gd name="connsiteX13" fmla="*/ 1371600 w 3390900"/>
                  <a:gd name="connsiteY13" fmla="*/ 800100 h 6261100"/>
                  <a:gd name="connsiteX14" fmla="*/ 1663700 w 3390900"/>
                  <a:gd name="connsiteY14" fmla="*/ 139700 h 6261100"/>
                  <a:gd name="connsiteX15" fmla="*/ 1930400 w 3390900"/>
                  <a:gd name="connsiteY15" fmla="*/ 736600 h 6261100"/>
                  <a:gd name="connsiteX16" fmla="*/ 2946400 w 3390900"/>
                  <a:gd name="connsiteY16" fmla="*/ 1231900 h 6261100"/>
                  <a:gd name="connsiteX17" fmla="*/ 1981200 w 3390900"/>
                  <a:gd name="connsiteY17" fmla="*/ 1219200 h 6261100"/>
                  <a:gd name="connsiteX18" fmla="*/ 1968500 w 3390900"/>
                  <a:gd name="connsiteY18" fmla="*/ 2324100 h 6261100"/>
                  <a:gd name="connsiteX19" fmla="*/ 2984500 w 3390900"/>
                  <a:gd name="connsiteY19" fmla="*/ 6248400 h 6261100"/>
                  <a:gd name="connsiteX20" fmla="*/ 3124200 w 3390900"/>
                  <a:gd name="connsiteY20" fmla="*/ 6172200 h 6261100"/>
                  <a:gd name="connsiteX21" fmla="*/ 2108200 w 3390900"/>
                  <a:gd name="connsiteY21" fmla="*/ 2362200 h 6261100"/>
                  <a:gd name="connsiteX22" fmla="*/ 2120900 w 3390900"/>
                  <a:gd name="connsiteY22" fmla="*/ 1473200 h 6261100"/>
                  <a:gd name="connsiteX23" fmla="*/ 3390900 w 3390900"/>
                  <a:gd name="connsiteY23" fmla="*/ 1460500 h 6261100"/>
                  <a:gd name="connsiteX24" fmla="*/ 3365500 w 3390900"/>
                  <a:gd name="connsiteY24" fmla="*/ 1231900 h 6261100"/>
                  <a:gd name="connsiteX25" fmla="*/ 2082800 w 3390900"/>
                  <a:gd name="connsiteY25" fmla="*/ 596900 h 6261100"/>
                  <a:gd name="connsiteX26" fmla="*/ 1892300 w 3390900"/>
                  <a:gd name="connsiteY26" fmla="*/ 0 h 6261100"/>
                  <a:gd name="connsiteX27" fmla="*/ 1536700 w 3390900"/>
                  <a:gd name="connsiteY27" fmla="*/ 0 h 6261100"/>
                  <a:gd name="connsiteX0" fmla="*/ 1536700 w 3390900"/>
                  <a:gd name="connsiteY0" fmla="*/ 0 h 6261100"/>
                  <a:gd name="connsiteX1" fmla="*/ 1536700 w 3390900"/>
                  <a:gd name="connsiteY1" fmla="*/ 0 h 6261100"/>
                  <a:gd name="connsiteX2" fmla="*/ 1310640 w 3390900"/>
                  <a:gd name="connsiteY2" fmla="*/ 579120 h 6261100"/>
                  <a:gd name="connsiteX3" fmla="*/ 0 w 3390900"/>
                  <a:gd name="connsiteY3" fmla="*/ 1219200 h 6261100"/>
                  <a:gd name="connsiteX4" fmla="*/ 12700 w 3390900"/>
                  <a:gd name="connsiteY4" fmla="*/ 1485900 h 6261100"/>
                  <a:gd name="connsiteX5" fmla="*/ 1282700 w 3390900"/>
                  <a:gd name="connsiteY5" fmla="*/ 1460500 h 6261100"/>
                  <a:gd name="connsiteX6" fmla="*/ 1295400 w 3390900"/>
                  <a:gd name="connsiteY6" fmla="*/ 2400300 h 6261100"/>
                  <a:gd name="connsiteX7" fmla="*/ 279400 w 3390900"/>
                  <a:gd name="connsiteY7" fmla="*/ 6248400 h 6261100"/>
                  <a:gd name="connsiteX8" fmla="*/ 444500 w 3390900"/>
                  <a:gd name="connsiteY8" fmla="*/ 6261100 h 6261100"/>
                  <a:gd name="connsiteX9" fmla="*/ 444500 w 3390900"/>
                  <a:gd name="connsiteY9" fmla="*/ 6096000 h 6261100"/>
                  <a:gd name="connsiteX10" fmla="*/ 1422400 w 3390900"/>
                  <a:gd name="connsiteY10" fmla="*/ 2362200 h 6261100"/>
                  <a:gd name="connsiteX11" fmla="*/ 1358900 w 3390900"/>
                  <a:gd name="connsiteY11" fmla="*/ 1257300 h 6261100"/>
                  <a:gd name="connsiteX12" fmla="*/ 508000 w 3390900"/>
                  <a:gd name="connsiteY12" fmla="*/ 1257300 h 6261100"/>
                  <a:gd name="connsiteX13" fmla="*/ 1371600 w 3390900"/>
                  <a:gd name="connsiteY13" fmla="*/ 800100 h 6261100"/>
                  <a:gd name="connsiteX14" fmla="*/ 1663700 w 3390900"/>
                  <a:gd name="connsiteY14" fmla="*/ 139700 h 6261100"/>
                  <a:gd name="connsiteX15" fmla="*/ 1930400 w 3390900"/>
                  <a:gd name="connsiteY15" fmla="*/ 736600 h 6261100"/>
                  <a:gd name="connsiteX16" fmla="*/ 2946400 w 3390900"/>
                  <a:gd name="connsiteY16" fmla="*/ 1231900 h 6261100"/>
                  <a:gd name="connsiteX17" fmla="*/ 1981200 w 3390900"/>
                  <a:gd name="connsiteY17" fmla="*/ 1219200 h 6261100"/>
                  <a:gd name="connsiteX18" fmla="*/ 1968500 w 3390900"/>
                  <a:gd name="connsiteY18" fmla="*/ 2324100 h 6261100"/>
                  <a:gd name="connsiteX19" fmla="*/ 2984500 w 3390900"/>
                  <a:gd name="connsiteY19" fmla="*/ 6248400 h 6261100"/>
                  <a:gd name="connsiteX20" fmla="*/ 3124200 w 3390900"/>
                  <a:gd name="connsiteY20" fmla="*/ 6172200 h 6261100"/>
                  <a:gd name="connsiteX21" fmla="*/ 2108200 w 3390900"/>
                  <a:gd name="connsiteY21" fmla="*/ 2362200 h 6261100"/>
                  <a:gd name="connsiteX22" fmla="*/ 2120900 w 3390900"/>
                  <a:gd name="connsiteY22" fmla="*/ 1473200 h 6261100"/>
                  <a:gd name="connsiteX23" fmla="*/ 3390900 w 3390900"/>
                  <a:gd name="connsiteY23" fmla="*/ 1460500 h 6261100"/>
                  <a:gd name="connsiteX24" fmla="*/ 3365500 w 3390900"/>
                  <a:gd name="connsiteY24" fmla="*/ 1231900 h 6261100"/>
                  <a:gd name="connsiteX25" fmla="*/ 2082800 w 3390900"/>
                  <a:gd name="connsiteY25" fmla="*/ 596900 h 6261100"/>
                  <a:gd name="connsiteX26" fmla="*/ 1892300 w 3390900"/>
                  <a:gd name="connsiteY26" fmla="*/ 0 h 6261100"/>
                  <a:gd name="connsiteX27" fmla="*/ 1536700 w 3390900"/>
                  <a:gd name="connsiteY27" fmla="*/ 0 h 6261100"/>
                  <a:gd name="connsiteX0" fmla="*/ 1524000 w 3378200"/>
                  <a:gd name="connsiteY0" fmla="*/ 0 h 6261100"/>
                  <a:gd name="connsiteX1" fmla="*/ 1524000 w 3378200"/>
                  <a:gd name="connsiteY1" fmla="*/ 0 h 6261100"/>
                  <a:gd name="connsiteX2" fmla="*/ 1297940 w 3378200"/>
                  <a:gd name="connsiteY2" fmla="*/ 579120 h 6261100"/>
                  <a:gd name="connsiteX3" fmla="*/ 10160 w 3378200"/>
                  <a:gd name="connsiteY3" fmla="*/ 1196340 h 6261100"/>
                  <a:gd name="connsiteX4" fmla="*/ 0 w 3378200"/>
                  <a:gd name="connsiteY4" fmla="*/ 1485900 h 6261100"/>
                  <a:gd name="connsiteX5" fmla="*/ 1270000 w 3378200"/>
                  <a:gd name="connsiteY5" fmla="*/ 1460500 h 6261100"/>
                  <a:gd name="connsiteX6" fmla="*/ 1282700 w 3378200"/>
                  <a:gd name="connsiteY6" fmla="*/ 2400300 h 6261100"/>
                  <a:gd name="connsiteX7" fmla="*/ 266700 w 3378200"/>
                  <a:gd name="connsiteY7" fmla="*/ 6248400 h 6261100"/>
                  <a:gd name="connsiteX8" fmla="*/ 431800 w 3378200"/>
                  <a:gd name="connsiteY8" fmla="*/ 6261100 h 6261100"/>
                  <a:gd name="connsiteX9" fmla="*/ 431800 w 3378200"/>
                  <a:gd name="connsiteY9" fmla="*/ 6096000 h 6261100"/>
                  <a:gd name="connsiteX10" fmla="*/ 1409700 w 3378200"/>
                  <a:gd name="connsiteY10" fmla="*/ 2362200 h 6261100"/>
                  <a:gd name="connsiteX11" fmla="*/ 1346200 w 3378200"/>
                  <a:gd name="connsiteY11" fmla="*/ 1257300 h 6261100"/>
                  <a:gd name="connsiteX12" fmla="*/ 495300 w 3378200"/>
                  <a:gd name="connsiteY12" fmla="*/ 1257300 h 6261100"/>
                  <a:gd name="connsiteX13" fmla="*/ 1358900 w 3378200"/>
                  <a:gd name="connsiteY13" fmla="*/ 800100 h 6261100"/>
                  <a:gd name="connsiteX14" fmla="*/ 1651000 w 3378200"/>
                  <a:gd name="connsiteY14" fmla="*/ 139700 h 6261100"/>
                  <a:gd name="connsiteX15" fmla="*/ 1917700 w 3378200"/>
                  <a:gd name="connsiteY15" fmla="*/ 736600 h 6261100"/>
                  <a:gd name="connsiteX16" fmla="*/ 2933700 w 3378200"/>
                  <a:gd name="connsiteY16" fmla="*/ 1231900 h 6261100"/>
                  <a:gd name="connsiteX17" fmla="*/ 1968500 w 3378200"/>
                  <a:gd name="connsiteY17" fmla="*/ 1219200 h 6261100"/>
                  <a:gd name="connsiteX18" fmla="*/ 1955800 w 3378200"/>
                  <a:gd name="connsiteY18" fmla="*/ 2324100 h 6261100"/>
                  <a:gd name="connsiteX19" fmla="*/ 2971800 w 3378200"/>
                  <a:gd name="connsiteY19" fmla="*/ 6248400 h 6261100"/>
                  <a:gd name="connsiteX20" fmla="*/ 3111500 w 3378200"/>
                  <a:gd name="connsiteY20" fmla="*/ 6172200 h 6261100"/>
                  <a:gd name="connsiteX21" fmla="*/ 2095500 w 3378200"/>
                  <a:gd name="connsiteY21" fmla="*/ 2362200 h 6261100"/>
                  <a:gd name="connsiteX22" fmla="*/ 2108200 w 3378200"/>
                  <a:gd name="connsiteY22" fmla="*/ 1473200 h 6261100"/>
                  <a:gd name="connsiteX23" fmla="*/ 3378200 w 3378200"/>
                  <a:gd name="connsiteY23" fmla="*/ 1460500 h 6261100"/>
                  <a:gd name="connsiteX24" fmla="*/ 3352800 w 3378200"/>
                  <a:gd name="connsiteY24" fmla="*/ 1231900 h 6261100"/>
                  <a:gd name="connsiteX25" fmla="*/ 2070100 w 3378200"/>
                  <a:gd name="connsiteY25" fmla="*/ 596900 h 6261100"/>
                  <a:gd name="connsiteX26" fmla="*/ 1879600 w 3378200"/>
                  <a:gd name="connsiteY26" fmla="*/ 0 h 6261100"/>
                  <a:gd name="connsiteX27" fmla="*/ 1524000 w 3378200"/>
                  <a:gd name="connsiteY27" fmla="*/ 0 h 6261100"/>
                  <a:gd name="connsiteX0" fmla="*/ 1524000 w 3378200"/>
                  <a:gd name="connsiteY0" fmla="*/ 0 h 6261100"/>
                  <a:gd name="connsiteX1" fmla="*/ 1524000 w 3378200"/>
                  <a:gd name="connsiteY1" fmla="*/ 0 h 6261100"/>
                  <a:gd name="connsiteX2" fmla="*/ 1297940 w 3378200"/>
                  <a:gd name="connsiteY2" fmla="*/ 579120 h 6261100"/>
                  <a:gd name="connsiteX3" fmla="*/ 10160 w 3378200"/>
                  <a:gd name="connsiteY3" fmla="*/ 1196340 h 6261100"/>
                  <a:gd name="connsiteX4" fmla="*/ 0 w 3378200"/>
                  <a:gd name="connsiteY4" fmla="*/ 1455420 h 6261100"/>
                  <a:gd name="connsiteX5" fmla="*/ 1270000 w 3378200"/>
                  <a:gd name="connsiteY5" fmla="*/ 1460500 h 6261100"/>
                  <a:gd name="connsiteX6" fmla="*/ 1282700 w 3378200"/>
                  <a:gd name="connsiteY6" fmla="*/ 2400300 h 6261100"/>
                  <a:gd name="connsiteX7" fmla="*/ 266700 w 3378200"/>
                  <a:gd name="connsiteY7" fmla="*/ 6248400 h 6261100"/>
                  <a:gd name="connsiteX8" fmla="*/ 431800 w 3378200"/>
                  <a:gd name="connsiteY8" fmla="*/ 6261100 h 6261100"/>
                  <a:gd name="connsiteX9" fmla="*/ 431800 w 3378200"/>
                  <a:gd name="connsiteY9" fmla="*/ 6096000 h 6261100"/>
                  <a:gd name="connsiteX10" fmla="*/ 1409700 w 3378200"/>
                  <a:gd name="connsiteY10" fmla="*/ 2362200 h 6261100"/>
                  <a:gd name="connsiteX11" fmla="*/ 1346200 w 3378200"/>
                  <a:gd name="connsiteY11" fmla="*/ 1257300 h 6261100"/>
                  <a:gd name="connsiteX12" fmla="*/ 495300 w 3378200"/>
                  <a:gd name="connsiteY12" fmla="*/ 1257300 h 6261100"/>
                  <a:gd name="connsiteX13" fmla="*/ 1358900 w 3378200"/>
                  <a:gd name="connsiteY13" fmla="*/ 800100 h 6261100"/>
                  <a:gd name="connsiteX14" fmla="*/ 1651000 w 3378200"/>
                  <a:gd name="connsiteY14" fmla="*/ 139700 h 6261100"/>
                  <a:gd name="connsiteX15" fmla="*/ 1917700 w 3378200"/>
                  <a:gd name="connsiteY15" fmla="*/ 736600 h 6261100"/>
                  <a:gd name="connsiteX16" fmla="*/ 2933700 w 3378200"/>
                  <a:gd name="connsiteY16" fmla="*/ 1231900 h 6261100"/>
                  <a:gd name="connsiteX17" fmla="*/ 1968500 w 3378200"/>
                  <a:gd name="connsiteY17" fmla="*/ 1219200 h 6261100"/>
                  <a:gd name="connsiteX18" fmla="*/ 1955800 w 3378200"/>
                  <a:gd name="connsiteY18" fmla="*/ 2324100 h 6261100"/>
                  <a:gd name="connsiteX19" fmla="*/ 2971800 w 3378200"/>
                  <a:gd name="connsiteY19" fmla="*/ 6248400 h 6261100"/>
                  <a:gd name="connsiteX20" fmla="*/ 3111500 w 3378200"/>
                  <a:gd name="connsiteY20" fmla="*/ 6172200 h 6261100"/>
                  <a:gd name="connsiteX21" fmla="*/ 2095500 w 3378200"/>
                  <a:gd name="connsiteY21" fmla="*/ 2362200 h 6261100"/>
                  <a:gd name="connsiteX22" fmla="*/ 2108200 w 3378200"/>
                  <a:gd name="connsiteY22" fmla="*/ 1473200 h 6261100"/>
                  <a:gd name="connsiteX23" fmla="*/ 3378200 w 3378200"/>
                  <a:gd name="connsiteY23" fmla="*/ 1460500 h 6261100"/>
                  <a:gd name="connsiteX24" fmla="*/ 3352800 w 3378200"/>
                  <a:gd name="connsiteY24" fmla="*/ 1231900 h 6261100"/>
                  <a:gd name="connsiteX25" fmla="*/ 2070100 w 3378200"/>
                  <a:gd name="connsiteY25" fmla="*/ 596900 h 6261100"/>
                  <a:gd name="connsiteX26" fmla="*/ 1879600 w 3378200"/>
                  <a:gd name="connsiteY26" fmla="*/ 0 h 6261100"/>
                  <a:gd name="connsiteX27" fmla="*/ 1524000 w 3378200"/>
                  <a:gd name="connsiteY27" fmla="*/ 0 h 6261100"/>
                  <a:gd name="connsiteX0" fmla="*/ 1524000 w 3378200"/>
                  <a:gd name="connsiteY0" fmla="*/ 0 h 6261100"/>
                  <a:gd name="connsiteX1" fmla="*/ 1524000 w 3378200"/>
                  <a:gd name="connsiteY1" fmla="*/ 0 h 6261100"/>
                  <a:gd name="connsiteX2" fmla="*/ 1297940 w 3378200"/>
                  <a:gd name="connsiteY2" fmla="*/ 579120 h 6261100"/>
                  <a:gd name="connsiteX3" fmla="*/ 10160 w 3378200"/>
                  <a:gd name="connsiteY3" fmla="*/ 1196340 h 6261100"/>
                  <a:gd name="connsiteX4" fmla="*/ 0 w 3378200"/>
                  <a:gd name="connsiteY4" fmla="*/ 1455420 h 6261100"/>
                  <a:gd name="connsiteX5" fmla="*/ 1270000 w 3378200"/>
                  <a:gd name="connsiteY5" fmla="*/ 1460500 h 6261100"/>
                  <a:gd name="connsiteX6" fmla="*/ 1282700 w 3378200"/>
                  <a:gd name="connsiteY6" fmla="*/ 2400300 h 6261100"/>
                  <a:gd name="connsiteX7" fmla="*/ 266700 w 3378200"/>
                  <a:gd name="connsiteY7" fmla="*/ 6248400 h 6261100"/>
                  <a:gd name="connsiteX8" fmla="*/ 431800 w 3378200"/>
                  <a:gd name="connsiteY8" fmla="*/ 6261100 h 6261100"/>
                  <a:gd name="connsiteX9" fmla="*/ 431800 w 3378200"/>
                  <a:gd name="connsiteY9" fmla="*/ 6096000 h 6261100"/>
                  <a:gd name="connsiteX10" fmla="*/ 1409700 w 3378200"/>
                  <a:gd name="connsiteY10" fmla="*/ 2362200 h 6261100"/>
                  <a:gd name="connsiteX11" fmla="*/ 1346200 w 3378200"/>
                  <a:gd name="connsiteY11" fmla="*/ 1257300 h 6261100"/>
                  <a:gd name="connsiteX12" fmla="*/ 495300 w 3378200"/>
                  <a:gd name="connsiteY12" fmla="*/ 1257300 h 6261100"/>
                  <a:gd name="connsiteX13" fmla="*/ 1358900 w 3378200"/>
                  <a:gd name="connsiteY13" fmla="*/ 800100 h 6261100"/>
                  <a:gd name="connsiteX14" fmla="*/ 1651000 w 3378200"/>
                  <a:gd name="connsiteY14" fmla="*/ 139700 h 6261100"/>
                  <a:gd name="connsiteX15" fmla="*/ 1917700 w 3378200"/>
                  <a:gd name="connsiteY15" fmla="*/ 736600 h 6261100"/>
                  <a:gd name="connsiteX16" fmla="*/ 2933700 w 3378200"/>
                  <a:gd name="connsiteY16" fmla="*/ 1231900 h 6261100"/>
                  <a:gd name="connsiteX17" fmla="*/ 1968500 w 3378200"/>
                  <a:gd name="connsiteY17" fmla="*/ 1219200 h 6261100"/>
                  <a:gd name="connsiteX18" fmla="*/ 1955800 w 3378200"/>
                  <a:gd name="connsiteY18" fmla="*/ 2324100 h 6261100"/>
                  <a:gd name="connsiteX19" fmla="*/ 2971800 w 3378200"/>
                  <a:gd name="connsiteY19" fmla="*/ 6248400 h 6261100"/>
                  <a:gd name="connsiteX20" fmla="*/ 3111500 w 3378200"/>
                  <a:gd name="connsiteY20" fmla="*/ 6172200 h 6261100"/>
                  <a:gd name="connsiteX21" fmla="*/ 2095500 w 3378200"/>
                  <a:gd name="connsiteY21" fmla="*/ 2362200 h 6261100"/>
                  <a:gd name="connsiteX22" fmla="*/ 2077720 w 3378200"/>
                  <a:gd name="connsiteY22" fmla="*/ 1419860 h 6261100"/>
                  <a:gd name="connsiteX23" fmla="*/ 3378200 w 3378200"/>
                  <a:gd name="connsiteY23" fmla="*/ 1460500 h 6261100"/>
                  <a:gd name="connsiteX24" fmla="*/ 3352800 w 3378200"/>
                  <a:gd name="connsiteY24" fmla="*/ 1231900 h 6261100"/>
                  <a:gd name="connsiteX25" fmla="*/ 2070100 w 3378200"/>
                  <a:gd name="connsiteY25" fmla="*/ 596900 h 6261100"/>
                  <a:gd name="connsiteX26" fmla="*/ 1879600 w 3378200"/>
                  <a:gd name="connsiteY26" fmla="*/ 0 h 6261100"/>
                  <a:gd name="connsiteX27" fmla="*/ 1524000 w 3378200"/>
                  <a:gd name="connsiteY27" fmla="*/ 0 h 6261100"/>
                  <a:gd name="connsiteX0" fmla="*/ 1524000 w 3352800"/>
                  <a:gd name="connsiteY0" fmla="*/ 0 h 6261100"/>
                  <a:gd name="connsiteX1" fmla="*/ 1524000 w 3352800"/>
                  <a:gd name="connsiteY1" fmla="*/ 0 h 6261100"/>
                  <a:gd name="connsiteX2" fmla="*/ 1297940 w 3352800"/>
                  <a:gd name="connsiteY2" fmla="*/ 579120 h 6261100"/>
                  <a:gd name="connsiteX3" fmla="*/ 10160 w 3352800"/>
                  <a:gd name="connsiteY3" fmla="*/ 1196340 h 6261100"/>
                  <a:gd name="connsiteX4" fmla="*/ 0 w 3352800"/>
                  <a:gd name="connsiteY4" fmla="*/ 1455420 h 6261100"/>
                  <a:gd name="connsiteX5" fmla="*/ 1270000 w 3352800"/>
                  <a:gd name="connsiteY5" fmla="*/ 1460500 h 6261100"/>
                  <a:gd name="connsiteX6" fmla="*/ 1282700 w 3352800"/>
                  <a:gd name="connsiteY6" fmla="*/ 2400300 h 6261100"/>
                  <a:gd name="connsiteX7" fmla="*/ 266700 w 3352800"/>
                  <a:gd name="connsiteY7" fmla="*/ 6248400 h 6261100"/>
                  <a:gd name="connsiteX8" fmla="*/ 431800 w 3352800"/>
                  <a:gd name="connsiteY8" fmla="*/ 6261100 h 6261100"/>
                  <a:gd name="connsiteX9" fmla="*/ 431800 w 3352800"/>
                  <a:gd name="connsiteY9" fmla="*/ 6096000 h 6261100"/>
                  <a:gd name="connsiteX10" fmla="*/ 1409700 w 3352800"/>
                  <a:gd name="connsiteY10" fmla="*/ 2362200 h 6261100"/>
                  <a:gd name="connsiteX11" fmla="*/ 1346200 w 3352800"/>
                  <a:gd name="connsiteY11" fmla="*/ 1257300 h 6261100"/>
                  <a:gd name="connsiteX12" fmla="*/ 495300 w 3352800"/>
                  <a:gd name="connsiteY12" fmla="*/ 1257300 h 6261100"/>
                  <a:gd name="connsiteX13" fmla="*/ 1358900 w 3352800"/>
                  <a:gd name="connsiteY13" fmla="*/ 800100 h 6261100"/>
                  <a:gd name="connsiteX14" fmla="*/ 1651000 w 3352800"/>
                  <a:gd name="connsiteY14" fmla="*/ 139700 h 6261100"/>
                  <a:gd name="connsiteX15" fmla="*/ 1917700 w 3352800"/>
                  <a:gd name="connsiteY15" fmla="*/ 736600 h 6261100"/>
                  <a:gd name="connsiteX16" fmla="*/ 2933700 w 3352800"/>
                  <a:gd name="connsiteY16" fmla="*/ 1231900 h 6261100"/>
                  <a:gd name="connsiteX17" fmla="*/ 1968500 w 3352800"/>
                  <a:gd name="connsiteY17" fmla="*/ 1219200 h 6261100"/>
                  <a:gd name="connsiteX18" fmla="*/ 1955800 w 3352800"/>
                  <a:gd name="connsiteY18" fmla="*/ 2324100 h 6261100"/>
                  <a:gd name="connsiteX19" fmla="*/ 2971800 w 3352800"/>
                  <a:gd name="connsiteY19" fmla="*/ 6248400 h 6261100"/>
                  <a:gd name="connsiteX20" fmla="*/ 3111500 w 3352800"/>
                  <a:gd name="connsiteY20" fmla="*/ 6172200 h 6261100"/>
                  <a:gd name="connsiteX21" fmla="*/ 2095500 w 3352800"/>
                  <a:gd name="connsiteY21" fmla="*/ 2362200 h 6261100"/>
                  <a:gd name="connsiteX22" fmla="*/ 2077720 w 3352800"/>
                  <a:gd name="connsiteY22" fmla="*/ 1419860 h 6261100"/>
                  <a:gd name="connsiteX23" fmla="*/ 3241040 w 3352800"/>
                  <a:gd name="connsiteY23" fmla="*/ 1445260 h 6261100"/>
                  <a:gd name="connsiteX24" fmla="*/ 3352800 w 3352800"/>
                  <a:gd name="connsiteY24" fmla="*/ 1231900 h 6261100"/>
                  <a:gd name="connsiteX25" fmla="*/ 2070100 w 3352800"/>
                  <a:gd name="connsiteY25" fmla="*/ 596900 h 6261100"/>
                  <a:gd name="connsiteX26" fmla="*/ 1879600 w 3352800"/>
                  <a:gd name="connsiteY26" fmla="*/ 0 h 6261100"/>
                  <a:gd name="connsiteX27" fmla="*/ 1524000 w 33528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51000 w 3314700"/>
                  <a:gd name="connsiteY14" fmla="*/ 139700 h 6261100"/>
                  <a:gd name="connsiteX15" fmla="*/ 1917700 w 3314700"/>
                  <a:gd name="connsiteY15" fmla="*/ 736600 h 6261100"/>
                  <a:gd name="connsiteX16" fmla="*/ 293370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51000 w 3314700"/>
                  <a:gd name="connsiteY14" fmla="*/ 139700 h 6261100"/>
                  <a:gd name="connsiteX15" fmla="*/ 1917700 w 3314700"/>
                  <a:gd name="connsiteY15" fmla="*/ 736600 h 6261100"/>
                  <a:gd name="connsiteX16" fmla="*/ 2750820 w 3314700"/>
                  <a:gd name="connsiteY16" fmla="*/ 124714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51000 w 3314700"/>
                  <a:gd name="connsiteY14" fmla="*/ 13970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5382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5382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5382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6906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379220 w 3314700"/>
                  <a:gd name="connsiteY10" fmla="*/ 2354580 h 6261100"/>
                  <a:gd name="connsiteX11" fmla="*/ 136906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1379220 w 3314700"/>
                  <a:gd name="connsiteY9" fmla="*/ 2354580 h 6261100"/>
                  <a:gd name="connsiteX10" fmla="*/ 1369060 w 3314700"/>
                  <a:gd name="connsiteY10" fmla="*/ 1211580 h 6261100"/>
                  <a:gd name="connsiteX11" fmla="*/ 464820 w 3314700"/>
                  <a:gd name="connsiteY11" fmla="*/ 1219200 h 6261100"/>
                  <a:gd name="connsiteX12" fmla="*/ 1358900 w 3314700"/>
                  <a:gd name="connsiteY12" fmla="*/ 800100 h 6261100"/>
                  <a:gd name="connsiteX13" fmla="*/ 1696720 w 3314700"/>
                  <a:gd name="connsiteY13" fmla="*/ 154940 h 6261100"/>
                  <a:gd name="connsiteX14" fmla="*/ 1917700 w 3314700"/>
                  <a:gd name="connsiteY14" fmla="*/ 736600 h 6261100"/>
                  <a:gd name="connsiteX15" fmla="*/ 2887980 w 3314700"/>
                  <a:gd name="connsiteY15" fmla="*/ 1231900 h 6261100"/>
                  <a:gd name="connsiteX16" fmla="*/ 1968500 w 3314700"/>
                  <a:gd name="connsiteY16" fmla="*/ 1219200 h 6261100"/>
                  <a:gd name="connsiteX17" fmla="*/ 1955800 w 3314700"/>
                  <a:gd name="connsiteY17" fmla="*/ 2324100 h 6261100"/>
                  <a:gd name="connsiteX18" fmla="*/ 2971800 w 3314700"/>
                  <a:gd name="connsiteY18" fmla="*/ 6248400 h 6261100"/>
                  <a:gd name="connsiteX19" fmla="*/ 3111500 w 3314700"/>
                  <a:gd name="connsiteY19" fmla="*/ 6172200 h 6261100"/>
                  <a:gd name="connsiteX20" fmla="*/ 2095500 w 3314700"/>
                  <a:gd name="connsiteY20" fmla="*/ 2362200 h 6261100"/>
                  <a:gd name="connsiteX21" fmla="*/ 2077720 w 3314700"/>
                  <a:gd name="connsiteY21" fmla="*/ 1419860 h 6261100"/>
                  <a:gd name="connsiteX22" fmla="*/ 3241040 w 3314700"/>
                  <a:gd name="connsiteY22" fmla="*/ 1445260 h 6261100"/>
                  <a:gd name="connsiteX23" fmla="*/ 3314700 w 3314700"/>
                  <a:gd name="connsiteY23" fmla="*/ 1224280 h 6261100"/>
                  <a:gd name="connsiteX24" fmla="*/ 2070100 w 3314700"/>
                  <a:gd name="connsiteY24" fmla="*/ 596900 h 6261100"/>
                  <a:gd name="connsiteX25" fmla="*/ 1879600 w 3314700"/>
                  <a:gd name="connsiteY25" fmla="*/ 0 h 6261100"/>
                  <a:gd name="connsiteX26" fmla="*/ 1524000 w 3314700"/>
                  <a:gd name="connsiteY26"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1379220 w 3314700"/>
                  <a:gd name="connsiteY9" fmla="*/ 2354580 h 6261100"/>
                  <a:gd name="connsiteX10" fmla="*/ 1369060 w 3314700"/>
                  <a:gd name="connsiteY10" fmla="*/ 1211580 h 6261100"/>
                  <a:gd name="connsiteX11" fmla="*/ 464820 w 3314700"/>
                  <a:gd name="connsiteY11" fmla="*/ 1219200 h 6261100"/>
                  <a:gd name="connsiteX12" fmla="*/ 1358900 w 3314700"/>
                  <a:gd name="connsiteY12" fmla="*/ 800100 h 6261100"/>
                  <a:gd name="connsiteX13" fmla="*/ 1696720 w 3314700"/>
                  <a:gd name="connsiteY13" fmla="*/ 154940 h 6261100"/>
                  <a:gd name="connsiteX14" fmla="*/ 1917700 w 3314700"/>
                  <a:gd name="connsiteY14" fmla="*/ 736600 h 6261100"/>
                  <a:gd name="connsiteX15" fmla="*/ 2887980 w 3314700"/>
                  <a:gd name="connsiteY15" fmla="*/ 1231900 h 6261100"/>
                  <a:gd name="connsiteX16" fmla="*/ 1968500 w 3314700"/>
                  <a:gd name="connsiteY16" fmla="*/ 1219200 h 6261100"/>
                  <a:gd name="connsiteX17" fmla="*/ 1955800 w 3314700"/>
                  <a:gd name="connsiteY17" fmla="*/ 2324100 h 6261100"/>
                  <a:gd name="connsiteX18" fmla="*/ 2971800 w 3314700"/>
                  <a:gd name="connsiteY18" fmla="*/ 6248400 h 6261100"/>
                  <a:gd name="connsiteX19" fmla="*/ 3149600 w 3314700"/>
                  <a:gd name="connsiteY19" fmla="*/ 6164580 h 6261100"/>
                  <a:gd name="connsiteX20" fmla="*/ 2095500 w 3314700"/>
                  <a:gd name="connsiteY20" fmla="*/ 2362200 h 6261100"/>
                  <a:gd name="connsiteX21" fmla="*/ 2077720 w 3314700"/>
                  <a:gd name="connsiteY21" fmla="*/ 1419860 h 6261100"/>
                  <a:gd name="connsiteX22" fmla="*/ 3241040 w 3314700"/>
                  <a:gd name="connsiteY22" fmla="*/ 1445260 h 6261100"/>
                  <a:gd name="connsiteX23" fmla="*/ 3314700 w 3314700"/>
                  <a:gd name="connsiteY23" fmla="*/ 1224280 h 6261100"/>
                  <a:gd name="connsiteX24" fmla="*/ 2070100 w 3314700"/>
                  <a:gd name="connsiteY24" fmla="*/ 596900 h 6261100"/>
                  <a:gd name="connsiteX25" fmla="*/ 1879600 w 3314700"/>
                  <a:gd name="connsiteY25" fmla="*/ 0 h 6261100"/>
                  <a:gd name="connsiteX26" fmla="*/ 1524000 w 3314700"/>
                  <a:gd name="connsiteY26" fmla="*/ 0 h 626110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31800 w 3314700"/>
                  <a:gd name="connsiteY8" fmla="*/ 6261100 h 6263640"/>
                  <a:gd name="connsiteX9" fmla="*/ 137922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85140 w 3314700"/>
                  <a:gd name="connsiteY8" fmla="*/ 6253480 h 6263640"/>
                  <a:gd name="connsiteX9" fmla="*/ 137922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37922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110740 w 3314700"/>
                  <a:gd name="connsiteY20" fmla="*/ 231648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087880 w 3314700"/>
                  <a:gd name="connsiteY20" fmla="*/ 231648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110740 w 3314700"/>
                  <a:gd name="connsiteY20" fmla="*/ 23241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110740 w 3314700"/>
                  <a:gd name="connsiteY20" fmla="*/ 2324100 h 6263640"/>
                  <a:gd name="connsiteX21" fmla="*/ 21158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641052 w 3431752"/>
                  <a:gd name="connsiteY0" fmla="*/ 0 h 6263640"/>
                  <a:gd name="connsiteX1" fmla="*/ 1641052 w 3431752"/>
                  <a:gd name="connsiteY1" fmla="*/ 0 h 6263640"/>
                  <a:gd name="connsiteX2" fmla="*/ 1414992 w 3431752"/>
                  <a:gd name="connsiteY2" fmla="*/ 579120 h 6263640"/>
                  <a:gd name="connsiteX3" fmla="*/ 127212 w 3431752"/>
                  <a:gd name="connsiteY3" fmla="*/ 1196340 h 6263640"/>
                  <a:gd name="connsiteX4" fmla="*/ 117052 w 3431752"/>
                  <a:gd name="connsiteY4" fmla="*/ 1455420 h 6263640"/>
                  <a:gd name="connsiteX5" fmla="*/ 1356572 w 3431752"/>
                  <a:gd name="connsiteY5" fmla="*/ 1460500 h 6263640"/>
                  <a:gd name="connsiteX6" fmla="*/ 1338792 w 3431752"/>
                  <a:gd name="connsiteY6" fmla="*/ 2407920 h 6263640"/>
                  <a:gd name="connsiteX7" fmla="*/ 383752 w 3431752"/>
                  <a:gd name="connsiteY7" fmla="*/ 6248400 h 6263640"/>
                  <a:gd name="connsiteX8" fmla="*/ 571712 w 3431752"/>
                  <a:gd name="connsiteY8" fmla="*/ 6253480 h 6263640"/>
                  <a:gd name="connsiteX9" fmla="*/ 1526752 w 3431752"/>
                  <a:gd name="connsiteY9" fmla="*/ 2354580 h 6263640"/>
                  <a:gd name="connsiteX10" fmla="*/ 1486112 w 3431752"/>
                  <a:gd name="connsiteY10" fmla="*/ 1211580 h 6263640"/>
                  <a:gd name="connsiteX11" fmla="*/ 581872 w 3431752"/>
                  <a:gd name="connsiteY11" fmla="*/ 1219200 h 6263640"/>
                  <a:gd name="connsiteX12" fmla="*/ 1475952 w 3431752"/>
                  <a:gd name="connsiteY12" fmla="*/ 800100 h 6263640"/>
                  <a:gd name="connsiteX13" fmla="*/ 1813772 w 3431752"/>
                  <a:gd name="connsiteY13" fmla="*/ 154940 h 6263640"/>
                  <a:gd name="connsiteX14" fmla="*/ 2034752 w 3431752"/>
                  <a:gd name="connsiteY14" fmla="*/ 736600 h 6263640"/>
                  <a:gd name="connsiteX15" fmla="*/ 3005032 w 3431752"/>
                  <a:gd name="connsiteY15" fmla="*/ 1231900 h 6263640"/>
                  <a:gd name="connsiteX16" fmla="*/ 2085552 w 3431752"/>
                  <a:gd name="connsiteY16" fmla="*/ 1219200 h 6263640"/>
                  <a:gd name="connsiteX17" fmla="*/ 2080472 w 3431752"/>
                  <a:gd name="connsiteY17" fmla="*/ 2324100 h 6263640"/>
                  <a:gd name="connsiteX18" fmla="*/ 3073612 w 3431752"/>
                  <a:gd name="connsiteY18" fmla="*/ 6263640 h 6263640"/>
                  <a:gd name="connsiteX19" fmla="*/ 3266652 w 3431752"/>
                  <a:gd name="connsiteY19" fmla="*/ 6164580 h 6263640"/>
                  <a:gd name="connsiteX20" fmla="*/ 2227792 w 3431752"/>
                  <a:gd name="connsiteY20" fmla="*/ 2324100 h 6263640"/>
                  <a:gd name="connsiteX21" fmla="*/ 2232872 w 3431752"/>
                  <a:gd name="connsiteY21" fmla="*/ 1419860 h 6263640"/>
                  <a:gd name="connsiteX22" fmla="*/ 3358092 w 3431752"/>
                  <a:gd name="connsiteY22" fmla="*/ 1445260 h 6263640"/>
                  <a:gd name="connsiteX23" fmla="*/ 3431752 w 3431752"/>
                  <a:gd name="connsiteY23" fmla="*/ 1224280 h 6263640"/>
                  <a:gd name="connsiteX24" fmla="*/ 2187152 w 3431752"/>
                  <a:gd name="connsiteY24" fmla="*/ 596900 h 6263640"/>
                  <a:gd name="connsiteX25" fmla="*/ 1996652 w 3431752"/>
                  <a:gd name="connsiteY25" fmla="*/ 0 h 6263640"/>
                  <a:gd name="connsiteX26" fmla="*/ 1641052 w 3431752"/>
                  <a:gd name="connsiteY26" fmla="*/ 0 h 6263640"/>
                  <a:gd name="connsiteX0" fmla="*/ 1663488 w 3454188"/>
                  <a:gd name="connsiteY0" fmla="*/ 0 h 6263640"/>
                  <a:gd name="connsiteX1" fmla="*/ 1663488 w 3454188"/>
                  <a:gd name="connsiteY1" fmla="*/ 0 h 6263640"/>
                  <a:gd name="connsiteX2" fmla="*/ 1437428 w 3454188"/>
                  <a:gd name="connsiteY2" fmla="*/ 579120 h 6263640"/>
                  <a:gd name="connsiteX3" fmla="*/ 149648 w 3454188"/>
                  <a:gd name="connsiteY3" fmla="*/ 1196340 h 6263640"/>
                  <a:gd name="connsiteX4" fmla="*/ 139488 w 3454188"/>
                  <a:gd name="connsiteY4" fmla="*/ 1455420 h 6263640"/>
                  <a:gd name="connsiteX5" fmla="*/ 1379008 w 3454188"/>
                  <a:gd name="connsiteY5" fmla="*/ 1460500 h 6263640"/>
                  <a:gd name="connsiteX6" fmla="*/ 1361228 w 3454188"/>
                  <a:gd name="connsiteY6" fmla="*/ 2407920 h 6263640"/>
                  <a:gd name="connsiteX7" fmla="*/ 406188 w 3454188"/>
                  <a:gd name="connsiteY7" fmla="*/ 6248400 h 6263640"/>
                  <a:gd name="connsiteX8" fmla="*/ 594148 w 3454188"/>
                  <a:gd name="connsiteY8" fmla="*/ 6253480 h 6263640"/>
                  <a:gd name="connsiteX9" fmla="*/ 1549188 w 3454188"/>
                  <a:gd name="connsiteY9" fmla="*/ 2354580 h 6263640"/>
                  <a:gd name="connsiteX10" fmla="*/ 1508548 w 3454188"/>
                  <a:gd name="connsiteY10" fmla="*/ 1211580 h 6263640"/>
                  <a:gd name="connsiteX11" fmla="*/ 604308 w 3454188"/>
                  <a:gd name="connsiteY11" fmla="*/ 1219200 h 6263640"/>
                  <a:gd name="connsiteX12" fmla="*/ 1498388 w 3454188"/>
                  <a:gd name="connsiteY12" fmla="*/ 800100 h 6263640"/>
                  <a:gd name="connsiteX13" fmla="*/ 1836208 w 3454188"/>
                  <a:gd name="connsiteY13" fmla="*/ 154940 h 6263640"/>
                  <a:gd name="connsiteX14" fmla="*/ 2057188 w 3454188"/>
                  <a:gd name="connsiteY14" fmla="*/ 736600 h 6263640"/>
                  <a:gd name="connsiteX15" fmla="*/ 3027468 w 3454188"/>
                  <a:gd name="connsiteY15" fmla="*/ 1231900 h 6263640"/>
                  <a:gd name="connsiteX16" fmla="*/ 2107988 w 3454188"/>
                  <a:gd name="connsiteY16" fmla="*/ 1219200 h 6263640"/>
                  <a:gd name="connsiteX17" fmla="*/ 2102908 w 3454188"/>
                  <a:gd name="connsiteY17" fmla="*/ 2324100 h 6263640"/>
                  <a:gd name="connsiteX18" fmla="*/ 3096048 w 3454188"/>
                  <a:gd name="connsiteY18" fmla="*/ 6263640 h 6263640"/>
                  <a:gd name="connsiteX19" fmla="*/ 3289088 w 3454188"/>
                  <a:gd name="connsiteY19" fmla="*/ 6164580 h 6263640"/>
                  <a:gd name="connsiteX20" fmla="*/ 2250228 w 3454188"/>
                  <a:gd name="connsiteY20" fmla="*/ 2324100 h 6263640"/>
                  <a:gd name="connsiteX21" fmla="*/ 2255308 w 3454188"/>
                  <a:gd name="connsiteY21" fmla="*/ 1419860 h 6263640"/>
                  <a:gd name="connsiteX22" fmla="*/ 3380528 w 3454188"/>
                  <a:gd name="connsiteY22" fmla="*/ 1445260 h 6263640"/>
                  <a:gd name="connsiteX23" fmla="*/ 3454188 w 3454188"/>
                  <a:gd name="connsiteY23" fmla="*/ 1224280 h 6263640"/>
                  <a:gd name="connsiteX24" fmla="*/ 2209588 w 3454188"/>
                  <a:gd name="connsiteY24" fmla="*/ 596900 h 6263640"/>
                  <a:gd name="connsiteX25" fmla="*/ 2019088 w 3454188"/>
                  <a:gd name="connsiteY25" fmla="*/ 0 h 6263640"/>
                  <a:gd name="connsiteX26" fmla="*/ 1663488 w 3454188"/>
                  <a:gd name="connsiteY26" fmla="*/ 0 h 6263640"/>
                  <a:gd name="connsiteX0" fmla="*/ 1663488 w 3653473"/>
                  <a:gd name="connsiteY0" fmla="*/ 0 h 6263640"/>
                  <a:gd name="connsiteX1" fmla="*/ 1663488 w 3653473"/>
                  <a:gd name="connsiteY1" fmla="*/ 0 h 6263640"/>
                  <a:gd name="connsiteX2" fmla="*/ 1437428 w 3653473"/>
                  <a:gd name="connsiteY2" fmla="*/ 579120 h 6263640"/>
                  <a:gd name="connsiteX3" fmla="*/ 149648 w 3653473"/>
                  <a:gd name="connsiteY3" fmla="*/ 1196340 h 6263640"/>
                  <a:gd name="connsiteX4" fmla="*/ 139488 w 3653473"/>
                  <a:gd name="connsiteY4" fmla="*/ 1455420 h 6263640"/>
                  <a:gd name="connsiteX5" fmla="*/ 1379008 w 3653473"/>
                  <a:gd name="connsiteY5" fmla="*/ 1460500 h 6263640"/>
                  <a:gd name="connsiteX6" fmla="*/ 1361228 w 3653473"/>
                  <a:gd name="connsiteY6" fmla="*/ 2407920 h 6263640"/>
                  <a:gd name="connsiteX7" fmla="*/ 406188 w 3653473"/>
                  <a:gd name="connsiteY7" fmla="*/ 6248400 h 6263640"/>
                  <a:gd name="connsiteX8" fmla="*/ 594148 w 3653473"/>
                  <a:gd name="connsiteY8" fmla="*/ 6253480 h 6263640"/>
                  <a:gd name="connsiteX9" fmla="*/ 1549188 w 3653473"/>
                  <a:gd name="connsiteY9" fmla="*/ 2354580 h 6263640"/>
                  <a:gd name="connsiteX10" fmla="*/ 1508548 w 3653473"/>
                  <a:gd name="connsiteY10" fmla="*/ 1211580 h 6263640"/>
                  <a:gd name="connsiteX11" fmla="*/ 604308 w 3653473"/>
                  <a:gd name="connsiteY11" fmla="*/ 1219200 h 6263640"/>
                  <a:gd name="connsiteX12" fmla="*/ 1498388 w 3653473"/>
                  <a:gd name="connsiteY12" fmla="*/ 800100 h 6263640"/>
                  <a:gd name="connsiteX13" fmla="*/ 1836208 w 3653473"/>
                  <a:gd name="connsiteY13" fmla="*/ 154940 h 6263640"/>
                  <a:gd name="connsiteX14" fmla="*/ 2057188 w 3653473"/>
                  <a:gd name="connsiteY14" fmla="*/ 736600 h 6263640"/>
                  <a:gd name="connsiteX15" fmla="*/ 3027468 w 3653473"/>
                  <a:gd name="connsiteY15" fmla="*/ 1231900 h 6263640"/>
                  <a:gd name="connsiteX16" fmla="*/ 2107988 w 3653473"/>
                  <a:gd name="connsiteY16" fmla="*/ 1219200 h 6263640"/>
                  <a:gd name="connsiteX17" fmla="*/ 2102908 w 3653473"/>
                  <a:gd name="connsiteY17" fmla="*/ 2324100 h 6263640"/>
                  <a:gd name="connsiteX18" fmla="*/ 3096048 w 3653473"/>
                  <a:gd name="connsiteY18" fmla="*/ 6263640 h 6263640"/>
                  <a:gd name="connsiteX19" fmla="*/ 3289088 w 3653473"/>
                  <a:gd name="connsiteY19" fmla="*/ 6164580 h 6263640"/>
                  <a:gd name="connsiteX20" fmla="*/ 2250228 w 3653473"/>
                  <a:gd name="connsiteY20" fmla="*/ 2324100 h 6263640"/>
                  <a:gd name="connsiteX21" fmla="*/ 2255308 w 3653473"/>
                  <a:gd name="connsiteY21" fmla="*/ 1419860 h 6263640"/>
                  <a:gd name="connsiteX22" fmla="*/ 3380528 w 3653473"/>
                  <a:gd name="connsiteY22" fmla="*/ 1445260 h 6263640"/>
                  <a:gd name="connsiteX23" fmla="*/ 3454188 w 3653473"/>
                  <a:gd name="connsiteY23" fmla="*/ 1224280 h 6263640"/>
                  <a:gd name="connsiteX24" fmla="*/ 2209588 w 3653473"/>
                  <a:gd name="connsiteY24" fmla="*/ 596900 h 6263640"/>
                  <a:gd name="connsiteX25" fmla="*/ 2019088 w 3653473"/>
                  <a:gd name="connsiteY25" fmla="*/ 0 h 6263640"/>
                  <a:gd name="connsiteX26" fmla="*/ 1663488 w 3653473"/>
                  <a:gd name="connsiteY26" fmla="*/ 0 h 6263640"/>
                  <a:gd name="connsiteX0" fmla="*/ 1663488 w 3653473"/>
                  <a:gd name="connsiteY0" fmla="*/ 0 h 6263640"/>
                  <a:gd name="connsiteX1" fmla="*/ 1663488 w 3653473"/>
                  <a:gd name="connsiteY1" fmla="*/ 0 h 6263640"/>
                  <a:gd name="connsiteX2" fmla="*/ 1437428 w 3653473"/>
                  <a:gd name="connsiteY2" fmla="*/ 579120 h 6263640"/>
                  <a:gd name="connsiteX3" fmla="*/ 149648 w 3653473"/>
                  <a:gd name="connsiteY3" fmla="*/ 1196340 h 6263640"/>
                  <a:gd name="connsiteX4" fmla="*/ 139488 w 3653473"/>
                  <a:gd name="connsiteY4" fmla="*/ 1455420 h 6263640"/>
                  <a:gd name="connsiteX5" fmla="*/ 1379008 w 3653473"/>
                  <a:gd name="connsiteY5" fmla="*/ 1460500 h 6263640"/>
                  <a:gd name="connsiteX6" fmla="*/ 1361228 w 3653473"/>
                  <a:gd name="connsiteY6" fmla="*/ 2407920 h 6263640"/>
                  <a:gd name="connsiteX7" fmla="*/ 406188 w 3653473"/>
                  <a:gd name="connsiteY7" fmla="*/ 6248400 h 6263640"/>
                  <a:gd name="connsiteX8" fmla="*/ 594148 w 3653473"/>
                  <a:gd name="connsiteY8" fmla="*/ 6253480 h 6263640"/>
                  <a:gd name="connsiteX9" fmla="*/ 1549188 w 3653473"/>
                  <a:gd name="connsiteY9" fmla="*/ 2354580 h 6263640"/>
                  <a:gd name="connsiteX10" fmla="*/ 1508548 w 3653473"/>
                  <a:gd name="connsiteY10" fmla="*/ 1211580 h 6263640"/>
                  <a:gd name="connsiteX11" fmla="*/ 604308 w 3653473"/>
                  <a:gd name="connsiteY11" fmla="*/ 1219200 h 6263640"/>
                  <a:gd name="connsiteX12" fmla="*/ 1498388 w 3653473"/>
                  <a:gd name="connsiteY12" fmla="*/ 800100 h 6263640"/>
                  <a:gd name="connsiteX13" fmla="*/ 1836208 w 3653473"/>
                  <a:gd name="connsiteY13" fmla="*/ 154940 h 6263640"/>
                  <a:gd name="connsiteX14" fmla="*/ 2057188 w 3653473"/>
                  <a:gd name="connsiteY14" fmla="*/ 736600 h 6263640"/>
                  <a:gd name="connsiteX15" fmla="*/ 3027468 w 3653473"/>
                  <a:gd name="connsiteY15" fmla="*/ 1231900 h 6263640"/>
                  <a:gd name="connsiteX16" fmla="*/ 2107988 w 3653473"/>
                  <a:gd name="connsiteY16" fmla="*/ 1219200 h 6263640"/>
                  <a:gd name="connsiteX17" fmla="*/ 2102908 w 3653473"/>
                  <a:gd name="connsiteY17" fmla="*/ 2324100 h 6263640"/>
                  <a:gd name="connsiteX18" fmla="*/ 3096048 w 3653473"/>
                  <a:gd name="connsiteY18" fmla="*/ 6263640 h 6263640"/>
                  <a:gd name="connsiteX19" fmla="*/ 3289088 w 3653473"/>
                  <a:gd name="connsiteY19" fmla="*/ 6164580 h 6263640"/>
                  <a:gd name="connsiteX20" fmla="*/ 2250228 w 3653473"/>
                  <a:gd name="connsiteY20" fmla="*/ 2324100 h 6263640"/>
                  <a:gd name="connsiteX21" fmla="*/ 2255308 w 3653473"/>
                  <a:gd name="connsiteY21" fmla="*/ 1419860 h 6263640"/>
                  <a:gd name="connsiteX22" fmla="*/ 3380528 w 3653473"/>
                  <a:gd name="connsiteY22" fmla="*/ 1445260 h 6263640"/>
                  <a:gd name="connsiteX23" fmla="*/ 3454188 w 3653473"/>
                  <a:gd name="connsiteY23" fmla="*/ 1224280 h 6263640"/>
                  <a:gd name="connsiteX24" fmla="*/ 2209588 w 3653473"/>
                  <a:gd name="connsiteY24" fmla="*/ 596900 h 6263640"/>
                  <a:gd name="connsiteX25" fmla="*/ 2019088 w 3653473"/>
                  <a:gd name="connsiteY25" fmla="*/ 0 h 6263640"/>
                  <a:gd name="connsiteX26" fmla="*/ 1663488 w 3653473"/>
                  <a:gd name="connsiteY26" fmla="*/ 0 h 6263640"/>
                  <a:gd name="connsiteX0" fmla="*/ 1663488 w 3653473"/>
                  <a:gd name="connsiteY0" fmla="*/ 142875 h 6406515"/>
                  <a:gd name="connsiteX1" fmla="*/ 1663488 w 3653473"/>
                  <a:gd name="connsiteY1" fmla="*/ 142875 h 6406515"/>
                  <a:gd name="connsiteX2" fmla="*/ 1437428 w 3653473"/>
                  <a:gd name="connsiteY2" fmla="*/ 721995 h 6406515"/>
                  <a:gd name="connsiteX3" fmla="*/ 149648 w 3653473"/>
                  <a:gd name="connsiteY3" fmla="*/ 1339215 h 6406515"/>
                  <a:gd name="connsiteX4" fmla="*/ 139488 w 3653473"/>
                  <a:gd name="connsiteY4" fmla="*/ 1598295 h 6406515"/>
                  <a:gd name="connsiteX5" fmla="*/ 1379008 w 3653473"/>
                  <a:gd name="connsiteY5" fmla="*/ 1603375 h 6406515"/>
                  <a:gd name="connsiteX6" fmla="*/ 1361228 w 3653473"/>
                  <a:gd name="connsiteY6" fmla="*/ 2550795 h 6406515"/>
                  <a:gd name="connsiteX7" fmla="*/ 406188 w 3653473"/>
                  <a:gd name="connsiteY7" fmla="*/ 6391275 h 6406515"/>
                  <a:gd name="connsiteX8" fmla="*/ 594148 w 3653473"/>
                  <a:gd name="connsiteY8" fmla="*/ 6396355 h 6406515"/>
                  <a:gd name="connsiteX9" fmla="*/ 1549188 w 3653473"/>
                  <a:gd name="connsiteY9" fmla="*/ 2497455 h 6406515"/>
                  <a:gd name="connsiteX10" fmla="*/ 1508548 w 3653473"/>
                  <a:gd name="connsiteY10" fmla="*/ 1354455 h 6406515"/>
                  <a:gd name="connsiteX11" fmla="*/ 604308 w 3653473"/>
                  <a:gd name="connsiteY11" fmla="*/ 1362075 h 6406515"/>
                  <a:gd name="connsiteX12" fmla="*/ 1498388 w 3653473"/>
                  <a:gd name="connsiteY12" fmla="*/ 942975 h 6406515"/>
                  <a:gd name="connsiteX13" fmla="*/ 1836208 w 3653473"/>
                  <a:gd name="connsiteY13" fmla="*/ 297815 h 6406515"/>
                  <a:gd name="connsiteX14" fmla="*/ 2057188 w 3653473"/>
                  <a:gd name="connsiteY14" fmla="*/ 879475 h 6406515"/>
                  <a:gd name="connsiteX15" fmla="*/ 3027468 w 3653473"/>
                  <a:gd name="connsiteY15" fmla="*/ 1374775 h 6406515"/>
                  <a:gd name="connsiteX16" fmla="*/ 2107988 w 3653473"/>
                  <a:gd name="connsiteY16" fmla="*/ 1362075 h 6406515"/>
                  <a:gd name="connsiteX17" fmla="*/ 2102908 w 3653473"/>
                  <a:gd name="connsiteY17" fmla="*/ 2466975 h 6406515"/>
                  <a:gd name="connsiteX18" fmla="*/ 3096048 w 3653473"/>
                  <a:gd name="connsiteY18" fmla="*/ 6406515 h 6406515"/>
                  <a:gd name="connsiteX19" fmla="*/ 3289088 w 3653473"/>
                  <a:gd name="connsiteY19" fmla="*/ 6307455 h 6406515"/>
                  <a:gd name="connsiteX20" fmla="*/ 2250228 w 3653473"/>
                  <a:gd name="connsiteY20" fmla="*/ 2466975 h 6406515"/>
                  <a:gd name="connsiteX21" fmla="*/ 2255308 w 3653473"/>
                  <a:gd name="connsiteY21" fmla="*/ 1562735 h 6406515"/>
                  <a:gd name="connsiteX22" fmla="*/ 3380528 w 3653473"/>
                  <a:gd name="connsiteY22" fmla="*/ 1588135 h 6406515"/>
                  <a:gd name="connsiteX23" fmla="*/ 3454188 w 3653473"/>
                  <a:gd name="connsiteY23" fmla="*/ 1367155 h 6406515"/>
                  <a:gd name="connsiteX24" fmla="*/ 2209588 w 3653473"/>
                  <a:gd name="connsiteY24" fmla="*/ 739775 h 6406515"/>
                  <a:gd name="connsiteX25" fmla="*/ 2019088 w 3653473"/>
                  <a:gd name="connsiteY25" fmla="*/ 142875 h 6406515"/>
                  <a:gd name="connsiteX26" fmla="*/ 1663488 w 3653473"/>
                  <a:gd name="connsiteY26" fmla="*/ 142875 h 6406515"/>
                  <a:gd name="connsiteX0" fmla="*/ 1663488 w 3653473"/>
                  <a:gd name="connsiteY0" fmla="*/ 142875 h 6406515"/>
                  <a:gd name="connsiteX1" fmla="*/ 1663488 w 3653473"/>
                  <a:gd name="connsiteY1" fmla="*/ 142875 h 6406515"/>
                  <a:gd name="connsiteX2" fmla="*/ 1437428 w 3653473"/>
                  <a:gd name="connsiteY2" fmla="*/ 721995 h 6406515"/>
                  <a:gd name="connsiteX3" fmla="*/ 149648 w 3653473"/>
                  <a:gd name="connsiteY3" fmla="*/ 1339215 h 6406515"/>
                  <a:gd name="connsiteX4" fmla="*/ 139488 w 3653473"/>
                  <a:gd name="connsiteY4" fmla="*/ 1598295 h 6406515"/>
                  <a:gd name="connsiteX5" fmla="*/ 1379008 w 3653473"/>
                  <a:gd name="connsiteY5" fmla="*/ 1603375 h 6406515"/>
                  <a:gd name="connsiteX6" fmla="*/ 1361228 w 3653473"/>
                  <a:gd name="connsiteY6" fmla="*/ 2550795 h 6406515"/>
                  <a:gd name="connsiteX7" fmla="*/ 406188 w 3653473"/>
                  <a:gd name="connsiteY7" fmla="*/ 6391275 h 6406515"/>
                  <a:gd name="connsiteX8" fmla="*/ 594148 w 3653473"/>
                  <a:gd name="connsiteY8" fmla="*/ 6396355 h 6406515"/>
                  <a:gd name="connsiteX9" fmla="*/ 1549188 w 3653473"/>
                  <a:gd name="connsiteY9" fmla="*/ 2497455 h 6406515"/>
                  <a:gd name="connsiteX10" fmla="*/ 1508548 w 3653473"/>
                  <a:gd name="connsiteY10" fmla="*/ 1354455 h 6406515"/>
                  <a:gd name="connsiteX11" fmla="*/ 604308 w 3653473"/>
                  <a:gd name="connsiteY11" fmla="*/ 1362075 h 6406515"/>
                  <a:gd name="connsiteX12" fmla="*/ 1498388 w 3653473"/>
                  <a:gd name="connsiteY12" fmla="*/ 942975 h 6406515"/>
                  <a:gd name="connsiteX13" fmla="*/ 1836208 w 3653473"/>
                  <a:gd name="connsiteY13" fmla="*/ 297815 h 6406515"/>
                  <a:gd name="connsiteX14" fmla="*/ 2057188 w 3653473"/>
                  <a:gd name="connsiteY14" fmla="*/ 879475 h 6406515"/>
                  <a:gd name="connsiteX15" fmla="*/ 3027468 w 3653473"/>
                  <a:gd name="connsiteY15" fmla="*/ 1374775 h 6406515"/>
                  <a:gd name="connsiteX16" fmla="*/ 2107988 w 3653473"/>
                  <a:gd name="connsiteY16" fmla="*/ 1362075 h 6406515"/>
                  <a:gd name="connsiteX17" fmla="*/ 2102908 w 3653473"/>
                  <a:gd name="connsiteY17" fmla="*/ 2466975 h 6406515"/>
                  <a:gd name="connsiteX18" fmla="*/ 3096048 w 3653473"/>
                  <a:gd name="connsiteY18" fmla="*/ 6406515 h 6406515"/>
                  <a:gd name="connsiteX19" fmla="*/ 3289088 w 3653473"/>
                  <a:gd name="connsiteY19" fmla="*/ 6307455 h 6406515"/>
                  <a:gd name="connsiteX20" fmla="*/ 2250228 w 3653473"/>
                  <a:gd name="connsiteY20" fmla="*/ 2466975 h 6406515"/>
                  <a:gd name="connsiteX21" fmla="*/ 2255308 w 3653473"/>
                  <a:gd name="connsiteY21" fmla="*/ 1562735 h 6406515"/>
                  <a:gd name="connsiteX22" fmla="*/ 3380528 w 3653473"/>
                  <a:gd name="connsiteY22" fmla="*/ 1588135 h 6406515"/>
                  <a:gd name="connsiteX23" fmla="*/ 3454188 w 3653473"/>
                  <a:gd name="connsiteY23" fmla="*/ 1367155 h 6406515"/>
                  <a:gd name="connsiteX24" fmla="*/ 2209588 w 3653473"/>
                  <a:gd name="connsiteY24" fmla="*/ 739775 h 6406515"/>
                  <a:gd name="connsiteX25" fmla="*/ 2019088 w 3653473"/>
                  <a:gd name="connsiteY25" fmla="*/ 142875 h 6406515"/>
                  <a:gd name="connsiteX26" fmla="*/ 1663488 w 3653473"/>
                  <a:gd name="connsiteY26" fmla="*/ 142875 h 6406515"/>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836208 w 3653473"/>
                  <a:gd name="connsiteY13" fmla="*/ 254423 h 6363123"/>
                  <a:gd name="connsiteX14" fmla="*/ 2057188 w 3653473"/>
                  <a:gd name="connsiteY14" fmla="*/ 836083 h 6363123"/>
                  <a:gd name="connsiteX15" fmla="*/ 3027468 w 3653473"/>
                  <a:gd name="connsiteY15" fmla="*/ 1331383 h 6363123"/>
                  <a:gd name="connsiteX16" fmla="*/ 2107988 w 3653473"/>
                  <a:gd name="connsiteY16" fmla="*/ 1318683 h 6363123"/>
                  <a:gd name="connsiteX17" fmla="*/ 2102908 w 3653473"/>
                  <a:gd name="connsiteY17" fmla="*/ 2423583 h 6363123"/>
                  <a:gd name="connsiteX18" fmla="*/ 3096048 w 3653473"/>
                  <a:gd name="connsiteY18" fmla="*/ 6363123 h 6363123"/>
                  <a:gd name="connsiteX19" fmla="*/ 3289088 w 3653473"/>
                  <a:gd name="connsiteY19" fmla="*/ 6264063 h 6363123"/>
                  <a:gd name="connsiteX20" fmla="*/ 2250228 w 3653473"/>
                  <a:gd name="connsiteY20" fmla="*/ 2423583 h 6363123"/>
                  <a:gd name="connsiteX21" fmla="*/ 2255308 w 3653473"/>
                  <a:gd name="connsiteY21" fmla="*/ 1519343 h 6363123"/>
                  <a:gd name="connsiteX22" fmla="*/ 3380528 w 3653473"/>
                  <a:gd name="connsiteY22" fmla="*/ 1544743 h 6363123"/>
                  <a:gd name="connsiteX23" fmla="*/ 3454188 w 3653473"/>
                  <a:gd name="connsiteY23" fmla="*/ 1323763 h 6363123"/>
                  <a:gd name="connsiteX24" fmla="*/ 2209588 w 3653473"/>
                  <a:gd name="connsiteY24" fmla="*/ 696383 h 6363123"/>
                  <a:gd name="connsiteX25" fmla="*/ 2019088 w 3653473"/>
                  <a:gd name="connsiteY25"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36208 w 3653473"/>
                  <a:gd name="connsiteY14" fmla="*/ 25442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80658 w 3653473"/>
                  <a:gd name="connsiteY14" fmla="*/ 36237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80658 w 3653473"/>
                  <a:gd name="connsiteY14" fmla="*/ 36237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80658 w 3653473"/>
                  <a:gd name="connsiteY14" fmla="*/ 36237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52963"/>
                  <a:gd name="connsiteX1" fmla="*/ 1663488 w 3653473"/>
                  <a:gd name="connsiteY1" fmla="*/ 99483 h 6352963"/>
                  <a:gd name="connsiteX2" fmla="*/ 1437428 w 3653473"/>
                  <a:gd name="connsiteY2" fmla="*/ 678603 h 6352963"/>
                  <a:gd name="connsiteX3" fmla="*/ 149648 w 3653473"/>
                  <a:gd name="connsiteY3" fmla="*/ 1295823 h 6352963"/>
                  <a:gd name="connsiteX4" fmla="*/ 139488 w 3653473"/>
                  <a:gd name="connsiteY4" fmla="*/ 1554903 h 6352963"/>
                  <a:gd name="connsiteX5" fmla="*/ 1379008 w 3653473"/>
                  <a:gd name="connsiteY5" fmla="*/ 1559983 h 6352963"/>
                  <a:gd name="connsiteX6" fmla="*/ 1361228 w 3653473"/>
                  <a:gd name="connsiteY6" fmla="*/ 2507403 h 6352963"/>
                  <a:gd name="connsiteX7" fmla="*/ 406188 w 3653473"/>
                  <a:gd name="connsiteY7" fmla="*/ 6347883 h 6352963"/>
                  <a:gd name="connsiteX8" fmla="*/ 594148 w 3653473"/>
                  <a:gd name="connsiteY8" fmla="*/ 6352963 h 6352963"/>
                  <a:gd name="connsiteX9" fmla="*/ 1549188 w 3653473"/>
                  <a:gd name="connsiteY9" fmla="*/ 2454063 h 6352963"/>
                  <a:gd name="connsiteX10" fmla="*/ 1508548 w 3653473"/>
                  <a:gd name="connsiteY10" fmla="*/ 1311063 h 6352963"/>
                  <a:gd name="connsiteX11" fmla="*/ 604308 w 3653473"/>
                  <a:gd name="connsiteY11" fmla="*/ 1318683 h 6352963"/>
                  <a:gd name="connsiteX12" fmla="*/ 1498388 w 3653473"/>
                  <a:gd name="connsiteY12" fmla="*/ 899583 h 6352963"/>
                  <a:gd name="connsiteX13" fmla="*/ 1758738 w 3653473"/>
                  <a:gd name="connsiteY13" fmla="*/ 366184 h 6352963"/>
                  <a:gd name="connsiteX14" fmla="*/ 1880658 w 3653473"/>
                  <a:gd name="connsiteY14" fmla="*/ 362373 h 6352963"/>
                  <a:gd name="connsiteX15" fmla="*/ 2057188 w 3653473"/>
                  <a:gd name="connsiteY15" fmla="*/ 836083 h 6352963"/>
                  <a:gd name="connsiteX16" fmla="*/ 3027468 w 3653473"/>
                  <a:gd name="connsiteY16" fmla="*/ 1331383 h 6352963"/>
                  <a:gd name="connsiteX17" fmla="*/ 2107988 w 3653473"/>
                  <a:gd name="connsiteY17" fmla="*/ 1318683 h 6352963"/>
                  <a:gd name="connsiteX18" fmla="*/ 2102908 w 3653473"/>
                  <a:gd name="connsiteY18" fmla="*/ 2423583 h 6352963"/>
                  <a:gd name="connsiteX19" fmla="*/ 3083348 w 3653473"/>
                  <a:gd name="connsiteY19" fmla="*/ 6261523 h 6352963"/>
                  <a:gd name="connsiteX20" fmla="*/ 3289088 w 3653473"/>
                  <a:gd name="connsiteY20" fmla="*/ 6264063 h 6352963"/>
                  <a:gd name="connsiteX21" fmla="*/ 2250228 w 3653473"/>
                  <a:gd name="connsiteY21" fmla="*/ 2423583 h 6352963"/>
                  <a:gd name="connsiteX22" fmla="*/ 2255308 w 3653473"/>
                  <a:gd name="connsiteY22" fmla="*/ 1519343 h 6352963"/>
                  <a:gd name="connsiteX23" fmla="*/ 3380528 w 3653473"/>
                  <a:gd name="connsiteY23" fmla="*/ 1544743 h 6352963"/>
                  <a:gd name="connsiteX24" fmla="*/ 3454188 w 3653473"/>
                  <a:gd name="connsiteY24" fmla="*/ 1323763 h 6352963"/>
                  <a:gd name="connsiteX25" fmla="*/ 2209588 w 3653473"/>
                  <a:gd name="connsiteY25" fmla="*/ 696383 h 6352963"/>
                  <a:gd name="connsiteX26" fmla="*/ 2019088 w 3653473"/>
                  <a:gd name="connsiteY26" fmla="*/ 99483 h 6352963"/>
                  <a:gd name="connsiteX0" fmla="*/ 2019088 w 3653473"/>
                  <a:gd name="connsiteY0" fmla="*/ 99483 h 6441016"/>
                  <a:gd name="connsiteX1" fmla="*/ 1663488 w 3653473"/>
                  <a:gd name="connsiteY1" fmla="*/ 99483 h 6441016"/>
                  <a:gd name="connsiteX2" fmla="*/ 1437428 w 3653473"/>
                  <a:gd name="connsiteY2" fmla="*/ 678603 h 6441016"/>
                  <a:gd name="connsiteX3" fmla="*/ 149648 w 3653473"/>
                  <a:gd name="connsiteY3" fmla="*/ 1295823 h 6441016"/>
                  <a:gd name="connsiteX4" fmla="*/ 139488 w 3653473"/>
                  <a:gd name="connsiteY4" fmla="*/ 1554903 h 6441016"/>
                  <a:gd name="connsiteX5" fmla="*/ 1379008 w 3653473"/>
                  <a:gd name="connsiteY5" fmla="*/ 1559983 h 6441016"/>
                  <a:gd name="connsiteX6" fmla="*/ 1361228 w 3653473"/>
                  <a:gd name="connsiteY6" fmla="*/ 2507403 h 6441016"/>
                  <a:gd name="connsiteX7" fmla="*/ 406188 w 3653473"/>
                  <a:gd name="connsiteY7" fmla="*/ 6347883 h 6441016"/>
                  <a:gd name="connsiteX8" fmla="*/ 594148 w 3653473"/>
                  <a:gd name="connsiteY8" fmla="*/ 6352963 h 6441016"/>
                  <a:gd name="connsiteX9" fmla="*/ 1549188 w 3653473"/>
                  <a:gd name="connsiteY9" fmla="*/ 2454063 h 6441016"/>
                  <a:gd name="connsiteX10" fmla="*/ 1508548 w 3653473"/>
                  <a:gd name="connsiteY10" fmla="*/ 1311063 h 6441016"/>
                  <a:gd name="connsiteX11" fmla="*/ 604308 w 3653473"/>
                  <a:gd name="connsiteY11" fmla="*/ 1318683 h 6441016"/>
                  <a:gd name="connsiteX12" fmla="*/ 1498388 w 3653473"/>
                  <a:gd name="connsiteY12" fmla="*/ 899583 h 6441016"/>
                  <a:gd name="connsiteX13" fmla="*/ 1758738 w 3653473"/>
                  <a:gd name="connsiteY13" fmla="*/ 366184 h 6441016"/>
                  <a:gd name="connsiteX14" fmla="*/ 1880658 w 3653473"/>
                  <a:gd name="connsiteY14" fmla="*/ 362373 h 6441016"/>
                  <a:gd name="connsiteX15" fmla="*/ 2057188 w 3653473"/>
                  <a:gd name="connsiteY15" fmla="*/ 836083 h 6441016"/>
                  <a:gd name="connsiteX16" fmla="*/ 3027468 w 3653473"/>
                  <a:gd name="connsiteY16" fmla="*/ 1331383 h 6441016"/>
                  <a:gd name="connsiteX17" fmla="*/ 2107988 w 3653473"/>
                  <a:gd name="connsiteY17" fmla="*/ 1318683 h 6441016"/>
                  <a:gd name="connsiteX18" fmla="*/ 2102908 w 3653473"/>
                  <a:gd name="connsiteY18" fmla="*/ 2423583 h 6441016"/>
                  <a:gd name="connsiteX19" fmla="*/ 3083348 w 3653473"/>
                  <a:gd name="connsiteY19" fmla="*/ 6261523 h 6441016"/>
                  <a:gd name="connsiteX20" fmla="*/ 3289088 w 3653473"/>
                  <a:gd name="connsiteY20" fmla="*/ 6264063 h 6441016"/>
                  <a:gd name="connsiteX21" fmla="*/ 2250228 w 3653473"/>
                  <a:gd name="connsiteY21" fmla="*/ 2423583 h 6441016"/>
                  <a:gd name="connsiteX22" fmla="*/ 2255308 w 3653473"/>
                  <a:gd name="connsiteY22" fmla="*/ 1519343 h 6441016"/>
                  <a:gd name="connsiteX23" fmla="*/ 3380528 w 3653473"/>
                  <a:gd name="connsiteY23" fmla="*/ 1544743 h 6441016"/>
                  <a:gd name="connsiteX24" fmla="*/ 3454188 w 3653473"/>
                  <a:gd name="connsiteY24" fmla="*/ 1323763 h 6441016"/>
                  <a:gd name="connsiteX25" fmla="*/ 2209588 w 3653473"/>
                  <a:gd name="connsiteY25" fmla="*/ 696383 h 6441016"/>
                  <a:gd name="connsiteX26" fmla="*/ 2019088 w 3653473"/>
                  <a:gd name="connsiteY26" fmla="*/ 99483 h 6441016"/>
                  <a:gd name="connsiteX0" fmla="*/ 2019088 w 3653473"/>
                  <a:gd name="connsiteY0" fmla="*/ 99483 h 6441016"/>
                  <a:gd name="connsiteX1" fmla="*/ 1663488 w 3653473"/>
                  <a:gd name="connsiteY1" fmla="*/ 99483 h 6441016"/>
                  <a:gd name="connsiteX2" fmla="*/ 1437428 w 3653473"/>
                  <a:gd name="connsiteY2" fmla="*/ 678603 h 6441016"/>
                  <a:gd name="connsiteX3" fmla="*/ 149648 w 3653473"/>
                  <a:gd name="connsiteY3" fmla="*/ 1295823 h 6441016"/>
                  <a:gd name="connsiteX4" fmla="*/ 139488 w 3653473"/>
                  <a:gd name="connsiteY4" fmla="*/ 1554903 h 6441016"/>
                  <a:gd name="connsiteX5" fmla="*/ 1379008 w 3653473"/>
                  <a:gd name="connsiteY5" fmla="*/ 1559983 h 6441016"/>
                  <a:gd name="connsiteX6" fmla="*/ 1361228 w 3653473"/>
                  <a:gd name="connsiteY6" fmla="*/ 2507403 h 6441016"/>
                  <a:gd name="connsiteX7" fmla="*/ 406188 w 3653473"/>
                  <a:gd name="connsiteY7" fmla="*/ 6347883 h 6441016"/>
                  <a:gd name="connsiteX8" fmla="*/ 594148 w 3653473"/>
                  <a:gd name="connsiteY8" fmla="*/ 6352963 h 6441016"/>
                  <a:gd name="connsiteX9" fmla="*/ 1549188 w 3653473"/>
                  <a:gd name="connsiteY9" fmla="*/ 2454063 h 6441016"/>
                  <a:gd name="connsiteX10" fmla="*/ 1508548 w 3653473"/>
                  <a:gd name="connsiteY10" fmla="*/ 1311063 h 6441016"/>
                  <a:gd name="connsiteX11" fmla="*/ 604308 w 3653473"/>
                  <a:gd name="connsiteY11" fmla="*/ 1318683 h 6441016"/>
                  <a:gd name="connsiteX12" fmla="*/ 1498388 w 3653473"/>
                  <a:gd name="connsiteY12" fmla="*/ 899583 h 6441016"/>
                  <a:gd name="connsiteX13" fmla="*/ 1758738 w 3653473"/>
                  <a:gd name="connsiteY13" fmla="*/ 366184 h 6441016"/>
                  <a:gd name="connsiteX14" fmla="*/ 1880658 w 3653473"/>
                  <a:gd name="connsiteY14" fmla="*/ 362373 h 6441016"/>
                  <a:gd name="connsiteX15" fmla="*/ 2057188 w 3653473"/>
                  <a:gd name="connsiteY15" fmla="*/ 836083 h 6441016"/>
                  <a:gd name="connsiteX16" fmla="*/ 3027468 w 3653473"/>
                  <a:gd name="connsiteY16" fmla="*/ 1331383 h 6441016"/>
                  <a:gd name="connsiteX17" fmla="*/ 2107988 w 3653473"/>
                  <a:gd name="connsiteY17" fmla="*/ 1318683 h 6441016"/>
                  <a:gd name="connsiteX18" fmla="*/ 2102908 w 3653473"/>
                  <a:gd name="connsiteY18" fmla="*/ 2423583 h 6441016"/>
                  <a:gd name="connsiteX19" fmla="*/ 3083348 w 3653473"/>
                  <a:gd name="connsiteY19" fmla="*/ 6261523 h 6441016"/>
                  <a:gd name="connsiteX20" fmla="*/ 3289088 w 3653473"/>
                  <a:gd name="connsiteY20" fmla="*/ 6264063 h 6441016"/>
                  <a:gd name="connsiteX21" fmla="*/ 2250228 w 3653473"/>
                  <a:gd name="connsiteY21" fmla="*/ 2423583 h 6441016"/>
                  <a:gd name="connsiteX22" fmla="*/ 2255308 w 3653473"/>
                  <a:gd name="connsiteY22" fmla="*/ 1519343 h 6441016"/>
                  <a:gd name="connsiteX23" fmla="*/ 3380528 w 3653473"/>
                  <a:gd name="connsiteY23" fmla="*/ 1544743 h 6441016"/>
                  <a:gd name="connsiteX24" fmla="*/ 3454188 w 3653473"/>
                  <a:gd name="connsiteY24" fmla="*/ 1323763 h 6441016"/>
                  <a:gd name="connsiteX25" fmla="*/ 2209588 w 3653473"/>
                  <a:gd name="connsiteY25" fmla="*/ 696383 h 6441016"/>
                  <a:gd name="connsiteX26" fmla="*/ 2019088 w 3653473"/>
                  <a:gd name="connsiteY26" fmla="*/ 99483 h 6441016"/>
                  <a:gd name="connsiteX0" fmla="*/ 2019088 w 3653473"/>
                  <a:gd name="connsiteY0" fmla="*/ 99483 h 6471920"/>
                  <a:gd name="connsiteX1" fmla="*/ 1663488 w 3653473"/>
                  <a:gd name="connsiteY1" fmla="*/ 99483 h 6471920"/>
                  <a:gd name="connsiteX2" fmla="*/ 1437428 w 3653473"/>
                  <a:gd name="connsiteY2" fmla="*/ 678603 h 6471920"/>
                  <a:gd name="connsiteX3" fmla="*/ 149648 w 3653473"/>
                  <a:gd name="connsiteY3" fmla="*/ 1295823 h 6471920"/>
                  <a:gd name="connsiteX4" fmla="*/ 139488 w 3653473"/>
                  <a:gd name="connsiteY4" fmla="*/ 1554903 h 6471920"/>
                  <a:gd name="connsiteX5" fmla="*/ 1379008 w 3653473"/>
                  <a:gd name="connsiteY5" fmla="*/ 1559983 h 6471920"/>
                  <a:gd name="connsiteX6" fmla="*/ 1361228 w 3653473"/>
                  <a:gd name="connsiteY6" fmla="*/ 2507403 h 6471920"/>
                  <a:gd name="connsiteX7" fmla="*/ 406188 w 3653473"/>
                  <a:gd name="connsiteY7" fmla="*/ 6347883 h 6471920"/>
                  <a:gd name="connsiteX8" fmla="*/ 594148 w 3653473"/>
                  <a:gd name="connsiteY8" fmla="*/ 6352963 h 6471920"/>
                  <a:gd name="connsiteX9" fmla="*/ 1549188 w 3653473"/>
                  <a:gd name="connsiteY9" fmla="*/ 2454063 h 6471920"/>
                  <a:gd name="connsiteX10" fmla="*/ 1508548 w 3653473"/>
                  <a:gd name="connsiteY10" fmla="*/ 1311063 h 6471920"/>
                  <a:gd name="connsiteX11" fmla="*/ 604308 w 3653473"/>
                  <a:gd name="connsiteY11" fmla="*/ 1318683 h 6471920"/>
                  <a:gd name="connsiteX12" fmla="*/ 1498388 w 3653473"/>
                  <a:gd name="connsiteY12" fmla="*/ 899583 h 6471920"/>
                  <a:gd name="connsiteX13" fmla="*/ 1758738 w 3653473"/>
                  <a:gd name="connsiteY13" fmla="*/ 366184 h 6471920"/>
                  <a:gd name="connsiteX14" fmla="*/ 1880658 w 3653473"/>
                  <a:gd name="connsiteY14" fmla="*/ 362373 h 6471920"/>
                  <a:gd name="connsiteX15" fmla="*/ 2057188 w 3653473"/>
                  <a:gd name="connsiteY15" fmla="*/ 836083 h 6471920"/>
                  <a:gd name="connsiteX16" fmla="*/ 3027468 w 3653473"/>
                  <a:gd name="connsiteY16" fmla="*/ 1331383 h 6471920"/>
                  <a:gd name="connsiteX17" fmla="*/ 2107988 w 3653473"/>
                  <a:gd name="connsiteY17" fmla="*/ 1318683 h 6471920"/>
                  <a:gd name="connsiteX18" fmla="*/ 2102908 w 3653473"/>
                  <a:gd name="connsiteY18" fmla="*/ 2423583 h 6471920"/>
                  <a:gd name="connsiteX19" fmla="*/ 3083348 w 3653473"/>
                  <a:gd name="connsiteY19" fmla="*/ 6261523 h 6471920"/>
                  <a:gd name="connsiteX20" fmla="*/ 3289088 w 3653473"/>
                  <a:gd name="connsiteY20" fmla="*/ 6264063 h 6471920"/>
                  <a:gd name="connsiteX21" fmla="*/ 2250228 w 3653473"/>
                  <a:gd name="connsiteY21" fmla="*/ 2423583 h 6471920"/>
                  <a:gd name="connsiteX22" fmla="*/ 2255308 w 3653473"/>
                  <a:gd name="connsiteY22" fmla="*/ 1519343 h 6471920"/>
                  <a:gd name="connsiteX23" fmla="*/ 3380528 w 3653473"/>
                  <a:gd name="connsiteY23" fmla="*/ 1544743 h 6471920"/>
                  <a:gd name="connsiteX24" fmla="*/ 3454188 w 3653473"/>
                  <a:gd name="connsiteY24" fmla="*/ 1323763 h 6471920"/>
                  <a:gd name="connsiteX25" fmla="*/ 2209588 w 3653473"/>
                  <a:gd name="connsiteY25" fmla="*/ 696383 h 6471920"/>
                  <a:gd name="connsiteX26" fmla="*/ 2019088 w 3653473"/>
                  <a:gd name="connsiteY26" fmla="*/ 99483 h 6471920"/>
                  <a:gd name="connsiteX0" fmla="*/ 2019088 w 3653473"/>
                  <a:gd name="connsiteY0" fmla="*/ 99483 h 6471920"/>
                  <a:gd name="connsiteX1" fmla="*/ 1663488 w 3653473"/>
                  <a:gd name="connsiteY1" fmla="*/ 99483 h 6471920"/>
                  <a:gd name="connsiteX2" fmla="*/ 1437428 w 3653473"/>
                  <a:gd name="connsiteY2" fmla="*/ 678603 h 6471920"/>
                  <a:gd name="connsiteX3" fmla="*/ 149648 w 3653473"/>
                  <a:gd name="connsiteY3" fmla="*/ 1295823 h 6471920"/>
                  <a:gd name="connsiteX4" fmla="*/ 139488 w 3653473"/>
                  <a:gd name="connsiteY4" fmla="*/ 1554903 h 6471920"/>
                  <a:gd name="connsiteX5" fmla="*/ 1379008 w 3653473"/>
                  <a:gd name="connsiteY5" fmla="*/ 1559983 h 6471920"/>
                  <a:gd name="connsiteX6" fmla="*/ 1361228 w 3653473"/>
                  <a:gd name="connsiteY6" fmla="*/ 2507403 h 6471920"/>
                  <a:gd name="connsiteX7" fmla="*/ 406188 w 3653473"/>
                  <a:gd name="connsiteY7" fmla="*/ 6347883 h 6471920"/>
                  <a:gd name="connsiteX8" fmla="*/ 594148 w 3653473"/>
                  <a:gd name="connsiteY8" fmla="*/ 6352963 h 6471920"/>
                  <a:gd name="connsiteX9" fmla="*/ 1549188 w 3653473"/>
                  <a:gd name="connsiteY9" fmla="*/ 2454063 h 6471920"/>
                  <a:gd name="connsiteX10" fmla="*/ 1508548 w 3653473"/>
                  <a:gd name="connsiteY10" fmla="*/ 1311063 h 6471920"/>
                  <a:gd name="connsiteX11" fmla="*/ 604308 w 3653473"/>
                  <a:gd name="connsiteY11" fmla="*/ 1318683 h 6471920"/>
                  <a:gd name="connsiteX12" fmla="*/ 1498388 w 3653473"/>
                  <a:gd name="connsiteY12" fmla="*/ 899583 h 6471920"/>
                  <a:gd name="connsiteX13" fmla="*/ 1758738 w 3653473"/>
                  <a:gd name="connsiteY13" fmla="*/ 366184 h 6471920"/>
                  <a:gd name="connsiteX14" fmla="*/ 1880658 w 3653473"/>
                  <a:gd name="connsiteY14" fmla="*/ 362373 h 6471920"/>
                  <a:gd name="connsiteX15" fmla="*/ 2057188 w 3653473"/>
                  <a:gd name="connsiteY15" fmla="*/ 836083 h 6471920"/>
                  <a:gd name="connsiteX16" fmla="*/ 3027468 w 3653473"/>
                  <a:gd name="connsiteY16" fmla="*/ 1331383 h 6471920"/>
                  <a:gd name="connsiteX17" fmla="*/ 2107988 w 3653473"/>
                  <a:gd name="connsiteY17" fmla="*/ 1318683 h 6471920"/>
                  <a:gd name="connsiteX18" fmla="*/ 2102908 w 3653473"/>
                  <a:gd name="connsiteY18" fmla="*/ 2423583 h 6471920"/>
                  <a:gd name="connsiteX19" fmla="*/ 3083348 w 3653473"/>
                  <a:gd name="connsiteY19" fmla="*/ 6261523 h 6471920"/>
                  <a:gd name="connsiteX20" fmla="*/ 3289088 w 3653473"/>
                  <a:gd name="connsiteY20" fmla="*/ 6264063 h 6471920"/>
                  <a:gd name="connsiteX21" fmla="*/ 2250228 w 3653473"/>
                  <a:gd name="connsiteY21" fmla="*/ 2423583 h 6471920"/>
                  <a:gd name="connsiteX22" fmla="*/ 2255308 w 3653473"/>
                  <a:gd name="connsiteY22" fmla="*/ 1519343 h 6471920"/>
                  <a:gd name="connsiteX23" fmla="*/ 3380528 w 3653473"/>
                  <a:gd name="connsiteY23" fmla="*/ 1544743 h 6471920"/>
                  <a:gd name="connsiteX24" fmla="*/ 3454188 w 3653473"/>
                  <a:gd name="connsiteY24" fmla="*/ 1323763 h 6471920"/>
                  <a:gd name="connsiteX25" fmla="*/ 2209588 w 3653473"/>
                  <a:gd name="connsiteY25" fmla="*/ 696383 h 6471920"/>
                  <a:gd name="connsiteX26" fmla="*/ 2019088 w 3653473"/>
                  <a:gd name="connsiteY26" fmla="*/ 99483 h 647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653473" h="6471920">
                    <a:moveTo>
                      <a:pt x="2019088" y="99483"/>
                    </a:moveTo>
                    <a:cubicBezTo>
                      <a:pt x="1928071" y="0"/>
                      <a:pt x="1760431" y="2963"/>
                      <a:pt x="1663488" y="99483"/>
                    </a:cubicBezTo>
                    <a:lnTo>
                      <a:pt x="1437428" y="678603"/>
                    </a:lnTo>
                    <a:lnTo>
                      <a:pt x="149648" y="1295823"/>
                    </a:lnTo>
                    <a:cubicBezTo>
                      <a:pt x="22436" y="1386945"/>
                      <a:pt x="0" y="1525693"/>
                      <a:pt x="139488" y="1554903"/>
                    </a:cubicBezTo>
                    <a:lnTo>
                      <a:pt x="1379008" y="1559983"/>
                    </a:lnTo>
                    <a:lnTo>
                      <a:pt x="1361228" y="2507403"/>
                    </a:lnTo>
                    <a:lnTo>
                      <a:pt x="406188" y="6347883"/>
                    </a:lnTo>
                    <a:cubicBezTo>
                      <a:pt x="386291" y="6419426"/>
                      <a:pt x="531495" y="6471920"/>
                      <a:pt x="594148" y="6352963"/>
                    </a:cubicBezTo>
                    <a:lnTo>
                      <a:pt x="1549188" y="2454063"/>
                    </a:lnTo>
                    <a:cubicBezTo>
                      <a:pt x="1545801" y="2073063"/>
                      <a:pt x="1511935" y="1692063"/>
                      <a:pt x="1508548" y="1311063"/>
                    </a:cubicBezTo>
                    <a:lnTo>
                      <a:pt x="604308" y="1318683"/>
                    </a:lnTo>
                    <a:lnTo>
                      <a:pt x="1498388" y="899583"/>
                    </a:lnTo>
                    <a:lnTo>
                      <a:pt x="1758738" y="366184"/>
                    </a:lnTo>
                    <a:cubicBezTo>
                      <a:pt x="1812078" y="244264"/>
                      <a:pt x="1827318" y="192193"/>
                      <a:pt x="1880658" y="362373"/>
                    </a:cubicBezTo>
                    <a:lnTo>
                      <a:pt x="2057188" y="836083"/>
                    </a:lnTo>
                    <a:lnTo>
                      <a:pt x="3027468" y="1331383"/>
                    </a:lnTo>
                    <a:lnTo>
                      <a:pt x="2107988" y="1318683"/>
                    </a:lnTo>
                    <a:cubicBezTo>
                      <a:pt x="2106295" y="1686983"/>
                      <a:pt x="2104601" y="2055283"/>
                      <a:pt x="2102908" y="2423583"/>
                    </a:cubicBezTo>
                    <a:lnTo>
                      <a:pt x="3083348" y="6261523"/>
                    </a:lnTo>
                    <a:cubicBezTo>
                      <a:pt x="3107478" y="6383020"/>
                      <a:pt x="3245908" y="6441016"/>
                      <a:pt x="3289088" y="6264063"/>
                    </a:cubicBezTo>
                    <a:lnTo>
                      <a:pt x="2250228" y="2423583"/>
                    </a:lnTo>
                    <a:cubicBezTo>
                      <a:pt x="2251921" y="2122170"/>
                      <a:pt x="2253615" y="1820756"/>
                      <a:pt x="2255308" y="1519343"/>
                    </a:cubicBezTo>
                    <a:lnTo>
                      <a:pt x="3380528" y="1544743"/>
                    </a:lnTo>
                    <a:cubicBezTo>
                      <a:pt x="3505094" y="1590145"/>
                      <a:pt x="3653473" y="1440285"/>
                      <a:pt x="3454188" y="1323763"/>
                    </a:cubicBezTo>
                    <a:lnTo>
                      <a:pt x="2209588" y="696383"/>
                    </a:lnTo>
                    <a:lnTo>
                      <a:pt x="2019088" y="99483"/>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Rectangle 177"/>
              <p:cNvSpPr/>
              <p:nvPr/>
            </p:nvSpPr>
            <p:spPr>
              <a:xfrm>
                <a:off x="2203450" y="1504950"/>
                <a:ext cx="812800" cy="317500"/>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9" name="Freeform 178"/>
              <p:cNvSpPr/>
              <p:nvPr/>
            </p:nvSpPr>
            <p:spPr>
              <a:xfrm>
                <a:off x="2209800" y="901700"/>
                <a:ext cx="711200" cy="152400"/>
              </a:xfrm>
              <a:custGeom>
                <a:avLst/>
                <a:gdLst>
                  <a:gd name="connsiteX0" fmla="*/ 127000 w 711200"/>
                  <a:gd name="connsiteY0" fmla="*/ 0 h 152400"/>
                  <a:gd name="connsiteX1" fmla="*/ 698500 w 711200"/>
                  <a:gd name="connsiteY1" fmla="*/ 0 h 152400"/>
                  <a:gd name="connsiteX2" fmla="*/ 711200 w 711200"/>
                  <a:gd name="connsiteY2" fmla="*/ 152400 h 152400"/>
                  <a:gd name="connsiteX3" fmla="*/ 0 w 711200"/>
                  <a:gd name="connsiteY3" fmla="*/ 139700 h 152400"/>
                  <a:gd name="connsiteX4" fmla="*/ 127000 w 71120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1200" h="152400">
                    <a:moveTo>
                      <a:pt x="127000" y="0"/>
                    </a:moveTo>
                    <a:lnTo>
                      <a:pt x="698500" y="0"/>
                    </a:lnTo>
                    <a:lnTo>
                      <a:pt x="711200" y="152400"/>
                    </a:lnTo>
                    <a:lnTo>
                      <a:pt x="0" y="139700"/>
                    </a:lnTo>
                    <a:lnTo>
                      <a:pt x="1270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0" name="Freeform 179"/>
              <p:cNvSpPr/>
              <p:nvPr/>
            </p:nvSpPr>
            <p:spPr>
              <a:xfrm>
                <a:off x="2139950" y="933450"/>
                <a:ext cx="171450" cy="736600"/>
              </a:xfrm>
              <a:custGeom>
                <a:avLst/>
                <a:gdLst>
                  <a:gd name="connsiteX0" fmla="*/ 6350 w 171450"/>
                  <a:gd name="connsiteY0" fmla="*/ 730250 h 736600"/>
                  <a:gd name="connsiteX1" fmla="*/ 0 w 171450"/>
                  <a:gd name="connsiteY1" fmla="*/ 95250 h 736600"/>
                  <a:gd name="connsiteX2" fmla="*/ 171450 w 171450"/>
                  <a:gd name="connsiteY2" fmla="*/ 0 h 736600"/>
                  <a:gd name="connsiteX3" fmla="*/ 127000 w 171450"/>
                  <a:gd name="connsiteY3" fmla="*/ 736600 h 736600"/>
                  <a:gd name="connsiteX4" fmla="*/ 6350 w 171450"/>
                  <a:gd name="connsiteY4" fmla="*/ 730250 h 736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736600">
                    <a:moveTo>
                      <a:pt x="6350" y="730250"/>
                    </a:moveTo>
                    <a:cubicBezTo>
                      <a:pt x="4233" y="518583"/>
                      <a:pt x="2117" y="306917"/>
                      <a:pt x="0" y="95250"/>
                    </a:cubicBezTo>
                    <a:lnTo>
                      <a:pt x="171450" y="0"/>
                    </a:lnTo>
                    <a:lnTo>
                      <a:pt x="127000" y="736600"/>
                    </a:lnTo>
                    <a:lnTo>
                      <a:pt x="6350" y="7302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1" name="Freeform 180"/>
              <p:cNvSpPr/>
              <p:nvPr/>
            </p:nvSpPr>
            <p:spPr>
              <a:xfrm>
                <a:off x="2851150" y="850900"/>
                <a:ext cx="184150" cy="838200"/>
              </a:xfrm>
              <a:custGeom>
                <a:avLst/>
                <a:gdLst>
                  <a:gd name="connsiteX0" fmla="*/ 0 w 184150"/>
                  <a:gd name="connsiteY0" fmla="*/ 0 h 838200"/>
                  <a:gd name="connsiteX1" fmla="*/ 25400 w 184150"/>
                  <a:gd name="connsiteY1" fmla="*/ 838200 h 838200"/>
                  <a:gd name="connsiteX2" fmla="*/ 184150 w 184150"/>
                  <a:gd name="connsiteY2" fmla="*/ 819150 h 838200"/>
                  <a:gd name="connsiteX3" fmla="*/ 120650 w 184150"/>
                  <a:gd name="connsiteY3" fmla="*/ 114300 h 838200"/>
                  <a:gd name="connsiteX4" fmla="*/ 0 w 184150"/>
                  <a:gd name="connsiteY4" fmla="*/ 0 h 83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50" h="838200">
                    <a:moveTo>
                      <a:pt x="0" y="0"/>
                    </a:moveTo>
                    <a:lnTo>
                      <a:pt x="25400" y="838200"/>
                    </a:lnTo>
                    <a:lnTo>
                      <a:pt x="184150" y="819150"/>
                    </a:lnTo>
                    <a:lnTo>
                      <a:pt x="120650" y="114300"/>
                    </a:lnTo>
                    <a:lnTo>
                      <a:pt x="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2" name="Freeform 181"/>
              <p:cNvSpPr/>
              <p:nvPr/>
            </p:nvSpPr>
            <p:spPr>
              <a:xfrm>
                <a:off x="2216150" y="901700"/>
                <a:ext cx="749300" cy="825500"/>
              </a:xfrm>
              <a:custGeom>
                <a:avLst/>
                <a:gdLst>
                  <a:gd name="connsiteX0" fmla="*/ 0 w 749300"/>
                  <a:gd name="connsiteY0" fmla="*/ 76200 h 825500"/>
                  <a:gd name="connsiteX1" fmla="*/ 711200 w 749300"/>
                  <a:gd name="connsiteY1" fmla="*/ 825500 h 825500"/>
                  <a:gd name="connsiteX2" fmla="*/ 749300 w 749300"/>
                  <a:gd name="connsiteY2" fmla="*/ 641350 h 825500"/>
                  <a:gd name="connsiteX3" fmla="*/ 44450 w 749300"/>
                  <a:gd name="connsiteY3" fmla="*/ 0 h 825500"/>
                  <a:gd name="connsiteX4" fmla="*/ 0 w 749300"/>
                  <a:gd name="connsiteY4" fmla="*/ 76200 h 825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9300" h="825500">
                    <a:moveTo>
                      <a:pt x="0" y="76200"/>
                    </a:moveTo>
                    <a:lnTo>
                      <a:pt x="711200" y="825500"/>
                    </a:lnTo>
                    <a:lnTo>
                      <a:pt x="749300" y="641350"/>
                    </a:lnTo>
                    <a:lnTo>
                      <a:pt x="44450" y="0"/>
                    </a:lnTo>
                    <a:lnTo>
                      <a:pt x="0" y="762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3" name="Freeform 182"/>
              <p:cNvSpPr/>
              <p:nvPr/>
            </p:nvSpPr>
            <p:spPr>
              <a:xfrm>
                <a:off x="2114550" y="946150"/>
                <a:ext cx="844550" cy="654050"/>
              </a:xfrm>
              <a:custGeom>
                <a:avLst/>
                <a:gdLst>
                  <a:gd name="connsiteX0" fmla="*/ 266700 w 844550"/>
                  <a:gd name="connsiteY0" fmla="*/ 615950 h 654050"/>
                  <a:gd name="connsiteX1" fmla="*/ 266700 w 844550"/>
                  <a:gd name="connsiteY1" fmla="*/ 615950 h 654050"/>
                  <a:gd name="connsiteX2" fmla="*/ 311150 w 844550"/>
                  <a:gd name="connsiteY2" fmla="*/ 558800 h 654050"/>
                  <a:gd name="connsiteX3" fmla="*/ 844550 w 844550"/>
                  <a:gd name="connsiteY3" fmla="*/ 88900 h 654050"/>
                  <a:gd name="connsiteX4" fmla="*/ 749300 w 844550"/>
                  <a:gd name="connsiteY4" fmla="*/ 0 h 654050"/>
                  <a:gd name="connsiteX5" fmla="*/ 0 w 844550"/>
                  <a:gd name="connsiteY5" fmla="*/ 654050 h 654050"/>
                  <a:gd name="connsiteX6" fmla="*/ 266700 w 844550"/>
                  <a:gd name="connsiteY6" fmla="*/ 615950 h 65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4550" h="654050">
                    <a:moveTo>
                      <a:pt x="266700" y="615950"/>
                    </a:moveTo>
                    <a:lnTo>
                      <a:pt x="266700" y="615950"/>
                    </a:lnTo>
                    <a:lnTo>
                      <a:pt x="311150" y="558800"/>
                    </a:lnTo>
                    <a:lnTo>
                      <a:pt x="844550" y="88900"/>
                    </a:lnTo>
                    <a:lnTo>
                      <a:pt x="749300" y="0"/>
                    </a:lnTo>
                    <a:lnTo>
                      <a:pt x="0" y="654050"/>
                    </a:lnTo>
                    <a:lnTo>
                      <a:pt x="266700" y="6159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4" name="Freeform 183"/>
              <p:cNvSpPr/>
              <p:nvPr/>
            </p:nvSpPr>
            <p:spPr>
              <a:xfrm>
                <a:off x="2222500" y="1714500"/>
                <a:ext cx="495300" cy="520700"/>
              </a:xfrm>
              <a:custGeom>
                <a:avLst/>
                <a:gdLst>
                  <a:gd name="connsiteX0" fmla="*/ 69850 w 495300"/>
                  <a:gd name="connsiteY0" fmla="*/ 400050 h 520700"/>
                  <a:gd name="connsiteX1" fmla="*/ 495300 w 495300"/>
                  <a:gd name="connsiteY1" fmla="*/ 0 h 520700"/>
                  <a:gd name="connsiteX2" fmla="*/ 0 w 495300"/>
                  <a:gd name="connsiteY2" fmla="*/ 95250 h 520700"/>
                  <a:gd name="connsiteX3" fmla="*/ 6350 w 495300"/>
                  <a:gd name="connsiteY3" fmla="*/ 520700 h 520700"/>
                  <a:gd name="connsiteX4" fmla="*/ 69850 w 495300"/>
                  <a:gd name="connsiteY4" fmla="*/ 400050 h 520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520700">
                    <a:moveTo>
                      <a:pt x="69850" y="400050"/>
                    </a:moveTo>
                    <a:lnTo>
                      <a:pt x="495300" y="0"/>
                    </a:lnTo>
                    <a:lnTo>
                      <a:pt x="0" y="95250"/>
                    </a:lnTo>
                    <a:cubicBezTo>
                      <a:pt x="2117" y="237067"/>
                      <a:pt x="4233" y="378883"/>
                      <a:pt x="6350" y="520700"/>
                    </a:cubicBezTo>
                    <a:lnTo>
                      <a:pt x="69850" y="4000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5" name="Freeform 184"/>
              <p:cNvSpPr/>
              <p:nvPr/>
            </p:nvSpPr>
            <p:spPr>
              <a:xfrm>
                <a:off x="2527300" y="1638300"/>
                <a:ext cx="444500" cy="476250"/>
              </a:xfrm>
              <a:custGeom>
                <a:avLst/>
                <a:gdLst>
                  <a:gd name="connsiteX0" fmla="*/ 425450 w 444500"/>
                  <a:gd name="connsiteY0" fmla="*/ 476250 h 476250"/>
                  <a:gd name="connsiteX1" fmla="*/ 0 w 444500"/>
                  <a:gd name="connsiteY1" fmla="*/ 82550 h 476250"/>
                  <a:gd name="connsiteX2" fmla="*/ 222250 w 444500"/>
                  <a:gd name="connsiteY2" fmla="*/ 0 h 476250"/>
                  <a:gd name="connsiteX3" fmla="*/ 444500 w 444500"/>
                  <a:gd name="connsiteY3" fmla="*/ 82550 h 476250"/>
                  <a:gd name="connsiteX4" fmla="*/ 425450 w 444500"/>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00" h="476250">
                    <a:moveTo>
                      <a:pt x="425450" y="476250"/>
                    </a:moveTo>
                    <a:lnTo>
                      <a:pt x="0" y="82550"/>
                    </a:lnTo>
                    <a:lnTo>
                      <a:pt x="222250" y="0"/>
                    </a:lnTo>
                    <a:lnTo>
                      <a:pt x="444500" y="82550"/>
                    </a:lnTo>
                    <a:lnTo>
                      <a:pt x="425450" y="4762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6" name="Freeform 185"/>
              <p:cNvSpPr/>
              <p:nvPr/>
            </p:nvSpPr>
            <p:spPr>
              <a:xfrm>
                <a:off x="2165350" y="1809750"/>
                <a:ext cx="749300" cy="812800"/>
              </a:xfrm>
              <a:custGeom>
                <a:avLst/>
                <a:gdLst>
                  <a:gd name="connsiteX0" fmla="*/ 723900 w 749300"/>
                  <a:gd name="connsiteY0" fmla="*/ 0 h 812800"/>
                  <a:gd name="connsiteX1" fmla="*/ 0 w 749300"/>
                  <a:gd name="connsiteY1" fmla="*/ 692150 h 812800"/>
                  <a:gd name="connsiteX2" fmla="*/ 63500 w 749300"/>
                  <a:gd name="connsiteY2" fmla="*/ 812800 h 812800"/>
                  <a:gd name="connsiteX3" fmla="*/ 749300 w 749300"/>
                  <a:gd name="connsiteY3" fmla="*/ 114300 h 812800"/>
                  <a:gd name="connsiteX4" fmla="*/ 723900 w 749300"/>
                  <a:gd name="connsiteY4" fmla="*/ 0 h 812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9300" h="812800">
                    <a:moveTo>
                      <a:pt x="723900" y="0"/>
                    </a:moveTo>
                    <a:lnTo>
                      <a:pt x="0" y="692150"/>
                    </a:lnTo>
                    <a:lnTo>
                      <a:pt x="63500" y="812800"/>
                    </a:lnTo>
                    <a:lnTo>
                      <a:pt x="749300" y="114300"/>
                    </a:lnTo>
                    <a:lnTo>
                      <a:pt x="7239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7" name="Freeform 186"/>
              <p:cNvSpPr/>
              <p:nvPr/>
            </p:nvSpPr>
            <p:spPr>
              <a:xfrm>
                <a:off x="2286000" y="1885950"/>
                <a:ext cx="654050" cy="647700"/>
              </a:xfrm>
              <a:custGeom>
                <a:avLst/>
                <a:gdLst>
                  <a:gd name="connsiteX0" fmla="*/ 0 w 654050"/>
                  <a:gd name="connsiteY0" fmla="*/ 76200 h 647700"/>
                  <a:gd name="connsiteX1" fmla="*/ 628650 w 654050"/>
                  <a:gd name="connsiteY1" fmla="*/ 647700 h 647700"/>
                  <a:gd name="connsiteX2" fmla="*/ 654050 w 654050"/>
                  <a:gd name="connsiteY2" fmla="*/ 457200 h 647700"/>
                  <a:gd name="connsiteX3" fmla="*/ 63500 w 654050"/>
                  <a:gd name="connsiteY3" fmla="*/ 0 h 647700"/>
                  <a:gd name="connsiteX4" fmla="*/ 0 w 654050"/>
                  <a:gd name="connsiteY4" fmla="*/ 76200 h 647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050" h="647700">
                    <a:moveTo>
                      <a:pt x="0" y="76200"/>
                    </a:moveTo>
                    <a:lnTo>
                      <a:pt x="628650" y="647700"/>
                    </a:lnTo>
                    <a:lnTo>
                      <a:pt x="654050" y="457200"/>
                    </a:lnTo>
                    <a:lnTo>
                      <a:pt x="63500" y="0"/>
                    </a:lnTo>
                    <a:lnTo>
                      <a:pt x="0" y="762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8" name="Freeform 187"/>
              <p:cNvSpPr/>
              <p:nvPr/>
            </p:nvSpPr>
            <p:spPr>
              <a:xfrm>
                <a:off x="2171700" y="2400300"/>
                <a:ext cx="946150" cy="793750"/>
              </a:xfrm>
              <a:custGeom>
                <a:avLst/>
                <a:gdLst>
                  <a:gd name="connsiteX0" fmla="*/ 165100 w 946150"/>
                  <a:gd name="connsiteY0" fmla="*/ 0 h 793750"/>
                  <a:gd name="connsiteX1" fmla="*/ 946150 w 946150"/>
                  <a:gd name="connsiteY1" fmla="*/ 730250 h 793750"/>
                  <a:gd name="connsiteX2" fmla="*/ 908050 w 946150"/>
                  <a:gd name="connsiteY2" fmla="*/ 793750 h 793750"/>
                  <a:gd name="connsiteX3" fmla="*/ 0 w 946150"/>
                  <a:gd name="connsiteY3" fmla="*/ 25400 h 793750"/>
                  <a:gd name="connsiteX4" fmla="*/ 165100 w 946150"/>
                  <a:gd name="connsiteY4" fmla="*/ 0 h 79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6150" h="793750">
                    <a:moveTo>
                      <a:pt x="165100" y="0"/>
                    </a:moveTo>
                    <a:lnTo>
                      <a:pt x="946150" y="730250"/>
                    </a:lnTo>
                    <a:lnTo>
                      <a:pt x="908050" y="793750"/>
                    </a:lnTo>
                    <a:lnTo>
                      <a:pt x="0" y="25400"/>
                    </a:lnTo>
                    <a:lnTo>
                      <a:pt x="1651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9" name="Freeform 188"/>
              <p:cNvSpPr/>
              <p:nvPr/>
            </p:nvSpPr>
            <p:spPr>
              <a:xfrm>
                <a:off x="2063750" y="2381250"/>
                <a:ext cx="889000" cy="895350"/>
              </a:xfrm>
              <a:custGeom>
                <a:avLst/>
                <a:gdLst>
                  <a:gd name="connsiteX0" fmla="*/ 889000 w 889000"/>
                  <a:gd name="connsiteY0" fmla="*/ 139700 h 895350"/>
                  <a:gd name="connsiteX1" fmla="*/ 0 w 889000"/>
                  <a:gd name="connsiteY1" fmla="*/ 895350 h 895350"/>
                  <a:gd name="connsiteX2" fmla="*/ 57150 w 889000"/>
                  <a:gd name="connsiteY2" fmla="*/ 666750 h 895350"/>
                  <a:gd name="connsiteX3" fmla="*/ 889000 w 889000"/>
                  <a:gd name="connsiteY3" fmla="*/ 0 h 895350"/>
                  <a:gd name="connsiteX4" fmla="*/ 889000 w 889000"/>
                  <a:gd name="connsiteY4" fmla="*/ 139700 h 895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000" h="895350">
                    <a:moveTo>
                      <a:pt x="889000" y="139700"/>
                    </a:moveTo>
                    <a:lnTo>
                      <a:pt x="0" y="895350"/>
                    </a:lnTo>
                    <a:lnTo>
                      <a:pt x="57150" y="666750"/>
                    </a:lnTo>
                    <a:lnTo>
                      <a:pt x="889000" y="0"/>
                    </a:lnTo>
                    <a:lnTo>
                      <a:pt x="889000" y="1397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0" name="Freeform 189"/>
              <p:cNvSpPr/>
              <p:nvPr/>
            </p:nvSpPr>
            <p:spPr>
              <a:xfrm>
                <a:off x="2108200" y="3048000"/>
                <a:ext cx="1181100" cy="984250"/>
              </a:xfrm>
              <a:custGeom>
                <a:avLst/>
                <a:gdLst>
                  <a:gd name="connsiteX0" fmla="*/ 101600 w 1181100"/>
                  <a:gd name="connsiteY0" fmla="*/ 0 h 984250"/>
                  <a:gd name="connsiteX1" fmla="*/ 1181100 w 1181100"/>
                  <a:gd name="connsiteY1" fmla="*/ 857250 h 984250"/>
                  <a:gd name="connsiteX2" fmla="*/ 1155700 w 1181100"/>
                  <a:gd name="connsiteY2" fmla="*/ 984250 h 984250"/>
                  <a:gd name="connsiteX3" fmla="*/ 0 w 1181100"/>
                  <a:gd name="connsiteY3" fmla="*/ 127000 h 984250"/>
                  <a:gd name="connsiteX4" fmla="*/ 101600 w 1181100"/>
                  <a:gd name="connsiteY4" fmla="*/ 0 h 984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100" h="984250">
                    <a:moveTo>
                      <a:pt x="101600" y="0"/>
                    </a:moveTo>
                    <a:lnTo>
                      <a:pt x="1181100" y="857250"/>
                    </a:lnTo>
                    <a:lnTo>
                      <a:pt x="1155700" y="984250"/>
                    </a:lnTo>
                    <a:lnTo>
                      <a:pt x="0" y="127000"/>
                    </a:lnTo>
                    <a:lnTo>
                      <a:pt x="1016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Freeform 190"/>
              <p:cNvSpPr/>
              <p:nvPr/>
            </p:nvSpPr>
            <p:spPr>
              <a:xfrm>
                <a:off x="1879600" y="3003550"/>
                <a:ext cx="1219200" cy="1117600"/>
              </a:xfrm>
              <a:custGeom>
                <a:avLst/>
                <a:gdLst>
                  <a:gd name="connsiteX0" fmla="*/ 1219200 w 1219200"/>
                  <a:gd name="connsiteY0" fmla="*/ 158750 h 1117600"/>
                  <a:gd name="connsiteX1" fmla="*/ 0 w 1219200"/>
                  <a:gd name="connsiteY1" fmla="*/ 1117600 h 1117600"/>
                  <a:gd name="connsiteX2" fmla="*/ 69850 w 1219200"/>
                  <a:gd name="connsiteY2" fmla="*/ 806450 h 1117600"/>
                  <a:gd name="connsiteX3" fmla="*/ 1187450 w 1219200"/>
                  <a:gd name="connsiteY3" fmla="*/ 0 h 1117600"/>
                  <a:gd name="connsiteX4" fmla="*/ 1219200 w 1219200"/>
                  <a:gd name="connsiteY4" fmla="*/ 158750 h 1117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 h="1117600">
                    <a:moveTo>
                      <a:pt x="1219200" y="158750"/>
                    </a:moveTo>
                    <a:lnTo>
                      <a:pt x="0" y="1117600"/>
                    </a:lnTo>
                    <a:lnTo>
                      <a:pt x="69850" y="806450"/>
                    </a:lnTo>
                    <a:lnTo>
                      <a:pt x="1187450" y="0"/>
                    </a:lnTo>
                    <a:lnTo>
                      <a:pt x="1219200" y="1587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 name="Freeform 191"/>
              <p:cNvSpPr/>
              <p:nvPr/>
            </p:nvSpPr>
            <p:spPr>
              <a:xfrm>
                <a:off x="1879600" y="3873500"/>
                <a:ext cx="1689100" cy="1397000"/>
              </a:xfrm>
              <a:custGeom>
                <a:avLst/>
                <a:gdLst>
                  <a:gd name="connsiteX0" fmla="*/ 114300 w 1689100"/>
                  <a:gd name="connsiteY0" fmla="*/ 0 h 1397000"/>
                  <a:gd name="connsiteX1" fmla="*/ 1689100 w 1689100"/>
                  <a:gd name="connsiteY1" fmla="*/ 1155700 h 1397000"/>
                  <a:gd name="connsiteX2" fmla="*/ 1689100 w 1689100"/>
                  <a:gd name="connsiteY2" fmla="*/ 1397000 h 1397000"/>
                  <a:gd name="connsiteX3" fmla="*/ 0 w 1689100"/>
                  <a:gd name="connsiteY3" fmla="*/ 158750 h 1397000"/>
                  <a:gd name="connsiteX4" fmla="*/ 114300 w 1689100"/>
                  <a:gd name="connsiteY4" fmla="*/ 0 h 139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9100" h="1397000">
                    <a:moveTo>
                      <a:pt x="114300" y="0"/>
                    </a:moveTo>
                    <a:lnTo>
                      <a:pt x="1689100" y="1155700"/>
                    </a:lnTo>
                    <a:lnTo>
                      <a:pt x="1689100" y="1397000"/>
                    </a:lnTo>
                    <a:lnTo>
                      <a:pt x="0" y="158750"/>
                    </a:lnTo>
                    <a:lnTo>
                      <a:pt x="1143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Freeform 192"/>
              <p:cNvSpPr/>
              <p:nvPr/>
            </p:nvSpPr>
            <p:spPr>
              <a:xfrm>
                <a:off x="1593850" y="3835400"/>
                <a:ext cx="1708150" cy="1460500"/>
              </a:xfrm>
              <a:custGeom>
                <a:avLst/>
                <a:gdLst>
                  <a:gd name="connsiteX0" fmla="*/ 1695450 w 1708150"/>
                  <a:gd name="connsiteY0" fmla="*/ 165100 h 1460500"/>
                  <a:gd name="connsiteX1" fmla="*/ 0 w 1708150"/>
                  <a:gd name="connsiteY1" fmla="*/ 1460500 h 1460500"/>
                  <a:gd name="connsiteX2" fmla="*/ 101600 w 1708150"/>
                  <a:gd name="connsiteY2" fmla="*/ 1130300 h 1460500"/>
                  <a:gd name="connsiteX3" fmla="*/ 1708150 w 1708150"/>
                  <a:gd name="connsiteY3" fmla="*/ 0 h 1460500"/>
                  <a:gd name="connsiteX4" fmla="*/ 1695450 w 1708150"/>
                  <a:gd name="connsiteY4" fmla="*/ 165100 h 146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8150" h="1460500">
                    <a:moveTo>
                      <a:pt x="1695450" y="165100"/>
                    </a:moveTo>
                    <a:lnTo>
                      <a:pt x="0" y="1460500"/>
                    </a:lnTo>
                    <a:lnTo>
                      <a:pt x="101600" y="1130300"/>
                    </a:lnTo>
                    <a:lnTo>
                      <a:pt x="1708150" y="0"/>
                    </a:lnTo>
                    <a:lnTo>
                      <a:pt x="1695450" y="1651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Freeform 193"/>
              <p:cNvSpPr/>
              <p:nvPr/>
            </p:nvSpPr>
            <p:spPr>
              <a:xfrm>
                <a:off x="1587500" y="5111750"/>
                <a:ext cx="2298700" cy="1250950"/>
              </a:xfrm>
              <a:custGeom>
                <a:avLst/>
                <a:gdLst>
                  <a:gd name="connsiteX0" fmla="*/ 69850 w 2298700"/>
                  <a:gd name="connsiteY0" fmla="*/ 0 h 1250950"/>
                  <a:gd name="connsiteX1" fmla="*/ 69850 w 2298700"/>
                  <a:gd name="connsiteY1" fmla="*/ 0 h 1250950"/>
                  <a:gd name="connsiteX2" fmla="*/ 2298700 w 2298700"/>
                  <a:gd name="connsiteY2" fmla="*/ 1054100 h 1250950"/>
                  <a:gd name="connsiteX3" fmla="*/ 2279650 w 2298700"/>
                  <a:gd name="connsiteY3" fmla="*/ 1250950 h 1250950"/>
                  <a:gd name="connsiteX4" fmla="*/ 0 w 2298700"/>
                  <a:gd name="connsiteY4" fmla="*/ 165100 h 1250950"/>
                  <a:gd name="connsiteX5" fmla="*/ 69850 w 2298700"/>
                  <a:gd name="connsiteY5" fmla="*/ 0 h 1250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98700" h="1250950">
                    <a:moveTo>
                      <a:pt x="69850" y="0"/>
                    </a:moveTo>
                    <a:lnTo>
                      <a:pt x="69850" y="0"/>
                    </a:lnTo>
                    <a:lnTo>
                      <a:pt x="2298700" y="1054100"/>
                    </a:lnTo>
                    <a:lnTo>
                      <a:pt x="2279650" y="1250950"/>
                    </a:lnTo>
                    <a:lnTo>
                      <a:pt x="0" y="165100"/>
                    </a:lnTo>
                    <a:lnTo>
                      <a:pt x="6985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5" name="Freeform 194"/>
              <p:cNvSpPr/>
              <p:nvPr/>
            </p:nvSpPr>
            <p:spPr>
              <a:xfrm>
                <a:off x="1308100" y="5016500"/>
                <a:ext cx="2311400" cy="1397000"/>
              </a:xfrm>
              <a:custGeom>
                <a:avLst/>
                <a:gdLst>
                  <a:gd name="connsiteX0" fmla="*/ 69850 w 2311400"/>
                  <a:gd name="connsiteY0" fmla="*/ 1123950 h 1397000"/>
                  <a:gd name="connsiteX1" fmla="*/ 2286000 w 2311400"/>
                  <a:gd name="connsiteY1" fmla="*/ 0 h 1397000"/>
                  <a:gd name="connsiteX2" fmla="*/ 2311400 w 2311400"/>
                  <a:gd name="connsiteY2" fmla="*/ 234950 h 1397000"/>
                  <a:gd name="connsiteX3" fmla="*/ 0 w 2311400"/>
                  <a:gd name="connsiteY3" fmla="*/ 1397000 h 1397000"/>
                  <a:gd name="connsiteX4" fmla="*/ 69850 w 2311400"/>
                  <a:gd name="connsiteY4" fmla="*/ 1123950 h 139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1400" h="1397000">
                    <a:moveTo>
                      <a:pt x="69850" y="1123950"/>
                    </a:moveTo>
                    <a:lnTo>
                      <a:pt x="2286000" y="0"/>
                    </a:lnTo>
                    <a:lnTo>
                      <a:pt x="2311400" y="234950"/>
                    </a:lnTo>
                    <a:lnTo>
                      <a:pt x="0" y="1397000"/>
                    </a:lnTo>
                    <a:lnTo>
                      <a:pt x="69850" y="11239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25" name="TextBox 224"/>
          <p:cNvSpPr txBox="1"/>
          <p:nvPr/>
        </p:nvSpPr>
        <p:spPr>
          <a:xfrm>
            <a:off x="5254904" y="4606097"/>
            <a:ext cx="1368152" cy="307777"/>
          </a:xfrm>
          <a:prstGeom prst="rect">
            <a:avLst/>
          </a:prstGeom>
          <a:noFill/>
        </p:spPr>
        <p:txBody>
          <a:bodyPr wrap="square" rtlCol="0">
            <a:spAutoFit/>
          </a:bodyPr>
          <a:lstStyle/>
          <a:p>
            <a:r>
              <a:rPr lang="es-ES" sz="1400" b="1" dirty="0" err="1" smtClean="0">
                <a:solidFill>
                  <a:srgbClr val="000000"/>
                </a:solidFill>
              </a:rPr>
              <a:t>Utilities</a:t>
            </a:r>
            <a:endParaRPr lang="en-US" sz="1400" b="1" dirty="0">
              <a:solidFill>
                <a:srgbClr val="000000"/>
              </a:solidFill>
            </a:endParaRPr>
          </a:p>
        </p:txBody>
      </p:sp>
      <p:sp>
        <p:nvSpPr>
          <p:cNvPr id="226" name="TextBox 225"/>
          <p:cNvSpPr txBox="1"/>
          <p:nvPr/>
        </p:nvSpPr>
        <p:spPr>
          <a:xfrm>
            <a:off x="5301960" y="2198754"/>
            <a:ext cx="1368152" cy="307777"/>
          </a:xfrm>
          <a:prstGeom prst="rect">
            <a:avLst/>
          </a:prstGeom>
          <a:noFill/>
        </p:spPr>
        <p:txBody>
          <a:bodyPr wrap="square" rtlCol="0">
            <a:spAutoFit/>
          </a:bodyPr>
          <a:lstStyle/>
          <a:p>
            <a:r>
              <a:rPr lang="es-ES" sz="1400" b="1" dirty="0" err="1" smtClean="0">
                <a:solidFill>
                  <a:srgbClr val="000000"/>
                </a:solidFill>
              </a:rPr>
              <a:t>Politicians</a:t>
            </a:r>
            <a:endParaRPr lang="en-US" sz="1400" b="1" dirty="0">
              <a:solidFill>
                <a:srgbClr val="000000"/>
              </a:solidFill>
            </a:endParaRPr>
          </a:p>
        </p:txBody>
      </p:sp>
      <p:grpSp>
        <p:nvGrpSpPr>
          <p:cNvPr id="227" name="Group 226"/>
          <p:cNvGrpSpPr/>
          <p:nvPr/>
        </p:nvGrpSpPr>
        <p:grpSpPr>
          <a:xfrm>
            <a:off x="5401264" y="5212704"/>
            <a:ext cx="538888" cy="423592"/>
            <a:chOff x="712928" y="720724"/>
            <a:chExt cx="7583430" cy="5409394"/>
          </a:xfrm>
          <a:solidFill>
            <a:schemeClr val="accent1">
              <a:lumMod val="75000"/>
            </a:schemeClr>
          </a:solidFill>
        </p:grpSpPr>
        <p:sp>
          <p:nvSpPr>
            <p:cNvPr id="228" name="Freeform 227"/>
            <p:cNvSpPr/>
            <p:nvPr/>
          </p:nvSpPr>
          <p:spPr>
            <a:xfrm>
              <a:off x="1610869" y="720724"/>
              <a:ext cx="5680213" cy="2283733"/>
            </a:xfrm>
            <a:custGeom>
              <a:avLst/>
              <a:gdLst>
                <a:gd name="connsiteX0" fmla="*/ 377371 w 5558971"/>
                <a:gd name="connsiteY0" fmla="*/ 1988457 h 2293257"/>
                <a:gd name="connsiteX1" fmla="*/ 2017486 w 5558971"/>
                <a:gd name="connsiteY1" fmla="*/ 275771 h 2293257"/>
                <a:gd name="connsiteX2" fmla="*/ 3657600 w 5558971"/>
                <a:gd name="connsiteY2" fmla="*/ 275771 h 2293257"/>
                <a:gd name="connsiteX3" fmla="*/ 5254171 w 5558971"/>
                <a:gd name="connsiteY3" fmla="*/ 2017486 h 2293257"/>
                <a:gd name="connsiteX4" fmla="*/ 5283200 w 5558971"/>
                <a:gd name="connsiteY4" fmla="*/ 2235200 h 2293257"/>
                <a:gd name="connsiteX5" fmla="*/ 5544457 w 5558971"/>
                <a:gd name="connsiteY5" fmla="*/ 2220686 h 2293257"/>
                <a:gd name="connsiteX6" fmla="*/ 5558971 w 5558971"/>
                <a:gd name="connsiteY6" fmla="*/ 2061029 h 2293257"/>
                <a:gd name="connsiteX7" fmla="*/ 3976914 w 5558971"/>
                <a:gd name="connsiteY7" fmla="*/ 14514 h 2293257"/>
                <a:gd name="connsiteX8" fmla="*/ 1698171 w 5558971"/>
                <a:gd name="connsiteY8" fmla="*/ 0 h 2293257"/>
                <a:gd name="connsiteX9" fmla="*/ 0 w 5558971"/>
                <a:gd name="connsiteY9" fmla="*/ 2090057 h 2293257"/>
                <a:gd name="connsiteX10" fmla="*/ 246743 w 5558971"/>
                <a:gd name="connsiteY10" fmla="*/ 2293257 h 2293257"/>
                <a:gd name="connsiteX11" fmla="*/ 377371 w 5558971"/>
                <a:gd name="connsiteY11" fmla="*/ 1988457 h 2293257"/>
                <a:gd name="connsiteX0" fmla="*/ 377371 w 5558971"/>
                <a:gd name="connsiteY0" fmla="*/ 1988457 h 2293257"/>
                <a:gd name="connsiteX1" fmla="*/ 2017486 w 5558971"/>
                <a:gd name="connsiteY1" fmla="*/ 275771 h 2293257"/>
                <a:gd name="connsiteX2" fmla="*/ 3657600 w 5558971"/>
                <a:gd name="connsiteY2" fmla="*/ 275771 h 2293257"/>
                <a:gd name="connsiteX3" fmla="*/ 5254171 w 5558971"/>
                <a:gd name="connsiteY3" fmla="*/ 2017486 h 2293257"/>
                <a:gd name="connsiteX4" fmla="*/ 5283200 w 5558971"/>
                <a:gd name="connsiteY4" fmla="*/ 2235200 h 2293257"/>
                <a:gd name="connsiteX5" fmla="*/ 5544457 w 5558971"/>
                <a:gd name="connsiteY5" fmla="*/ 2220686 h 2293257"/>
                <a:gd name="connsiteX6" fmla="*/ 5558971 w 5558971"/>
                <a:gd name="connsiteY6" fmla="*/ 2061029 h 2293257"/>
                <a:gd name="connsiteX7" fmla="*/ 3976914 w 5558971"/>
                <a:gd name="connsiteY7" fmla="*/ 14514 h 2293257"/>
                <a:gd name="connsiteX8" fmla="*/ 1698171 w 5558971"/>
                <a:gd name="connsiteY8" fmla="*/ 0 h 2293257"/>
                <a:gd name="connsiteX9" fmla="*/ 0 w 5558971"/>
                <a:gd name="connsiteY9" fmla="*/ 2090057 h 2293257"/>
                <a:gd name="connsiteX10" fmla="*/ 246743 w 5558971"/>
                <a:gd name="connsiteY10" fmla="*/ 2293257 h 2293257"/>
                <a:gd name="connsiteX11" fmla="*/ 377371 w 5558971"/>
                <a:gd name="connsiteY11" fmla="*/ 1988457 h 2293257"/>
                <a:gd name="connsiteX0" fmla="*/ 377371 w 5563882"/>
                <a:gd name="connsiteY0" fmla="*/ 1988457 h 2293257"/>
                <a:gd name="connsiteX1" fmla="*/ 2017486 w 5563882"/>
                <a:gd name="connsiteY1" fmla="*/ 275771 h 2293257"/>
                <a:gd name="connsiteX2" fmla="*/ 3657600 w 5563882"/>
                <a:gd name="connsiteY2" fmla="*/ 275771 h 2293257"/>
                <a:gd name="connsiteX3" fmla="*/ 5254171 w 5563882"/>
                <a:gd name="connsiteY3" fmla="*/ 2017486 h 2293257"/>
                <a:gd name="connsiteX4" fmla="*/ 5283200 w 5563882"/>
                <a:gd name="connsiteY4" fmla="*/ 2235200 h 2293257"/>
                <a:gd name="connsiteX5" fmla="*/ 5544457 w 5563882"/>
                <a:gd name="connsiteY5" fmla="*/ 2220686 h 2293257"/>
                <a:gd name="connsiteX6" fmla="*/ 5558971 w 5563882"/>
                <a:gd name="connsiteY6" fmla="*/ 2061029 h 2293257"/>
                <a:gd name="connsiteX7" fmla="*/ 3976914 w 5563882"/>
                <a:gd name="connsiteY7" fmla="*/ 14514 h 2293257"/>
                <a:gd name="connsiteX8" fmla="*/ 1698171 w 5563882"/>
                <a:gd name="connsiteY8" fmla="*/ 0 h 2293257"/>
                <a:gd name="connsiteX9" fmla="*/ 0 w 5563882"/>
                <a:gd name="connsiteY9" fmla="*/ 2090057 h 2293257"/>
                <a:gd name="connsiteX10" fmla="*/ 246743 w 5563882"/>
                <a:gd name="connsiteY10" fmla="*/ 2293257 h 2293257"/>
                <a:gd name="connsiteX11" fmla="*/ 377371 w 5563882"/>
                <a:gd name="connsiteY11" fmla="*/ 1988457 h 2293257"/>
                <a:gd name="connsiteX0" fmla="*/ 377371 w 5563882"/>
                <a:gd name="connsiteY0" fmla="*/ 1988457 h 2293257"/>
                <a:gd name="connsiteX1" fmla="*/ 2017486 w 5563882"/>
                <a:gd name="connsiteY1" fmla="*/ 275771 h 2293257"/>
                <a:gd name="connsiteX2" fmla="*/ 3657600 w 5563882"/>
                <a:gd name="connsiteY2" fmla="*/ 275771 h 2293257"/>
                <a:gd name="connsiteX3" fmla="*/ 5254171 w 5563882"/>
                <a:gd name="connsiteY3" fmla="*/ 2017486 h 2293257"/>
                <a:gd name="connsiteX4" fmla="*/ 5283200 w 5563882"/>
                <a:gd name="connsiteY4" fmla="*/ 2235200 h 2293257"/>
                <a:gd name="connsiteX5" fmla="*/ 5544457 w 5563882"/>
                <a:gd name="connsiteY5" fmla="*/ 2220686 h 2293257"/>
                <a:gd name="connsiteX6" fmla="*/ 5558971 w 5563882"/>
                <a:gd name="connsiteY6" fmla="*/ 2061029 h 2293257"/>
                <a:gd name="connsiteX7" fmla="*/ 3976914 w 5563882"/>
                <a:gd name="connsiteY7" fmla="*/ 14514 h 2293257"/>
                <a:gd name="connsiteX8" fmla="*/ 1698171 w 5563882"/>
                <a:gd name="connsiteY8" fmla="*/ 0 h 2293257"/>
                <a:gd name="connsiteX9" fmla="*/ 0 w 5563882"/>
                <a:gd name="connsiteY9" fmla="*/ 2090057 h 2293257"/>
                <a:gd name="connsiteX10" fmla="*/ 246743 w 5563882"/>
                <a:gd name="connsiteY10" fmla="*/ 2293257 h 2293257"/>
                <a:gd name="connsiteX11" fmla="*/ 377371 w 5563882"/>
                <a:gd name="connsiteY11" fmla="*/ 1988457 h 2293257"/>
                <a:gd name="connsiteX0" fmla="*/ 377371 w 5563882"/>
                <a:gd name="connsiteY0" fmla="*/ 1988457 h 2293257"/>
                <a:gd name="connsiteX1" fmla="*/ 2017486 w 5563882"/>
                <a:gd name="connsiteY1" fmla="*/ 275771 h 2293257"/>
                <a:gd name="connsiteX2" fmla="*/ 3657600 w 5563882"/>
                <a:gd name="connsiteY2" fmla="*/ 275771 h 2293257"/>
                <a:gd name="connsiteX3" fmla="*/ 5254171 w 5563882"/>
                <a:gd name="connsiteY3" fmla="*/ 2017486 h 2293257"/>
                <a:gd name="connsiteX4" fmla="*/ 5283200 w 5563882"/>
                <a:gd name="connsiteY4" fmla="*/ 2235200 h 2293257"/>
                <a:gd name="connsiteX5" fmla="*/ 5544457 w 5563882"/>
                <a:gd name="connsiteY5" fmla="*/ 2220686 h 2293257"/>
                <a:gd name="connsiteX6" fmla="*/ 5558971 w 5563882"/>
                <a:gd name="connsiteY6" fmla="*/ 2061029 h 2293257"/>
                <a:gd name="connsiteX7" fmla="*/ 3976914 w 5563882"/>
                <a:gd name="connsiteY7" fmla="*/ 14514 h 2293257"/>
                <a:gd name="connsiteX8" fmla="*/ 1698171 w 5563882"/>
                <a:gd name="connsiteY8" fmla="*/ 0 h 2293257"/>
                <a:gd name="connsiteX9" fmla="*/ 0 w 5563882"/>
                <a:gd name="connsiteY9" fmla="*/ 2090057 h 2293257"/>
                <a:gd name="connsiteX10" fmla="*/ 246743 w 5563882"/>
                <a:gd name="connsiteY10" fmla="*/ 2293257 h 2293257"/>
                <a:gd name="connsiteX11" fmla="*/ 377371 w 5563882"/>
                <a:gd name="connsiteY11" fmla="*/ 1988457 h 2293257"/>
                <a:gd name="connsiteX0" fmla="*/ 377371 w 5563882"/>
                <a:gd name="connsiteY0" fmla="*/ 2001455 h 2306255"/>
                <a:gd name="connsiteX1" fmla="*/ 2017486 w 5563882"/>
                <a:gd name="connsiteY1" fmla="*/ 288769 h 2306255"/>
                <a:gd name="connsiteX2" fmla="*/ 3657600 w 5563882"/>
                <a:gd name="connsiteY2" fmla="*/ 288769 h 2306255"/>
                <a:gd name="connsiteX3" fmla="*/ 5254171 w 5563882"/>
                <a:gd name="connsiteY3" fmla="*/ 2030484 h 2306255"/>
                <a:gd name="connsiteX4" fmla="*/ 5283200 w 5563882"/>
                <a:gd name="connsiteY4" fmla="*/ 2248198 h 2306255"/>
                <a:gd name="connsiteX5" fmla="*/ 5544457 w 5563882"/>
                <a:gd name="connsiteY5" fmla="*/ 2233684 h 2306255"/>
                <a:gd name="connsiteX6" fmla="*/ 5558971 w 5563882"/>
                <a:gd name="connsiteY6" fmla="*/ 2074027 h 2306255"/>
                <a:gd name="connsiteX7" fmla="*/ 3976914 w 5563882"/>
                <a:gd name="connsiteY7" fmla="*/ 27512 h 2306255"/>
                <a:gd name="connsiteX8" fmla="*/ 1698171 w 5563882"/>
                <a:gd name="connsiteY8" fmla="*/ 12998 h 2306255"/>
                <a:gd name="connsiteX9" fmla="*/ 0 w 5563882"/>
                <a:gd name="connsiteY9" fmla="*/ 2103055 h 2306255"/>
                <a:gd name="connsiteX10" fmla="*/ 246743 w 5563882"/>
                <a:gd name="connsiteY10" fmla="*/ 2306255 h 2306255"/>
                <a:gd name="connsiteX11" fmla="*/ 377371 w 5563882"/>
                <a:gd name="connsiteY11" fmla="*/ 2001455 h 2306255"/>
                <a:gd name="connsiteX0" fmla="*/ 493702 w 5680213"/>
                <a:gd name="connsiteY0" fmla="*/ 2001455 h 2306255"/>
                <a:gd name="connsiteX1" fmla="*/ 2133817 w 5680213"/>
                <a:gd name="connsiteY1" fmla="*/ 288769 h 2306255"/>
                <a:gd name="connsiteX2" fmla="*/ 3773931 w 5680213"/>
                <a:gd name="connsiteY2" fmla="*/ 288769 h 2306255"/>
                <a:gd name="connsiteX3" fmla="*/ 5370502 w 5680213"/>
                <a:gd name="connsiteY3" fmla="*/ 2030484 h 2306255"/>
                <a:gd name="connsiteX4" fmla="*/ 5399531 w 5680213"/>
                <a:gd name="connsiteY4" fmla="*/ 2248198 h 2306255"/>
                <a:gd name="connsiteX5" fmla="*/ 5660788 w 5680213"/>
                <a:gd name="connsiteY5" fmla="*/ 2233684 h 2306255"/>
                <a:gd name="connsiteX6" fmla="*/ 5675302 w 5680213"/>
                <a:gd name="connsiteY6" fmla="*/ 2074027 h 2306255"/>
                <a:gd name="connsiteX7" fmla="*/ 4093245 w 5680213"/>
                <a:gd name="connsiteY7" fmla="*/ 27512 h 2306255"/>
                <a:gd name="connsiteX8" fmla="*/ 1814502 w 5680213"/>
                <a:gd name="connsiteY8" fmla="*/ 12998 h 2306255"/>
                <a:gd name="connsiteX9" fmla="*/ 116331 w 5680213"/>
                <a:gd name="connsiteY9" fmla="*/ 2103055 h 2306255"/>
                <a:gd name="connsiteX10" fmla="*/ 363074 w 5680213"/>
                <a:gd name="connsiteY10" fmla="*/ 2306255 h 2306255"/>
                <a:gd name="connsiteX11" fmla="*/ 493702 w 5680213"/>
                <a:gd name="connsiteY11" fmla="*/ 2001455 h 2306255"/>
                <a:gd name="connsiteX0" fmla="*/ 493702 w 5680213"/>
                <a:gd name="connsiteY0" fmla="*/ 1988457 h 2293257"/>
                <a:gd name="connsiteX1" fmla="*/ 2133817 w 5680213"/>
                <a:gd name="connsiteY1" fmla="*/ 275771 h 2293257"/>
                <a:gd name="connsiteX2" fmla="*/ 3773931 w 5680213"/>
                <a:gd name="connsiteY2" fmla="*/ 275771 h 2293257"/>
                <a:gd name="connsiteX3" fmla="*/ 5370502 w 5680213"/>
                <a:gd name="connsiteY3" fmla="*/ 2017486 h 2293257"/>
                <a:gd name="connsiteX4" fmla="*/ 5399531 w 5680213"/>
                <a:gd name="connsiteY4" fmla="*/ 2235200 h 2293257"/>
                <a:gd name="connsiteX5" fmla="*/ 5660788 w 5680213"/>
                <a:gd name="connsiteY5" fmla="*/ 2220686 h 2293257"/>
                <a:gd name="connsiteX6" fmla="*/ 5675302 w 5680213"/>
                <a:gd name="connsiteY6" fmla="*/ 2061029 h 2293257"/>
                <a:gd name="connsiteX7" fmla="*/ 4093245 w 5680213"/>
                <a:gd name="connsiteY7" fmla="*/ 14514 h 2293257"/>
                <a:gd name="connsiteX8" fmla="*/ 1814502 w 5680213"/>
                <a:gd name="connsiteY8" fmla="*/ 0 h 2293257"/>
                <a:gd name="connsiteX9" fmla="*/ 116331 w 5680213"/>
                <a:gd name="connsiteY9" fmla="*/ 2090057 h 2293257"/>
                <a:gd name="connsiteX10" fmla="*/ 363074 w 5680213"/>
                <a:gd name="connsiteY10" fmla="*/ 2293257 h 2293257"/>
                <a:gd name="connsiteX11" fmla="*/ 493702 w 5680213"/>
                <a:gd name="connsiteY11" fmla="*/ 1988457 h 2293257"/>
                <a:gd name="connsiteX0" fmla="*/ 493702 w 5680213"/>
                <a:gd name="connsiteY0" fmla="*/ 1988457 h 2293257"/>
                <a:gd name="connsiteX1" fmla="*/ 2133817 w 5680213"/>
                <a:gd name="connsiteY1" fmla="*/ 275771 h 2293257"/>
                <a:gd name="connsiteX2" fmla="*/ 3773931 w 5680213"/>
                <a:gd name="connsiteY2" fmla="*/ 275771 h 2293257"/>
                <a:gd name="connsiteX3" fmla="*/ 5370502 w 5680213"/>
                <a:gd name="connsiteY3" fmla="*/ 2017486 h 2293257"/>
                <a:gd name="connsiteX4" fmla="*/ 5399531 w 5680213"/>
                <a:gd name="connsiteY4" fmla="*/ 2235200 h 2293257"/>
                <a:gd name="connsiteX5" fmla="*/ 5660788 w 5680213"/>
                <a:gd name="connsiteY5" fmla="*/ 2220686 h 2293257"/>
                <a:gd name="connsiteX6" fmla="*/ 5675302 w 5680213"/>
                <a:gd name="connsiteY6" fmla="*/ 2061029 h 2293257"/>
                <a:gd name="connsiteX7" fmla="*/ 4093245 w 5680213"/>
                <a:gd name="connsiteY7" fmla="*/ 14514 h 2293257"/>
                <a:gd name="connsiteX8" fmla="*/ 1814502 w 5680213"/>
                <a:gd name="connsiteY8" fmla="*/ 0 h 2293257"/>
                <a:gd name="connsiteX9" fmla="*/ 116331 w 5680213"/>
                <a:gd name="connsiteY9" fmla="*/ 2090057 h 2293257"/>
                <a:gd name="connsiteX10" fmla="*/ 363074 w 5680213"/>
                <a:gd name="connsiteY10" fmla="*/ 2293257 h 2293257"/>
                <a:gd name="connsiteX11" fmla="*/ 493702 w 5680213"/>
                <a:gd name="connsiteY11" fmla="*/ 1988457 h 2293257"/>
                <a:gd name="connsiteX0" fmla="*/ 493702 w 5680213"/>
                <a:gd name="connsiteY0" fmla="*/ 1988457 h 2293257"/>
                <a:gd name="connsiteX1" fmla="*/ 2133817 w 5680213"/>
                <a:gd name="connsiteY1" fmla="*/ 275771 h 2293257"/>
                <a:gd name="connsiteX2" fmla="*/ 3773931 w 5680213"/>
                <a:gd name="connsiteY2" fmla="*/ 275771 h 2293257"/>
                <a:gd name="connsiteX3" fmla="*/ 5370502 w 5680213"/>
                <a:gd name="connsiteY3" fmla="*/ 2017486 h 2293257"/>
                <a:gd name="connsiteX4" fmla="*/ 5399531 w 5680213"/>
                <a:gd name="connsiteY4" fmla="*/ 2235200 h 2293257"/>
                <a:gd name="connsiteX5" fmla="*/ 5660788 w 5680213"/>
                <a:gd name="connsiteY5" fmla="*/ 2220686 h 2293257"/>
                <a:gd name="connsiteX6" fmla="*/ 5675302 w 5680213"/>
                <a:gd name="connsiteY6" fmla="*/ 2061029 h 2293257"/>
                <a:gd name="connsiteX7" fmla="*/ 4093245 w 5680213"/>
                <a:gd name="connsiteY7" fmla="*/ 14514 h 2293257"/>
                <a:gd name="connsiteX8" fmla="*/ 1814502 w 5680213"/>
                <a:gd name="connsiteY8" fmla="*/ 0 h 2293257"/>
                <a:gd name="connsiteX9" fmla="*/ 116331 w 5680213"/>
                <a:gd name="connsiteY9" fmla="*/ 2090057 h 2293257"/>
                <a:gd name="connsiteX10" fmla="*/ 363074 w 5680213"/>
                <a:gd name="connsiteY10" fmla="*/ 2293257 h 2293257"/>
                <a:gd name="connsiteX11" fmla="*/ 493702 w 5680213"/>
                <a:gd name="connsiteY11" fmla="*/ 1988457 h 2293257"/>
                <a:gd name="connsiteX0" fmla="*/ 493702 w 5680213"/>
                <a:gd name="connsiteY0" fmla="*/ 1978932 h 2283732"/>
                <a:gd name="connsiteX1" fmla="*/ 2133817 w 5680213"/>
                <a:gd name="connsiteY1" fmla="*/ 266246 h 2283732"/>
                <a:gd name="connsiteX2" fmla="*/ 3773931 w 5680213"/>
                <a:gd name="connsiteY2" fmla="*/ 266246 h 2283732"/>
                <a:gd name="connsiteX3" fmla="*/ 5370502 w 5680213"/>
                <a:gd name="connsiteY3" fmla="*/ 2007961 h 2283732"/>
                <a:gd name="connsiteX4" fmla="*/ 5399531 w 5680213"/>
                <a:gd name="connsiteY4" fmla="*/ 2225675 h 2283732"/>
                <a:gd name="connsiteX5" fmla="*/ 5660788 w 5680213"/>
                <a:gd name="connsiteY5" fmla="*/ 2211161 h 2283732"/>
                <a:gd name="connsiteX6" fmla="*/ 5675302 w 5680213"/>
                <a:gd name="connsiteY6" fmla="*/ 2051504 h 2283732"/>
                <a:gd name="connsiteX7" fmla="*/ 4093245 w 5680213"/>
                <a:gd name="connsiteY7" fmla="*/ 4989 h 2283732"/>
                <a:gd name="connsiteX8" fmla="*/ 1814502 w 5680213"/>
                <a:gd name="connsiteY8" fmla="*/ 0 h 2283732"/>
                <a:gd name="connsiteX9" fmla="*/ 116331 w 5680213"/>
                <a:gd name="connsiteY9" fmla="*/ 2080532 h 2283732"/>
                <a:gd name="connsiteX10" fmla="*/ 363074 w 5680213"/>
                <a:gd name="connsiteY10" fmla="*/ 2283732 h 2283732"/>
                <a:gd name="connsiteX11" fmla="*/ 493702 w 5680213"/>
                <a:gd name="connsiteY11" fmla="*/ 1978932 h 2283732"/>
                <a:gd name="connsiteX0" fmla="*/ 493702 w 5680213"/>
                <a:gd name="connsiteY0" fmla="*/ 1978933 h 2283733"/>
                <a:gd name="connsiteX1" fmla="*/ 2133817 w 5680213"/>
                <a:gd name="connsiteY1" fmla="*/ 266247 h 2283733"/>
                <a:gd name="connsiteX2" fmla="*/ 3773931 w 5680213"/>
                <a:gd name="connsiteY2" fmla="*/ 266247 h 2283733"/>
                <a:gd name="connsiteX3" fmla="*/ 5370502 w 5680213"/>
                <a:gd name="connsiteY3" fmla="*/ 2007962 h 2283733"/>
                <a:gd name="connsiteX4" fmla="*/ 5399531 w 5680213"/>
                <a:gd name="connsiteY4" fmla="*/ 2225676 h 2283733"/>
                <a:gd name="connsiteX5" fmla="*/ 5660788 w 5680213"/>
                <a:gd name="connsiteY5" fmla="*/ 2211162 h 2283733"/>
                <a:gd name="connsiteX6" fmla="*/ 5675302 w 5680213"/>
                <a:gd name="connsiteY6" fmla="*/ 2051505 h 2283733"/>
                <a:gd name="connsiteX7" fmla="*/ 4065949 w 5680213"/>
                <a:gd name="connsiteY7" fmla="*/ 0 h 2283733"/>
                <a:gd name="connsiteX8" fmla="*/ 1814502 w 5680213"/>
                <a:gd name="connsiteY8" fmla="*/ 1 h 2283733"/>
                <a:gd name="connsiteX9" fmla="*/ 116331 w 5680213"/>
                <a:gd name="connsiteY9" fmla="*/ 2080533 h 2283733"/>
                <a:gd name="connsiteX10" fmla="*/ 363074 w 5680213"/>
                <a:gd name="connsiteY10" fmla="*/ 2283733 h 2283733"/>
                <a:gd name="connsiteX11" fmla="*/ 493702 w 5680213"/>
                <a:gd name="connsiteY11" fmla="*/ 1978933 h 228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80213" h="2283733">
                  <a:moveTo>
                    <a:pt x="493702" y="1978933"/>
                  </a:moveTo>
                  <a:cubicBezTo>
                    <a:pt x="570056" y="520934"/>
                    <a:pt x="1887363" y="263936"/>
                    <a:pt x="2133817" y="266247"/>
                  </a:cubicBezTo>
                  <a:lnTo>
                    <a:pt x="3773931" y="266247"/>
                  </a:lnTo>
                  <a:cubicBezTo>
                    <a:pt x="4333416" y="273613"/>
                    <a:pt x="5336597" y="854184"/>
                    <a:pt x="5370502" y="2007962"/>
                  </a:cubicBezTo>
                  <a:lnTo>
                    <a:pt x="5399531" y="2225676"/>
                  </a:lnTo>
                  <a:lnTo>
                    <a:pt x="5660788" y="2211162"/>
                  </a:lnTo>
                  <a:lnTo>
                    <a:pt x="5675302" y="2051505"/>
                  </a:lnTo>
                  <a:cubicBezTo>
                    <a:pt x="5680213" y="1533107"/>
                    <a:pt x="5534996" y="300034"/>
                    <a:pt x="4065949" y="0"/>
                  </a:cubicBezTo>
                  <a:lnTo>
                    <a:pt x="1814502" y="1"/>
                  </a:lnTo>
                  <a:cubicBezTo>
                    <a:pt x="448250" y="55241"/>
                    <a:pt x="0" y="1452086"/>
                    <a:pt x="116331" y="2080533"/>
                  </a:cubicBezTo>
                  <a:lnTo>
                    <a:pt x="363074" y="2283733"/>
                  </a:lnTo>
                  <a:lnTo>
                    <a:pt x="493702" y="1978933"/>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9" name="Freeform 228"/>
            <p:cNvSpPr/>
            <p:nvPr/>
          </p:nvSpPr>
          <p:spPr>
            <a:xfrm>
              <a:off x="712928" y="2686012"/>
              <a:ext cx="7583430" cy="2292181"/>
            </a:xfrm>
            <a:custGeom>
              <a:avLst/>
              <a:gdLst>
                <a:gd name="connsiteX0" fmla="*/ 0 w 6473371"/>
                <a:gd name="connsiteY0" fmla="*/ 1132115 h 2264229"/>
                <a:gd name="connsiteX1" fmla="*/ 2168058 w 6473371"/>
                <a:gd name="connsiteY1" fmla="*/ 63488 h 2264229"/>
                <a:gd name="connsiteX2" fmla="*/ 3236688 w 6473371"/>
                <a:gd name="connsiteY2" fmla="*/ 4 h 2264229"/>
                <a:gd name="connsiteX3" fmla="*/ 4305320 w 6473371"/>
                <a:gd name="connsiteY3" fmla="*/ 63489 h 2264229"/>
                <a:gd name="connsiteX4" fmla="*/ 6473372 w 6473371"/>
                <a:gd name="connsiteY4" fmla="*/ 1132125 h 2264229"/>
                <a:gd name="connsiteX5" fmla="*/ 4305316 w 6473371"/>
                <a:gd name="connsiteY5" fmla="*/ 2200756 h 2264229"/>
                <a:gd name="connsiteX6" fmla="*/ 3236685 w 6473371"/>
                <a:gd name="connsiteY6" fmla="*/ 2264240 h 2264229"/>
                <a:gd name="connsiteX7" fmla="*/ 2168053 w 6473371"/>
                <a:gd name="connsiteY7" fmla="*/ 2200756 h 2264229"/>
                <a:gd name="connsiteX8" fmla="*/ -1 w 6473371"/>
                <a:gd name="connsiteY8" fmla="*/ 1132122 h 2264229"/>
                <a:gd name="connsiteX9" fmla="*/ 0 w 6473371"/>
                <a:gd name="connsiteY9" fmla="*/ 1132115 h 2264229"/>
                <a:gd name="connsiteX10" fmla="*/ 5360223 w 6473371"/>
                <a:gd name="connsiteY10" fmla="*/ 1595979 h 2264229"/>
                <a:gd name="connsiteX11" fmla="*/ 3483222 w 6473371"/>
                <a:gd name="connsiteY11" fmla="*/ 427266 h 2264229"/>
                <a:gd name="connsiteX12" fmla="*/ 1957946 w 6473371"/>
                <a:gd name="connsiteY12" fmla="*/ 501926 h 2264229"/>
                <a:gd name="connsiteX13" fmla="*/ 5360223 w 6473371"/>
                <a:gd name="connsiteY13" fmla="*/ 1595979 h 2264229"/>
                <a:gd name="connsiteX14" fmla="*/ 1113148 w 6473371"/>
                <a:gd name="connsiteY14" fmla="*/ 668250 h 2264229"/>
                <a:gd name="connsiteX15" fmla="*/ 2990155 w 6473371"/>
                <a:gd name="connsiteY15" fmla="*/ 1836961 h 2264229"/>
                <a:gd name="connsiteX16" fmla="*/ 4515433 w 6473371"/>
                <a:gd name="connsiteY16" fmla="*/ 1762301 h 2264229"/>
                <a:gd name="connsiteX17" fmla="*/ 1113148 w 6473371"/>
                <a:gd name="connsiteY17" fmla="*/ 668250 h 2264229"/>
                <a:gd name="connsiteX0" fmla="*/ 822769 w 7688330"/>
                <a:gd name="connsiteY0" fmla="*/ 1141209 h 2273334"/>
                <a:gd name="connsiteX1" fmla="*/ 1298504 w 7688330"/>
                <a:gd name="connsiteY1" fmla="*/ 127173 h 2273334"/>
                <a:gd name="connsiteX2" fmla="*/ 4059457 w 7688330"/>
                <a:gd name="connsiteY2" fmla="*/ 9098 h 2273334"/>
                <a:gd name="connsiteX3" fmla="*/ 5128089 w 7688330"/>
                <a:gd name="connsiteY3" fmla="*/ 72583 h 2273334"/>
                <a:gd name="connsiteX4" fmla="*/ 7296141 w 7688330"/>
                <a:gd name="connsiteY4" fmla="*/ 1141219 h 2273334"/>
                <a:gd name="connsiteX5" fmla="*/ 5128085 w 7688330"/>
                <a:gd name="connsiteY5" fmla="*/ 2209850 h 2273334"/>
                <a:gd name="connsiteX6" fmla="*/ 4059454 w 7688330"/>
                <a:gd name="connsiteY6" fmla="*/ 2273334 h 2273334"/>
                <a:gd name="connsiteX7" fmla="*/ 2990822 w 7688330"/>
                <a:gd name="connsiteY7" fmla="*/ 2209850 h 2273334"/>
                <a:gd name="connsiteX8" fmla="*/ 822768 w 7688330"/>
                <a:gd name="connsiteY8" fmla="*/ 1141216 h 2273334"/>
                <a:gd name="connsiteX9" fmla="*/ 822769 w 7688330"/>
                <a:gd name="connsiteY9" fmla="*/ 1141209 h 2273334"/>
                <a:gd name="connsiteX10" fmla="*/ 6182992 w 7688330"/>
                <a:gd name="connsiteY10" fmla="*/ 1605073 h 2273334"/>
                <a:gd name="connsiteX11" fmla="*/ 4305991 w 7688330"/>
                <a:gd name="connsiteY11" fmla="*/ 436360 h 2273334"/>
                <a:gd name="connsiteX12" fmla="*/ 2780715 w 7688330"/>
                <a:gd name="connsiteY12" fmla="*/ 511020 h 2273334"/>
                <a:gd name="connsiteX13" fmla="*/ 6182992 w 7688330"/>
                <a:gd name="connsiteY13" fmla="*/ 1605073 h 2273334"/>
                <a:gd name="connsiteX14" fmla="*/ 1935917 w 7688330"/>
                <a:gd name="connsiteY14" fmla="*/ 677344 h 2273334"/>
                <a:gd name="connsiteX15" fmla="*/ 3812924 w 7688330"/>
                <a:gd name="connsiteY15" fmla="*/ 1846055 h 2273334"/>
                <a:gd name="connsiteX16" fmla="*/ 5338202 w 7688330"/>
                <a:gd name="connsiteY16" fmla="*/ 1771395 h 2273334"/>
                <a:gd name="connsiteX17" fmla="*/ 1935917 w 7688330"/>
                <a:gd name="connsiteY17" fmla="*/ 677344 h 2273334"/>
                <a:gd name="connsiteX0" fmla="*/ 1464213 w 7688330"/>
                <a:gd name="connsiteY0" fmla="*/ 2260325 h 2273334"/>
                <a:gd name="connsiteX1" fmla="*/ 1298504 w 7688330"/>
                <a:gd name="connsiteY1" fmla="*/ 127173 h 2273334"/>
                <a:gd name="connsiteX2" fmla="*/ 4059457 w 7688330"/>
                <a:gd name="connsiteY2" fmla="*/ 9098 h 2273334"/>
                <a:gd name="connsiteX3" fmla="*/ 5128089 w 7688330"/>
                <a:gd name="connsiteY3" fmla="*/ 72583 h 2273334"/>
                <a:gd name="connsiteX4" fmla="*/ 7296141 w 7688330"/>
                <a:gd name="connsiteY4" fmla="*/ 1141219 h 2273334"/>
                <a:gd name="connsiteX5" fmla="*/ 5128085 w 7688330"/>
                <a:gd name="connsiteY5" fmla="*/ 2209850 h 2273334"/>
                <a:gd name="connsiteX6" fmla="*/ 4059454 w 7688330"/>
                <a:gd name="connsiteY6" fmla="*/ 2273334 h 2273334"/>
                <a:gd name="connsiteX7" fmla="*/ 2990822 w 7688330"/>
                <a:gd name="connsiteY7" fmla="*/ 2209850 h 2273334"/>
                <a:gd name="connsiteX8" fmla="*/ 822768 w 7688330"/>
                <a:gd name="connsiteY8" fmla="*/ 1141216 h 2273334"/>
                <a:gd name="connsiteX9" fmla="*/ 1464213 w 7688330"/>
                <a:gd name="connsiteY9" fmla="*/ 2260325 h 2273334"/>
                <a:gd name="connsiteX10" fmla="*/ 6182992 w 7688330"/>
                <a:gd name="connsiteY10" fmla="*/ 1605073 h 2273334"/>
                <a:gd name="connsiteX11" fmla="*/ 4305991 w 7688330"/>
                <a:gd name="connsiteY11" fmla="*/ 436360 h 2273334"/>
                <a:gd name="connsiteX12" fmla="*/ 2780715 w 7688330"/>
                <a:gd name="connsiteY12" fmla="*/ 511020 h 2273334"/>
                <a:gd name="connsiteX13" fmla="*/ 6182992 w 7688330"/>
                <a:gd name="connsiteY13" fmla="*/ 1605073 h 2273334"/>
                <a:gd name="connsiteX14" fmla="*/ 1935917 w 7688330"/>
                <a:gd name="connsiteY14" fmla="*/ 677344 h 2273334"/>
                <a:gd name="connsiteX15" fmla="*/ 3812924 w 7688330"/>
                <a:gd name="connsiteY15" fmla="*/ 1846055 h 2273334"/>
                <a:gd name="connsiteX16" fmla="*/ 5338202 w 7688330"/>
                <a:gd name="connsiteY16" fmla="*/ 1771395 h 2273334"/>
                <a:gd name="connsiteX17" fmla="*/ 1935917 w 7688330"/>
                <a:gd name="connsiteY17" fmla="*/ 677344 h 2273334"/>
                <a:gd name="connsiteX0" fmla="*/ 1464213 w 7688330"/>
                <a:gd name="connsiteY0" fmla="*/ 2260325 h 2607438"/>
                <a:gd name="connsiteX1" fmla="*/ 1298504 w 7688330"/>
                <a:gd name="connsiteY1" fmla="*/ 127173 h 2607438"/>
                <a:gd name="connsiteX2" fmla="*/ 4059457 w 7688330"/>
                <a:gd name="connsiteY2" fmla="*/ 9098 h 2607438"/>
                <a:gd name="connsiteX3" fmla="*/ 5128089 w 7688330"/>
                <a:gd name="connsiteY3" fmla="*/ 72583 h 2607438"/>
                <a:gd name="connsiteX4" fmla="*/ 7296141 w 7688330"/>
                <a:gd name="connsiteY4" fmla="*/ 1141219 h 2607438"/>
                <a:gd name="connsiteX5" fmla="*/ 5128085 w 7688330"/>
                <a:gd name="connsiteY5" fmla="*/ 2209850 h 2607438"/>
                <a:gd name="connsiteX6" fmla="*/ 4059454 w 7688330"/>
                <a:gd name="connsiteY6" fmla="*/ 2273334 h 2607438"/>
                <a:gd name="connsiteX7" fmla="*/ 2990822 w 7688330"/>
                <a:gd name="connsiteY7" fmla="*/ 2209850 h 2607438"/>
                <a:gd name="connsiteX8" fmla="*/ 1464213 w 7688330"/>
                <a:gd name="connsiteY8" fmla="*/ 2260325 h 2607438"/>
                <a:gd name="connsiteX9" fmla="*/ 6182992 w 7688330"/>
                <a:gd name="connsiteY9" fmla="*/ 1605073 h 2607438"/>
                <a:gd name="connsiteX10" fmla="*/ 4305991 w 7688330"/>
                <a:gd name="connsiteY10" fmla="*/ 436360 h 2607438"/>
                <a:gd name="connsiteX11" fmla="*/ 2780715 w 7688330"/>
                <a:gd name="connsiteY11" fmla="*/ 511020 h 2607438"/>
                <a:gd name="connsiteX12" fmla="*/ 6182992 w 7688330"/>
                <a:gd name="connsiteY12" fmla="*/ 1605073 h 2607438"/>
                <a:gd name="connsiteX13" fmla="*/ 1935917 w 7688330"/>
                <a:gd name="connsiteY13" fmla="*/ 677344 h 2607438"/>
                <a:gd name="connsiteX14" fmla="*/ 3812924 w 7688330"/>
                <a:gd name="connsiteY14" fmla="*/ 1846055 h 2607438"/>
                <a:gd name="connsiteX15" fmla="*/ 5338202 w 7688330"/>
                <a:gd name="connsiteY15" fmla="*/ 1771395 h 2607438"/>
                <a:gd name="connsiteX16" fmla="*/ 1935917 w 7688330"/>
                <a:gd name="connsiteY16" fmla="*/ 677344 h 2607438"/>
                <a:gd name="connsiteX0" fmla="*/ 1464213 w 7688330"/>
                <a:gd name="connsiteY0" fmla="*/ 2260325 h 2607438"/>
                <a:gd name="connsiteX1" fmla="*/ 1298504 w 7688330"/>
                <a:gd name="connsiteY1" fmla="*/ 127173 h 2607438"/>
                <a:gd name="connsiteX2" fmla="*/ 4059457 w 7688330"/>
                <a:gd name="connsiteY2" fmla="*/ 9098 h 2607438"/>
                <a:gd name="connsiteX3" fmla="*/ 5128089 w 7688330"/>
                <a:gd name="connsiteY3" fmla="*/ 72583 h 2607438"/>
                <a:gd name="connsiteX4" fmla="*/ 7296141 w 7688330"/>
                <a:gd name="connsiteY4" fmla="*/ 1141219 h 2607438"/>
                <a:gd name="connsiteX5" fmla="*/ 5128085 w 7688330"/>
                <a:gd name="connsiteY5" fmla="*/ 2209850 h 2607438"/>
                <a:gd name="connsiteX6" fmla="*/ 2990822 w 7688330"/>
                <a:gd name="connsiteY6" fmla="*/ 2209850 h 2607438"/>
                <a:gd name="connsiteX7" fmla="*/ 1464213 w 7688330"/>
                <a:gd name="connsiteY7" fmla="*/ 2260325 h 2607438"/>
                <a:gd name="connsiteX8" fmla="*/ 6182992 w 7688330"/>
                <a:gd name="connsiteY8" fmla="*/ 1605073 h 2607438"/>
                <a:gd name="connsiteX9" fmla="*/ 4305991 w 7688330"/>
                <a:gd name="connsiteY9" fmla="*/ 436360 h 2607438"/>
                <a:gd name="connsiteX10" fmla="*/ 2780715 w 7688330"/>
                <a:gd name="connsiteY10" fmla="*/ 511020 h 2607438"/>
                <a:gd name="connsiteX11" fmla="*/ 6182992 w 7688330"/>
                <a:gd name="connsiteY11" fmla="*/ 1605073 h 2607438"/>
                <a:gd name="connsiteX12" fmla="*/ 1935917 w 7688330"/>
                <a:gd name="connsiteY12" fmla="*/ 677344 h 2607438"/>
                <a:gd name="connsiteX13" fmla="*/ 3812924 w 7688330"/>
                <a:gd name="connsiteY13" fmla="*/ 1846055 h 2607438"/>
                <a:gd name="connsiteX14" fmla="*/ 5338202 w 7688330"/>
                <a:gd name="connsiteY14" fmla="*/ 1771395 h 2607438"/>
                <a:gd name="connsiteX15" fmla="*/ 1935917 w 7688330"/>
                <a:gd name="connsiteY15" fmla="*/ 677344 h 2607438"/>
                <a:gd name="connsiteX0" fmla="*/ 1464213 w 7688330"/>
                <a:gd name="connsiteY0" fmla="*/ 2260325 h 2607438"/>
                <a:gd name="connsiteX1" fmla="*/ 1298504 w 7688330"/>
                <a:gd name="connsiteY1" fmla="*/ 127173 h 2607438"/>
                <a:gd name="connsiteX2" fmla="*/ 4059457 w 7688330"/>
                <a:gd name="connsiteY2" fmla="*/ 9098 h 2607438"/>
                <a:gd name="connsiteX3" fmla="*/ 5128089 w 7688330"/>
                <a:gd name="connsiteY3" fmla="*/ 72583 h 2607438"/>
                <a:gd name="connsiteX4" fmla="*/ 7296141 w 7688330"/>
                <a:gd name="connsiteY4" fmla="*/ 1141219 h 2607438"/>
                <a:gd name="connsiteX5" fmla="*/ 2990822 w 7688330"/>
                <a:gd name="connsiteY5" fmla="*/ 2209850 h 2607438"/>
                <a:gd name="connsiteX6" fmla="*/ 1464213 w 7688330"/>
                <a:gd name="connsiteY6" fmla="*/ 2260325 h 2607438"/>
                <a:gd name="connsiteX7" fmla="*/ 6182992 w 7688330"/>
                <a:gd name="connsiteY7" fmla="*/ 1605073 h 2607438"/>
                <a:gd name="connsiteX8" fmla="*/ 4305991 w 7688330"/>
                <a:gd name="connsiteY8" fmla="*/ 436360 h 2607438"/>
                <a:gd name="connsiteX9" fmla="*/ 2780715 w 7688330"/>
                <a:gd name="connsiteY9" fmla="*/ 511020 h 2607438"/>
                <a:gd name="connsiteX10" fmla="*/ 6182992 w 7688330"/>
                <a:gd name="connsiteY10" fmla="*/ 1605073 h 2607438"/>
                <a:gd name="connsiteX11" fmla="*/ 1935917 w 7688330"/>
                <a:gd name="connsiteY11" fmla="*/ 677344 h 2607438"/>
                <a:gd name="connsiteX12" fmla="*/ 3812924 w 7688330"/>
                <a:gd name="connsiteY12" fmla="*/ 1846055 h 2607438"/>
                <a:gd name="connsiteX13" fmla="*/ 5338202 w 7688330"/>
                <a:gd name="connsiteY13" fmla="*/ 1771395 h 2607438"/>
                <a:gd name="connsiteX14" fmla="*/ 1935917 w 7688330"/>
                <a:gd name="connsiteY14" fmla="*/ 677344 h 2607438"/>
                <a:gd name="connsiteX0" fmla="*/ 1464213 w 7688330"/>
                <a:gd name="connsiteY0" fmla="*/ 2260325 h 2643842"/>
                <a:gd name="connsiteX1" fmla="*/ 1298504 w 7688330"/>
                <a:gd name="connsiteY1" fmla="*/ 127173 h 2643842"/>
                <a:gd name="connsiteX2" fmla="*/ 4059457 w 7688330"/>
                <a:gd name="connsiteY2" fmla="*/ 9098 h 2643842"/>
                <a:gd name="connsiteX3" fmla="*/ 5128089 w 7688330"/>
                <a:gd name="connsiteY3" fmla="*/ 72583 h 2643842"/>
                <a:gd name="connsiteX4" fmla="*/ 6695640 w 7688330"/>
                <a:gd name="connsiteY4" fmla="*/ 2287631 h 2643842"/>
                <a:gd name="connsiteX5" fmla="*/ 2990822 w 7688330"/>
                <a:gd name="connsiteY5" fmla="*/ 2209850 h 2643842"/>
                <a:gd name="connsiteX6" fmla="*/ 1464213 w 7688330"/>
                <a:gd name="connsiteY6" fmla="*/ 2260325 h 2643842"/>
                <a:gd name="connsiteX7" fmla="*/ 6182992 w 7688330"/>
                <a:gd name="connsiteY7" fmla="*/ 1605073 h 2643842"/>
                <a:gd name="connsiteX8" fmla="*/ 4305991 w 7688330"/>
                <a:gd name="connsiteY8" fmla="*/ 436360 h 2643842"/>
                <a:gd name="connsiteX9" fmla="*/ 2780715 w 7688330"/>
                <a:gd name="connsiteY9" fmla="*/ 511020 h 2643842"/>
                <a:gd name="connsiteX10" fmla="*/ 6182992 w 7688330"/>
                <a:gd name="connsiteY10" fmla="*/ 1605073 h 2643842"/>
                <a:gd name="connsiteX11" fmla="*/ 1935917 w 7688330"/>
                <a:gd name="connsiteY11" fmla="*/ 677344 h 2643842"/>
                <a:gd name="connsiteX12" fmla="*/ 3812924 w 7688330"/>
                <a:gd name="connsiteY12" fmla="*/ 1846055 h 2643842"/>
                <a:gd name="connsiteX13" fmla="*/ 5338202 w 7688330"/>
                <a:gd name="connsiteY13" fmla="*/ 1771395 h 2643842"/>
                <a:gd name="connsiteX14" fmla="*/ 1935917 w 7688330"/>
                <a:gd name="connsiteY14" fmla="*/ 677344 h 2643842"/>
                <a:gd name="connsiteX0" fmla="*/ 1464213 w 7688330"/>
                <a:gd name="connsiteY0" fmla="*/ 2611303 h 2994820"/>
                <a:gd name="connsiteX1" fmla="*/ 1298504 w 7688330"/>
                <a:gd name="connsiteY1" fmla="*/ 478151 h 2994820"/>
                <a:gd name="connsiteX2" fmla="*/ 4059457 w 7688330"/>
                <a:gd name="connsiteY2" fmla="*/ 360076 h 2994820"/>
                <a:gd name="connsiteX3" fmla="*/ 6695640 w 7688330"/>
                <a:gd name="connsiteY3" fmla="*/ 2638609 h 2994820"/>
                <a:gd name="connsiteX4" fmla="*/ 2990822 w 7688330"/>
                <a:gd name="connsiteY4" fmla="*/ 2560828 h 2994820"/>
                <a:gd name="connsiteX5" fmla="*/ 1464213 w 7688330"/>
                <a:gd name="connsiteY5" fmla="*/ 2611303 h 2994820"/>
                <a:gd name="connsiteX6" fmla="*/ 6182992 w 7688330"/>
                <a:gd name="connsiteY6" fmla="*/ 1956051 h 2994820"/>
                <a:gd name="connsiteX7" fmla="*/ 4305991 w 7688330"/>
                <a:gd name="connsiteY7" fmla="*/ 787338 h 2994820"/>
                <a:gd name="connsiteX8" fmla="*/ 2780715 w 7688330"/>
                <a:gd name="connsiteY8" fmla="*/ 861998 h 2994820"/>
                <a:gd name="connsiteX9" fmla="*/ 6182992 w 7688330"/>
                <a:gd name="connsiteY9" fmla="*/ 1956051 h 2994820"/>
                <a:gd name="connsiteX10" fmla="*/ 1935917 w 7688330"/>
                <a:gd name="connsiteY10" fmla="*/ 1028322 h 2994820"/>
                <a:gd name="connsiteX11" fmla="*/ 3812924 w 7688330"/>
                <a:gd name="connsiteY11" fmla="*/ 2197033 h 2994820"/>
                <a:gd name="connsiteX12" fmla="*/ 5338202 w 7688330"/>
                <a:gd name="connsiteY12" fmla="*/ 2122373 h 2994820"/>
                <a:gd name="connsiteX13" fmla="*/ 1935917 w 7688330"/>
                <a:gd name="connsiteY13" fmla="*/ 1028322 h 2994820"/>
                <a:gd name="connsiteX0" fmla="*/ 1464213 w 7688330"/>
                <a:gd name="connsiteY0" fmla="*/ 2597656 h 2981173"/>
                <a:gd name="connsiteX1" fmla="*/ 1298504 w 7688330"/>
                <a:gd name="connsiteY1" fmla="*/ 464504 h 2981173"/>
                <a:gd name="connsiteX2" fmla="*/ 6638884 w 7688330"/>
                <a:gd name="connsiteY2" fmla="*/ 360076 h 2981173"/>
                <a:gd name="connsiteX3" fmla="*/ 6695640 w 7688330"/>
                <a:gd name="connsiteY3" fmla="*/ 2624962 h 2981173"/>
                <a:gd name="connsiteX4" fmla="*/ 2990822 w 7688330"/>
                <a:gd name="connsiteY4" fmla="*/ 2547181 h 2981173"/>
                <a:gd name="connsiteX5" fmla="*/ 1464213 w 7688330"/>
                <a:gd name="connsiteY5" fmla="*/ 2597656 h 2981173"/>
                <a:gd name="connsiteX6" fmla="*/ 6182992 w 7688330"/>
                <a:gd name="connsiteY6" fmla="*/ 1942404 h 2981173"/>
                <a:gd name="connsiteX7" fmla="*/ 4305991 w 7688330"/>
                <a:gd name="connsiteY7" fmla="*/ 773691 h 2981173"/>
                <a:gd name="connsiteX8" fmla="*/ 2780715 w 7688330"/>
                <a:gd name="connsiteY8" fmla="*/ 848351 h 2981173"/>
                <a:gd name="connsiteX9" fmla="*/ 6182992 w 7688330"/>
                <a:gd name="connsiteY9" fmla="*/ 1942404 h 2981173"/>
                <a:gd name="connsiteX10" fmla="*/ 1935917 w 7688330"/>
                <a:gd name="connsiteY10" fmla="*/ 1014675 h 2981173"/>
                <a:gd name="connsiteX11" fmla="*/ 3812924 w 7688330"/>
                <a:gd name="connsiteY11" fmla="*/ 2183386 h 2981173"/>
                <a:gd name="connsiteX12" fmla="*/ 5338202 w 7688330"/>
                <a:gd name="connsiteY12" fmla="*/ 2108726 h 2981173"/>
                <a:gd name="connsiteX13" fmla="*/ 1935917 w 7688330"/>
                <a:gd name="connsiteY13" fmla="*/ 1014675 h 2981173"/>
                <a:gd name="connsiteX0" fmla="*/ 1464213 w 8913486"/>
                <a:gd name="connsiteY0" fmla="*/ 2597656 h 2981173"/>
                <a:gd name="connsiteX1" fmla="*/ 1298504 w 8913486"/>
                <a:gd name="connsiteY1" fmla="*/ 464504 h 2981173"/>
                <a:gd name="connsiteX2" fmla="*/ 6638884 w 8913486"/>
                <a:gd name="connsiteY2" fmla="*/ 360076 h 2981173"/>
                <a:gd name="connsiteX3" fmla="*/ 6695640 w 8913486"/>
                <a:gd name="connsiteY3" fmla="*/ 2624962 h 2981173"/>
                <a:gd name="connsiteX4" fmla="*/ 2990822 w 8913486"/>
                <a:gd name="connsiteY4" fmla="*/ 2547181 h 2981173"/>
                <a:gd name="connsiteX5" fmla="*/ 1464213 w 8913486"/>
                <a:gd name="connsiteY5" fmla="*/ 2597656 h 2981173"/>
                <a:gd name="connsiteX6" fmla="*/ 6182992 w 8913486"/>
                <a:gd name="connsiteY6" fmla="*/ 1942404 h 2981173"/>
                <a:gd name="connsiteX7" fmla="*/ 6626110 w 8913486"/>
                <a:gd name="connsiteY7" fmla="*/ 1019350 h 2981173"/>
                <a:gd name="connsiteX8" fmla="*/ 2780715 w 8913486"/>
                <a:gd name="connsiteY8" fmla="*/ 848351 h 2981173"/>
                <a:gd name="connsiteX9" fmla="*/ 6182992 w 8913486"/>
                <a:gd name="connsiteY9" fmla="*/ 1942404 h 2981173"/>
                <a:gd name="connsiteX10" fmla="*/ 1935917 w 8913486"/>
                <a:gd name="connsiteY10" fmla="*/ 1014675 h 2981173"/>
                <a:gd name="connsiteX11" fmla="*/ 3812924 w 8913486"/>
                <a:gd name="connsiteY11" fmla="*/ 2183386 h 2981173"/>
                <a:gd name="connsiteX12" fmla="*/ 5338202 w 8913486"/>
                <a:gd name="connsiteY12" fmla="*/ 2108726 h 2981173"/>
                <a:gd name="connsiteX13" fmla="*/ 1935917 w 8913486"/>
                <a:gd name="connsiteY13" fmla="*/ 1014675 h 2981173"/>
                <a:gd name="connsiteX0" fmla="*/ 1464213 w 8913486"/>
                <a:gd name="connsiteY0" fmla="*/ 2597656 h 2981173"/>
                <a:gd name="connsiteX1" fmla="*/ 1298504 w 8913486"/>
                <a:gd name="connsiteY1" fmla="*/ 464504 h 2981173"/>
                <a:gd name="connsiteX2" fmla="*/ 6638884 w 8913486"/>
                <a:gd name="connsiteY2" fmla="*/ 360076 h 2981173"/>
                <a:gd name="connsiteX3" fmla="*/ 6695640 w 8913486"/>
                <a:gd name="connsiteY3" fmla="*/ 2624962 h 2981173"/>
                <a:gd name="connsiteX4" fmla="*/ 2990822 w 8913486"/>
                <a:gd name="connsiteY4" fmla="*/ 2547181 h 2981173"/>
                <a:gd name="connsiteX5" fmla="*/ 1464213 w 8913486"/>
                <a:gd name="connsiteY5" fmla="*/ 2597656 h 2981173"/>
                <a:gd name="connsiteX6" fmla="*/ 6660664 w 8913486"/>
                <a:gd name="connsiteY6" fmla="*/ 1683097 h 2981173"/>
                <a:gd name="connsiteX7" fmla="*/ 6626110 w 8913486"/>
                <a:gd name="connsiteY7" fmla="*/ 1019350 h 2981173"/>
                <a:gd name="connsiteX8" fmla="*/ 2780715 w 8913486"/>
                <a:gd name="connsiteY8" fmla="*/ 848351 h 2981173"/>
                <a:gd name="connsiteX9" fmla="*/ 6660664 w 8913486"/>
                <a:gd name="connsiteY9" fmla="*/ 1683097 h 2981173"/>
                <a:gd name="connsiteX10" fmla="*/ 1935917 w 8913486"/>
                <a:gd name="connsiteY10" fmla="*/ 1014675 h 2981173"/>
                <a:gd name="connsiteX11" fmla="*/ 3812924 w 8913486"/>
                <a:gd name="connsiteY11" fmla="*/ 2183386 h 2981173"/>
                <a:gd name="connsiteX12" fmla="*/ 5338202 w 8913486"/>
                <a:gd name="connsiteY12" fmla="*/ 2108726 h 2981173"/>
                <a:gd name="connsiteX13" fmla="*/ 1935917 w 8913486"/>
                <a:gd name="connsiteY13" fmla="*/ 1014675 h 2981173"/>
                <a:gd name="connsiteX0" fmla="*/ 1464213 w 8913486"/>
                <a:gd name="connsiteY0" fmla="*/ 2597656 h 2981173"/>
                <a:gd name="connsiteX1" fmla="*/ 1298504 w 8913486"/>
                <a:gd name="connsiteY1" fmla="*/ 464504 h 2981173"/>
                <a:gd name="connsiteX2" fmla="*/ 6638884 w 8913486"/>
                <a:gd name="connsiteY2" fmla="*/ 360076 h 2981173"/>
                <a:gd name="connsiteX3" fmla="*/ 6695640 w 8913486"/>
                <a:gd name="connsiteY3" fmla="*/ 2624962 h 2981173"/>
                <a:gd name="connsiteX4" fmla="*/ 2990822 w 8913486"/>
                <a:gd name="connsiteY4" fmla="*/ 2547181 h 2981173"/>
                <a:gd name="connsiteX5" fmla="*/ 1464213 w 8913486"/>
                <a:gd name="connsiteY5" fmla="*/ 2597656 h 2981173"/>
                <a:gd name="connsiteX6" fmla="*/ 6660664 w 8913486"/>
                <a:gd name="connsiteY6" fmla="*/ 1683097 h 2981173"/>
                <a:gd name="connsiteX7" fmla="*/ 6626110 w 8913486"/>
                <a:gd name="connsiteY7" fmla="*/ 1019350 h 2981173"/>
                <a:gd name="connsiteX8" fmla="*/ 5933348 w 8913486"/>
                <a:gd name="connsiteY8" fmla="*/ 1012124 h 2981173"/>
                <a:gd name="connsiteX9" fmla="*/ 6660664 w 8913486"/>
                <a:gd name="connsiteY9" fmla="*/ 1683097 h 2981173"/>
                <a:gd name="connsiteX10" fmla="*/ 1935917 w 8913486"/>
                <a:gd name="connsiteY10" fmla="*/ 1014675 h 2981173"/>
                <a:gd name="connsiteX11" fmla="*/ 3812924 w 8913486"/>
                <a:gd name="connsiteY11" fmla="*/ 2183386 h 2981173"/>
                <a:gd name="connsiteX12" fmla="*/ 5338202 w 8913486"/>
                <a:gd name="connsiteY12" fmla="*/ 2108726 h 2981173"/>
                <a:gd name="connsiteX13" fmla="*/ 1935917 w 8913486"/>
                <a:gd name="connsiteY13" fmla="*/ 1014675 h 2981173"/>
                <a:gd name="connsiteX0" fmla="*/ 1464213 w 8913486"/>
                <a:gd name="connsiteY0" fmla="*/ 2597656 h 2981173"/>
                <a:gd name="connsiteX1" fmla="*/ 1298504 w 8913486"/>
                <a:gd name="connsiteY1" fmla="*/ 464504 h 2981173"/>
                <a:gd name="connsiteX2" fmla="*/ 6638884 w 8913486"/>
                <a:gd name="connsiteY2" fmla="*/ 360076 h 2981173"/>
                <a:gd name="connsiteX3" fmla="*/ 6695640 w 8913486"/>
                <a:gd name="connsiteY3" fmla="*/ 2624962 h 2981173"/>
                <a:gd name="connsiteX4" fmla="*/ 2990822 w 8913486"/>
                <a:gd name="connsiteY4" fmla="*/ 2547181 h 2981173"/>
                <a:gd name="connsiteX5" fmla="*/ 1464213 w 8913486"/>
                <a:gd name="connsiteY5" fmla="*/ 2597656 h 2981173"/>
                <a:gd name="connsiteX6" fmla="*/ 6660664 w 8913486"/>
                <a:gd name="connsiteY6" fmla="*/ 1683097 h 2981173"/>
                <a:gd name="connsiteX7" fmla="*/ 6626110 w 8913486"/>
                <a:gd name="connsiteY7" fmla="*/ 1019350 h 2981173"/>
                <a:gd name="connsiteX8" fmla="*/ 5933348 w 8913486"/>
                <a:gd name="connsiteY8" fmla="*/ 1012124 h 2981173"/>
                <a:gd name="connsiteX9" fmla="*/ 5919884 w 8913486"/>
                <a:gd name="connsiteY9" fmla="*/ 1672858 h 2981173"/>
                <a:gd name="connsiteX10" fmla="*/ 6660664 w 8913486"/>
                <a:gd name="connsiteY10" fmla="*/ 1683097 h 2981173"/>
                <a:gd name="connsiteX11" fmla="*/ 1935917 w 8913486"/>
                <a:gd name="connsiteY11" fmla="*/ 1014675 h 2981173"/>
                <a:gd name="connsiteX12" fmla="*/ 3812924 w 8913486"/>
                <a:gd name="connsiteY12" fmla="*/ 2183386 h 2981173"/>
                <a:gd name="connsiteX13" fmla="*/ 5338202 w 8913486"/>
                <a:gd name="connsiteY13" fmla="*/ 2108726 h 2981173"/>
                <a:gd name="connsiteX14" fmla="*/ 1935917 w 8913486"/>
                <a:gd name="connsiteY14" fmla="*/ 1014675 h 2981173"/>
                <a:gd name="connsiteX0" fmla="*/ 1464213 w 8913486"/>
                <a:gd name="connsiteY0" fmla="*/ 2597656 h 2981173"/>
                <a:gd name="connsiteX1" fmla="*/ 1298504 w 8913486"/>
                <a:gd name="connsiteY1" fmla="*/ 464504 h 2981173"/>
                <a:gd name="connsiteX2" fmla="*/ 6638884 w 8913486"/>
                <a:gd name="connsiteY2" fmla="*/ 360076 h 2981173"/>
                <a:gd name="connsiteX3" fmla="*/ 6695640 w 8913486"/>
                <a:gd name="connsiteY3" fmla="*/ 2624962 h 2981173"/>
                <a:gd name="connsiteX4" fmla="*/ 2990822 w 8913486"/>
                <a:gd name="connsiteY4" fmla="*/ 2547181 h 2981173"/>
                <a:gd name="connsiteX5" fmla="*/ 1464213 w 8913486"/>
                <a:gd name="connsiteY5" fmla="*/ 2597656 h 2981173"/>
                <a:gd name="connsiteX6" fmla="*/ 6660664 w 8913486"/>
                <a:gd name="connsiteY6" fmla="*/ 1683097 h 2981173"/>
                <a:gd name="connsiteX7" fmla="*/ 6626110 w 8913486"/>
                <a:gd name="connsiteY7" fmla="*/ 1019350 h 2981173"/>
                <a:gd name="connsiteX8" fmla="*/ 5933348 w 8913486"/>
                <a:gd name="connsiteY8" fmla="*/ 1012124 h 2981173"/>
                <a:gd name="connsiteX9" fmla="*/ 5919884 w 8913486"/>
                <a:gd name="connsiteY9" fmla="*/ 1672858 h 2981173"/>
                <a:gd name="connsiteX10" fmla="*/ 6660664 w 8913486"/>
                <a:gd name="connsiteY10" fmla="*/ 1683097 h 2981173"/>
                <a:gd name="connsiteX11" fmla="*/ 1567428 w 8913486"/>
                <a:gd name="connsiteY11" fmla="*/ 1028323 h 2981173"/>
                <a:gd name="connsiteX12" fmla="*/ 3812924 w 8913486"/>
                <a:gd name="connsiteY12" fmla="*/ 2183386 h 2981173"/>
                <a:gd name="connsiteX13" fmla="*/ 5338202 w 8913486"/>
                <a:gd name="connsiteY13" fmla="*/ 2108726 h 2981173"/>
                <a:gd name="connsiteX14" fmla="*/ 1567428 w 8913486"/>
                <a:gd name="connsiteY14" fmla="*/ 1028323 h 2981173"/>
                <a:gd name="connsiteX0" fmla="*/ 1464213 w 8913486"/>
                <a:gd name="connsiteY0" fmla="*/ 2597656 h 2981173"/>
                <a:gd name="connsiteX1" fmla="*/ 1298504 w 8913486"/>
                <a:gd name="connsiteY1" fmla="*/ 464504 h 2981173"/>
                <a:gd name="connsiteX2" fmla="*/ 6638884 w 8913486"/>
                <a:gd name="connsiteY2" fmla="*/ 360076 h 2981173"/>
                <a:gd name="connsiteX3" fmla="*/ 6695640 w 8913486"/>
                <a:gd name="connsiteY3" fmla="*/ 2624962 h 2981173"/>
                <a:gd name="connsiteX4" fmla="*/ 2990822 w 8913486"/>
                <a:gd name="connsiteY4" fmla="*/ 2547181 h 2981173"/>
                <a:gd name="connsiteX5" fmla="*/ 1464213 w 8913486"/>
                <a:gd name="connsiteY5" fmla="*/ 2597656 h 2981173"/>
                <a:gd name="connsiteX6" fmla="*/ 6660664 w 8913486"/>
                <a:gd name="connsiteY6" fmla="*/ 1683097 h 2981173"/>
                <a:gd name="connsiteX7" fmla="*/ 6626110 w 8913486"/>
                <a:gd name="connsiteY7" fmla="*/ 1019350 h 2981173"/>
                <a:gd name="connsiteX8" fmla="*/ 5933348 w 8913486"/>
                <a:gd name="connsiteY8" fmla="*/ 1012124 h 2981173"/>
                <a:gd name="connsiteX9" fmla="*/ 5919884 w 8913486"/>
                <a:gd name="connsiteY9" fmla="*/ 1672858 h 2981173"/>
                <a:gd name="connsiteX10" fmla="*/ 6660664 w 8913486"/>
                <a:gd name="connsiteY10" fmla="*/ 1683097 h 2981173"/>
                <a:gd name="connsiteX11" fmla="*/ 1567428 w 8913486"/>
                <a:gd name="connsiteY11" fmla="*/ 1028323 h 2981173"/>
                <a:gd name="connsiteX12" fmla="*/ 3812924 w 8913486"/>
                <a:gd name="connsiteY12" fmla="*/ 2183386 h 2981173"/>
                <a:gd name="connsiteX13" fmla="*/ 2185569 w 8913486"/>
                <a:gd name="connsiteY13" fmla="*/ 1016905 h 2981173"/>
                <a:gd name="connsiteX14" fmla="*/ 1567428 w 8913486"/>
                <a:gd name="connsiteY14" fmla="*/ 1028323 h 2981173"/>
                <a:gd name="connsiteX0" fmla="*/ 1508155 w 8957428"/>
                <a:gd name="connsiteY0" fmla="*/ 2597656 h 2981173"/>
                <a:gd name="connsiteX1" fmla="*/ 1342446 w 8957428"/>
                <a:gd name="connsiteY1" fmla="*/ 464504 h 2981173"/>
                <a:gd name="connsiteX2" fmla="*/ 6682826 w 8957428"/>
                <a:gd name="connsiteY2" fmla="*/ 360076 h 2981173"/>
                <a:gd name="connsiteX3" fmla="*/ 6739582 w 8957428"/>
                <a:gd name="connsiteY3" fmla="*/ 2624962 h 2981173"/>
                <a:gd name="connsiteX4" fmla="*/ 3034764 w 8957428"/>
                <a:gd name="connsiteY4" fmla="*/ 2547181 h 2981173"/>
                <a:gd name="connsiteX5" fmla="*/ 1508155 w 8957428"/>
                <a:gd name="connsiteY5" fmla="*/ 2597656 h 2981173"/>
                <a:gd name="connsiteX6" fmla="*/ 6704606 w 8957428"/>
                <a:gd name="connsiteY6" fmla="*/ 1683097 h 2981173"/>
                <a:gd name="connsiteX7" fmla="*/ 6670052 w 8957428"/>
                <a:gd name="connsiteY7" fmla="*/ 1019350 h 2981173"/>
                <a:gd name="connsiteX8" fmla="*/ 5977290 w 8957428"/>
                <a:gd name="connsiteY8" fmla="*/ 1012124 h 2981173"/>
                <a:gd name="connsiteX9" fmla="*/ 5963826 w 8957428"/>
                <a:gd name="connsiteY9" fmla="*/ 1672858 h 2981173"/>
                <a:gd name="connsiteX10" fmla="*/ 6704606 w 8957428"/>
                <a:gd name="connsiteY10" fmla="*/ 1683097 h 2981173"/>
                <a:gd name="connsiteX11" fmla="*/ 1611370 w 8957428"/>
                <a:gd name="connsiteY11" fmla="*/ 1028323 h 2981173"/>
                <a:gd name="connsiteX12" fmla="*/ 2287373 w 8957428"/>
                <a:gd name="connsiteY12" fmla="*/ 1719362 h 2981173"/>
                <a:gd name="connsiteX13" fmla="*/ 2229511 w 8957428"/>
                <a:gd name="connsiteY13" fmla="*/ 1016905 h 2981173"/>
                <a:gd name="connsiteX14" fmla="*/ 1611370 w 8957428"/>
                <a:gd name="connsiteY14" fmla="*/ 1028323 h 2981173"/>
                <a:gd name="connsiteX0" fmla="*/ 1464213 w 8913486"/>
                <a:gd name="connsiteY0" fmla="*/ 2597656 h 2981173"/>
                <a:gd name="connsiteX1" fmla="*/ 1298504 w 8913486"/>
                <a:gd name="connsiteY1" fmla="*/ 464504 h 2981173"/>
                <a:gd name="connsiteX2" fmla="*/ 6638884 w 8913486"/>
                <a:gd name="connsiteY2" fmla="*/ 360076 h 2981173"/>
                <a:gd name="connsiteX3" fmla="*/ 6695640 w 8913486"/>
                <a:gd name="connsiteY3" fmla="*/ 2624962 h 2981173"/>
                <a:gd name="connsiteX4" fmla="*/ 2990822 w 8913486"/>
                <a:gd name="connsiteY4" fmla="*/ 2547181 h 2981173"/>
                <a:gd name="connsiteX5" fmla="*/ 1464213 w 8913486"/>
                <a:gd name="connsiteY5" fmla="*/ 2597656 h 2981173"/>
                <a:gd name="connsiteX6" fmla="*/ 6660664 w 8913486"/>
                <a:gd name="connsiteY6" fmla="*/ 1683097 h 2981173"/>
                <a:gd name="connsiteX7" fmla="*/ 6626110 w 8913486"/>
                <a:gd name="connsiteY7" fmla="*/ 1019350 h 2981173"/>
                <a:gd name="connsiteX8" fmla="*/ 5933348 w 8913486"/>
                <a:gd name="connsiteY8" fmla="*/ 1012124 h 2981173"/>
                <a:gd name="connsiteX9" fmla="*/ 5919884 w 8913486"/>
                <a:gd name="connsiteY9" fmla="*/ 1672858 h 2981173"/>
                <a:gd name="connsiteX10" fmla="*/ 6660664 w 8913486"/>
                <a:gd name="connsiteY10" fmla="*/ 1683097 h 2981173"/>
                <a:gd name="connsiteX11" fmla="*/ 1567428 w 8913486"/>
                <a:gd name="connsiteY11" fmla="*/ 1028323 h 2981173"/>
                <a:gd name="connsiteX12" fmla="*/ 1498009 w 8913486"/>
                <a:gd name="connsiteY12" fmla="*/ 1686505 h 2981173"/>
                <a:gd name="connsiteX13" fmla="*/ 2243431 w 8913486"/>
                <a:gd name="connsiteY13" fmla="*/ 1719362 h 2981173"/>
                <a:gd name="connsiteX14" fmla="*/ 2185569 w 8913486"/>
                <a:gd name="connsiteY14" fmla="*/ 1016905 h 2981173"/>
                <a:gd name="connsiteX15" fmla="*/ 1567428 w 8913486"/>
                <a:gd name="connsiteY15" fmla="*/ 1028323 h 2981173"/>
                <a:gd name="connsiteX0" fmla="*/ 1464213 w 8913486"/>
                <a:gd name="connsiteY0" fmla="*/ 2597656 h 2981173"/>
                <a:gd name="connsiteX1" fmla="*/ 1298504 w 8913486"/>
                <a:gd name="connsiteY1" fmla="*/ 464504 h 2981173"/>
                <a:gd name="connsiteX2" fmla="*/ 6638884 w 8913486"/>
                <a:gd name="connsiteY2" fmla="*/ 360076 h 2981173"/>
                <a:gd name="connsiteX3" fmla="*/ 6695640 w 8913486"/>
                <a:gd name="connsiteY3" fmla="*/ 2624962 h 2981173"/>
                <a:gd name="connsiteX4" fmla="*/ 2990822 w 8913486"/>
                <a:gd name="connsiteY4" fmla="*/ 2547181 h 2981173"/>
                <a:gd name="connsiteX5" fmla="*/ 1464213 w 8913486"/>
                <a:gd name="connsiteY5" fmla="*/ 2597656 h 2981173"/>
                <a:gd name="connsiteX6" fmla="*/ 6660664 w 8913486"/>
                <a:gd name="connsiteY6" fmla="*/ 1683097 h 2981173"/>
                <a:gd name="connsiteX7" fmla="*/ 6626110 w 8913486"/>
                <a:gd name="connsiteY7" fmla="*/ 1019350 h 2981173"/>
                <a:gd name="connsiteX8" fmla="*/ 5933348 w 8913486"/>
                <a:gd name="connsiteY8" fmla="*/ 1012124 h 2981173"/>
                <a:gd name="connsiteX9" fmla="*/ 5919884 w 8913486"/>
                <a:gd name="connsiteY9" fmla="*/ 1672858 h 2981173"/>
                <a:gd name="connsiteX10" fmla="*/ 6660664 w 8913486"/>
                <a:gd name="connsiteY10" fmla="*/ 1683097 h 2981173"/>
                <a:gd name="connsiteX11" fmla="*/ 1567428 w 8913486"/>
                <a:gd name="connsiteY11" fmla="*/ 1028323 h 2981173"/>
                <a:gd name="connsiteX12" fmla="*/ 1498009 w 8913486"/>
                <a:gd name="connsiteY12" fmla="*/ 1686505 h 2981173"/>
                <a:gd name="connsiteX13" fmla="*/ 2243431 w 8913486"/>
                <a:gd name="connsiteY13" fmla="*/ 1719362 h 2981173"/>
                <a:gd name="connsiteX14" fmla="*/ 2185569 w 8913486"/>
                <a:gd name="connsiteY14" fmla="*/ 1016905 h 2981173"/>
                <a:gd name="connsiteX15" fmla="*/ 1567428 w 8913486"/>
                <a:gd name="connsiteY15" fmla="*/ 1028323 h 2981173"/>
                <a:gd name="connsiteX0" fmla="*/ 1464213 w 8913486"/>
                <a:gd name="connsiteY0" fmla="*/ 2237580 h 2621097"/>
                <a:gd name="connsiteX1" fmla="*/ 1298504 w 8913486"/>
                <a:gd name="connsiteY1" fmla="*/ 104428 h 2621097"/>
                <a:gd name="connsiteX2" fmla="*/ 6638884 w 8913486"/>
                <a:gd name="connsiteY2" fmla="*/ 0 h 2621097"/>
                <a:gd name="connsiteX3" fmla="*/ 6695640 w 8913486"/>
                <a:gd name="connsiteY3" fmla="*/ 2264886 h 2621097"/>
                <a:gd name="connsiteX4" fmla="*/ 2990822 w 8913486"/>
                <a:gd name="connsiteY4" fmla="*/ 2187105 h 2621097"/>
                <a:gd name="connsiteX5" fmla="*/ 1464213 w 8913486"/>
                <a:gd name="connsiteY5" fmla="*/ 2237580 h 2621097"/>
                <a:gd name="connsiteX6" fmla="*/ 6660664 w 8913486"/>
                <a:gd name="connsiteY6" fmla="*/ 1323021 h 2621097"/>
                <a:gd name="connsiteX7" fmla="*/ 6626110 w 8913486"/>
                <a:gd name="connsiteY7" fmla="*/ 659274 h 2621097"/>
                <a:gd name="connsiteX8" fmla="*/ 5933348 w 8913486"/>
                <a:gd name="connsiteY8" fmla="*/ 652048 h 2621097"/>
                <a:gd name="connsiteX9" fmla="*/ 5919884 w 8913486"/>
                <a:gd name="connsiteY9" fmla="*/ 1312782 h 2621097"/>
                <a:gd name="connsiteX10" fmla="*/ 6660664 w 8913486"/>
                <a:gd name="connsiteY10" fmla="*/ 1323021 h 2621097"/>
                <a:gd name="connsiteX11" fmla="*/ 1567428 w 8913486"/>
                <a:gd name="connsiteY11" fmla="*/ 668247 h 2621097"/>
                <a:gd name="connsiteX12" fmla="*/ 1498009 w 8913486"/>
                <a:gd name="connsiteY12" fmla="*/ 1326429 h 2621097"/>
                <a:gd name="connsiteX13" fmla="*/ 2243431 w 8913486"/>
                <a:gd name="connsiteY13" fmla="*/ 1359286 h 2621097"/>
                <a:gd name="connsiteX14" fmla="*/ 2185569 w 8913486"/>
                <a:gd name="connsiteY14" fmla="*/ 656829 h 2621097"/>
                <a:gd name="connsiteX15" fmla="*/ 1567428 w 8913486"/>
                <a:gd name="connsiteY15" fmla="*/ 668247 h 2621097"/>
                <a:gd name="connsiteX0" fmla="*/ 1491509 w 8940782"/>
                <a:gd name="connsiteY0" fmla="*/ 2237580 h 2621097"/>
                <a:gd name="connsiteX1" fmla="*/ 1298504 w 8940782"/>
                <a:gd name="connsiteY1" fmla="*/ 118076 h 2621097"/>
                <a:gd name="connsiteX2" fmla="*/ 6666180 w 8940782"/>
                <a:gd name="connsiteY2" fmla="*/ 0 h 2621097"/>
                <a:gd name="connsiteX3" fmla="*/ 6722936 w 8940782"/>
                <a:gd name="connsiteY3" fmla="*/ 2264886 h 2621097"/>
                <a:gd name="connsiteX4" fmla="*/ 3018118 w 8940782"/>
                <a:gd name="connsiteY4" fmla="*/ 2187105 h 2621097"/>
                <a:gd name="connsiteX5" fmla="*/ 1491509 w 8940782"/>
                <a:gd name="connsiteY5" fmla="*/ 2237580 h 2621097"/>
                <a:gd name="connsiteX6" fmla="*/ 6687960 w 8940782"/>
                <a:gd name="connsiteY6" fmla="*/ 1323021 h 2621097"/>
                <a:gd name="connsiteX7" fmla="*/ 6653406 w 8940782"/>
                <a:gd name="connsiteY7" fmla="*/ 659274 h 2621097"/>
                <a:gd name="connsiteX8" fmla="*/ 5960644 w 8940782"/>
                <a:gd name="connsiteY8" fmla="*/ 652048 h 2621097"/>
                <a:gd name="connsiteX9" fmla="*/ 5947180 w 8940782"/>
                <a:gd name="connsiteY9" fmla="*/ 1312782 h 2621097"/>
                <a:gd name="connsiteX10" fmla="*/ 6687960 w 8940782"/>
                <a:gd name="connsiteY10" fmla="*/ 1323021 h 2621097"/>
                <a:gd name="connsiteX11" fmla="*/ 1594724 w 8940782"/>
                <a:gd name="connsiteY11" fmla="*/ 668247 h 2621097"/>
                <a:gd name="connsiteX12" fmla="*/ 1525305 w 8940782"/>
                <a:gd name="connsiteY12" fmla="*/ 1326429 h 2621097"/>
                <a:gd name="connsiteX13" fmla="*/ 2270727 w 8940782"/>
                <a:gd name="connsiteY13" fmla="*/ 1359286 h 2621097"/>
                <a:gd name="connsiteX14" fmla="*/ 2212865 w 8940782"/>
                <a:gd name="connsiteY14" fmla="*/ 656829 h 2621097"/>
                <a:gd name="connsiteX15" fmla="*/ 1594724 w 8940782"/>
                <a:gd name="connsiteY15" fmla="*/ 668247 h 2621097"/>
                <a:gd name="connsiteX0" fmla="*/ 1491509 w 8940782"/>
                <a:gd name="connsiteY0" fmla="*/ 2275927 h 2659444"/>
                <a:gd name="connsiteX1" fmla="*/ 1298504 w 8940782"/>
                <a:gd name="connsiteY1" fmla="*/ 156423 h 2659444"/>
                <a:gd name="connsiteX2" fmla="*/ 1689078 w 8940782"/>
                <a:gd name="connsiteY2" fmla="*/ 0 h 2659444"/>
                <a:gd name="connsiteX3" fmla="*/ 6666180 w 8940782"/>
                <a:gd name="connsiteY3" fmla="*/ 38347 h 2659444"/>
                <a:gd name="connsiteX4" fmla="*/ 6722936 w 8940782"/>
                <a:gd name="connsiteY4" fmla="*/ 2303233 h 2659444"/>
                <a:gd name="connsiteX5" fmla="*/ 3018118 w 8940782"/>
                <a:gd name="connsiteY5" fmla="*/ 2225452 h 2659444"/>
                <a:gd name="connsiteX6" fmla="*/ 1491509 w 8940782"/>
                <a:gd name="connsiteY6" fmla="*/ 2275927 h 2659444"/>
                <a:gd name="connsiteX7" fmla="*/ 6687960 w 8940782"/>
                <a:gd name="connsiteY7" fmla="*/ 1361368 h 2659444"/>
                <a:gd name="connsiteX8" fmla="*/ 6653406 w 8940782"/>
                <a:gd name="connsiteY8" fmla="*/ 697621 h 2659444"/>
                <a:gd name="connsiteX9" fmla="*/ 5960644 w 8940782"/>
                <a:gd name="connsiteY9" fmla="*/ 690395 h 2659444"/>
                <a:gd name="connsiteX10" fmla="*/ 5947180 w 8940782"/>
                <a:gd name="connsiteY10" fmla="*/ 1351129 h 2659444"/>
                <a:gd name="connsiteX11" fmla="*/ 6687960 w 8940782"/>
                <a:gd name="connsiteY11" fmla="*/ 1361368 h 2659444"/>
                <a:gd name="connsiteX12" fmla="*/ 1594724 w 8940782"/>
                <a:gd name="connsiteY12" fmla="*/ 706594 h 2659444"/>
                <a:gd name="connsiteX13" fmla="*/ 1525305 w 8940782"/>
                <a:gd name="connsiteY13" fmla="*/ 1364776 h 2659444"/>
                <a:gd name="connsiteX14" fmla="*/ 2270727 w 8940782"/>
                <a:gd name="connsiteY14" fmla="*/ 1397633 h 2659444"/>
                <a:gd name="connsiteX15" fmla="*/ 2212865 w 8940782"/>
                <a:gd name="connsiteY15" fmla="*/ 695176 h 2659444"/>
                <a:gd name="connsiteX16" fmla="*/ 1594724 w 8940782"/>
                <a:gd name="connsiteY16" fmla="*/ 706594 h 2659444"/>
                <a:gd name="connsiteX0" fmla="*/ 1491509 w 8940782"/>
                <a:gd name="connsiteY0" fmla="*/ 2237580 h 2621097"/>
                <a:gd name="connsiteX1" fmla="*/ 1298504 w 8940782"/>
                <a:gd name="connsiteY1" fmla="*/ 118076 h 2621097"/>
                <a:gd name="connsiteX2" fmla="*/ 6666180 w 8940782"/>
                <a:gd name="connsiteY2" fmla="*/ 0 h 2621097"/>
                <a:gd name="connsiteX3" fmla="*/ 6722936 w 8940782"/>
                <a:gd name="connsiteY3" fmla="*/ 2264886 h 2621097"/>
                <a:gd name="connsiteX4" fmla="*/ 3018118 w 8940782"/>
                <a:gd name="connsiteY4" fmla="*/ 2187105 h 2621097"/>
                <a:gd name="connsiteX5" fmla="*/ 1491509 w 8940782"/>
                <a:gd name="connsiteY5" fmla="*/ 2237580 h 2621097"/>
                <a:gd name="connsiteX6" fmla="*/ 6687960 w 8940782"/>
                <a:gd name="connsiteY6" fmla="*/ 1323021 h 2621097"/>
                <a:gd name="connsiteX7" fmla="*/ 6653406 w 8940782"/>
                <a:gd name="connsiteY7" fmla="*/ 659274 h 2621097"/>
                <a:gd name="connsiteX8" fmla="*/ 5960644 w 8940782"/>
                <a:gd name="connsiteY8" fmla="*/ 652048 h 2621097"/>
                <a:gd name="connsiteX9" fmla="*/ 5947180 w 8940782"/>
                <a:gd name="connsiteY9" fmla="*/ 1312782 h 2621097"/>
                <a:gd name="connsiteX10" fmla="*/ 6687960 w 8940782"/>
                <a:gd name="connsiteY10" fmla="*/ 1323021 h 2621097"/>
                <a:gd name="connsiteX11" fmla="*/ 1594724 w 8940782"/>
                <a:gd name="connsiteY11" fmla="*/ 668247 h 2621097"/>
                <a:gd name="connsiteX12" fmla="*/ 1525305 w 8940782"/>
                <a:gd name="connsiteY12" fmla="*/ 1326429 h 2621097"/>
                <a:gd name="connsiteX13" fmla="*/ 2270727 w 8940782"/>
                <a:gd name="connsiteY13" fmla="*/ 1359286 h 2621097"/>
                <a:gd name="connsiteX14" fmla="*/ 2212865 w 8940782"/>
                <a:gd name="connsiteY14" fmla="*/ 656829 h 2621097"/>
                <a:gd name="connsiteX15" fmla="*/ 1594724 w 8940782"/>
                <a:gd name="connsiteY15" fmla="*/ 668247 h 2621097"/>
                <a:gd name="connsiteX0" fmla="*/ 1191258 w 8640531"/>
                <a:gd name="connsiteY0" fmla="*/ 2255982 h 2639499"/>
                <a:gd name="connsiteX1" fmla="*/ 1298504 w 8640531"/>
                <a:gd name="connsiteY1" fmla="*/ 0 h 2639499"/>
                <a:gd name="connsiteX2" fmla="*/ 6365929 w 8640531"/>
                <a:gd name="connsiteY2" fmla="*/ 18402 h 2639499"/>
                <a:gd name="connsiteX3" fmla="*/ 6422685 w 8640531"/>
                <a:gd name="connsiteY3" fmla="*/ 2283288 h 2639499"/>
                <a:gd name="connsiteX4" fmla="*/ 2717867 w 8640531"/>
                <a:gd name="connsiteY4" fmla="*/ 2205507 h 2639499"/>
                <a:gd name="connsiteX5" fmla="*/ 1191258 w 8640531"/>
                <a:gd name="connsiteY5" fmla="*/ 2255982 h 2639499"/>
                <a:gd name="connsiteX6" fmla="*/ 6387709 w 8640531"/>
                <a:gd name="connsiteY6" fmla="*/ 1341423 h 2639499"/>
                <a:gd name="connsiteX7" fmla="*/ 6353155 w 8640531"/>
                <a:gd name="connsiteY7" fmla="*/ 677676 h 2639499"/>
                <a:gd name="connsiteX8" fmla="*/ 5660393 w 8640531"/>
                <a:gd name="connsiteY8" fmla="*/ 670450 h 2639499"/>
                <a:gd name="connsiteX9" fmla="*/ 5646929 w 8640531"/>
                <a:gd name="connsiteY9" fmla="*/ 1331184 h 2639499"/>
                <a:gd name="connsiteX10" fmla="*/ 6387709 w 8640531"/>
                <a:gd name="connsiteY10" fmla="*/ 1341423 h 2639499"/>
                <a:gd name="connsiteX11" fmla="*/ 1294473 w 8640531"/>
                <a:gd name="connsiteY11" fmla="*/ 686649 h 2639499"/>
                <a:gd name="connsiteX12" fmla="*/ 1225054 w 8640531"/>
                <a:gd name="connsiteY12" fmla="*/ 1344831 h 2639499"/>
                <a:gd name="connsiteX13" fmla="*/ 1970476 w 8640531"/>
                <a:gd name="connsiteY13" fmla="*/ 1377688 h 2639499"/>
                <a:gd name="connsiteX14" fmla="*/ 1912614 w 8640531"/>
                <a:gd name="connsiteY14" fmla="*/ 675231 h 2639499"/>
                <a:gd name="connsiteX15" fmla="*/ 1294473 w 8640531"/>
                <a:gd name="connsiteY15" fmla="*/ 686649 h 2639499"/>
                <a:gd name="connsiteX0" fmla="*/ 1191258 w 8640531"/>
                <a:gd name="connsiteY0" fmla="*/ 2264875 h 2648392"/>
                <a:gd name="connsiteX1" fmla="*/ 1298504 w 8640531"/>
                <a:gd name="connsiteY1" fmla="*/ 8893 h 2648392"/>
                <a:gd name="connsiteX2" fmla="*/ 6324986 w 8640531"/>
                <a:gd name="connsiteY2" fmla="*/ 0 h 2648392"/>
                <a:gd name="connsiteX3" fmla="*/ 6422685 w 8640531"/>
                <a:gd name="connsiteY3" fmla="*/ 2292181 h 2648392"/>
                <a:gd name="connsiteX4" fmla="*/ 2717867 w 8640531"/>
                <a:gd name="connsiteY4" fmla="*/ 2214400 h 2648392"/>
                <a:gd name="connsiteX5" fmla="*/ 1191258 w 8640531"/>
                <a:gd name="connsiteY5" fmla="*/ 2264875 h 2648392"/>
                <a:gd name="connsiteX6" fmla="*/ 6387709 w 8640531"/>
                <a:gd name="connsiteY6" fmla="*/ 1350316 h 2648392"/>
                <a:gd name="connsiteX7" fmla="*/ 6353155 w 8640531"/>
                <a:gd name="connsiteY7" fmla="*/ 686569 h 2648392"/>
                <a:gd name="connsiteX8" fmla="*/ 5660393 w 8640531"/>
                <a:gd name="connsiteY8" fmla="*/ 679343 h 2648392"/>
                <a:gd name="connsiteX9" fmla="*/ 5646929 w 8640531"/>
                <a:gd name="connsiteY9" fmla="*/ 1340077 h 2648392"/>
                <a:gd name="connsiteX10" fmla="*/ 6387709 w 8640531"/>
                <a:gd name="connsiteY10" fmla="*/ 1350316 h 2648392"/>
                <a:gd name="connsiteX11" fmla="*/ 1294473 w 8640531"/>
                <a:gd name="connsiteY11" fmla="*/ 695542 h 2648392"/>
                <a:gd name="connsiteX12" fmla="*/ 1225054 w 8640531"/>
                <a:gd name="connsiteY12" fmla="*/ 1353724 h 2648392"/>
                <a:gd name="connsiteX13" fmla="*/ 1970476 w 8640531"/>
                <a:gd name="connsiteY13" fmla="*/ 1386581 h 2648392"/>
                <a:gd name="connsiteX14" fmla="*/ 1912614 w 8640531"/>
                <a:gd name="connsiteY14" fmla="*/ 684124 h 2648392"/>
                <a:gd name="connsiteX15" fmla="*/ 1294473 w 8640531"/>
                <a:gd name="connsiteY15" fmla="*/ 695542 h 2648392"/>
                <a:gd name="connsiteX0" fmla="*/ 1191258 w 8640531"/>
                <a:gd name="connsiteY0" fmla="*/ 2264875 h 2669660"/>
                <a:gd name="connsiteX1" fmla="*/ 1298504 w 8640531"/>
                <a:gd name="connsiteY1" fmla="*/ 8893 h 2669660"/>
                <a:gd name="connsiteX2" fmla="*/ 6324986 w 8640531"/>
                <a:gd name="connsiteY2" fmla="*/ 0 h 2669660"/>
                <a:gd name="connsiteX3" fmla="*/ 6422685 w 8640531"/>
                <a:gd name="connsiteY3" fmla="*/ 2292181 h 2669660"/>
                <a:gd name="connsiteX4" fmla="*/ 1191258 w 8640531"/>
                <a:gd name="connsiteY4" fmla="*/ 2264875 h 2669660"/>
                <a:gd name="connsiteX5" fmla="*/ 6387709 w 8640531"/>
                <a:gd name="connsiteY5" fmla="*/ 1350316 h 2669660"/>
                <a:gd name="connsiteX6" fmla="*/ 6353155 w 8640531"/>
                <a:gd name="connsiteY6" fmla="*/ 686569 h 2669660"/>
                <a:gd name="connsiteX7" fmla="*/ 5660393 w 8640531"/>
                <a:gd name="connsiteY7" fmla="*/ 679343 h 2669660"/>
                <a:gd name="connsiteX8" fmla="*/ 5646929 w 8640531"/>
                <a:gd name="connsiteY8" fmla="*/ 1340077 h 2669660"/>
                <a:gd name="connsiteX9" fmla="*/ 6387709 w 8640531"/>
                <a:gd name="connsiteY9" fmla="*/ 1350316 h 2669660"/>
                <a:gd name="connsiteX10" fmla="*/ 1294473 w 8640531"/>
                <a:gd name="connsiteY10" fmla="*/ 695542 h 2669660"/>
                <a:gd name="connsiteX11" fmla="*/ 1225054 w 8640531"/>
                <a:gd name="connsiteY11" fmla="*/ 1353724 h 2669660"/>
                <a:gd name="connsiteX12" fmla="*/ 1970476 w 8640531"/>
                <a:gd name="connsiteY12" fmla="*/ 1386581 h 2669660"/>
                <a:gd name="connsiteX13" fmla="*/ 1912614 w 8640531"/>
                <a:gd name="connsiteY13" fmla="*/ 684124 h 2669660"/>
                <a:gd name="connsiteX14" fmla="*/ 1294473 w 8640531"/>
                <a:gd name="connsiteY14" fmla="*/ 695542 h 2669660"/>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86581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86581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86581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701336 w 8640531"/>
                <a:gd name="connsiteY7" fmla="*/ 720287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701336 w 8640531"/>
                <a:gd name="connsiteY7" fmla="*/ 720287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87709 w 7583430"/>
                <a:gd name="connsiteY5" fmla="*/ 1350316 h 2292181"/>
                <a:gd name="connsiteX6" fmla="*/ 6353155 w 7583430"/>
                <a:gd name="connsiteY6" fmla="*/ 686569 h 2292181"/>
                <a:gd name="connsiteX7" fmla="*/ 5701336 w 7583430"/>
                <a:gd name="connsiteY7" fmla="*/ 720287 h 2292181"/>
                <a:gd name="connsiteX8" fmla="*/ 5646929 w 7583430"/>
                <a:gd name="connsiteY8" fmla="*/ 1340077 h 2292181"/>
                <a:gd name="connsiteX9" fmla="*/ 6387709 w 7583430"/>
                <a:gd name="connsiteY9" fmla="*/ 1350316 h 2292181"/>
                <a:gd name="connsiteX10" fmla="*/ 1294473 w 7583430"/>
                <a:gd name="connsiteY10" fmla="*/ 695542 h 2292181"/>
                <a:gd name="connsiteX11" fmla="*/ 1225054 w 7583430"/>
                <a:gd name="connsiteY11" fmla="*/ 1353724 h 2292181"/>
                <a:gd name="connsiteX12" fmla="*/ 1970476 w 7583430"/>
                <a:gd name="connsiteY12" fmla="*/ 1372933 h 2292181"/>
                <a:gd name="connsiteX13" fmla="*/ 1912614 w 7583430"/>
                <a:gd name="connsiteY13" fmla="*/ 684124 h 2292181"/>
                <a:gd name="connsiteX14" fmla="*/ 1294473 w 7583430"/>
                <a:gd name="connsiteY14" fmla="*/ 695542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87709 w 7583430"/>
                <a:gd name="connsiteY5" fmla="*/ 1350316 h 2292181"/>
                <a:gd name="connsiteX6" fmla="*/ 6353155 w 7583430"/>
                <a:gd name="connsiteY6" fmla="*/ 686569 h 2292181"/>
                <a:gd name="connsiteX7" fmla="*/ 5735497 w 7583430"/>
                <a:gd name="connsiteY7" fmla="*/ 696951 h 2292181"/>
                <a:gd name="connsiteX8" fmla="*/ 5646929 w 7583430"/>
                <a:gd name="connsiteY8" fmla="*/ 1340077 h 2292181"/>
                <a:gd name="connsiteX9" fmla="*/ 6387709 w 7583430"/>
                <a:gd name="connsiteY9" fmla="*/ 1350316 h 2292181"/>
                <a:gd name="connsiteX10" fmla="*/ 1294473 w 7583430"/>
                <a:gd name="connsiteY10" fmla="*/ 695542 h 2292181"/>
                <a:gd name="connsiteX11" fmla="*/ 1225054 w 7583430"/>
                <a:gd name="connsiteY11" fmla="*/ 1353724 h 2292181"/>
                <a:gd name="connsiteX12" fmla="*/ 1970476 w 7583430"/>
                <a:gd name="connsiteY12" fmla="*/ 1372933 h 2292181"/>
                <a:gd name="connsiteX13" fmla="*/ 1912614 w 7583430"/>
                <a:gd name="connsiteY13" fmla="*/ 684124 h 2292181"/>
                <a:gd name="connsiteX14" fmla="*/ 1294473 w 7583430"/>
                <a:gd name="connsiteY14" fmla="*/ 695542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87709 w 7583430"/>
                <a:gd name="connsiteY5" fmla="*/ 1350316 h 2292181"/>
                <a:gd name="connsiteX6" fmla="*/ 6376847 w 7583430"/>
                <a:gd name="connsiteY6" fmla="*/ 696951 h 2292181"/>
                <a:gd name="connsiteX7" fmla="*/ 5735497 w 7583430"/>
                <a:gd name="connsiteY7" fmla="*/ 696951 h 2292181"/>
                <a:gd name="connsiteX8" fmla="*/ 5646929 w 7583430"/>
                <a:gd name="connsiteY8" fmla="*/ 1340077 h 2292181"/>
                <a:gd name="connsiteX9" fmla="*/ 6387709 w 7583430"/>
                <a:gd name="connsiteY9" fmla="*/ 1350316 h 2292181"/>
                <a:gd name="connsiteX10" fmla="*/ 1294473 w 7583430"/>
                <a:gd name="connsiteY10" fmla="*/ 695542 h 2292181"/>
                <a:gd name="connsiteX11" fmla="*/ 1225054 w 7583430"/>
                <a:gd name="connsiteY11" fmla="*/ 1353724 h 2292181"/>
                <a:gd name="connsiteX12" fmla="*/ 1970476 w 7583430"/>
                <a:gd name="connsiteY12" fmla="*/ 1372933 h 2292181"/>
                <a:gd name="connsiteX13" fmla="*/ 1912614 w 7583430"/>
                <a:gd name="connsiteY13" fmla="*/ 684124 h 2292181"/>
                <a:gd name="connsiteX14" fmla="*/ 1294473 w 7583430"/>
                <a:gd name="connsiteY14" fmla="*/ 695542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76847 w 7583430"/>
                <a:gd name="connsiteY5" fmla="*/ 1389101 h 2292181"/>
                <a:gd name="connsiteX6" fmla="*/ 6376847 w 7583430"/>
                <a:gd name="connsiteY6" fmla="*/ 696951 h 2292181"/>
                <a:gd name="connsiteX7" fmla="*/ 5735497 w 7583430"/>
                <a:gd name="connsiteY7" fmla="*/ 696951 h 2292181"/>
                <a:gd name="connsiteX8" fmla="*/ 5646929 w 7583430"/>
                <a:gd name="connsiteY8" fmla="*/ 1340077 h 2292181"/>
                <a:gd name="connsiteX9" fmla="*/ 6376847 w 7583430"/>
                <a:gd name="connsiteY9" fmla="*/ 1389101 h 2292181"/>
                <a:gd name="connsiteX10" fmla="*/ 1294473 w 7583430"/>
                <a:gd name="connsiteY10" fmla="*/ 695542 h 2292181"/>
                <a:gd name="connsiteX11" fmla="*/ 1225054 w 7583430"/>
                <a:gd name="connsiteY11" fmla="*/ 1353724 h 2292181"/>
                <a:gd name="connsiteX12" fmla="*/ 1970476 w 7583430"/>
                <a:gd name="connsiteY12" fmla="*/ 1372933 h 2292181"/>
                <a:gd name="connsiteX13" fmla="*/ 1912614 w 7583430"/>
                <a:gd name="connsiteY13" fmla="*/ 684124 h 2292181"/>
                <a:gd name="connsiteX14" fmla="*/ 1294473 w 7583430"/>
                <a:gd name="connsiteY14" fmla="*/ 695542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76847 w 7583430"/>
                <a:gd name="connsiteY5" fmla="*/ 1389101 h 2292181"/>
                <a:gd name="connsiteX6" fmla="*/ 6376847 w 7583430"/>
                <a:gd name="connsiteY6" fmla="*/ 696951 h 2292181"/>
                <a:gd name="connsiteX7" fmla="*/ 5735497 w 7583430"/>
                <a:gd name="connsiteY7" fmla="*/ 696951 h 2292181"/>
                <a:gd name="connsiteX8" fmla="*/ 5735497 w 7583430"/>
                <a:gd name="connsiteY8" fmla="*/ 1389101 h 2292181"/>
                <a:gd name="connsiteX9" fmla="*/ 6376847 w 7583430"/>
                <a:gd name="connsiteY9" fmla="*/ 1389101 h 2292181"/>
                <a:gd name="connsiteX10" fmla="*/ 1294473 w 7583430"/>
                <a:gd name="connsiteY10" fmla="*/ 695542 h 2292181"/>
                <a:gd name="connsiteX11" fmla="*/ 1225054 w 7583430"/>
                <a:gd name="connsiteY11" fmla="*/ 1353724 h 2292181"/>
                <a:gd name="connsiteX12" fmla="*/ 1970476 w 7583430"/>
                <a:gd name="connsiteY12" fmla="*/ 1372933 h 2292181"/>
                <a:gd name="connsiteX13" fmla="*/ 1912614 w 7583430"/>
                <a:gd name="connsiteY13" fmla="*/ 684124 h 2292181"/>
                <a:gd name="connsiteX14" fmla="*/ 1294473 w 7583430"/>
                <a:gd name="connsiteY14" fmla="*/ 695542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76847 w 7583430"/>
                <a:gd name="connsiteY5" fmla="*/ 1389101 h 2292181"/>
                <a:gd name="connsiteX6" fmla="*/ 6376847 w 7583430"/>
                <a:gd name="connsiteY6" fmla="*/ 696951 h 2292181"/>
                <a:gd name="connsiteX7" fmla="*/ 5735497 w 7583430"/>
                <a:gd name="connsiteY7" fmla="*/ 696951 h 2292181"/>
                <a:gd name="connsiteX8" fmla="*/ 5735497 w 7583430"/>
                <a:gd name="connsiteY8" fmla="*/ 1389101 h 2292181"/>
                <a:gd name="connsiteX9" fmla="*/ 6376847 w 7583430"/>
                <a:gd name="connsiteY9" fmla="*/ 1389101 h 2292181"/>
                <a:gd name="connsiteX10" fmla="*/ 1294473 w 7583430"/>
                <a:gd name="connsiteY10" fmla="*/ 695542 h 2292181"/>
                <a:gd name="connsiteX11" fmla="*/ 1225054 w 7583430"/>
                <a:gd name="connsiteY11" fmla="*/ 1353724 h 2292181"/>
                <a:gd name="connsiteX12" fmla="*/ 1970476 w 7583430"/>
                <a:gd name="connsiteY12" fmla="*/ 1372933 h 2292181"/>
                <a:gd name="connsiteX13" fmla="*/ 1968360 w 7583430"/>
                <a:gd name="connsiteY13" fmla="*/ 696951 h 2292181"/>
                <a:gd name="connsiteX14" fmla="*/ 1294473 w 7583430"/>
                <a:gd name="connsiteY14" fmla="*/ 695542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76847 w 7583430"/>
                <a:gd name="connsiteY5" fmla="*/ 1389101 h 2292181"/>
                <a:gd name="connsiteX6" fmla="*/ 6376847 w 7583430"/>
                <a:gd name="connsiteY6" fmla="*/ 696951 h 2292181"/>
                <a:gd name="connsiteX7" fmla="*/ 5735497 w 7583430"/>
                <a:gd name="connsiteY7" fmla="*/ 696951 h 2292181"/>
                <a:gd name="connsiteX8" fmla="*/ 5735497 w 7583430"/>
                <a:gd name="connsiteY8" fmla="*/ 1389101 h 2292181"/>
                <a:gd name="connsiteX9" fmla="*/ 6376847 w 7583430"/>
                <a:gd name="connsiteY9" fmla="*/ 1389101 h 2292181"/>
                <a:gd name="connsiteX10" fmla="*/ 1294473 w 7583430"/>
                <a:gd name="connsiteY10" fmla="*/ 695542 h 2292181"/>
                <a:gd name="connsiteX11" fmla="*/ 1225054 w 7583430"/>
                <a:gd name="connsiteY11" fmla="*/ 1353724 h 2292181"/>
                <a:gd name="connsiteX12" fmla="*/ 1968360 w 7583430"/>
                <a:gd name="connsiteY12" fmla="*/ 1389101 h 2292181"/>
                <a:gd name="connsiteX13" fmla="*/ 1968360 w 7583430"/>
                <a:gd name="connsiteY13" fmla="*/ 696951 h 2292181"/>
                <a:gd name="connsiteX14" fmla="*/ 1294473 w 7583430"/>
                <a:gd name="connsiteY14" fmla="*/ 695542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76847 w 7583430"/>
                <a:gd name="connsiteY5" fmla="*/ 1389101 h 2292181"/>
                <a:gd name="connsiteX6" fmla="*/ 6376847 w 7583430"/>
                <a:gd name="connsiteY6" fmla="*/ 696951 h 2292181"/>
                <a:gd name="connsiteX7" fmla="*/ 5735497 w 7583430"/>
                <a:gd name="connsiteY7" fmla="*/ 696951 h 2292181"/>
                <a:gd name="connsiteX8" fmla="*/ 5735497 w 7583430"/>
                <a:gd name="connsiteY8" fmla="*/ 1389101 h 2292181"/>
                <a:gd name="connsiteX9" fmla="*/ 6376847 w 7583430"/>
                <a:gd name="connsiteY9" fmla="*/ 1389101 h 2292181"/>
                <a:gd name="connsiteX10" fmla="*/ 1294473 w 7583430"/>
                <a:gd name="connsiteY10" fmla="*/ 695542 h 2292181"/>
                <a:gd name="connsiteX11" fmla="*/ 1274622 w 7583430"/>
                <a:gd name="connsiteY11" fmla="*/ 1389101 h 2292181"/>
                <a:gd name="connsiteX12" fmla="*/ 1968360 w 7583430"/>
                <a:gd name="connsiteY12" fmla="*/ 1389101 h 2292181"/>
                <a:gd name="connsiteX13" fmla="*/ 1968360 w 7583430"/>
                <a:gd name="connsiteY13" fmla="*/ 696951 h 2292181"/>
                <a:gd name="connsiteX14" fmla="*/ 1294473 w 7583430"/>
                <a:gd name="connsiteY14" fmla="*/ 695542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76847 w 7583430"/>
                <a:gd name="connsiteY5" fmla="*/ 1389101 h 2292181"/>
                <a:gd name="connsiteX6" fmla="*/ 6376847 w 7583430"/>
                <a:gd name="connsiteY6" fmla="*/ 696951 h 2292181"/>
                <a:gd name="connsiteX7" fmla="*/ 5735497 w 7583430"/>
                <a:gd name="connsiteY7" fmla="*/ 696951 h 2292181"/>
                <a:gd name="connsiteX8" fmla="*/ 5735497 w 7583430"/>
                <a:gd name="connsiteY8" fmla="*/ 1389101 h 2292181"/>
                <a:gd name="connsiteX9" fmla="*/ 6376847 w 7583430"/>
                <a:gd name="connsiteY9" fmla="*/ 1389101 h 2292181"/>
                <a:gd name="connsiteX10" fmla="*/ 1274622 w 7583430"/>
                <a:gd name="connsiteY10" fmla="*/ 696951 h 2292181"/>
                <a:gd name="connsiteX11" fmla="*/ 1274622 w 7583430"/>
                <a:gd name="connsiteY11" fmla="*/ 1389101 h 2292181"/>
                <a:gd name="connsiteX12" fmla="*/ 1968360 w 7583430"/>
                <a:gd name="connsiteY12" fmla="*/ 1389101 h 2292181"/>
                <a:gd name="connsiteX13" fmla="*/ 1968360 w 7583430"/>
                <a:gd name="connsiteY13" fmla="*/ 696951 h 2292181"/>
                <a:gd name="connsiteX14" fmla="*/ 1274622 w 7583430"/>
                <a:gd name="connsiteY14" fmla="*/ 696951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76847 w 7583430"/>
                <a:gd name="connsiteY5" fmla="*/ 1389101 h 2292181"/>
                <a:gd name="connsiteX6" fmla="*/ 6376847 w 7583430"/>
                <a:gd name="connsiteY6" fmla="*/ 696951 h 2292181"/>
                <a:gd name="connsiteX7" fmla="*/ 5735497 w 7583430"/>
                <a:gd name="connsiteY7" fmla="*/ 696951 h 2292181"/>
                <a:gd name="connsiteX8" fmla="*/ 5735497 w 7583430"/>
                <a:gd name="connsiteY8" fmla="*/ 1389101 h 2292181"/>
                <a:gd name="connsiteX9" fmla="*/ 6376847 w 7583430"/>
                <a:gd name="connsiteY9" fmla="*/ 1389101 h 2292181"/>
                <a:gd name="connsiteX10" fmla="*/ 1274622 w 7583430"/>
                <a:gd name="connsiteY10" fmla="*/ 696951 h 2292181"/>
                <a:gd name="connsiteX11" fmla="*/ 1274622 w 7583430"/>
                <a:gd name="connsiteY11" fmla="*/ 1389101 h 2292181"/>
                <a:gd name="connsiteX12" fmla="*/ 1968360 w 7583430"/>
                <a:gd name="connsiteY12" fmla="*/ 1389101 h 2292181"/>
                <a:gd name="connsiteX13" fmla="*/ 1968360 w 7583430"/>
                <a:gd name="connsiteY13" fmla="*/ 696951 h 2292181"/>
                <a:gd name="connsiteX14" fmla="*/ 1274622 w 7583430"/>
                <a:gd name="connsiteY14" fmla="*/ 696951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76847 w 7583430"/>
                <a:gd name="connsiteY5" fmla="*/ 1389101 h 2292181"/>
                <a:gd name="connsiteX6" fmla="*/ 6376847 w 7583430"/>
                <a:gd name="connsiteY6" fmla="*/ 696951 h 2292181"/>
                <a:gd name="connsiteX7" fmla="*/ 5735497 w 7583430"/>
                <a:gd name="connsiteY7" fmla="*/ 696951 h 2292181"/>
                <a:gd name="connsiteX8" fmla="*/ 5735497 w 7583430"/>
                <a:gd name="connsiteY8" fmla="*/ 1389101 h 2292181"/>
                <a:gd name="connsiteX9" fmla="*/ 6376847 w 7583430"/>
                <a:gd name="connsiteY9" fmla="*/ 1389101 h 2292181"/>
                <a:gd name="connsiteX10" fmla="*/ 1274622 w 7583430"/>
                <a:gd name="connsiteY10" fmla="*/ 696951 h 2292181"/>
                <a:gd name="connsiteX11" fmla="*/ 1274622 w 7583430"/>
                <a:gd name="connsiteY11" fmla="*/ 1389101 h 2292181"/>
                <a:gd name="connsiteX12" fmla="*/ 1968360 w 7583430"/>
                <a:gd name="connsiteY12" fmla="*/ 1389101 h 2292181"/>
                <a:gd name="connsiteX13" fmla="*/ 1968360 w 7583430"/>
                <a:gd name="connsiteY13" fmla="*/ 696951 h 2292181"/>
                <a:gd name="connsiteX14" fmla="*/ 1274622 w 7583430"/>
                <a:gd name="connsiteY14" fmla="*/ 696951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76847 w 7583430"/>
                <a:gd name="connsiteY5" fmla="*/ 1389101 h 2292181"/>
                <a:gd name="connsiteX6" fmla="*/ 6376847 w 7583430"/>
                <a:gd name="connsiteY6" fmla="*/ 696951 h 2292181"/>
                <a:gd name="connsiteX7" fmla="*/ 5735497 w 7583430"/>
                <a:gd name="connsiteY7" fmla="*/ 696951 h 2292181"/>
                <a:gd name="connsiteX8" fmla="*/ 5735497 w 7583430"/>
                <a:gd name="connsiteY8" fmla="*/ 1389101 h 2292181"/>
                <a:gd name="connsiteX9" fmla="*/ 6376847 w 7583430"/>
                <a:gd name="connsiteY9" fmla="*/ 1389101 h 2292181"/>
                <a:gd name="connsiteX10" fmla="*/ 1274622 w 7583430"/>
                <a:gd name="connsiteY10" fmla="*/ 696951 h 2292181"/>
                <a:gd name="connsiteX11" fmla="*/ 1274622 w 7583430"/>
                <a:gd name="connsiteY11" fmla="*/ 1389101 h 2292181"/>
                <a:gd name="connsiteX12" fmla="*/ 1968360 w 7583430"/>
                <a:gd name="connsiteY12" fmla="*/ 1389101 h 2292181"/>
                <a:gd name="connsiteX13" fmla="*/ 1968360 w 7583430"/>
                <a:gd name="connsiteY13" fmla="*/ 696951 h 2292181"/>
                <a:gd name="connsiteX14" fmla="*/ 1274622 w 7583430"/>
                <a:gd name="connsiteY14" fmla="*/ 696951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76847 w 7583430"/>
                <a:gd name="connsiteY5" fmla="*/ 1389101 h 2292181"/>
                <a:gd name="connsiteX6" fmla="*/ 6376847 w 7583430"/>
                <a:gd name="connsiteY6" fmla="*/ 696951 h 2292181"/>
                <a:gd name="connsiteX7" fmla="*/ 5735497 w 7583430"/>
                <a:gd name="connsiteY7" fmla="*/ 696951 h 2292181"/>
                <a:gd name="connsiteX8" fmla="*/ 5735497 w 7583430"/>
                <a:gd name="connsiteY8" fmla="*/ 1389101 h 2292181"/>
                <a:gd name="connsiteX9" fmla="*/ 6376847 w 7583430"/>
                <a:gd name="connsiteY9" fmla="*/ 1389101 h 2292181"/>
                <a:gd name="connsiteX10" fmla="*/ 1274622 w 7583430"/>
                <a:gd name="connsiteY10" fmla="*/ 696951 h 2292181"/>
                <a:gd name="connsiteX11" fmla="*/ 1274622 w 7583430"/>
                <a:gd name="connsiteY11" fmla="*/ 1389101 h 2292181"/>
                <a:gd name="connsiteX12" fmla="*/ 1968360 w 7583430"/>
                <a:gd name="connsiteY12" fmla="*/ 1389101 h 2292181"/>
                <a:gd name="connsiteX13" fmla="*/ 1968360 w 7583430"/>
                <a:gd name="connsiteY13" fmla="*/ 696951 h 2292181"/>
                <a:gd name="connsiteX14" fmla="*/ 1274622 w 7583430"/>
                <a:gd name="connsiteY14" fmla="*/ 696951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76847 w 7583430"/>
                <a:gd name="connsiteY5" fmla="*/ 1389101 h 2292181"/>
                <a:gd name="connsiteX6" fmla="*/ 6376847 w 7583430"/>
                <a:gd name="connsiteY6" fmla="*/ 696951 h 2292181"/>
                <a:gd name="connsiteX7" fmla="*/ 5735497 w 7583430"/>
                <a:gd name="connsiteY7" fmla="*/ 696951 h 2292181"/>
                <a:gd name="connsiteX8" fmla="*/ 5735497 w 7583430"/>
                <a:gd name="connsiteY8" fmla="*/ 1389101 h 2292181"/>
                <a:gd name="connsiteX9" fmla="*/ 6376847 w 7583430"/>
                <a:gd name="connsiteY9" fmla="*/ 1389101 h 2292181"/>
                <a:gd name="connsiteX10" fmla="*/ 1274622 w 7583430"/>
                <a:gd name="connsiteY10" fmla="*/ 696951 h 2292181"/>
                <a:gd name="connsiteX11" fmla="*/ 1274622 w 7583430"/>
                <a:gd name="connsiteY11" fmla="*/ 1389101 h 2292181"/>
                <a:gd name="connsiteX12" fmla="*/ 1968360 w 7583430"/>
                <a:gd name="connsiteY12" fmla="*/ 1389101 h 2292181"/>
                <a:gd name="connsiteX13" fmla="*/ 1968360 w 7583430"/>
                <a:gd name="connsiteY13" fmla="*/ 696951 h 2292181"/>
                <a:gd name="connsiteX14" fmla="*/ 1274622 w 7583430"/>
                <a:gd name="connsiteY14" fmla="*/ 696951 h 2292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83430" h="2292181">
                  <a:moveTo>
                    <a:pt x="1191258" y="2264875"/>
                  </a:moveTo>
                  <a:cubicBezTo>
                    <a:pt x="276863" y="2288675"/>
                    <a:pt x="0" y="167755"/>
                    <a:pt x="1298504" y="8893"/>
                  </a:cubicBezTo>
                  <a:lnTo>
                    <a:pt x="6324986" y="0"/>
                  </a:lnTo>
                  <a:cubicBezTo>
                    <a:pt x="7306395" y="114416"/>
                    <a:pt x="7583430" y="1898094"/>
                    <a:pt x="6422685" y="2292181"/>
                  </a:cubicBezTo>
                  <a:lnTo>
                    <a:pt x="1191258" y="2264875"/>
                  </a:lnTo>
                  <a:close/>
                  <a:moveTo>
                    <a:pt x="6376847" y="1389101"/>
                  </a:moveTo>
                  <a:cubicBezTo>
                    <a:pt x="6694830" y="1313227"/>
                    <a:pt x="6712593" y="747603"/>
                    <a:pt x="6376847" y="696951"/>
                  </a:cubicBezTo>
                  <a:lnTo>
                    <a:pt x="5735497" y="696951"/>
                  </a:lnTo>
                  <a:cubicBezTo>
                    <a:pt x="5539941" y="714162"/>
                    <a:pt x="5207722" y="1092537"/>
                    <a:pt x="5735497" y="1389101"/>
                  </a:cubicBezTo>
                  <a:lnTo>
                    <a:pt x="6376847" y="1389101"/>
                  </a:lnTo>
                  <a:close/>
                  <a:moveTo>
                    <a:pt x="1274622" y="696951"/>
                  </a:moveTo>
                  <a:cubicBezTo>
                    <a:pt x="983429" y="691433"/>
                    <a:pt x="848056" y="1342167"/>
                    <a:pt x="1274622" y="1389101"/>
                  </a:cubicBezTo>
                  <a:lnTo>
                    <a:pt x="1968360" y="1389101"/>
                  </a:lnTo>
                  <a:cubicBezTo>
                    <a:pt x="2371734" y="1277923"/>
                    <a:pt x="2275816" y="689150"/>
                    <a:pt x="1968360" y="696951"/>
                  </a:cubicBezTo>
                  <a:lnTo>
                    <a:pt x="1274622" y="696951"/>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0" name="Round Same Side Corner Rectangle 229"/>
            <p:cNvSpPr/>
            <p:nvPr/>
          </p:nvSpPr>
          <p:spPr>
            <a:xfrm rot="10800000">
              <a:off x="1780534" y="5213444"/>
              <a:ext cx="1099143" cy="900752"/>
            </a:xfrm>
            <a:prstGeom prst="round2SameRect">
              <a:avLst>
                <a:gd name="adj1" fmla="val 39618"/>
                <a:gd name="adj2" fmla="val 0"/>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1" name="Round Same Side Corner Rectangle 230"/>
            <p:cNvSpPr/>
            <p:nvPr/>
          </p:nvSpPr>
          <p:spPr>
            <a:xfrm rot="10800000">
              <a:off x="6239300" y="5229366"/>
              <a:ext cx="1099143" cy="900752"/>
            </a:xfrm>
            <a:prstGeom prst="round2SameRect">
              <a:avLst>
                <a:gd name="adj1" fmla="val 39618"/>
                <a:gd name="adj2" fmla="val 0"/>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32" name="TextBox 231"/>
          <p:cNvSpPr txBox="1"/>
          <p:nvPr/>
        </p:nvSpPr>
        <p:spPr>
          <a:xfrm>
            <a:off x="5274664" y="5552986"/>
            <a:ext cx="1368152" cy="307777"/>
          </a:xfrm>
          <a:prstGeom prst="rect">
            <a:avLst/>
          </a:prstGeom>
          <a:noFill/>
        </p:spPr>
        <p:txBody>
          <a:bodyPr wrap="square" rtlCol="0">
            <a:spAutoFit/>
          </a:bodyPr>
          <a:lstStyle/>
          <a:p>
            <a:r>
              <a:rPr lang="es-ES" sz="1400" b="1" dirty="0" smtClean="0">
                <a:solidFill>
                  <a:srgbClr val="000000"/>
                </a:solidFill>
              </a:rPr>
              <a:t>Car </a:t>
            </a:r>
            <a:r>
              <a:rPr lang="es-ES" sz="1400" b="1" dirty="0" err="1" smtClean="0">
                <a:solidFill>
                  <a:srgbClr val="000000"/>
                </a:solidFill>
              </a:rPr>
              <a:t>Industry</a:t>
            </a:r>
            <a:endParaRPr lang="en-US" sz="1400" b="1" dirty="0">
              <a:solidFill>
                <a:srgbClr val="000000"/>
              </a:solidFill>
            </a:endParaRPr>
          </a:p>
        </p:txBody>
      </p:sp>
      <p:grpSp>
        <p:nvGrpSpPr>
          <p:cNvPr id="233" name="Group 232"/>
          <p:cNvGrpSpPr/>
          <p:nvPr/>
        </p:nvGrpSpPr>
        <p:grpSpPr>
          <a:xfrm>
            <a:off x="2840040" y="3086391"/>
            <a:ext cx="878173" cy="679136"/>
            <a:chOff x="2730856" y="3181912"/>
            <a:chExt cx="1015922" cy="785664"/>
          </a:xfrm>
        </p:grpSpPr>
        <p:grpSp>
          <p:nvGrpSpPr>
            <p:cNvPr id="234" name="Group 233"/>
            <p:cNvGrpSpPr>
              <a:grpSpLocks noChangeAspect="1"/>
            </p:cNvGrpSpPr>
            <p:nvPr/>
          </p:nvGrpSpPr>
          <p:grpSpPr>
            <a:xfrm>
              <a:off x="2987824" y="3212976"/>
              <a:ext cx="758954" cy="671002"/>
              <a:chOff x="1209675" y="1167225"/>
              <a:chExt cx="5456309" cy="4824000"/>
            </a:xfrm>
            <a:solidFill>
              <a:schemeClr val="accent1">
                <a:lumMod val="75000"/>
              </a:schemeClr>
            </a:solidFill>
          </p:grpSpPr>
          <p:grpSp>
            <p:nvGrpSpPr>
              <p:cNvPr id="236" name="Group 52"/>
              <p:cNvGrpSpPr/>
              <p:nvPr/>
            </p:nvGrpSpPr>
            <p:grpSpPr>
              <a:xfrm>
                <a:off x="4268479" y="1267397"/>
                <a:ext cx="885825" cy="4638675"/>
                <a:chOff x="4268479" y="1267397"/>
                <a:chExt cx="885825" cy="4638675"/>
              </a:xfrm>
              <a:grpFill/>
            </p:grpSpPr>
            <p:sp>
              <p:nvSpPr>
                <p:cNvPr id="276" name="Oval 275"/>
                <p:cNvSpPr/>
                <p:nvPr/>
              </p:nvSpPr>
              <p:spPr>
                <a:xfrm>
                  <a:off x="4373254" y="2524697"/>
                  <a:ext cx="676275" cy="6858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7" name="Oval 276"/>
                <p:cNvSpPr/>
                <p:nvPr/>
              </p:nvSpPr>
              <p:spPr>
                <a:xfrm>
                  <a:off x="4563753" y="1762697"/>
                  <a:ext cx="295276" cy="17145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8" name="Isosceles Triangle 277"/>
                <p:cNvSpPr/>
                <p:nvPr/>
              </p:nvSpPr>
              <p:spPr>
                <a:xfrm>
                  <a:off x="4606616" y="1267397"/>
                  <a:ext cx="209550" cy="360045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9" name="Oval 278"/>
                <p:cNvSpPr/>
                <p:nvPr/>
              </p:nvSpPr>
              <p:spPr>
                <a:xfrm>
                  <a:off x="4463742" y="4686871"/>
                  <a:ext cx="495299" cy="2571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0" name="Rectangle 279"/>
                <p:cNvSpPr/>
                <p:nvPr/>
              </p:nvSpPr>
              <p:spPr>
                <a:xfrm>
                  <a:off x="4463742" y="4820222"/>
                  <a:ext cx="495298" cy="10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1" name="Rectangle 280"/>
                <p:cNvSpPr/>
                <p:nvPr/>
              </p:nvSpPr>
              <p:spPr>
                <a:xfrm>
                  <a:off x="4492316" y="4886896"/>
                  <a:ext cx="438150" cy="6381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2" name="Oval 281"/>
                <p:cNvSpPr/>
                <p:nvPr/>
              </p:nvSpPr>
              <p:spPr>
                <a:xfrm>
                  <a:off x="4268479" y="5344097"/>
                  <a:ext cx="885825" cy="40005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3" name="Rectangle 282"/>
                <p:cNvSpPr/>
                <p:nvPr/>
              </p:nvSpPr>
              <p:spPr>
                <a:xfrm>
                  <a:off x="4268479" y="5591747"/>
                  <a:ext cx="885825" cy="762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4" name="Oval 283"/>
                <p:cNvSpPr/>
                <p:nvPr/>
              </p:nvSpPr>
              <p:spPr>
                <a:xfrm>
                  <a:off x="4268479" y="5506022"/>
                  <a:ext cx="885825" cy="40005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37" name="Group 73"/>
              <p:cNvGrpSpPr/>
              <p:nvPr/>
            </p:nvGrpSpPr>
            <p:grpSpPr>
              <a:xfrm>
                <a:off x="2627952" y="1167225"/>
                <a:ext cx="1333500" cy="4824000"/>
                <a:chOff x="2641600" y="1079500"/>
                <a:chExt cx="1333500" cy="4824000"/>
              </a:xfrm>
              <a:grpFill/>
            </p:grpSpPr>
            <p:sp>
              <p:nvSpPr>
                <p:cNvPr id="262" name="Rectangle 261"/>
                <p:cNvSpPr/>
                <p:nvPr/>
              </p:nvSpPr>
              <p:spPr>
                <a:xfrm>
                  <a:off x="2641600" y="1079500"/>
                  <a:ext cx="190500" cy="482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3" name="Rectangle 262"/>
                <p:cNvSpPr/>
                <p:nvPr/>
              </p:nvSpPr>
              <p:spPr>
                <a:xfrm>
                  <a:off x="3022600" y="1079500"/>
                  <a:ext cx="190500" cy="482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4" name="Rectangle 263"/>
                <p:cNvSpPr/>
                <p:nvPr/>
              </p:nvSpPr>
              <p:spPr>
                <a:xfrm>
                  <a:off x="3403600" y="1079500"/>
                  <a:ext cx="190500" cy="482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5" name="Rectangle 264"/>
                <p:cNvSpPr/>
                <p:nvPr/>
              </p:nvSpPr>
              <p:spPr>
                <a:xfrm>
                  <a:off x="3784600" y="1079500"/>
                  <a:ext cx="190500" cy="482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6" name="Rectangle 265"/>
                <p:cNvSpPr/>
                <p:nvPr/>
              </p:nvSpPr>
              <p:spPr>
                <a:xfrm>
                  <a:off x="2649537" y="1079500"/>
                  <a:ext cx="1322388"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7" name="Rectangle 266"/>
                <p:cNvSpPr/>
                <p:nvPr/>
              </p:nvSpPr>
              <p:spPr>
                <a:xfrm>
                  <a:off x="2649537" y="1565275"/>
                  <a:ext cx="1322388"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8" name="Rectangle 267"/>
                <p:cNvSpPr/>
                <p:nvPr/>
              </p:nvSpPr>
              <p:spPr>
                <a:xfrm>
                  <a:off x="2649537" y="2051050"/>
                  <a:ext cx="1322388"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9" name="Rectangle 268"/>
                <p:cNvSpPr/>
                <p:nvPr/>
              </p:nvSpPr>
              <p:spPr>
                <a:xfrm>
                  <a:off x="2649537" y="2536825"/>
                  <a:ext cx="1322388"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0" name="Rectangle 269"/>
                <p:cNvSpPr/>
                <p:nvPr/>
              </p:nvSpPr>
              <p:spPr>
                <a:xfrm>
                  <a:off x="2649537" y="3022600"/>
                  <a:ext cx="1322388"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1" name="Rectangle 270"/>
                <p:cNvSpPr/>
                <p:nvPr/>
              </p:nvSpPr>
              <p:spPr>
                <a:xfrm>
                  <a:off x="2649537" y="3510280"/>
                  <a:ext cx="1322388"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2" name="Rectangle 271"/>
                <p:cNvSpPr/>
                <p:nvPr/>
              </p:nvSpPr>
              <p:spPr>
                <a:xfrm>
                  <a:off x="2649537" y="3996055"/>
                  <a:ext cx="1322388"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3" name="Rectangle 272"/>
                <p:cNvSpPr/>
                <p:nvPr/>
              </p:nvSpPr>
              <p:spPr>
                <a:xfrm>
                  <a:off x="2649537" y="4481830"/>
                  <a:ext cx="1322388"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4" name="Rectangle 273"/>
                <p:cNvSpPr/>
                <p:nvPr/>
              </p:nvSpPr>
              <p:spPr>
                <a:xfrm>
                  <a:off x="2649537" y="4967605"/>
                  <a:ext cx="1322388"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5" name="Rectangle 274"/>
                <p:cNvSpPr/>
                <p:nvPr/>
              </p:nvSpPr>
              <p:spPr>
                <a:xfrm>
                  <a:off x="2649537" y="5453380"/>
                  <a:ext cx="1322388" cy="210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38" name="Group 88"/>
              <p:cNvGrpSpPr/>
              <p:nvPr/>
            </p:nvGrpSpPr>
            <p:grpSpPr>
              <a:xfrm>
                <a:off x="5332484" y="2815040"/>
                <a:ext cx="1333500" cy="3107055"/>
                <a:chOff x="5332484" y="2815040"/>
                <a:chExt cx="1333500" cy="3107055"/>
              </a:xfrm>
              <a:grpFill/>
            </p:grpSpPr>
            <p:sp>
              <p:nvSpPr>
                <p:cNvPr id="251" name="Rectangle 250"/>
                <p:cNvSpPr/>
                <p:nvPr/>
              </p:nvSpPr>
              <p:spPr>
                <a:xfrm>
                  <a:off x="5332484" y="2815040"/>
                  <a:ext cx="190500" cy="309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2" name="Rectangle 251"/>
                <p:cNvSpPr/>
                <p:nvPr/>
              </p:nvSpPr>
              <p:spPr>
                <a:xfrm>
                  <a:off x="5713484" y="2815040"/>
                  <a:ext cx="190500" cy="309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3" name="Rectangle 252"/>
                <p:cNvSpPr/>
                <p:nvPr/>
              </p:nvSpPr>
              <p:spPr>
                <a:xfrm>
                  <a:off x="6094484" y="2815040"/>
                  <a:ext cx="190500" cy="309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4" name="Rectangle 253"/>
                <p:cNvSpPr/>
                <p:nvPr/>
              </p:nvSpPr>
              <p:spPr>
                <a:xfrm>
                  <a:off x="6475484" y="2815040"/>
                  <a:ext cx="190500" cy="309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5" name="Rectangle 254"/>
                <p:cNvSpPr/>
                <p:nvPr/>
              </p:nvSpPr>
              <p:spPr>
                <a:xfrm>
                  <a:off x="5340421" y="2815040"/>
                  <a:ext cx="1322388"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6" name="Rectangle 255"/>
                <p:cNvSpPr/>
                <p:nvPr/>
              </p:nvSpPr>
              <p:spPr>
                <a:xfrm>
                  <a:off x="5340421" y="3300815"/>
                  <a:ext cx="1322388"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7" name="Rectangle 256"/>
                <p:cNvSpPr/>
                <p:nvPr/>
              </p:nvSpPr>
              <p:spPr>
                <a:xfrm>
                  <a:off x="5340421" y="3786590"/>
                  <a:ext cx="1322388"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8" name="Rectangle 257"/>
                <p:cNvSpPr/>
                <p:nvPr/>
              </p:nvSpPr>
              <p:spPr>
                <a:xfrm>
                  <a:off x="5340421" y="4272365"/>
                  <a:ext cx="1322388"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9" name="Rectangle 258"/>
                <p:cNvSpPr/>
                <p:nvPr/>
              </p:nvSpPr>
              <p:spPr>
                <a:xfrm>
                  <a:off x="5340421" y="4758140"/>
                  <a:ext cx="1322388"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0" name="Rectangle 259"/>
                <p:cNvSpPr/>
                <p:nvPr/>
              </p:nvSpPr>
              <p:spPr>
                <a:xfrm>
                  <a:off x="5340421" y="5245820"/>
                  <a:ext cx="1322388"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1" name="Rectangle 260"/>
                <p:cNvSpPr/>
                <p:nvPr/>
              </p:nvSpPr>
              <p:spPr>
                <a:xfrm>
                  <a:off x="5340421" y="5731595"/>
                  <a:ext cx="1322388"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39" name="Group 100"/>
              <p:cNvGrpSpPr/>
              <p:nvPr/>
            </p:nvGrpSpPr>
            <p:grpSpPr>
              <a:xfrm>
                <a:off x="1209675" y="2884170"/>
                <a:ext cx="1333500" cy="3107055"/>
                <a:chOff x="5332484" y="2815040"/>
                <a:chExt cx="1333500" cy="3107055"/>
              </a:xfrm>
              <a:grpFill/>
            </p:grpSpPr>
            <p:sp>
              <p:nvSpPr>
                <p:cNvPr id="240" name="Rectangle 239"/>
                <p:cNvSpPr/>
                <p:nvPr/>
              </p:nvSpPr>
              <p:spPr>
                <a:xfrm>
                  <a:off x="5332484" y="2815040"/>
                  <a:ext cx="190500" cy="309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1" name="Rectangle 240"/>
                <p:cNvSpPr/>
                <p:nvPr/>
              </p:nvSpPr>
              <p:spPr>
                <a:xfrm>
                  <a:off x="5713484" y="2815040"/>
                  <a:ext cx="190500" cy="309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2" name="Rectangle 241"/>
                <p:cNvSpPr/>
                <p:nvPr/>
              </p:nvSpPr>
              <p:spPr>
                <a:xfrm>
                  <a:off x="6094484" y="2815040"/>
                  <a:ext cx="190500" cy="309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3" name="Rectangle 242"/>
                <p:cNvSpPr/>
                <p:nvPr/>
              </p:nvSpPr>
              <p:spPr>
                <a:xfrm>
                  <a:off x="6475484" y="2815040"/>
                  <a:ext cx="190500" cy="309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4" name="Rectangle 243"/>
                <p:cNvSpPr/>
                <p:nvPr/>
              </p:nvSpPr>
              <p:spPr>
                <a:xfrm>
                  <a:off x="5340421" y="2815040"/>
                  <a:ext cx="1322388"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5" name="Rectangle 244"/>
                <p:cNvSpPr/>
                <p:nvPr/>
              </p:nvSpPr>
              <p:spPr>
                <a:xfrm>
                  <a:off x="5340421" y="3300815"/>
                  <a:ext cx="1322388"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6" name="Rectangle 245"/>
                <p:cNvSpPr/>
                <p:nvPr/>
              </p:nvSpPr>
              <p:spPr>
                <a:xfrm>
                  <a:off x="5340421" y="3786590"/>
                  <a:ext cx="1322388"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7" name="Rectangle 246"/>
                <p:cNvSpPr/>
                <p:nvPr/>
              </p:nvSpPr>
              <p:spPr>
                <a:xfrm>
                  <a:off x="5340421" y="4272365"/>
                  <a:ext cx="1322388"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8" name="Rectangle 247"/>
                <p:cNvSpPr/>
                <p:nvPr/>
              </p:nvSpPr>
              <p:spPr>
                <a:xfrm>
                  <a:off x="5340421" y="4758140"/>
                  <a:ext cx="1322388"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9" name="Rectangle 248"/>
                <p:cNvSpPr/>
                <p:nvPr/>
              </p:nvSpPr>
              <p:spPr>
                <a:xfrm>
                  <a:off x="5340421" y="5245820"/>
                  <a:ext cx="1322388"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0" name="Rectangle 249"/>
                <p:cNvSpPr/>
                <p:nvPr/>
              </p:nvSpPr>
              <p:spPr>
                <a:xfrm>
                  <a:off x="5340421" y="5731595"/>
                  <a:ext cx="1322388"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pic>
          <p:nvPicPr>
            <p:cNvPr id="235" name="Picture 8" descr="http://cdn1.iconfinder.com/data/icons/SOPHISTIQUE/construction/png/400/civil_engineer.png"/>
            <p:cNvPicPr>
              <a:picLocks noChangeAspect="1" noChangeArrowheads="1"/>
            </p:cNvPicPr>
            <p:nvPr/>
          </p:nvPicPr>
          <p:blipFill>
            <a:blip r:embed="rId9" cstate="print"/>
            <a:srcRect/>
            <a:stretch>
              <a:fillRect/>
            </a:stretch>
          </p:blipFill>
          <p:spPr bwMode="auto">
            <a:xfrm>
              <a:off x="2730856" y="3181912"/>
              <a:ext cx="785664" cy="785664"/>
            </a:xfrm>
            <a:prstGeom prst="rect">
              <a:avLst/>
            </a:prstGeom>
            <a:noFill/>
          </p:spPr>
        </p:pic>
      </p:grpSp>
      <p:pic>
        <p:nvPicPr>
          <p:cNvPr id="285" name="Picture 10" descr="http://cdn1.iconfinder.com/data/icons/dragon/512/User.png"/>
          <p:cNvPicPr>
            <a:picLocks noChangeAspect="1" noChangeArrowheads="1"/>
          </p:cNvPicPr>
          <p:nvPr/>
        </p:nvPicPr>
        <p:blipFill>
          <a:blip r:embed="rId10" cstate="print"/>
          <a:srcRect/>
          <a:stretch>
            <a:fillRect/>
          </a:stretch>
        </p:blipFill>
        <p:spPr bwMode="auto">
          <a:xfrm>
            <a:off x="2861225" y="4489362"/>
            <a:ext cx="700337" cy="700337"/>
          </a:xfrm>
          <a:prstGeom prst="rect">
            <a:avLst/>
          </a:prstGeom>
          <a:noFill/>
        </p:spPr>
      </p:pic>
      <p:sp>
        <p:nvSpPr>
          <p:cNvPr id="286" name="TextBox 285"/>
          <p:cNvSpPr txBox="1"/>
          <p:nvPr/>
        </p:nvSpPr>
        <p:spPr>
          <a:xfrm>
            <a:off x="5295848" y="3508561"/>
            <a:ext cx="1368152" cy="307777"/>
          </a:xfrm>
          <a:prstGeom prst="rect">
            <a:avLst/>
          </a:prstGeom>
          <a:noFill/>
        </p:spPr>
        <p:txBody>
          <a:bodyPr wrap="square" rtlCol="0">
            <a:spAutoFit/>
          </a:bodyPr>
          <a:lstStyle/>
          <a:p>
            <a:r>
              <a:rPr lang="es-ES" sz="1400" b="1" dirty="0" smtClean="0">
                <a:solidFill>
                  <a:srgbClr val="000000"/>
                </a:solidFill>
              </a:rPr>
              <a:t>IT </a:t>
            </a:r>
            <a:r>
              <a:rPr lang="es-ES" sz="1400" b="1" dirty="0" err="1" smtClean="0">
                <a:solidFill>
                  <a:srgbClr val="000000"/>
                </a:solidFill>
              </a:rPr>
              <a:t>providers</a:t>
            </a:r>
            <a:endParaRPr lang="en-US" sz="1400" b="1" dirty="0">
              <a:solidFill>
                <a:srgbClr val="000000"/>
              </a:solidFill>
            </a:endParaRPr>
          </a:p>
        </p:txBody>
      </p:sp>
      <p:grpSp>
        <p:nvGrpSpPr>
          <p:cNvPr id="287" name="Group 286"/>
          <p:cNvGrpSpPr/>
          <p:nvPr/>
        </p:nvGrpSpPr>
        <p:grpSpPr>
          <a:xfrm>
            <a:off x="5377737" y="2705152"/>
            <a:ext cx="648072" cy="908808"/>
            <a:chOff x="5237488" y="2773392"/>
            <a:chExt cx="648072" cy="908808"/>
          </a:xfrm>
        </p:grpSpPr>
        <p:pic>
          <p:nvPicPr>
            <p:cNvPr id="288" name="Picture 12" descr="http://icons.iconarchive.com/icons/icons-land/vista-hardware-devices/256/Computer-icon.png"/>
            <p:cNvPicPr>
              <a:picLocks noChangeAspect="1" noChangeArrowheads="1"/>
            </p:cNvPicPr>
            <p:nvPr/>
          </p:nvPicPr>
          <p:blipFill>
            <a:blip r:embed="rId11" cstate="print"/>
            <a:srcRect/>
            <a:stretch>
              <a:fillRect/>
            </a:stretch>
          </p:blipFill>
          <p:spPr bwMode="auto">
            <a:xfrm>
              <a:off x="5237488" y="2773392"/>
              <a:ext cx="648072" cy="648072"/>
            </a:xfrm>
            <a:prstGeom prst="rect">
              <a:avLst/>
            </a:prstGeom>
            <a:noFill/>
          </p:spPr>
        </p:pic>
        <p:pic>
          <p:nvPicPr>
            <p:cNvPr id="289" name="Picture 11" descr="http://c.dryicons.com/images/icon_sets/stickers_icon_set/png/128x128/process.png"/>
            <p:cNvPicPr>
              <a:picLocks noChangeAspect="1" noChangeArrowheads="1"/>
            </p:cNvPicPr>
            <p:nvPr/>
          </p:nvPicPr>
          <p:blipFill>
            <a:blip r:embed="rId12" cstate="print">
              <a:duotone>
                <a:srgbClr val="57A6BA">
                  <a:shade val="45000"/>
                  <a:satMod val="135000"/>
                </a:srgbClr>
                <a:prstClr val="white"/>
              </a:duotone>
            </a:blip>
            <a:srcRect/>
            <a:stretch>
              <a:fillRect/>
            </a:stretch>
          </p:blipFill>
          <p:spPr bwMode="auto">
            <a:xfrm>
              <a:off x="5323144" y="3250152"/>
              <a:ext cx="437876" cy="432048"/>
            </a:xfrm>
            <a:prstGeom prst="rect">
              <a:avLst/>
            </a:prstGeom>
            <a:noFill/>
          </p:spPr>
        </p:pic>
      </p:grpSp>
      <p:sp>
        <p:nvSpPr>
          <p:cNvPr id="290" name="TextBox 289"/>
          <p:cNvSpPr txBox="1"/>
          <p:nvPr/>
        </p:nvSpPr>
        <p:spPr>
          <a:xfrm>
            <a:off x="2419297" y="5100852"/>
            <a:ext cx="1512168" cy="523220"/>
          </a:xfrm>
          <a:prstGeom prst="rect">
            <a:avLst/>
          </a:prstGeom>
          <a:noFill/>
        </p:spPr>
        <p:txBody>
          <a:bodyPr wrap="square" rtlCol="0">
            <a:spAutoFit/>
          </a:bodyPr>
          <a:lstStyle/>
          <a:p>
            <a:pPr algn="ctr"/>
            <a:r>
              <a:rPr lang="es-ES" sz="1400" b="1" dirty="0" err="1" smtClean="0">
                <a:solidFill>
                  <a:srgbClr val="000000"/>
                </a:solidFill>
              </a:rPr>
              <a:t>Consultancy</a:t>
            </a:r>
            <a:r>
              <a:rPr lang="es-ES" sz="1400" b="1" dirty="0" smtClean="0">
                <a:solidFill>
                  <a:srgbClr val="000000"/>
                </a:solidFill>
              </a:rPr>
              <a:t> </a:t>
            </a:r>
            <a:r>
              <a:rPr lang="es-ES" sz="1400" b="1" dirty="0" err="1" smtClean="0">
                <a:solidFill>
                  <a:srgbClr val="000000"/>
                </a:solidFill>
              </a:rPr>
              <a:t>companies</a:t>
            </a:r>
            <a:endParaRPr lang="en-US" sz="1400" b="1" dirty="0">
              <a:solidFill>
                <a:srgbClr val="000000"/>
              </a:solidFill>
            </a:endParaRPr>
          </a:p>
        </p:txBody>
      </p:sp>
      <p:sp>
        <p:nvSpPr>
          <p:cNvPr id="211" name="Rectangle 1"/>
          <p:cNvSpPr>
            <a:spLocks/>
          </p:cNvSpPr>
          <p:nvPr/>
        </p:nvSpPr>
        <p:spPr bwMode="auto">
          <a:xfrm>
            <a:off x="0" y="0"/>
            <a:ext cx="368300" cy="647700"/>
          </a:xfrm>
          <a:prstGeom prst="rect">
            <a:avLst/>
          </a:prstGeom>
          <a:gradFill rotWithShape="0">
            <a:gsLst>
              <a:gs pos="0">
                <a:srgbClr val="0A1519"/>
              </a:gs>
              <a:gs pos="100000">
                <a:srgbClr val="2A5E77"/>
              </a:gs>
            </a:gsLst>
            <a:lin ang="2700000" scaled="1"/>
          </a:gradFill>
          <a:ln>
            <a:noFill/>
          </a:ln>
          <a:extLst>
            <a:ext uri="{91240B29-F687-4F45-9708-019B960494DF}">
              <a14:hiddenLine xmlns:a14="http://schemas.microsoft.com/office/drawing/2010/main" xmlns="" w="12700">
                <a:solidFill>
                  <a:schemeClr val="tx1"/>
                </a:solidFill>
                <a:miter lim="800000"/>
                <a:headEnd/>
                <a:tailEnd/>
              </a14:hiddenLine>
            </a:ext>
          </a:extLst>
        </p:spPr>
        <p:txBody>
          <a:bodyPr lIns="0" tIns="0" rIns="0" bIns="0"/>
          <a:lstStyle/>
          <a:p>
            <a:endParaRPr lang="es-ES">
              <a:cs typeface="Arial" pitchFamily="34" charset="0"/>
            </a:endParaRPr>
          </a:p>
        </p:txBody>
      </p:sp>
      <p:sp>
        <p:nvSpPr>
          <p:cNvPr id="220" name="Rectangle 9"/>
          <p:cNvSpPr>
            <a:spLocks/>
          </p:cNvSpPr>
          <p:nvPr/>
        </p:nvSpPr>
        <p:spPr bwMode="auto">
          <a:xfrm>
            <a:off x="55563" y="334963"/>
            <a:ext cx="339725" cy="357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chemeClr val="tx1"/>
                </a:solidFill>
                <a:miter lim="800000"/>
                <a:headEnd/>
                <a:tailEnd/>
              </a14:hiddenLine>
            </a:ext>
          </a:extLst>
        </p:spPr>
        <p:txBody>
          <a:bodyPr lIns="38100" tIns="38100" rIns="38100" bIns="38100"/>
          <a:lstStyle/>
          <a:p>
            <a:pPr algn="l"/>
            <a:r>
              <a:rPr lang="en-US" sz="1400" dirty="0" smtClean="0">
                <a:solidFill>
                  <a:srgbClr val="44B5CA"/>
                </a:solidFill>
                <a:ea typeface="MS PGothic" pitchFamily="34" charset="-128"/>
                <a:sym typeface="Telefonica Text Bold"/>
              </a:rPr>
              <a:t>02</a:t>
            </a:r>
            <a:endParaRPr lang="en-US" sz="1400" dirty="0">
              <a:solidFill>
                <a:srgbClr val="44B5CA"/>
              </a:solidFill>
              <a:ea typeface="MS PGothic" pitchFamily="34" charset="-128"/>
              <a:sym typeface="Telefonica Text Bold"/>
            </a:endParaRPr>
          </a:p>
        </p:txBody>
      </p:sp>
    </p:spTree>
    <p:extLst>
      <p:ext uri="{BB962C8B-B14F-4D97-AF65-F5344CB8AC3E}">
        <p14:creationId xmlns:p14="http://schemas.microsoft.com/office/powerpoint/2010/main" xmlns="" val="3981512300"/>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23555" name="Group 53"/>
          <p:cNvGrpSpPr>
            <a:grpSpLocks/>
          </p:cNvGrpSpPr>
          <p:nvPr/>
        </p:nvGrpSpPr>
        <p:grpSpPr bwMode="auto">
          <a:xfrm>
            <a:off x="1922129" y="1681163"/>
            <a:ext cx="5172764" cy="3840162"/>
            <a:chOff x="1243" y="1059"/>
            <a:chExt cx="3259" cy="2419"/>
          </a:xfrm>
        </p:grpSpPr>
        <p:grpSp>
          <p:nvGrpSpPr>
            <p:cNvPr id="23597" name="Group 16"/>
            <p:cNvGrpSpPr>
              <a:grpSpLocks/>
            </p:cNvGrpSpPr>
            <p:nvPr/>
          </p:nvGrpSpPr>
          <p:grpSpPr bwMode="auto">
            <a:xfrm>
              <a:off x="1243" y="1059"/>
              <a:ext cx="3259" cy="2419"/>
              <a:chOff x="0" y="288"/>
              <a:chExt cx="4502" cy="3342"/>
            </a:xfrm>
          </p:grpSpPr>
          <p:pic>
            <p:nvPicPr>
              <p:cNvPr id="23601" name="Picture 17"/>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2256" y="1883"/>
                <a:ext cx="1960" cy="172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pic>
          <p:pic>
            <p:nvPicPr>
              <p:cNvPr id="23602" name="Picture 18"/>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382" y="2158"/>
                <a:ext cx="1960" cy="14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pic>
          <p:pic>
            <p:nvPicPr>
              <p:cNvPr id="23603" name="Picture 19"/>
              <p:cNvPicPr>
                <a:picLocks noChangeAspect="1" noChangeArrowheads="1"/>
              </p:cNvPicPr>
              <p:nvPr/>
            </p:nvPicPr>
            <p:blipFill>
              <a:blip r:embed="rId6" cstate="print">
                <a:extLst>
                  <a:ext uri="{28A0092B-C50C-407E-A947-70E740481C1C}">
                    <a14:useLocalDpi xmlns:a14="http://schemas.microsoft.com/office/drawing/2010/main" xmlns="" val="0"/>
                  </a:ext>
                </a:extLst>
              </a:blip>
              <a:srcRect l="20097" r="19858" b="63989"/>
              <a:stretch>
                <a:fillRect/>
              </a:stretch>
            </p:blipFill>
            <p:spPr bwMode="auto">
              <a:xfrm>
                <a:off x="1350" y="288"/>
                <a:ext cx="1960" cy="11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pic>
          <p:pic>
            <p:nvPicPr>
              <p:cNvPr id="23604" name="Picture 20"/>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2542" y="478"/>
                <a:ext cx="1960" cy="14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pic>
          <p:pic>
            <p:nvPicPr>
              <p:cNvPr id="23605" name="Picture 21"/>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0" y="379"/>
                <a:ext cx="1960" cy="14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pic>
        </p:grpSp>
        <p:grpSp>
          <p:nvGrpSpPr>
            <p:cNvPr id="23598" name="Group 51"/>
            <p:cNvGrpSpPr>
              <a:grpSpLocks/>
            </p:cNvGrpSpPr>
            <p:nvPr/>
          </p:nvGrpSpPr>
          <p:grpSpPr bwMode="auto">
            <a:xfrm>
              <a:off x="2264" y="1537"/>
              <a:ext cx="1357" cy="1406"/>
              <a:chOff x="2264" y="1537"/>
              <a:chExt cx="1357" cy="1406"/>
            </a:xfrm>
          </p:grpSpPr>
          <p:sp>
            <p:nvSpPr>
              <p:cNvPr id="23599" name="Oval 5"/>
              <p:cNvSpPr>
                <a:spLocks noChangeArrowheads="1"/>
              </p:cNvSpPr>
              <p:nvPr/>
            </p:nvSpPr>
            <p:spPr bwMode="gray">
              <a:xfrm>
                <a:off x="2264" y="1537"/>
                <a:ext cx="1357" cy="1406"/>
              </a:xfrm>
              <a:prstGeom prst="ellipse">
                <a:avLst/>
              </a:prstGeom>
              <a:gradFill rotWithShape="1">
                <a:gsLst>
                  <a:gs pos="0">
                    <a:srgbClr val="FFFFFF"/>
                  </a:gs>
                  <a:gs pos="100000">
                    <a:srgbClr val="B2B2B2"/>
                  </a:gs>
                </a:gsLst>
                <a:path path="shape">
                  <a:fillToRect l="50000" t="50000" r="50000" b="50000"/>
                </a:path>
              </a:gradFill>
              <a:ln>
                <a:noFill/>
              </a:ln>
              <a:extLst>
                <a:ext uri="{91240B29-F687-4F45-9708-019B960494DF}">
                  <a14:hiddenLine xmlns:a14="http://schemas.microsoft.com/office/drawing/2010/main" xmlns="" w="19050" algn="ctr">
                    <a:solidFill>
                      <a:srgbClr val="000000"/>
                    </a:solidFill>
                    <a:round/>
                    <a:headEnd/>
                    <a:tailEnd/>
                  </a14:hiddenLine>
                </a:ext>
              </a:extLst>
            </p:spPr>
            <p:txBody>
              <a:bodyPr wrap="none" lIns="63279" tIns="63279" rIns="50623" bIns="63279" anchor="ctr"/>
              <a:lstStyle/>
              <a:p>
                <a:endParaRPr lang="en-GB" sz="1800" b="0">
                  <a:solidFill>
                    <a:srgbClr val="000000"/>
                  </a:solidFill>
                  <a:latin typeface="Arial" pitchFamily="34" charset="0"/>
                  <a:cs typeface="Arial" pitchFamily="34" charset="0"/>
                </a:endParaRPr>
              </a:p>
            </p:txBody>
          </p:sp>
          <p:sp>
            <p:nvSpPr>
              <p:cNvPr id="23600" name="438 CuadroTexto"/>
              <p:cNvSpPr txBox="1">
                <a:spLocks noChangeArrowheads="1"/>
              </p:cNvSpPr>
              <p:nvPr/>
            </p:nvSpPr>
            <p:spPr bwMode="auto">
              <a:xfrm>
                <a:off x="2346" y="1981"/>
                <a:ext cx="1173" cy="5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5" tIns="45718" rIns="91435" bIns="45718">
                <a:spAutoFit/>
              </a:bodyPr>
              <a:lstStyle>
                <a:lvl1pPr>
                  <a:defRPr sz="1200" b="1">
                    <a:solidFill>
                      <a:schemeClr val="tx1"/>
                    </a:solidFill>
                    <a:latin typeface="Telefonica Text" pitchFamily="2" charset="0"/>
                    <a:ea typeface="MS PGothic" pitchFamily="34" charset="-128"/>
                  </a:defRPr>
                </a:lvl1pPr>
                <a:lvl2pPr marL="742950" indent="-285750">
                  <a:defRPr sz="1200" b="1">
                    <a:solidFill>
                      <a:schemeClr val="tx1"/>
                    </a:solidFill>
                    <a:latin typeface="Telefonica Text" pitchFamily="2" charset="0"/>
                    <a:ea typeface="MS PGothic" pitchFamily="34" charset="-128"/>
                  </a:defRPr>
                </a:lvl2pPr>
                <a:lvl3pPr marL="1143000" indent="-228600">
                  <a:defRPr sz="1200" b="1">
                    <a:solidFill>
                      <a:schemeClr val="tx1"/>
                    </a:solidFill>
                    <a:latin typeface="Telefonica Text" pitchFamily="2" charset="0"/>
                    <a:ea typeface="MS PGothic" pitchFamily="34" charset="-128"/>
                  </a:defRPr>
                </a:lvl3pPr>
                <a:lvl4pPr marL="1600200" indent="-228600">
                  <a:defRPr sz="1200" b="1">
                    <a:solidFill>
                      <a:schemeClr val="tx1"/>
                    </a:solidFill>
                    <a:latin typeface="Telefonica Text" pitchFamily="2" charset="0"/>
                    <a:ea typeface="MS PGothic" pitchFamily="34" charset="-128"/>
                  </a:defRPr>
                </a:lvl4pPr>
                <a:lvl5pPr marL="2057400" indent="-228600">
                  <a:defRPr sz="1200" b="1">
                    <a:solidFill>
                      <a:schemeClr val="tx1"/>
                    </a:solidFill>
                    <a:latin typeface="Telefonica Text" pitchFamily="2" charset="0"/>
                    <a:ea typeface="MS PGothic" pitchFamily="34" charset="-128"/>
                  </a:defRPr>
                </a:lvl5pPr>
                <a:lvl6pPr marL="2514600" indent="-228600" algn="ctr" eaLnBrk="0" fontAlgn="base" hangingPunct="0">
                  <a:spcBef>
                    <a:spcPct val="0"/>
                  </a:spcBef>
                  <a:spcAft>
                    <a:spcPct val="0"/>
                  </a:spcAft>
                  <a:defRPr sz="1200" b="1">
                    <a:solidFill>
                      <a:schemeClr val="tx1"/>
                    </a:solidFill>
                    <a:latin typeface="Telefonica Text" pitchFamily="2" charset="0"/>
                    <a:ea typeface="MS PGothic" pitchFamily="34" charset="-128"/>
                  </a:defRPr>
                </a:lvl6pPr>
                <a:lvl7pPr marL="2971800" indent="-228600" algn="ctr" eaLnBrk="0" fontAlgn="base" hangingPunct="0">
                  <a:spcBef>
                    <a:spcPct val="0"/>
                  </a:spcBef>
                  <a:spcAft>
                    <a:spcPct val="0"/>
                  </a:spcAft>
                  <a:defRPr sz="1200" b="1">
                    <a:solidFill>
                      <a:schemeClr val="tx1"/>
                    </a:solidFill>
                    <a:latin typeface="Telefonica Text" pitchFamily="2" charset="0"/>
                    <a:ea typeface="MS PGothic" pitchFamily="34" charset="-128"/>
                  </a:defRPr>
                </a:lvl7pPr>
                <a:lvl8pPr marL="3429000" indent="-228600" algn="ctr" eaLnBrk="0" fontAlgn="base" hangingPunct="0">
                  <a:spcBef>
                    <a:spcPct val="0"/>
                  </a:spcBef>
                  <a:spcAft>
                    <a:spcPct val="0"/>
                  </a:spcAft>
                  <a:defRPr sz="1200" b="1">
                    <a:solidFill>
                      <a:schemeClr val="tx1"/>
                    </a:solidFill>
                    <a:latin typeface="Telefonica Text" pitchFamily="2" charset="0"/>
                    <a:ea typeface="MS PGothic" pitchFamily="34" charset="-128"/>
                  </a:defRPr>
                </a:lvl8pPr>
                <a:lvl9pPr marL="3886200" indent="-228600" algn="ctr" eaLnBrk="0" fontAlgn="base" hangingPunct="0">
                  <a:spcBef>
                    <a:spcPct val="0"/>
                  </a:spcBef>
                  <a:spcAft>
                    <a:spcPct val="0"/>
                  </a:spcAft>
                  <a:defRPr sz="1200" b="1">
                    <a:solidFill>
                      <a:schemeClr val="tx1"/>
                    </a:solidFill>
                    <a:latin typeface="Telefonica Text" pitchFamily="2" charset="0"/>
                    <a:ea typeface="MS PGothic" pitchFamily="34" charset="-128"/>
                  </a:defRPr>
                </a:lvl9pPr>
              </a:lstStyle>
              <a:p>
                <a:pPr algn="ctr" eaLnBrk="1" hangingPunct="1"/>
                <a:r>
                  <a:rPr lang="en-GB" sz="2400" b="0" dirty="0" smtClean="0">
                    <a:solidFill>
                      <a:srgbClr val="285561"/>
                    </a:solidFill>
                    <a:latin typeface="Arial" pitchFamily="34" charset="0"/>
                    <a:cs typeface="Arial" pitchFamily="34" charset="0"/>
                  </a:rPr>
                  <a:t>Cities interests</a:t>
                </a:r>
                <a:endParaRPr lang="en-GB" sz="2400" b="0" dirty="0">
                  <a:solidFill>
                    <a:srgbClr val="285561"/>
                  </a:solidFill>
                  <a:latin typeface="Arial" pitchFamily="34" charset="0"/>
                  <a:cs typeface="Arial" pitchFamily="34" charset="0"/>
                </a:endParaRPr>
              </a:p>
            </p:txBody>
          </p:sp>
        </p:grpSp>
      </p:grpSp>
      <p:pic>
        <p:nvPicPr>
          <p:cNvPr id="23556" name="Picture 5"/>
          <p:cNvPicPr>
            <a:picLocks noChangeAspect="1" noChangeArrowheads="1"/>
          </p:cNvPicPr>
          <p:nvPr/>
        </p:nvPicPr>
        <p:blipFill>
          <a:blip r:embed="rId9" cstate="print">
            <a:extLst>
              <a:ext uri="{28A0092B-C50C-407E-A947-70E740481C1C}">
                <a14:useLocalDpi xmlns:a14="http://schemas.microsoft.com/office/drawing/2010/main" xmlns="" val="0"/>
              </a:ext>
            </a:extLst>
          </a:blip>
          <a:srcRect/>
          <a:stretch>
            <a:fillRect/>
          </a:stretch>
        </p:blipFill>
        <p:spPr bwMode="gray">
          <a:xfrm>
            <a:off x="2823673" y="5194303"/>
            <a:ext cx="3723628" cy="434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23557" name="Group 9"/>
          <p:cNvGrpSpPr>
            <a:grpSpLocks/>
          </p:cNvGrpSpPr>
          <p:nvPr/>
        </p:nvGrpSpPr>
        <p:grpSpPr bwMode="auto">
          <a:xfrm>
            <a:off x="742821" y="4670425"/>
            <a:ext cx="3087152" cy="1322388"/>
            <a:chOff x="416" y="2942"/>
            <a:chExt cx="1945" cy="833"/>
          </a:xfrm>
        </p:grpSpPr>
        <p:sp>
          <p:nvSpPr>
            <p:cNvPr id="23592" name="155 Rectángulo"/>
            <p:cNvSpPr>
              <a:spLocks noChangeArrowheads="1"/>
            </p:cNvSpPr>
            <p:nvPr/>
          </p:nvSpPr>
          <p:spPr bwMode="auto">
            <a:xfrm>
              <a:off x="416" y="2942"/>
              <a:ext cx="1945" cy="833"/>
            </a:xfrm>
            <a:prstGeom prst="rect">
              <a:avLst/>
            </a:prstGeom>
            <a:solidFill>
              <a:srgbClr val="D5EDFA"/>
            </a:solidFill>
            <a:ln>
              <a:noFill/>
            </a:ln>
            <a:extLst>
              <a:ext uri="{91240B29-F687-4F45-9708-019B960494DF}">
                <a14:hiddenLine xmlns:a14="http://schemas.microsoft.com/office/drawing/2010/main" xmlns="" w="25400" algn="ctr">
                  <a:solidFill>
                    <a:srgbClr val="000000"/>
                  </a:solidFill>
                  <a:round/>
                  <a:headEnd/>
                  <a:tailEnd/>
                </a14:hiddenLine>
              </a:ext>
            </a:extLst>
          </p:spPr>
          <p:txBody>
            <a:bodyPr lIns="64291" tIns="32146" rIns="64291" bIns="32146"/>
            <a:lstStyle/>
            <a:p>
              <a:pPr defTabSz="642938" eaLnBrk="1" hangingPunct="1"/>
              <a:endParaRPr lang="en-GB" sz="2700" b="0">
                <a:solidFill>
                  <a:srgbClr val="000000"/>
                </a:solidFill>
                <a:latin typeface="Arial" pitchFamily="34" charset="0"/>
                <a:ea typeface="ヒラギノ角ゴ ProN W3"/>
                <a:cs typeface="Arial" pitchFamily="34" charset="0"/>
                <a:sym typeface="Gill Sans"/>
              </a:endParaRPr>
            </a:p>
          </p:txBody>
        </p:sp>
        <p:sp>
          <p:nvSpPr>
            <p:cNvPr id="23594" name="Rectangle 14"/>
            <p:cNvSpPr>
              <a:spLocks/>
            </p:cNvSpPr>
            <p:nvPr/>
          </p:nvSpPr>
          <p:spPr bwMode="auto">
            <a:xfrm>
              <a:off x="1206" y="3006"/>
              <a:ext cx="1049" cy="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35717" tIns="35717" rIns="64289" bIns="35717" anchor="ctr">
              <a:spAutoFit/>
            </a:bodyPr>
            <a:lstStyle/>
            <a:p>
              <a:pPr algn="l" defTabSz="642938" eaLnBrk="1" hangingPunct="1"/>
              <a:r>
                <a:rPr lang="en-GB" sz="1800" dirty="0" smtClean="0">
                  <a:solidFill>
                    <a:srgbClr val="034769"/>
                  </a:solidFill>
                  <a:latin typeface="Arial" pitchFamily="34" charset="0"/>
                  <a:cs typeface="Arial" pitchFamily="34" charset="0"/>
                </a:rPr>
                <a:t>Urban planning</a:t>
              </a:r>
              <a:endParaRPr lang="en-GB" sz="1800" dirty="0">
                <a:solidFill>
                  <a:srgbClr val="034769"/>
                </a:solidFill>
                <a:latin typeface="Arial" pitchFamily="34" charset="0"/>
                <a:cs typeface="Arial" pitchFamily="34" charset="0"/>
              </a:endParaRPr>
            </a:p>
          </p:txBody>
        </p:sp>
        <p:sp>
          <p:nvSpPr>
            <p:cNvPr id="23595" name="163 Rectángulo"/>
            <p:cNvSpPr>
              <a:spLocks noChangeArrowheads="1"/>
            </p:cNvSpPr>
            <p:nvPr/>
          </p:nvSpPr>
          <p:spPr bwMode="auto">
            <a:xfrm>
              <a:off x="1206" y="3380"/>
              <a:ext cx="1140" cy="3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64291" tIns="32146" rIns="64291" bIns="32146">
              <a:spAutoFit/>
            </a:bodyPr>
            <a:lstStyle/>
            <a:p>
              <a:r>
                <a:rPr lang="en-GB" sz="1600" dirty="0" smtClean="0">
                  <a:solidFill>
                    <a:srgbClr val="285561"/>
                  </a:solidFill>
                  <a:latin typeface="Arial" pitchFamily="34" charset="0"/>
                  <a:cs typeface="Arial" pitchFamily="34" charset="0"/>
                </a:rPr>
                <a:t>i.e. Brasilia or Santiago de Chile</a:t>
              </a:r>
              <a:endParaRPr lang="en-GB" sz="1400" b="0" baseline="30000" dirty="0" smtClean="0">
                <a:solidFill>
                  <a:srgbClr val="285561"/>
                </a:solidFill>
                <a:latin typeface="Arial" pitchFamily="34" charset="0"/>
                <a:cs typeface="Arial" pitchFamily="34" charset="0"/>
              </a:endParaRPr>
            </a:p>
          </p:txBody>
        </p:sp>
      </p:grpSp>
      <p:grpSp>
        <p:nvGrpSpPr>
          <p:cNvPr id="23558" name="Group 18"/>
          <p:cNvGrpSpPr>
            <a:grpSpLocks/>
          </p:cNvGrpSpPr>
          <p:nvPr/>
        </p:nvGrpSpPr>
        <p:grpSpPr bwMode="auto">
          <a:xfrm>
            <a:off x="5486241" y="4597400"/>
            <a:ext cx="3087152" cy="1322388"/>
            <a:chOff x="3281" y="2942"/>
            <a:chExt cx="1945" cy="833"/>
          </a:xfrm>
        </p:grpSpPr>
        <p:sp>
          <p:nvSpPr>
            <p:cNvPr id="23586" name="165 Rectángulo"/>
            <p:cNvSpPr>
              <a:spLocks noChangeArrowheads="1"/>
            </p:cNvSpPr>
            <p:nvPr/>
          </p:nvSpPr>
          <p:spPr bwMode="auto">
            <a:xfrm>
              <a:off x="3281" y="2942"/>
              <a:ext cx="1945" cy="833"/>
            </a:xfrm>
            <a:prstGeom prst="rect">
              <a:avLst/>
            </a:prstGeom>
            <a:solidFill>
              <a:srgbClr val="D5EDFA"/>
            </a:solidFill>
            <a:ln>
              <a:noFill/>
            </a:ln>
            <a:extLst>
              <a:ext uri="{91240B29-F687-4F45-9708-019B960494DF}">
                <a14:hiddenLine xmlns:a14="http://schemas.microsoft.com/office/drawing/2010/main" xmlns="" w="25400" algn="ctr">
                  <a:solidFill>
                    <a:srgbClr val="000000"/>
                  </a:solidFill>
                  <a:round/>
                  <a:headEnd/>
                  <a:tailEnd/>
                </a14:hiddenLine>
              </a:ext>
            </a:extLst>
          </p:spPr>
          <p:txBody>
            <a:bodyPr lIns="64291" tIns="32146" rIns="64291" bIns="32146"/>
            <a:lstStyle/>
            <a:p>
              <a:pPr defTabSz="642938" eaLnBrk="1" hangingPunct="1"/>
              <a:endParaRPr lang="en-GB" sz="2700" b="0">
                <a:solidFill>
                  <a:srgbClr val="000000"/>
                </a:solidFill>
                <a:latin typeface="Arial" pitchFamily="34" charset="0"/>
                <a:ea typeface="ヒラギノ角ゴ ProN W3"/>
                <a:cs typeface="Arial" pitchFamily="34" charset="0"/>
                <a:sym typeface="Gill Sans"/>
              </a:endParaRPr>
            </a:p>
          </p:txBody>
        </p:sp>
        <p:sp>
          <p:nvSpPr>
            <p:cNvPr id="23588" name="Rectangle 14"/>
            <p:cNvSpPr>
              <a:spLocks/>
            </p:cNvSpPr>
            <p:nvPr/>
          </p:nvSpPr>
          <p:spPr bwMode="auto">
            <a:xfrm>
              <a:off x="4000" y="3053"/>
              <a:ext cx="476" cy="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35717" tIns="35717" rIns="64289" bIns="35717" anchor="ctr">
              <a:spAutoFit/>
            </a:bodyPr>
            <a:lstStyle/>
            <a:p>
              <a:pPr algn="l" defTabSz="642938" eaLnBrk="1" hangingPunct="1"/>
              <a:r>
                <a:rPr lang="en-GB" sz="1800" dirty="0" smtClean="0">
                  <a:solidFill>
                    <a:srgbClr val="034769"/>
                  </a:solidFill>
                  <a:latin typeface="Arial" pitchFamily="34" charset="0"/>
                  <a:cs typeface="Arial" pitchFamily="34" charset="0"/>
                </a:rPr>
                <a:t>Safety</a:t>
              </a:r>
              <a:endParaRPr lang="en-GB" sz="1300" dirty="0">
                <a:solidFill>
                  <a:srgbClr val="034769"/>
                </a:solidFill>
                <a:latin typeface="Arial" pitchFamily="34" charset="0"/>
                <a:cs typeface="Arial" pitchFamily="34" charset="0"/>
              </a:endParaRPr>
            </a:p>
          </p:txBody>
        </p:sp>
        <p:sp>
          <p:nvSpPr>
            <p:cNvPr id="23589" name="169 Rectángulo"/>
            <p:cNvSpPr>
              <a:spLocks noChangeArrowheads="1"/>
            </p:cNvSpPr>
            <p:nvPr/>
          </p:nvSpPr>
          <p:spPr bwMode="auto">
            <a:xfrm>
              <a:off x="3959" y="3368"/>
              <a:ext cx="1209" cy="3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64291" tIns="32146" rIns="64291" bIns="32146">
              <a:spAutoFit/>
            </a:bodyPr>
            <a:lstStyle/>
            <a:p>
              <a:pPr algn="l" defTabSz="642938"/>
              <a:r>
                <a:rPr lang="en-GB" sz="1600" dirty="0" err="1" smtClean="0">
                  <a:solidFill>
                    <a:srgbClr val="285561"/>
                  </a:solidFill>
                  <a:latin typeface="Arial" pitchFamily="34" charset="0"/>
                  <a:cs typeface="Arial" pitchFamily="34" charset="0"/>
                </a:rPr>
                <a:t>i.e</a:t>
              </a:r>
              <a:r>
                <a:rPr lang="en-GB" sz="1600" dirty="0" smtClean="0">
                  <a:solidFill>
                    <a:srgbClr val="285561"/>
                  </a:solidFill>
                  <a:latin typeface="Arial" pitchFamily="34" charset="0"/>
                  <a:cs typeface="Arial" pitchFamily="34" charset="0"/>
                </a:rPr>
                <a:t> México City, Rio de Janeiro</a:t>
              </a:r>
              <a:endParaRPr lang="en-GB" sz="1200" baseline="30000" dirty="0">
                <a:solidFill>
                  <a:srgbClr val="285561"/>
                </a:solidFill>
                <a:latin typeface="Arial" pitchFamily="34" charset="0"/>
                <a:cs typeface="Arial" pitchFamily="34" charset="0"/>
              </a:endParaRPr>
            </a:p>
          </p:txBody>
        </p:sp>
        <p:sp>
          <p:nvSpPr>
            <p:cNvPr id="23591" name="Oval 3"/>
            <p:cNvSpPr>
              <a:spLocks/>
            </p:cNvSpPr>
            <p:nvPr/>
          </p:nvSpPr>
          <p:spPr bwMode="auto">
            <a:xfrm>
              <a:off x="3455" y="3633"/>
              <a:ext cx="383" cy="85"/>
            </a:xfrm>
            <a:prstGeom prst="ellipse">
              <a:avLst/>
            </a:prstGeom>
            <a:gradFill rotWithShape="1">
              <a:gsLst>
                <a:gs pos="0">
                  <a:srgbClr val="000000">
                    <a:alpha val="29999"/>
                  </a:srgbClr>
                </a:gs>
                <a:gs pos="100000">
                  <a:srgbClr val="000000">
                    <a:alpha val="0"/>
                  </a:srgbClr>
                </a:gs>
              </a:gsLst>
              <a:path path="shape">
                <a:fillToRect l="50000" t="50000" r="50000" b="50000"/>
              </a:path>
            </a:gradFill>
            <a:ln>
              <a:noFill/>
            </a:ln>
            <a:extLst>
              <a:ext uri="{91240B29-F687-4F45-9708-019B960494DF}">
                <a14:hiddenLine xmlns:a14="http://schemas.microsoft.com/office/drawing/2010/main" xmlns="" w="25400">
                  <a:solidFill>
                    <a:srgbClr val="000000"/>
                  </a:solidFill>
                  <a:miter lim="800000"/>
                  <a:headEnd/>
                  <a:tailEnd/>
                </a14:hiddenLine>
              </a:ext>
            </a:extLst>
          </p:spPr>
          <p:txBody>
            <a:bodyPr lIns="0" tIns="0" rIns="0" bIns="0"/>
            <a:lstStyle/>
            <a:p>
              <a:pPr algn="l" defTabSz="642938" eaLnBrk="1" hangingPunct="1"/>
              <a:endParaRPr lang="en-GB" sz="1400" b="0">
                <a:latin typeface="Arial" pitchFamily="34" charset="0"/>
                <a:cs typeface="Arial" pitchFamily="34" charset="0"/>
              </a:endParaRPr>
            </a:p>
          </p:txBody>
        </p:sp>
      </p:grpSp>
      <p:grpSp>
        <p:nvGrpSpPr>
          <p:cNvPr id="23559" name="Group 25"/>
          <p:cNvGrpSpPr>
            <a:grpSpLocks/>
          </p:cNvGrpSpPr>
          <p:nvPr/>
        </p:nvGrpSpPr>
        <p:grpSpPr bwMode="auto">
          <a:xfrm>
            <a:off x="5863205" y="2865441"/>
            <a:ext cx="3087151" cy="1322387"/>
            <a:chOff x="3674" y="1805"/>
            <a:chExt cx="1945" cy="833"/>
          </a:xfrm>
        </p:grpSpPr>
        <p:sp>
          <p:nvSpPr>
            <p:cNvPr id="23581" name="147 Rectángulo"/>
            <p:cNvSpPr>
              <a:spLocks noChangeArrowheads="1"/>
            </p:cNvSpPr>
            <p:nvPr/>
          </p:nvSpPr>
          <p:spPr bwMode="auto">
            <a:xfrm>
              <a:off x="3674" y="1805"/>
              <a:ext cx="1945" cy="833"/>
            </a:xfrm>
            <a:prstGeom prst="rect">
              <a:avLst/>
            </a:prstGeom>
            <a:solidFill>
              <a:srgbClr val="D5EDFA"/>
            </a:solidFill>
            <a:ln>
              <a:noFill/>
            </a:ln>
            <a:extLst>
              <a:ext uri="{91240B29-F687-4F45-9708-019B960494DF}">
                <a14:hiddenLine xmlns:a14="http://schemas.microsoft.com/office/drawing/2010/main" xmlns="" w="25400" algn="ctr">
                  <a:solidFill>
                    <a:srgbClr val="000000"/>
                  </a:solidFill>
                  <a:round/>
                  <a:headEnd/>
                  <a:tailEnd/>
                </a14:hiddenLine>
              </a:ext>
            </a:extLst>
          </p:spPr>
          <p:txBody>
            <a:bodyPr lIns="64291" tIns="32146" rIns="64291" bIns="32146"/>
            <a:lstStyle/>
            <a:p>
              <a:pPr defTabSz="642938" eaLnBrk="1" hangingPunct="1"/>
              <a:endParaRPr lang="en-GB" sz="2700" b="0">
                <a:solidFill>
                  <a:srgbClr val="000000"/>
                </a:solidFill>
                <a:latin typeface="Arial" pitchFamily="34" charset="0"/>
                <a:ea typeface="ヒラギノ角ゴ ProN W3"/>
                <a:cs typeface="Arial" pitchFamily="34" charset="0"/>
                <a:sym typeface="Gill Sans"/>
              </a:endParaRPr>
            </a:p>
          </p:txBody>
        </p:sp>
        <p:sp>
          <p:nvSpPr>
            <p:cNvPr id="23583" name="Rectangle 14"/>
            <p:cNvSpPr>
              <a:spLocks/>
            </p:cNvSpPr>
            <p:nvPr/>
          </p:nvSpPr>
          <p:spPr bwMode="auto">
            <a:xfrm>
              <a:off x="4467" y="1855"/>
              <a:ext cx="831" cy="39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35717" tIns="35717" rIns="64289" bIns="35717" anchor="ctr">
              <a:spAutoFit/>
            </a:bodyPr>
            <a:lstStyle/>
            <a:p>
              <a:pPr algn="l" defTabSz="642938" eaLnBrk="1" hangingPunct="1"/>
              <a:r>
                <a:rPr lang="en-GB" dirty="0" smtClean="0">
                  <a:solidFill>
                    <a:srgbClr val="034769"/>
                  </a:solidFill>
                  <a:latin typeface="Arial" pitchFamily="34" charset="0"/>
                  <a:cs typeface="Arial" pitchFamily="34" charset="0"/>
                </a:rPr>
                <a:t>Business &amp; </a:t>
              </a:r>
            </a:p>
            <a:p>
              <a:pPr algn="l" defTabSz="642938" eaLnBrk="1" hangingPunct="1"/>
              <a:r>
                <a:rPr lang="en-GB" dirty="0" smtClean="0">
                  <a:solidFill>
                    <a:srgbClr val="034769"/>
                  </a:solidFill>
                  <a:latin typeface="Arial" pitchFamily="34" charset="0"/>
                  <a:cs typeface="Arial" pitchFamily="34" charset="0"/>
                </a:rPr>
                <a:t>commerce</a:t>
              </a:r>
              <a:endParaRPr lang="en-GB" sz="1800" dirty="0">
                <a:solidFill>
                  <a:srgbClr val="034769"/>
                </a:solidFill>
                <a:latin typeface="Arial" pitchFamily="34" charset="0"/>
                <a:cs typeface="Arial" pitchFamily="34" charset="0"/>
              </a:endParaRPr>
            </a:p>
          </p:txBody>
        </p:sp>
        <p:pic>
          <p:nvPicPr>
            <p:cNvPr id="23585" name="Picture 6" descr="http://img.vinagreasesino.com/wp-content/uploads/2010/08/redes.jpg"/>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3704" y="1812"/>
              <a:ext cx="677" cy="70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23560" name="Group 31"/>
          <p:cNvGrpSpPr>
            <a:grpSpLocks/>
          </p:cNvGrpSpPr>
          <p:nvPr/>
        </p:nvGrpSpPr>
        <p:grpSpPr bwMode="auto">
          <a:xfrm>
            <a:off x="107933" y="2865441"/>
            <a:ext cx="3334758" cy="1322387"/>
            <a:chOff x="140" y="1805"/>
            <a:chExt cx="2101" cy="833"/>
          </a:xfrm>
        </p:grpSpPr>
        <p:sp>
          <p:nvSpPr>
            <p:cNvPr id="23576" name="129 Rectángulo"/>
            <p:cNvSpPr>
              <a:spLocks noChangeArrowheads="1"/>
            </p:cNvSpPr>
            <p:nvPr/>
          </p:nvSpPr>
          <p:spPr bwMode="auto">
            <a:xfrm>
              <a:off x="140" y="1805"/>
              <a:ext cx="2101" cy="833"/>
            </a:xfrm>
            <a:prstGeom prst="rect">
              <a:avLst/>
            </a:prstGeom>
            <a:solidFill>
              <a:srgbClr val="D5EDFA"/>
            </a:solidFill>
            <a:ln>
              <a:noFill/>
            </a:ln>
            <a:extLst>
              <a:ext uri="{91240B29-F687-4F45-9708-019B960494DF}">
                <a14:hiddenLine xmlns:a14="http://schemas.microsoft.com/office/drawing/2010/main" xmlns="" w="25400" algn="ctr">
                  <a:solidFill>
                    <a:srgbClr val="000000"/>
                  </a:solidFill>
                  <a:round/>
                  <a:headEnd/>
                  <a:tailEnd/>
                </a14:hiddenLine>
              </a:ext>
            </a:extLst>
          </p:spPr>
          <p:txBody>
            <a:bodyPr lIns="64291" tIns="32146" rIns="64291" bIns="32146"/>
            <a:lstStyle/>
            <a:p>
              <a:pPr defTabSz="642938" eaLnBrk="1" hangingPunct="1"/>
              <a:endParaRPr lang="en-GB" sz="2700" b="0">
                <a:solidFill>
                  <a:srgbClr val="000000"/>
                </a:solidFill>
                <a:latin typeface="Arial" pitchFamily="34" charset="0"/>
                <a:ea typeface="ヒラギノ角ゴ ProN W3"/>
                <a:cs typeface="Arial" pitchFamily="34" charset="0"/>
                <a:sym typeface="Gill Sans"/>
              </a:endParaRPr>
            </a:p>
          </p:txBody>
        </p:sp>
        <p:sp>
          <p:nvSpPr>
            <p:cNvPr id="23578" name="Rectangle 14"/>
            <p:cNvSpPr>
              <a:spLocks/>
            </p:cNvSpPr>
            <p:nvPr/>
          </p:nvSpPr>
          <p:spPr bwMode="auto">
            <a:xfrm>
              <a:off x="775" y="1811"/>
              <a:ext cx="1130" cy="39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35717" tIns="35717" rIns="64289" bIns="35717" anchor="ctr">
              <a:spAutoFit/>
            </a:bodyPr>
            <a:lstStyle/>
            <a:p>
              <a:pPr algn="l" defTabSz="642938" eaLnBrk="1" hangingPunct="1"/>
              <a:r>
                <a:rPr lang="en-GB" sz="1800" dirty="0" smtClean="0">
                  <a:solidFill>
                    <a:srgbClr val="034769"/>
                  </a:solidFill>
                  <a:latin typeface="Arial" pitchFamily="34" charset="0"/>
                  <a:cs typeface="Arial" pitchFamily="34" charset="0"/>
                </a:rPr>
                <a:t>Traffic &amp; mobility</a:t>
              </a:r>
            </a:p>
            <a:p>
              <a:pPr algn="l" defTabSz="642938" eaLnBrk="1" hangingPunct="1"/>
              <a:r>
                <a:rPr lang="en-GB" sz="1800" dirty="0" smtClean="0">
                  <a:solidFill>
                    <a:srgbClr val="034769"/>
                  </a:solidFill>
                  <a:latin typeface="Arial" pitchFamily="34" charset="0"/>
                  <a:cs typeface="Arial" pitchFamily="34" charset="0"/>
                </a:rPr>
                <a:t>Management)</a:t>
              </a:r>
              <a:endParaRPr lang="en-GB" sz="1800" dirty="0">
                <a:solidFill>
                  <a:srgbClr val="034769"/>
                </a:solidFill>
                <a:latin typeface="Arial" pitchFamily="34" charset="0"/>
                <a:cs typeface="Arial" pitchFamily="34" charset="0"/>
              </a:endParaRPr>
            </a:p>
          </p:txBody>
        </p:sp>
        <p:sp>
          <p:nvSpPr>
            <p:cNvPr id="23579" name="144 Rectángulo"/>
            <p:cNvSpPr>
              <a:spLocks noChangeArrowheads="1"/>
            </p:cNvSpPr>
            <p:nvPr/>
          </p:nvSpPr>
          <p:spPr bwMode="auto">
            <a:xfrm>
              <a:off x="1218" y="2251"/>
              <a:ext cx="963" cy="1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64291" tIns="32146" rIns="64291" bIns="32146">
              <a:spAutoFit/>
            </a:bodyPr>
            <a:lstStyle/>
            <a:p>
              <a:pPr algn="l"/>
              <a:r>
                <a:rPr lang="en-GB" sz="1600" dirty="0" smtClean="0">
                  <a:solidFill>
                    <a:srgbClr val="285561"/>
                  </a:solidFill>
                  <a:latin typeface="Arial" pitchFamily="34" charset="0"/>
                  <a:cs typeface="Arial" pitchFamily="34" charset="0"/>
                </a:rPr>
                <a:t>i.e. Barcelona</a:t>
              </a:r>
              <a:endParaRPr lang="en-GB" sz="1200" b="0" baseline="30000" dirty="0" smtClean="0">
                <a:solidFill>
                  <a:srgbClr val="285561"/>
                </a:solidFill>
                <a:latin typeface="Arial" pitchFamily="34" charset="0"/>
                <a:cs typeface="Arial" pitchFamily="34" charset="0"/>
              </a:endParaRPr>
            </a:p>
          </p:txBody>
        </p:sp>
      </p:grpSp>
      <p:grpSp>
        <p:nvGrpSpPr>
          <p:cNvPr id="23561" name="Group 52"/>
          <p:cNvGrpSpPr>
            <a:grpSpLocks/>
          </p:cNvGrpSpPr>
          <p:nvPr/>
        </p:nvGrpSpPr>
        <p:grpSpPr bwMode="auto">
          <a:xfrm>
            <a:off x="742821" y="1124744"/>
            <a:ext cx="3101169" cy="1322388"/>
            <a:chOff x="416" y="709"/>
            <a:chExt cx="1814" cy="833"/>
          </a:xfrm>
        </p:grpSpPr>
        <p:sp>
          <p:nvSpPr>
            <p:cNvPr id="23571" name="103 Rectángulo"/>
            <p:cNvSpPr>
              <a:spLocks noChangeArrowheads="1"/>
            </p:cNvSpPr>
            <p:nvPr/>
          </p:nvSpPr>
          <p:spPr bwMode="auto">
            <a:xfrm>
              <a:off x="416" y="709"/>
              <a:ext cx="1792" cy="833"/>
            </a:xfrm>
            <a:prstGeom prst="rect">
              <a:avLst/>
            </a:prstGeom>
            <a:solidFill>
              <a:srgbClr val="D5EDFA"/>
            </a:solidFill>
            <a:ln>
              <a:noFill/>
            </a:ln>
            <a:extLst>
              <a:ext uri="{91240B29-F687-4F45-9708-019B960494DF}">
                <a14:hiddenLine xmlns:a14="http://schemas.microsoft.com/office/drawing/2010/main" xmlns="" w="25400" algn="ctr">
                  <a:solidFill>
                    <a:srgbClr val="000000"/>
                  </a:solidFill>
                  <a:round/>
                  <a:headEnd/>
                  <a:tailEnd/>
                </a14:hiddenLine>
              </a:ext>
            </a:extLst>
          </p:spPr>
          <p:txBody>
            <a:bodyPr lIns="64291" tIns="32146" rIns="64291" bIns="32146"/>
            <a:lstStyle/>
            <a:p>
              <a:pPr defTabSz="642938" eaLnBrk="1" hangingPunct="1"/>
              <a:endParaRPr lang="en-GB" sz="2700" b="0">
                <a:solidFill>
                  <a:srgbClr val="000000"/>
                </a:solidFill>
                <a:latin typeface="Arial" pitchFamily="34" charset="0"/>
                <a:ea typeface="ヒラギノ角ゴ ProN W3"/>
                <a:cs typeface="Arial" pitchFamily="34" charset="0"/>
                <a:sym typeface="Gill Sans"/>
              </a:endParaRPr>
            </a:p>
          </p:txBody>
        </p:sp>
        <p:sp>
          <p:nvSpPr>
            <p:cNvPr id="23573" name="Rectangle 14"/>
            <p:cNvSpPr>
              <a:spLocks/>
            </p:cNvSpPr>
            <p:nvPr/>
          </p:nvSpPr>
          <p:spPr bwMode="auto">
            <a:xfrm>
              <a:off x="1149" y="723"/>
              <a:ext cx="1081" cy="39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square" lIns="35717" tIns="35717" rIns="64289" bIns="35717" anchor="ctr">
              <a:spAutoFit/>
            </a:bodyPr>
            <a:lstStyle/>
            <a:p>
              <a:pPr defTabSz="642938" eaLnBrk="1" hangingPunct="1"/>
              <a:r>
                <a:rPr lang="en-GB" dirty="0" smtClean="0">
                  <a:solidFill>
                    <a:srgbClr val="034769"/>
                  </a:solidFill>
                  <a:latin typeface="Arial" pitchFamily="34" charset="0"/>
                  <a:cs typeface="Arial" pitchFamily="34" charset="0"/>
                </a:rPr>
                <a:t>Waste  </a:t>
              </a:r>
            </a:p>
            <a:p>
              <a:pPr defTabSz="642938" eaLnBrk="1" hangingPunct="1"/>
              <a:r>
                <a:rPr lang="en-GB" dirty="0" smtClean="0">
                  <a:solidFill>
                    <a:srgbClr val="034769"/>
                  </a:solidFill>
                  <a:latin typeface="Arial" pitchFamily="34" charset="0"/>
                  <a:cs typeface="Arial" pitchFamily="34" charset="0"/>
                </a:rPr>
                <a:t>Management</a:t>
              </a:r>
              <a:endParaRPr lang="en-GB" sz="1400" dirty="0">
                <a:solidFill>
                  <a:srgbClr val="034769"/>
                </a:solidFill>
                <a:latin typeface="Arial" pitchFamily="34" charset="0"/>
                <a:cs typeface="Arial" pitchFamily="34" charset="0"/>
              </a:endParaRPr>
            </a:p>
          </p:txBody>
        </p:sp>
      </p:grpSp>
      <p:grpSp>
        <p:nvGrpSpPr>
          <p:cNvPr id="23562" name="Group 43"/>
          <p:cNvGrpSpPr>
            <a:grpSpLocks/>
          </p:cNvGrpSpPr>
          <p:nvPr/>
        </p:nvGrpSpPr>
        <p:grpSpPr bwMode="auto">
          <a:xfrm>
            <a:off x="5422340" y="1082900"/>
            <a:ext cx="3614157" cy="1322387"/>
            <a:chOff x="3281" y="709"/>
            <a:chExt cx="2198" cy="833"/>
          </a:xfrm>
        </p:grpSpPr>
        <p:sp>
          <p:nvSpPr>
            <p:cNvPr id="23566" name="108 Rectángulo"/>
            <p:cNvSpPr>
              <a:spLocks noChangeArrowheads="1"/>
            </p:cNvSpPr>
            <p:nvPr/>
          </p:nvSpPr>
          <p:spPr bwMode="auto">
            <a:xfrm>
              <a:off x="3281" y="709"/>
              <a:ext cx="1944" cy="833"/>
            </a:xfrm>
            <a:prstGeom prst="rect">
              <a:avLst/>
            </a:prstGeom>
            <a:solidFill>
              <a:srgbClr val="D5EDFA"/>
            </a:solidFill>
            <a:ln>
              <a:noFill/>
            </a:ln>
            <a:extLst>
              <a:ext uri="{91240B29-F687-4F45-9708-019B960494DF}">
                <a14:hiddenLine xmlns:a14="http://schemas.microsoft.com/office/drawing/2010/main" xmlns="" w="25400" algn="ctr">
                  <a:solidFill>
                    <a:srgbClr val="000000"/>
                  </a:solidFill>
                  <a:round/>
                  <a:headEnd/>
                  <a:tailEnd/>
                </a14:hiddenLine>
              </a:ext>
            </a:extLst>
          </p:spPr>
          <p:txBody>
            <a:bodyPr lIns="64291" tIns="32146" rIns="64291" bIns="32146"/>
            <a:lstStyle/>
            <a:p>
              <a:pPr defTabSz="642938" eaLnBrk="1" hangingPunct="1"/>
              <a:endParaRPr lang="en-GB" sz="2700" b="0">
                <a:solidFill>
                  <a:srgbClr val="000000"/>
                </a:solidFill>
                <a:latin typeface="Arial" pitchFamily="34" charset="0"/>
                <a:ea typeface="ヒラギノ角ゴ ProN W3"/>
                <a:cs typeface="Arial" pitchFamily="34" charset="0"/>
                <a:sym typeface="Gill Sans"/>
              </a:endParaRPr>
            </a:p>
          </p:txBody>
        </p:sp>
        <p:sp>
          <p:nvSpPr>
            <p:cNvPr id="23568" name="Rectangle 14"/>
            <p:cNvSpPr>
              <a:spLocks/>
            </p:cNvSpPr>
            <p:nvPr/>
          </p:nvSpPr>
          <p:spPr bwMode="auto">
            <a:xfrm>
              <a:off x="4220" y="711"/>
              <a:ext cx="909" cy="5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square" lIns="35717" tIns="35717" rIns="64289" bIns="35717" anchor="ctr">
              <a:spAutoFit/>
            </a:bodyPr>
            <a:lstStyle/>
            <a:p>
              <a:pPr algn="l" defTabSz="642938" eaLnBrk="1" hangingPunct="1"/>
              <a:r>
                <a:rPr lang="en-GB" dirty="0" smtClean="0">
                  <a:solidFill>
                    <a:srgbClr val="034769"/>
                  </a:solidFill>
                  <a:latin typeface="Arial" pitchFamily="34" charset="0"/>
                  <a:cs typeface="Arial" pitchFamily="34" charset="0"/>
                </a:rPr>
                <a:t>Tourism &amp; </a:t>
              </a:r>
            </a:p>
            <a:p>
              <a:pPr algn="l" defTabSz="642938" eaLnBrk="1" hangingPunct="1"/>
              <a:r>
                <a:rPr lang="en-GB" dirty="0" smtClean="0">
                  <a:solidFill>
                    <a:srgbClr val="034769"/>
                  </a:solidFill>
                  <a:latin typeface="Arial" pitchFamily="34" charset="0"/>
                  <a:cs typeface="Arial" pitchFamily="34" charset="0"/>
                </a:rPr>
                <a:t>cultural </a:t>
              </a:r>
            </a:p>
            <a:p>
              <a:pPr algn="l" defTabSz="642938" eaLnBrk="1" hangingPunct="1"/>
              <a:r>
                <a:rPr lang="en-GB" dirty="0" smtClean="0">
                  <a:solidFill>
                    <a:srgbClr val="034769"/>
                  </a:solidFill>
                  <a:latin typeface="Arial" pitchFamily="34" charset="0"/>
                  <a:cs typeface="Arial" pitchFamily="34" charset="0"/>
                </a:rPr>
                <a:t>engagement</a:t>
              </a:r>
              <a:endParaRPr lang="en-GB" sz="1800" dirty="0">
                <a:solidFill>
                  <a:srgbClr val="034769"/>
                </a:solidFill>
                <a:latin typeface="Arial" pitchFamily="34" charset="0"/>
                <a:cs typeface="Arial" pitchFamily="34" charset="0"/>
              </a:endParaRPr>
            </a:p>
          </p:txBody>
        </p:sp>
        <p:sp>
          <p:nvSpPr>
            <p:cNvPr id="23569" name="113 Rectángulo"/>
            <p:cNvSpPr>
              <a:spLocks noChangeArrowheads="1"/>
            </p:cNvSpPr>
            <p:nvPr/>
          </p:nvSpPr>
          <p:spPr bwMode="auto">
            <a:xfrm>
              <a:off x="4396" y="1303"/>
              <a:ext cx="1083" cy="1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64291" tIns="32146" rIns="64291" bIns="32146">
              <a:spAutoFit/>
            </a:bodyPr>
            <a:lstStyle/>
            <a:p>
              <a:pPr algn="l" defTabSz="642938"/>
              <a:r>
                <a:rPr lang="en-GB" sz="1600" dirty="0" smtClean="0">
                  <a:solidFill>
                    <a:srgbClr val="285561"/>
                  </a:solidFill>
                  <a:latin typeface="Arial" pitchFamily="34" charset="0"/>
                  <a:cs typeface="Arial" pitchFamily="34" charset="0"/>
                </a:rPr>
                <a:t>i.e. Madrid </a:t>
              </a:r>
              <a:endParaRPr lang="en-GB" sz="1200" b="0" baseline="30000" dirty="0">
                <a:solidFill>
                  <a:srgbClr val="285561"/>
                </a:solidFill>
                <a:latin typeface="Arial" pitchFamily="34" charset="0"/>
                <a:cs typeface="Arial" pitchFamily="34" charset="0"/>
              </a:endParaRPr>
            </a:p>
          </p:txBody>
        </p:sp>
      </p:grpSp>
      <p:sp>
        <p:nvSpPr>
          <p:cNvPr id="23563" name="Rectangle 65"/>
          <p:cNvSpPr>
            <a:spLocks/>
          </p:cNvSpPr>
          <p:nvPr/>
        </p:nvSpPr>
        <p:spPr bwMode="auto">
          <a:xfrm>
            <a:off x="463469" y="201614"/>
            <a:ext cx="8573027" cy="3864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26788" tIns="26788" rIns="26788" bIns="26788">
            <a:spAutoFit/>
          </a:bodyPr>
          <a:lstStyle/>
          <a:p>
            <a:pPr algn="l" defTabSz="642938" eaLnBrk="1" hangingPunct="1">
              <a:lnSpc>
                <a:spcPct val="90000"/>
              </a:lnSpc>
            </a:pPr>
            <a:r>
              <a:rPr lang="en-GB" sz="2400" b="0" dirty="0" err="1" smtClean="0">
                <a:solidFill>
                  <a:schemeClr val="accent6">
                    <a:lumMod val="50000"/>
                  </a:schemeClr>
                </a:solidFill>
                <a:latin typeface="Arial Unicode MS" pitchFamily="34" charset="-128"/>
                <a:ea typeface="Arial Unicode MS" pitchFamily="34" charset="-128"/>
                <a:cs typeface="Arial Unicode MS" pitchFamily="34" charset="-128"/>
                <a:sym typeface="Telefonica Headline Light" pitchFamily="2" charset="0"/>
              </a:rPr>
              <a:t>Telefonica</a:t>
            </a:r>
            <a:r>
              <a:rPr lang="en-GB" sz="2400" b="0" dirty="0" smtClean="0">
                <a:solidFill>
                  <a:schemeClr val="accent6">
                    <a:lumMod val="50000"/>
                  </a:schemeClr>
                </a:solidFill>
                <a:latin typeface="Arial Unicode MS" pitchFamily="34" charset="-128"/>
                <a:ea typeface="Arial Unicode MS" pitchFamily="34" charset="-128"/>
                <a:cs typeface="Arial Unicode MS" pitchFamily="34" charset="-128"/>
                <a:sym typeface="Telefonica Headline Light" pitchFamily="2" charset="0"/>
              </a:rPr>
              <a:t> has identified that cities </a:t>
            </a:r>
            <a:r>
              <a:rPr lang="en-GB" sz="2400" dirty="0" smtClean="0">
                <a:solidFill>
                  <a:schemeClr val="accent6">
                    <a:lumMod val="50000"/>
                  </a:schemeClr>
                </a:solidFill>
                <a:latin typeface="Arial Unicode MS" pitchFamily="34" charset="-128"/>
                <a:ea typeface="Arial Unicode MS" pitchFamily="34" charset="-128"/>
                <a:cs typeface="Arial Unicode MS" pitchFamily="34" charset="-128"/>
                <a:sym typeface="Telefonica Headline Light" pitchFamily="2" charset="0"/>
              </a:rPr>
              <a:t>have</a:t>
            </a:r>
            <a:r>
              <a:rPr lang="en-GB" sz="2400" b="0" dirty="0" smtClean="0">
                <a:solidFill>
                  <a:schemeClr val="accent6">
                    <a:lumMod val="50000"/>
                  </a:schemeClr>
                </a:solidFill>
                <a:latin typeface="Arial Unicode MS" pitchFamily="34" charset="-128"/>
                <a:ea typeface="Arial Unicode MS" pitchFamily="34" charset="-128"/>
                <a:cs typeface="Arial Unicode MS" pitchFamily="34" charset="-128"/>
                <a:sym typeface="Telefonica Headline Light" pitchFamily="2" charset="0"/>
              </a:rPr>
              <a:t> different interests…</a:t>
            </a:r>
            <a:endParaRPr lang="en-GB" sz="2400" b="0" dirty="0">
              <a:solidFill>
                <a:schemeClr val="accent6">
                  <a:lumMod val="50000"/>
                </a:schemeClr>
              </a:solidFill>
              <a:latin typeface="Arial Unicode MS" pitchFamily="34" charset="-128"/>
              <a:ea typeface="Arial Unicode MS" pitchFamily="34" charset="-128"/>
              <a:cs typeface="Arial Unicode MS" pitchFamily="34" charset="-128"/>
              <a:sym typeface="Telefonica Headline Light" pitchFamily="2" charset="0"/>
            </a:endParaRPr>
          </a:p>
        </p:txBody>
      </p:sp>
      <p:sp>
        <p:nvSpPr>
          <p:cNvPr id="23565" name="38 CuadroTexto"/>
          <p:cNvSpPr txBox="1">
            <a:spLocks noChangeArrowheads="1"/>
          </p:cNvSpPr>
          <p:nvPr/>
        </p:nvSpPr>
        <p:spPr bwMode="auto">
          <a:xfrm>
            <a:off x="372998" y="6021288"/>
            <a:ext cx="8577360" cy="215444"/>
          </a:xfrm>
          <a:prstGeom prst="rect">
            <a:avLst/>
          </a:prstGeom>
          <a:noFill/>
          <a:ln w="9525">
            <a:noFill/>
            <a:miter lim="800000"/>
            <a:headEnd/>
            <a:tailEnd/>
          </a:ln>
          <a:extLst/>
        </p:spPr>
        <p:txBody>
          <a:bodyPr wrap="square">
            <a:spAutoFit/>
          </a:bodyPr>
          <a:lstStyle>
            <a:defPPr>
              <a:defRPr lang="es-ES"/>
            </a:defPPr>
            <a:lvl1pPr>
              <a:defRPr sz="800">
                <a:solidFill>
                  <a:schemeClr val="accent1">
                    <a:lumMod val="50000"/>
                  </a:schemeClr>
                </a:solidFill>
                <a:latin typeface="Arial" pitchFamily="34" charset="0"/>
                <a:cs typeface="Arial" pitchFamily="34" charset="0"/>
              </a:defRPr>
            </a:lvl1pPr>
          </a:lstStyle>
          <a:p>
            <a:r>
              <a:rPr lang="en-US" dirty="0">
                <a:sym typeface="Telefonica Text Bold"/>
              </a:rPr>
              <a:t>Sources:  Business units in </a:t>
            </a:r>
            <a:r>
              <a:rPr lang="en-US" dirty="0" err="1">
                <a:sym typeface="Telefonica Text Bold"/>
              </a:rPr>
              <a:t>Telefónica`s</a:t>
            </a:r>
            <a:r>
              <a:rPr lang="en-US" dirty="0">
                <a:sym typeface="Telefonica Text Bold"/>
              </a:rPr>
              <a:t>  Operating Business </a:t>
            </a:r>
          </a:p>
        </p:txBody>
      </p:sp>
      <p:pic>
        <p:nvPicPr>
          <p:cNvPr id="54" name="Picture 11"/>
          <p:cNvPicPr>
            <a:picLocks noChangeAspect="1" noChangeArrowheads="1"/>
          </p:cNvPicPr>
          <p:nvPr/>
        </p:nvPicPr>
        <p:blipFill>
          <a:blip r:embed="rId11" cstate="print">
            <a:extLst>
              <a:ext uri="{28A0092B-C50C-407E-A947-70E740481C1C}">
                <a14:useLocalDpi xmlns:a14="http://schemas.microsoft.com/office/drawing/2010/main" xmlns="" val="0"/>
              </a:ext>
            </a:extLst>
          </a:blip>
          <a:srcRect/>
          <a:stretch>
            <a:fillRect/>
          </a:stretch>
        </p:blipFill>
        <p:spPr bwMode="auto">
          <a:xfrm>
            <a:off x="803129" y="1301670"/>
            <a:ext cx="1052777" cy="9224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7" name="Picture 4" descr="viajes_iPad02"/>
          <p:cNvPicPr>
            <a:picLocks noChangeAspect="1" noChangeArrowheads="1"/>
          </p:cNvPicPr>
          <p:nvPr/>
        </p:nvPicPr>
        <p:blipFill>
          <a:blip r:embed="rId12" cstate="print">
            <a:extLst>
              <a:ext uri="{28A0092B-C50C-407E-A947-70E740481C1C}">
                <a14:useLocalDpi xmlns:a14="http://schemas.microsoft.com/office/drawing/2010/main" xmlns="" val="0"/>
              </a:ext>
            </a:extLst>
          </a:blip>
          <a:srcRect/>
          <a:stretch>
            <a:fillRect/>
          </a:stretch>
        </p:blipFill>
        <p:spPr bwMode="auto">
          <a:xfrm>
            <a:off x="5463757" y="1159647"/>
            <a:ext cx="1328423" cy="9963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8" name="Picture 15"/>
          <p:cNvPicPr>
            <a:picLocks noChangeAspect="1" noChangeArrowheads="1"/>
          </p:cNvPicPr>
          <p:nvPr/>
        </p:nvPicPr>
        <p:blipFill>
          <a:blip r:embed="rId13" cstate="print">
            <a:extLst>
              <a:ext uri="{28A0092B-C50C-407E-A947-70E740481C1C}">
                <a14:useLocalDpi xmlns:a14="http://schemas.microsoft.com/office/drawing/2010/main" xmlns="" val="0"/>
              </a:ext>
            </a:extLst>
          </a:blip>
          <a:srcRect/>
          <a:stretch>
            <a:fillRect/>
          </a:stretch>
        </p:blipFill>
        <p:spPr bwMode="auto">
          <a:xfrm>
            <a:off x="232530" y="2937056"/>
            <a:ext cx="756256" cy="113488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59" name="113 Rectángulo"/>
          <p:cNvSpPr>
            <a:spLocks noChangeArrowheads="1"/>
          </p:cNvSpPr>
          <p:nvPr/>
        </p:nvSpPr>
        <p:spPr bwMode="auto">
          <a:xfrm>
            <a:off x="1956558" y="1844825"/>
            <a:ext cx="1889778" cy="3111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64291" tIns="32146" rIns="64291" bIns="32146">
            <a:spAutoFit/>
          </a:bodyPr>
          <a:lstStyle/>
          <a:p>
            <a:pPr algn="l" defTabSz="642938"/>
            <a:r>
              <a:rPr lang="en-GB" sz="1600" dirty="0" smtClean="0">
                <a:solidFill>
                  <a:srgbClr val="285561"/>
                </a:solidFill>
                <a:latin typeface="Arial" pitchFamily="34" charset="0"/>
                <a:cs typeface="Arial" pitchFamily="34" charset="0"/>
              </a:rPr>
              <a:t>i.e. </a:t>
            </a:r>
            <a:r>
              <a:rPr lang="en-GB" sz="1600" dirty="0" err="1" smtClean="0">
                <a:solidFill>
                  <a:srgbClr val="285561"/>
                </a:solidFill>
                <a:latin typeface="Arial" pitchFamily="34" charset="0"/>
                <a:cs typeface="Arial" pitchFamily="34" charset="0"/>
              </a:rPr>
              <a:t>Sau</a:t>
            </a:r>
            <a:r>
              <a:rPr lang="en-GB" sz="1600" dirty="0" smtClean="0">
                <a:solidFill>
                  <a:srgbClr val="285561"/>
                </a:solidFill>
                <a:latin typeface="Arial" pitchFamily="34" charset="0"/>
                <a:cs typeface="Arial" pitchFamily="34" charset="0"/>
              </a:rPr>
              <a:t> Pablo</a:t>
            </a:r>
            <a:endParaRPr lang="en-GB" sz="1200" b="0" baseline="30000" dirty="0">
              <a:solidFill>
                <a:srgbClr val="285561"/>
              </a:solidFill>
              <a:latin typeface="Arial" pitchFamily="34" charset="0"/>
              <a:cs typeface="Arial" pitchFamily="34" charset="0"/>
            </a:endParaRPr>
          </a:p>
        </p:txBody>
      </p:sp>
      <p:pic>
        <p:nvPicPr>
          <p:cNvPr id="60" name="Picture 2"/>
          <p:cNvPicPr>
            <a:picLocks noChangeAspect="1" noChangeArrowheads="1"/>
          </p:cNvPicPr>
          <p:nvPr/>
        </p:nvPicPr>
        <p:blipFill>
          <a:blip r:embed="rId14" cstate="print">
            <a:extLst>
              <a:ext uri="{28A0092B-C50C-407E-A947-70E740481C1C}">
                <a14:useLocalDpi xmlns:a14="http://schemas.microsoft.com/office/drawing/2010/main" xmlns="" val="0"/>
              </a:ext>
            </a:extLst>
          </a:blip>
          <a:srcRect/>
          <a:stretch>
            <a:fillRect/>
          </a:stretch>
        </p:blipFill>
        <p:spPr bwMode="auto">
          <a:xfrm>
            <a:off x="5640268" y="4816480"/>
            <a:ext cx="737516" cy="9509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1" name="il_fi" descr="http://motor.terra.es/addon/img/motor/160d059velocidad_radar_599p.jpg"/>
          <p:cNvPicPr>
            <a:picLocks noChangeAspect="1" noChangeArrowheads="1"/>
          </p:cNvPicPr>
          <p:nvPr/>
        </p:nvPicPr>
        <p:blipFill>
          <a:blip r:embed="rId15" cstate="print">
            <a:extLst>
              <a:ext uri="{28A0092B-C50C-407E-A947-70E740481C1C}">
                <a14:useLocalDpi xmlns:a14="http://schemas.microsoft.com/office/drawing/2010/main" xmlns="" val="0"/>
              </a:ext>
            </a:extLst>
          </a:blip>
          <a:srcRect/>
          <a:stretch>
            <a:fillRect/>
          </a:stretch>
        </p:blipFill>
        <p:spPr bwMode="auto">
          <a:xfrm>
            <a:off x="695608" y="3587754"/>
            <a:ext cx="860709" cy="5270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2" name="Picture 8"/>
          <p:cNvPicPr>
            <a:picLocks noChangeAspect="1" noChangeArrowheads="1"/>
          </p:cNvPicPr>
          <p:nvPr/>
        </p:nvPicPr>
        <p:blipFill>
          <a:blip r:embed="rId16" cstate="print">
            <a:extLst>
              <a:ext uri="{28A0092B-C50C-407E-A947-70E740481C1C}">
                <a14:useLocalDpi xmlns:a14="http://schemas.microsoft.com/office/drawing/2010/main" xmlns="" val="0"/>
              </a:ext>
            </a:extLst>
          </a:blip>
          <a:srcRect t="6400"/>
          <a:stretch>
            <a:fillRect/>
          </a:stretch>
        </p:blipFill>
        <p:spPr bwMode="auto">
          <a:xfrm>
            <a:off x="828776" y="4894018"/>
            <a:ext cx="1078928" cy="87520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9" name="113 Rectángulo"/>
          <p:cNvSpPr>
            <a:spLocks noChangeArrowheads="1"/>
          </p:cNvSpPr>
          <p:nvPr/>
        </p:nvSpPr>
        <p:spPr bwMode="auto">
          <a:xfrm>
            <a:off x="7094893" y="3591718"/>
            <a:ext cx="1780770" cy="3111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64291" tIns="32146" rIns="64291" bIns="32146">
            <a:spAutoFit/>
          </a:bodyPr>
          <a:lstStyle/>
          <a:p>
            <a:pPr algn="l" defTabSz="642938"/>
            <a:r>
              <a:rPr lang="en-GB" sz="1600" dirty="0" smtClean="0">
                <a:solidFill>
                  <a:srgbClr val="285561"/>
                </a:solidFill>
                <a:latin typeface="Arial" pitchFamily="34" charset="0"/>
                <a:cs typeface="Arial" pitchFamily="34" charset="0"/>
              </a:rPr>
              <a:t>i.e. Berlin</a:t>
            </a:r>
            <a:endParaRPr lang="en-GB" sz="1200" b="0" baseline="30000" dirty="0">
              <a:solidFill>
                <a:srgbClr val="285561"/>
              </a:solidFill>
              <a:latin typeface="Arial" pitchFamily="34" charset="0"/>
              <a:cs typeface="Arial" pitchFamily="34" charset="0"/>
            </a:endParaRPr>
          </a:p>
        </p:txBody>
      </p:sp>
      <p:sp>
        <p:nvSpPr>
          <p:cNvPr id="70" name="Rectangle 1"/>
          <p:cNvSpPr>
            <a:spLocks/>
          </p:cNvSpPr>
          <p:nvPr/>
        </p:nvSpPr>
        <p:spPr bwMode="auto">
          <a:xfrm>
            <a:off x="0" y="0"/>
            <a:ext cx="368300" cy="647700"/>
          </a:xfrm>
          <a:prstGeom prst="rect">
            <a:avLst/>
          </a:prstGeom>
          <a:gradFill rotWithShape="0">
            <a:gsLst>
              <a:gs pos="0">
                <a:srgbClr val="0A1519"/>
              </a:gs>
              <a:gs pos="100000">
                <a:srgbClr val="2A5E77"/>
              </a:gs>
            </a:gsLst>
            <a:lin ang="2700000" scaled="1"/>
          </a:gradFill>
          <a:ln>
            <a:noFill/>
          </a:ln>
          <a:extLst>
            <a:ext uri="{91240B29-F687-4F45-9708-019B960494DF}">
              <a14:hiddenLine xmlns:a14="http://schemas.microsoft.com/office/drawing/2010/main" xmlns="" w="12700">
                <a:solidFill>
                  <a:schemeClr val="tx1"/>
                </a:solidFill>
                <a:miter lim="800000"/>
                <a:headEnd/>
                <a:tailEnd/>
              </a14:hiddenLine>
            </a:ext>
          </a:extLst>
        </p:spPr>
        <p:txBody>
          <a:bodyPr lIns="0" tIns="0" rIns="0" bIns="0"/>
          <a:lstStyle/>
          <a:p>
            <a:endParaRPr lang="es-ES">
              <a:cs typeface="Arial" pitchFamily="34" charset="0"/>
            </a:endParaRPr>
          </a:p>
        </p:txBody>
      </p:sp>
      <p:sp>
        <p:nvSpPr>
          <p:cNvPr id="71" name="Rectangle 9"/>
          <p:cNvSpPr>
            <a:spLocks/>
          </p:cNvSpPr>
          <p:nvPr/>
        </p:nvSpPr>
        <p:spPr bwMode="auto">
          <a:xfrm>
            <a:off x="55563" y="334963"/>
            <a:ext cx="339725" cy="357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chemeClr val="tx1"/>
                </a:solidFill>
                <a:miter lim="800000"/>
                <a:headEnd/>
                <a:tailEnd/>
              </a14:hiddenLine>
            </a:ext>
          </a:extLst>
        </p:spPr>
        <p:txBody>
          <a:bodyPr lIns="38100" tIns="38100" rIns="38100" bIns="38100"/>
          <a:lstStyle/>
          <a:p>
            <a:pPr algn="l"/>
            <a:r>
              <a:rPr lang="en-US" sz="1400" dirty="0" smtClean="0">
                <a:solidFill>
                  <a:srgbClr val="44B5CA"/>
                </a:solidFill>
                <a:ea typeface="MS PGothic" pitchFamily="34" charset="-128"/>
                <a:sym typeface="Telefonica Text Bold"/>
              </a:rPr>
              <a:t>02</a:t>
            </a:r>
            <a:endParaRPr lang="en-US" sz="1400" dirty="0">
              <a:solidFill>
                <a:srgbClr val="44B5CA"/>
              </a:solidFill>
              <a:ea typeface="MS PGothic" pitchFamily="34" charset="-128"/>
              <a:sym typeface="Telefonica Text Bold"/>
            </a:endParaRPr>
          </a:p>
        </p:txBody>
      </p:sp>
    </p:spTree>
    <p:extLst>
      <p:ext uri="{BB962C8B-B14F-4D97-AF65-F5344CB8AC3E}">
        <p14:creationId xmlns:p14="http://schemas.microsoft.com/office/powerpoint/2010/main" xmlns="" val="1258645728"/>
      </p:ext>
    </p:extLst>
  </p:cSld>
  <p:clrMapOvr>
    <a:overrideClrMapping bg1="lt1" tx1="dk1" bg2="lt2" tx2="dk2" accent1="accent1" accent2="accent2" accent3="accent3" accent4="accent4" accent5="accent5" accent6="accent6" hlink="hlink" folHlink="folHlink"/>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9" name="AutoShape 2"/>
          <p:cNvSpPr>
            <a:spLocks noChangeArrowheads="1"/>
          </p:cNvSpPr>
          <p:nvPr/>
        </p:nvSpPr>
        <p:spPr bwMode="auto">
          <a:xfrm>
            <a:off x="395288" y="-56888"/>
            <a:ext cx="8618537" cy="761475"/>
          </a:xfrm>
          <a:prstGeom prst="roundRect">
            <a:avLst>
              <a:gd name="adj" fmla="val 16667"/>
            </a:avLst>
          </a:prstGeom>
          <a:noFill/>
          <a:ln w="9525" algn="ctr">
            <a:noFill/>
            <a:round/>
            <a:headEnd/>
            <a:tailEnd/>
          </a:ln>
        </p:spPr>
        <p:txBody>
          <a:bodyPr lIns="36000" tIns="36000" rIns="36000" bIns="36000">
            <a:spAutoFit/>
          </a:bodyPr>
          <a:lstStyle/>
          <a:p>
            <a:pPr defTabSz="457200"/>
            <a:r>
              <a:rPr lang="en-GB" sz="2000" b="1" dirty="0" smtClean="0">
                <a:solidFill>
                  <a:schemeClr val="tx2"/>
                </a:solidFill>
                <a:latin typeface="Arial" pitchFamily="34" charset="0"/>
                <a:ea typeface="Arial Unicode MS" pitchFamily="34" charset="-128"/>
                <a:cs typeface="Arial" pitchFamily="34" charset="0"/>
              </a:rPr>
              <a:t>For Telefonica, the Smart City is the intensive use of ICTs to optimize current urban services and enable new businesses</a:t>
            </a:r>
            <a:endParaRPr lang="en-GB" sz="2000" b="1" dirty="0">
              <a:solidFill>
                <a:schemeClr val="tx2"/>
              </a:solidFill>
              <a:latin typeface="Arial" pitchFamily="34" charset="0"/>
              <a:ea typeface="Arial Unicode MS" pitchFamily="34" charset="-128"/>
              <a:cs typeface="Arial" pitchFamily="34" charset="0"/>
            </a:endParaRPr>
          </a:p>
        </p:txBody>
      </p:sp>
      <p:sp>
        <p:nvSpPr>
          <p:cNvPr id="18" name="Rectangle 1"/>
          <p:cNvSpPr>
            <a:spLocks/>
          </p:cNvSpPr>
          <p:nvPr/>
        </p:nvSpPr>
        <p:spPr bwMode="auto">
          <a:xfrm>
            <a:off x="0" y="0"/>
            <a:ext cx="368300" cy="647700"/>
          </a:xfrm>
          <a:prstGeom prst="rect">
            <a:avLst/>
          </a:prstGeom>
          <a:gradFill rotWithShape="0">
            <a:gsLst>
              <a:gs pos="0">
                <a:srgbClr val="0A1519"/>
              </a:gs>
              <a:gs pos="100000">
                <a:srgbClr val="2A5E77"/>
              </a:gs>
            </a:gsLst>
            <a:lin ang="2700000" scaled="1"/>
          </a:gradFill>
          <a:ln>
            <a:noFill/>
          </a:ln>
          <a:extLst>
            <a:ext uri="{91240B29-F687-4F45-9708-019B960494DF}">
              <a14:hiddenLine xmlns:a14="http://schemas.microsoft.com/office/drawing/2010/main" xmlns="" w="12700">
                <a:solidFill>
                  <a:schemeClr val="tx1"/>
                </a:solidFill>
                <a:miter lim="800000"/>
                <a:headEnd/>
                <a:tailEnd/>
              </a14:hiddenLine>
            </a:ext>
          </a:extLst>
        </p:spPr>
        <p:txBody>
          <a:bodyPr lIns="0" tIns="0" rIns="0" bIns="0"/>
          <a:lstStyle/>
          <a:p>
            <a:endParaRPr lang="es-ES">
              <a:cs typeface="Arial" pitchFamily="34" charset="0"/>
            </a:endParaRPr>
          </a:p>
        </p:txBody>
      </p:sp>
      <p:sp>
        <p:nvSpPr>
          <p:cNvPr id="19" name="Rectangle 9"/>
          <p:cNvSpPr>
            <a:spLocks/>
          </p:cNvSpPr>
          <p:nvPr/>
        </p:nvSpPr>
        <p:spPr bwMode="auto">
          <a:xfrm>
            <a:off x="55563" y="334963"/>
            <a:ext cx="339725" cy="357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chemeClr val="tx1"/>
                </a:solidFill>
                <a:miter lim="800000"/>
                <a:headEnd/>
                <a:tailEnd/>
              </a14:hiddenLine>
            </a:ext>
          </a:extLst>
        </p:spPr>
        <p:txBody>
          <a:bodyPr lIns="38100" tIns="38100" rIns="38100" bIns="38100"/>
          <a:lstStyle/>
          <a:p>
            <a:pPr algn="l"/>
            <a:r>
              <a:rPr lang="en-US" sz="1400" dirty="0" smtClean="0">
                <a:solidFill>
                  <a:srgbClr val="44B5CA"/>
                </a:solidFill>
                <a:ea typeface="MS PGothic" pitchFamily="34" charset="-128"/>
                <a:sym typeface="Telefonica Text Bold"/>
              </a:rPr>
              <a:t>02</a:t>
            </a:r>
            <a:endParaRPr lang="en-US" sz="1400" dirty="0">
              <a:solidFill>
                <a:srgbClr val="44B5CA"/>
              </a:solidFill>
              <a:ea typeface="MS PGothic" pitchFamily="34" charset="-128"/>
              <a:sym typeface="Telefonica Text Bold"/>
            </a:endParaRPr>
          </a:p>
        </p:txBody>
      </p:sp>
      <p:pic>
        <p:nvPicPr>
          <p:cNvPr id="20" name="Picture 2" descr="D:\Moviles\CMN\Sectores\Gobierno\Smart City\2b.jpg"/>
          <p:cNvPicPr>
            <a:picLocks noChangeAspect="1" noChangeArrowheads="1"/>
          </p:cNvPicPr>
          <p:nvPr/>
        </p:nvPicPr>
        <p:blipFill rotWithShape="1">
          <a:blip r:embed="rId3" cstate="print">
            <a:extLst>
              <a:ext uri="{28A0092B-C50C-407E-A947-70E740481C1C}">
                <a14:useLocalDpi xmlns:a14="http://schemas.microsoft.com/office/drawing/2010/main" xmlns="" val="0"/>
              </a:ext>
            </a:extLst>
          </a:blip>
          <a:srcRect t="21482" b="20815"/>
          <a:stretch/>
        </p:blipFill>
        <p:spPr bwMode="auto">
          <a:xfrm>
            <a:off x="179512" y="748876"/>
            <a:ext cx="8680802" cy="5488437"/>
          </a:xfrm>
          <a:prstGeom prst="rect">
            <a:avLst/>
          </a:prstGeom>
          <a:noFill/>
          <a:extLst>
            <a:ext uri="{909E8E84-426E-40DD-AFC4-6F175D3DCCD1}">
              <a14:hiddenFill xmlns:a14="http://schemas.microsoft.com/office/drawing/2010/main" xmlns="">
                <a:solidFill>
                  <a:srgbClr val="FFFFFF"/>
                </a:solidFill>
              </a14:hiddenFill>
            </a:ext>
          </a:extLst>
        </p:spPr>
      </p:pic>
      <p:sp>
        <p:nvSpPr>
          <p:cNvPr id="5" name="4 CuadroTexto"/>
          <p:cNvSpPr txBox="1"/>
          <p:nvPr/>
        </p:nvSpPr>
        <p:spPr>
          <a:xfrm rot="624796">
            <a:off x="2497620" y="4955194"/>
            <a:ext cx="3384376" cy="461665"/>
          </a:xfrm>
          <a:prstGeom prst="rect">
            <a:avLst/>
          </a:prstGeom>
          <a:noFill/>
        </p:spPr>
        <p:txBody>
          <a:bodyPr wrap="square" rtlCol="0">
            <a:spAutoFit/>
          </a:bodyPr>
          <a:lstStyle/>
          <a:p>
            <a:pPr algn="ctr"/>
            <a:r>
              <a:rPr lang="en-US" sz="2400" b="1" dirty="0" smtClean="0">
                <a:latin typeface="Arial" pitchFamily="34" charset="0"/>
                <a:cs typeface="Arial" pitchFamily="34" charset="0"/>
              </a:rPr>
              <a:t>Technology</a:t>
            </a:r>
            <a:endParaRPr lang="en-US" sz="2400" b="1" dirty="0">
              <a:latin typeface="Arial" pitchFamily="34" charset="0"/>
              <a:cs typeface="Arial" pitchFamily="34" charset="0"/>
            </a:endParaRPr>
          </a:p>
        </p:txBody>
      </p:sp>
      <p:sp>
        <p:nvSpPr>
          <p:cNvPr id="32" name="31 CuadroTexto"/>
          <p:cNvSpPr txBox="1"/>
          <p:nvPr/>
        </p:nvSpPr>
        <p:spPr>
          <a:xfrm>
            <a:off x="971600" y="3436368"/>
            <a:ext cx="3384376" cy="369332"/>
          </a:xfrm>
          <a:prstGeom prst="rect">
            <a:avLst/>
          </a:prstGeom>
          <a:noFill/>
        </p:spPr>
        <p:txBody>
          <a:bodyPr wrap="square" rtlCol="0">
            <a:spAutoFit/>
          </a:bodyPr>
          <a:lstStyle/>
          <a:p>
            <a:pPr algn="ctr"/>
            <a:r>
              <a:rPr lang="en-US" b="1" dirty="0" smtClean="0">
                <a:solidFill>
                  <a:schemeClr val="tx2"/>
                </a:solidFill>
                <a:latin typeface="Arial" pitchFamily="34" charset="0"/>
                <a:cs typeface="Arial" pitchFamily="34" charset="0"/>
              </a:rPr>
              <a:t>Urban Services</a:t>
            </a:r>
            <a:endParaRPr lang="en-US" b="1" dirty="0">
              <a:solidFill>
                <a:schemeClr val="tx2"/>
              </a:solidFill>
              <a:latin typeface="Arial" pitchFamily="34" charset="0"/>
              <a:cs typeface="Arial" pitchFamily="34" charset="0"/>
            </a:endParaRPr>
          </a:p>
        </p:txBody>
      </p:sp>
      <p:sp>
        <p:nvSpPr>
          <p:cNvPr id="33" name="32 CuadroTexto"/>
          <p:cNvSpPr txBox="1"/>
          <p:nvPr/>
        </p:nvSpPr>
        <p:spPr>
          <a:xfrm>
            <a:off x="2949602" y="3813424"/>
            <a:ext cx="3384376" cy="369332"/>
          </a:xfrm>
          <a:prstGeom prst="rect">
            <a:avLst/>
          </a:prstGeom>
          <a:noFill/>
        </p:spPr>
        <p:txBody>
          <a:bodyPr wrap="square" rtlCol="0">
            <a:spAutoFit/>
          </a:bodyPr>
          <a:lstStyle/>
          <a:p>
            <a:pPr algn="ctr"/>
            <a:r>
              <a:rPr lang="en-US" b="1" dirty="0" smtClean="0">
                <a:solidFill>
                  <a:schemeClr val="tx2"/>
                </a:solidFill>
                <a:latin typeface="Arial" pitchFamily="34" charset="0"/>
                <a:cs typeface="Arial" pitchFamily="34" charset="0"/>
              </a:rPr>
              <a:t>City businesses</a:t>
            </a:r>
            <a:endParaRPr lang="en-US" b="1" dirty="0">
              <a:solidFill>
                <a:schemeClr val="tx2"/>
              </a:solidFill>
              <a:latin typeface="Arial" pitchFamily="34" charset="0"/>
              <a:cs typeface="Arial" pitchFamily="34" charset="0"/>
            </a:endParaRPr>
          </a:p>
        </p:txBody>
      </p:sp>
      <p:sp>
        <p:nvSpPr>
          <p:cNvPr id="34" name="33 CuadroTexto"/>
          <p:cNvSpPr txBox="1"/>
          <p:nvPr/>
        </p:nvSpPr>
        <p:spPr>
          <a:xfrm>
            <a:off x="4625347" y="4085863"/>
            <a:ext cx="3384376" cy="369332"/>
          </a:xfrm>
          <a:prstGeom prst="rect">
            <a:avLst/>
          </a:prstGeom>
          <a:noFill/>
        </p:spPr>
        <p:txBody>
          <a:bodyPr wrap="square" rtlCol="0">
            <a:spAutoFit/>
          </a:bodyPr>
          <a:lstStyle/>
          <a:p>
            <a:pPr algn="ctr"/>
            <a:r>
              <a:rPr lang="en-US" b="1" dirty="0" smtClean="0">
                <a:solidFill>
                  <a:schemeClr val="tx2"/>
                </a:solidFill>
                <a:latin typeface="Arial" pitchFamily="34" charset="0"/>
                <a:cs typeface="Arial" pitchFamily="34" charset="0"/>
              </a:rPr>
              <a:t>Citizens</a:t>
            </a:r>
            <a:endParaRPr lang="en-US" b="1" dirty="0">
              <a:solidFill>
                <a:schemeClr val="tx2"/>
              </a:solidFill>
              <a:latin typeface="Arial" pitchFamily="34" charset="0"/>
              <a:cs typeface="Arial" pitchFamily="34" charset="0"/>
            </a:endParaRPr>
          </a:p>
        </p:txBody>
      </p:sp>
      <p:sp>
        <p:nvSpPr>
          <p:cNvPr id="35" name="34 CuadroTexto"/>
          <p:cNvSpPr txBox="1"/>
          <p:nvPr/>
        </p:nvSpPr>
        <p:spPr>
          <a:xfrm>
            <a:off x="3479304" y="1041637"/>
            <a:ext cx="3384376" cy="461665"/>
          </a:xfrm>
          <a:prstGeom prst="rect">
            <a:avLst/>
          </a:prstGeom>
          <a:noFill/>
        </p:spPr>
        <p:txBody>
          <a:bodyPr wrap="square" rtlCol="0">
            <a:spAutoFit/>
          </a:bodyPr>
          <a:lstStyle/>
          <a:p>
            <a:pPr algn="ctr"/>
            <a:r>
              <a:rPr lang="en-US" sz="2400" b="1" dirty="0" smtClean="0">
                <a:latin typeface="Arial" pitchFamily="34" charset="0"/>
                <a:cs typeface="Arial" pitchFamily="34" charset="0"/>
              </a:rPr>
              <a:t>City Management</a:t>
            </a:r>
            <a:endParaRPr lang="en-US" sz="2400" b="1" dirty="0">
              <a:latin typeface="Arial" pitchFamily="34" charset="0"/>
              <a:cs typeface="Arial" pitchFamily="34" charset="0"/>
            </a:endParaRPr>
          </a:p>
        </p:txBody>
      </p:sp>
    </p:spTree>
    <p:extLst>
      <p:ext uri="{BB962C8B-B14F-4D97-AF65-F5344CB8AC3E}">
        <p14:creationId xmlns:p14="http://schemas.microsoft.com/office/powerpoint/2010/main" xmlns="" val="4048409894"/>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45 Triángulo isósceles"/>
          <p:cNvSpPr/>
          <p:nvPr/>
        </p:nvSpPr>
        <p:spPr bwMode="auto">
          <a:xfrm>
            <a:off x="3991373" y="1494940"/>
            <a:ext cx="386335" cy="4678296"/>
          </a:xfrm>
          <a:prstGeom prst="leftBrace">
            <a:avLst>
              <a:gd name="adj1" fmla="val 0"/>
              <a:gd name="adj2" fmla="val 50000"/>
            </a:avLst>
          </a:prstGeom>
          <a:ln w="28575"/>
        </p:spPr>
        <p:style>
          <a:lnRef idx="1">
            <a:schemeClr val="accent1"/>
          </a:lnRef>
          <a:fillRef idx="0">
            <a:schemeClr val="accent1"/>
          </a:fillRef>
          <a:effectRef idx="0">
            <a:schemeClr val="accent1"/>
          </a:effectRef>
          <a:fontRef idx="minor">
            <a:schemeClr val="tx1"/>
          </a:fontRef>
        </p:style>
        <p:txBody>
          <a:bodyPr vert="horz" wrap="square" lIns="72000" tIns="36000" rIns="72000" bIns="36000" numCol="1" rtlCol="0" anchor="ctr" anchorCtr="0" compatLnSpc="1">
            <a:prstTxWarp prst="textNoShape">
              <a:avLst/>
            </a:prstTxWarp>
            <a:noAutofit/>
          </a:bodyPr>
          <a:lstStyle/>
          <a:p>
            <a:pPr marL="0" marR="0" indent="0" algn="ctr" defTabSz="914400" rtl="0" eaLnBrk="1" fontAlgn="base" latinLnBrk="0" hangingPunct="1">
              <a:lnSpc>
                <a:spcPct val="105000"/>
              </a:lnSpc>
              <a:spcBef>
                <a:spcPct val="30000"/>
              </a:spcBef>
              <a:spcAft>
                <a:spcPct val="0"/>
              </a:spcAft>
              <a:buClrTx/>
              <a:buSzTx/>
              <a:buFontTx/>
              <a:buNone/>
              <a:tabLst/>
            </a:pPr>
            <a:endParaRPr kumimoji="0" lang="es-ES" sz="1300" b="0" i="0" u="none" strike="noStrike" cap="none" normalizeH="0" baseline="0" dirty="0" smtClean="0">
              <a:ln>
                <a:noFill/>
              </a:ln>
              <a:solidFill>
                <a:schemeClr val="tx1"/>
              </a:solidFill>
              <a:effectLst/>
              <a:latin typeface="Arial" pitchFamily="34" charset="0"/>
              <a:ea typeface="ＭＳ Ｐゴシック" pitchFamily="34" charset="-128"/>
              <a:cs typeface="Arial" pitchFamily="34" charset="0"/>
            </a:endParaRPr>
          </a:p>
        </p:txBody>
      </p:sp>
      <p:sp>
        <p:nvSpPr>
          <p:cNvPr id="115713" name="Slide Number Placeholder 2"/>
          <p:cNvSpPr>
            <a:spLocks noGrp="1"/>
          </p:cNvSpPr>
          <p:nvPr>
            <p:ph type="sldNum" sz="quarter" idx="4294967295"/>
          </p:nvPr>
        </p:nvSpPr>
        <p:spPr>
          <a:xfrm>
            <a:off x="4252382" y="6497640"/>
            <a:ext cx="697976" cy="276225"/>
          </a:xfrm>
          <a:prstGeom prst="rect">
            <a:avLst/>
          </a:prstGeom>
          <a:noFill/>
        </p:spPr>
        <p:txBody>
          <a:bodyPr/>
          <a:lstStyle/>
          <a:p>
            <a:pPr fontAlgn="base">
              <a:spcAft>
                <a:spcPct val="0"/>
              </a:spcAft>
            </a:pPr>
            <a:fld id="{DA2F3B8A-8583-4B50-89C7-B0FF1273554C}" type="slidenum">
              <a:rPr lang="es-ES" smtClean="0">
                <a:latin typeface="Arial" pitchFamily="34" charset="0"/>
                <a:ea typeface="ＭＳ Ｐゴシック"/>
                <a:cs typeface="Arial" pitchFamily="34" charset="0"/>
              </a:rPr>
              <a:pPr fontAlgn="base">
                <a:spcAft>
                  <a:spcPct val="0"/>
                </a:spcAft>
              </a:pPr>
              <a:t>13</a:t>
            </a:fld>
            <a:endParaRPr lang="es-ES" dirty="0" smtClean="0">
              <a:latin typeface="Arial" pitchFamily="34" charset="0"/>
              <a:ea typeface="ＭＳ Ｐゴシック"/>
              <a:cs typeface="Arial" pitchFamily="34" charset="0"/>
            </a:endParaRPr>
          </a:p>
        </p:txBody>
      </p:sp>
      <p:sp>
        <p:nvSpPr>
          <p:cNvPr id="115719" name="AutoShape 2"/>
          <p:cNvSpPr>
            <a:spLocks noChangeArrowheads="1"/>
          </p:cNvSpPr>
          <p:nvPr/>
        </p:nvSpPr>
        <p:spPr bwMode="auto">
          <a:xfrm>
            <a:off x="312739" y="19226"/>
            <a:ext cx="8618537" cy="897683"/>
          </a:xfrm>
          <a:prstGeom prst="roundRect">
            <a:avLst>
              <a:gd name="adj" fmla="val 16667"/>
            </a:avLst>
          </a:prstGeom>
          <a:noFill/>
          <a:ln w="9525" algn="ctr">
            <a:noFill/>
            <a:round/>
            <a:headEnd/>
            <a:tailEnd/>
          </a:ln>
        </p:spPr>
        <p:txBody>
          <a:bodyPr lIns="36000" tIns="36000" rIns="36000" bIns="36000">
            <a:spAutoFit/>
          </a:bodyPr>
          <a:lstStyle/>
          <a:p>
            <a:pPr defTabSz="457200"/>
            <a:r>
              <a:rPr lang="en-GB" sz="2400" b="1" dirty="0" smtClean="0">
                <a:solidFill>
                  <a:schemeClr val="tx2"/>
                </a:solidFill>
                <a:latin typeface="Arial" pitchFamily="34" charset="0"/>
                <a:ea typeface="Arial Unicode MS" pitchFamily="34" charset="-128"/>
                <a:cs typeface="Arial" pitchFamily="34" charset="0"/>
              </a:rPr>
              <a:t>It’ll be critical to base any Smart City proposition on a sounded value opportunity</a:t>
            </a:r>
            <a:endParaRPr lang="en-GB" sz="2400" b="1" dirty="0">
              <a:solidFill>
                <a:schemeClr val="tx2"/>
              </a:solidFill>
              <a:latin typeface="Arial" pitchFamily="34" charset="0"/>
              <a:ea typeface="Arial Unicode MS" pitchFamily="34" charset="-128"/>
              <a:cs typeface="Arial" pitchFamily="34" charset="0"/>
            </a:endParaRPr>
          </a:p>
        </p:txBody>
      </p:sp>
      <p:sp>
        <p:nvSpPr>
          <p:cNvPr id="48" name="TextBox 4"/>
          <p:cNvSpPr txBox="1">
            <a:spLocks noChangeArrowheads="1"/>
          </p:cNvSpPr>
          <p:nvPr/>
        </p:nvSpPr>
        <p:spPr bwMode="auto">
          <a:xfrm>
            <a:off x="5023962" y="1606003"/>
            <a:ext cx="2098374" cy="584775"/>
          </a:xfrm>
          <a:prstGeom prst="rect">
            <a:avLst/>
          </a:prstGeom>
          <a:noFill/>
          <a:ln w="9525">
            <a:noFill/>
            <a:miter lim="800000"/>
            <a:headEnd/>
            <a:tailEnd/>
          </a:ln>
        </p:spPr>
        <p:txBody>
          <a:bodyPr wrap="square">
            <a:spAutoFit/>
          </a:bodyPr>
          <a:lstStyle/>
          <a:p>
            <a:r>
              <a:rPr lang="en-US" sz="1600" b="1" dirty="0" smtClean="0">
                <a:solidFill>
                  <a:sysClr val="windowText" lastClr="000000"/>
                </a:solidFill>
                <a:latin typeface="Arial" pitchFamily="34" charset="0"/>
                <a:cs typeface="Arial" pitchFamily="34" charset="0"/>
              </a:rPr>
              <a:t>Cost reduction &amp; efficiency</a:t>
            </a:r>
            <a:endParaRPr lang="en-US" sz="1600" b="1" dirty="0">
              <a:solidFill>
                <a:sysClr val="windowText" lastClr="000000"/>
              </a:solidFill>
              <a:latin typeface="Arial" pitchFamily="34" charset="0"/>
              <a:cs typeface="Arial" pitchFamily="34" charset="0"/>
            </a:endParaRPr>
          </a:p>
        </p:txBody>
      </p:sp>
      <p:sp>
        <p:nvSpPr>
          <p:cNvPr id="54" name="TextBox 4"/>
          <p:cNvSpPr txBox="1">
            <a:spLocks noChangeArrowheads="1"/>
          </p:cNvSpPr>
          <p:nvPr/>
        </p:nvSpPr>
        <p:spPr bwMode="auto">
          <a:xfrm>
            <a:off x="5023962" y="3001030"/>
            <a:ext cx="2098374" cy="338554"/>
          </a:xfrm>
          <a:prstGeom prst="rect">
            <a:avLst/>
          </a:prstGeom>
          <a:noFill/>
          <a:ln w="9525">
            <a:noFill/>
            <a:miter lim="800000"/>
            <a:headEnd/>
            <a:tailEnd/>
          </a:ln>
        </p:spPr>
        <p:txBody>
          <a:bodyPr wrap="square">
            <a:spAutoFit/>
          </a:bodyPr>
          <a:lstStyle/>
          <a:p>
            <a:r>
              <a:rPr lang="en-US" sz="1600" b="1" dirty="0" smtClean="0">
                <a:solidFill>
                  <a:sysClr val="windowText" lastClr="000000"/>
                </a:solidFill>
                <a:latin typeface="Arial" pitchFamily="34" charset="0"/>
                <a:cs typeface="Arial" pitchFamily="34" charset="0"/>
              </a:rPr>
              <a:t>Increase Income</a:t>
            </a:r>
            <a:endParaRPr lang="en-US" sz="1600" b="1" dirty="0">
              <a:solidFill>
                <a:sysClr val="windowText" lastClr="000000"/>
              </a:solidFill>
              <a:latin typeface="Arial" pitchFamily="34" charset="0"/>
              <a:cs typeface="Arial" pitchFamily="34" charset="0"/>
            </a:endParaRPr>
          </a:p>
        </p:txBody>
      </p:sp>
      <p:sp>
        <p:nvSpPr>
          <p:cNvPr id="55" name="TextBox 4"/>
          <p:cNvSpPr txBox="1">
            <a:spLocks noChangeArrowheads="1"/>
          </p:cNvSpPr>
          <p:nvPr/>
        </p:nvSpPr>
        <p:spPr bwMode="auto">
          <a:xfrm>
            <a:off x="5023962" y="4149838"/>
            <a:ext cx="2098374" cy="584775"/>
          </a:xfrm>
          <a:prstGeom prst="rect">
            <a:avLst/>
          </a:prstGeom>
          <a:noFill/>
          <a:ln w="9525">
            <a:noFill/>
            <a:miter lim="800000"/>
            <a:headEnd/>
            <a:tailEnd/>
          </a:ln>
        </p:spPr>
        <p:txBody>
          <a:bodyPr wrap="square">
            <a:spAutoFit/>
          </a:bodyPr>
          <a:lstStyle/>
          <a:p>
            <a:r>
              <a:rPr lang="en-US" sz="1600" b="1" dirty="0" smtClean="0">
                <a:solidFill>
                  <a:sysClr val="windowText" lastClr="000000"/>
                </a:solidFill>
                <a:latin typeface="Arial" pitchFamily="34" charset="0"/>
                <a:cs typeface="Arial" pitchFamily="34" charset="0"/>
              </a:rPr>
              <a:t>Governance &amp; city planning</a:t>
            </a:r>
            <a:endParaRPr lang="en-US" sz="1600" b="1" dirty="0">
              <a:solidFill>
                <a:sysClr val="windowText" lastClr="000000"/>
              </a:solidFill>
              <a:latin typeface="Arial" pitchFamily="34" charset="0"/>
              <a:cs typeface="Arial" pitchFamily="34" charset="0"/>
            </a:endParaRPr>
          </a:p>
        </p:txBody>
      </p:sp>
      <p:sp>
        <p:nvSpPr>
          <p:cNvPr id="56" name="TextBox 4"/>
          <p:cNvSpPr txBox="1">
            <a:spLocks noChangeArrowheads="1"/>
          </p:cNvSpPr>
          <p:nvPr/>
        </p:nvSpPr>
        <p:spPr bwMode="auto">
          <a:xfrm>
            <a:off x="5023962" y="5421756"/>
            <a:ext cx="2098374" cy="584775"/>
          </a:xfrm>
          <a:prstGeom prst="rect">
            <a:avLst/>
          </a:prstGeom>
          <a:noFill/>
          <a:ln w="9525">
            <a:noFill/>
            <a:miter lim="800000"/>
            <a:headEnd/>
            <a:tailEnd/>
          </a:ln>
        </p:spPr>
        <p:txBody>
          <a:bodyPr wrap="square">
            <a:spAutoFit/>
          </a:bodyPr>
          <a:lstStyle/>
          <a:p>
            <a:r>
              <a:rPr lang="en-US" sz="1600" b="1" dirty="0" smtClean="0">
                <a:solidFill>
                  <a:sysClr val="windowText" lastClr="000000"/>
                </a:solidFill>
                <a:latin typeface="Arial" pitchFamily="34" charset="0"/>
                <a:cs typeface="Arial" pitchFamily="34" charset="0"/>
              </a:rPr>
              <a:t>Sustainability and quality of life</a:t>
            </a:r>
            <a:endParaRPr lang="en-US" sz="1600" b="1" dirty="0">
              <a:solidFill>
                <a:sysClr val="windowText" lastClr="000000"/>
              </a:solidFill>
              <a:latin typeface="Arial" pitchFamily="34" charset="0"/>
              <a:cs typeface="Arial" pitchFamily="34" charset="0"/>
            </a:endParaRPr>
          </a:p>
        </p:txBody>
      </p:sp>
      <p:sp>
        <p:nvSpPr>
          <p:cNvPr id="12" name="11 Elipse"/>
          <p:cNvSpPr/>
          <p:nvPr/>
        </p:nvSpPr>
        <p:spPr bwMode="auto">
          <a:xfrm>
            <a:off x="4352110" y="1698206"/>
            <a:ext cx="471596" cy="400369"/>
          </a:xfrm>
          <a:prstGeom prst="rect">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0" tIns="0" rIns="0" bIns="0" numCol="1" rtlCol="0" anchor="ctr" anchorCtr="0" compatLnSpc="1">
            <a:prstTxWarp prst="textNoShape">
              <a:avLst/>
            </a:prstTxWarp>
            <a:noAutofit/>
          </a:bodyPr>
          <a:lstStyle/>
          <a:p>
            <a:pPr marL="0" marR="0" indent="0" algn="ctr" defTabSz="914400" rtl="0" eaLnBrk="1" fontAlgn="base" latinLnBrk="0" hangingPunct="1">
              <a:lnSpc>
                <a:spcPct val="105000"/>
              </a:lnSpc>
              <a:spcBef>
                <a:spcPct val="30000"/>
              </a:spcBef>
              <a:spcAft>
                <a:spcPct val="0"/>
              </a:spcAft>
              <a:buClrTx/>
              <a:buSzTx/>
              <a:buFontTx/>
              <a:buNone/>
              <a:tabLst/>
            </a:pPr>
            <a:r>
              <a:rPr kumimoji="0" lang="es-ES" sz="1300" b="1" i="0" u="none" strike="noStrike" cap="none" normalizeH="0" baseline="0" dirty="0" smtClean="0">
                <a:ln>
                  <a:noFill/>
                </a:ln>
                <a:solidFill>
                  <a:schemeClr val="tx1"/>
                </a:solidFill>
                <a:effectLst/>
                <a:latin typeface="Arial" pitchFamily="34" charset="0"/>
                <a:ea typeface="ＭＳ Ｐゴシック" pitchFamily="34" charset="-128"/>
                <a:cs typeface="Arial" pitchFamily="34" charset="0"/>
              </a:rPr>
              <a:t>I</a:t>
            </a:r>
          </a:p>
        </p:txBody>
      </p:sp>
      <p:sp>
        <p:nvSpPr>
          <p:cNvPr id="57" name="56 Elipse"/>
          <p:cNvSpPr/>
          <p:nvPr/>
        </p:nvSpPr>
        <p:spPr bwMode="auto">
          <a:xfrm>
            <a:off x="4377707" y="2955382"/>
            <a:ext cx="471596" cy="400369"/>
          </a:xfrm>
          <a:prstGeom prst="rect">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0" tIns="0" rIns="0" bIns="0" numCol="1" rtlCol="0" anchor="ctr" anchorCtr="0" compatLnSpc="1">
            <a:prstTxWarp prst="textNoShape">
              <a:avLst/>
            </a:prstTxWarp>
            <a:noAutofit/>
          </a:bodyPr>
          <a:lstStyle/>
          <a:p>
            <a:pPr marL="0" marR="0" indent="0" algn="ctr" defTabSz="914400" rtl="0" eaLnBrk="1" fontAlgn="base" latinLnBrk="0" hangingPunct="1">
              <a:lnSpc>
                <a:spcPct val="105000"/>
              </a:lnSpc>
              <a:spcBef>
                <a:spcPct val="30000"/>
              </a:spcBef>
              <a:spcAft>
                <a:spcPct val="0"/>
              </a:spcAft>
              <a:buClrTx/>
              <a:buSzTx/>
              <a:buFontTx/>
              <a:buNone/>
              <a:tabLst/>
            </a:pPr>
            <a:r>
              <a:rPr kumimoji="0" lang="es-ES" sz="1300" b="1" i="0" u="none" strike="noStrike" cap="none" normalizeH="0" baseline="0" dirty="0" smtClean="0">
                <a:ln>
                  <a:noFill/>
                </a:ln>
                <a:solidFill>
                  <a:schemeClr val="tx1"/>
                </a:solidFill>
                <a:effectLst/>
                <a:latin typeface="Arial" pitchFamily="34" charset="0"/>
                <a:ea typeface="ＭＳ Ｐゴシック" pitchFamily="34" charset="-128"/>
                <a:cs typeface="Arial" pitchFamily="34" charset="0"/>
              </a:rPr>
              <a:t>II</a:t>
            </a:r>
          </a:p>
        </p:txBody>
      </p:sp>
      <p:sp>
        <p:nvSpPr>
          <p:cNvPr id="58" name="57 Elipse"/>
          <p:cNvSpPr/>
          <p:nvPr/>
        </p:nvSpPr>
        <p:spPr bwMode="auto">
          <a:xfrm>
            <a:off x="4377707" y="4242040"/>
            <a:ext cx="471596" cy="400369"/>
          </a:xfrm>
          <a:prstGeom prst="rect">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0" tIns="0" rIns="0" bIns="0" numCol="1" rtlCol="0" anchor="ctr" anchorCtr="0" compatLnSpc="1">
            <a:prstTxWarp prst="textNoShape">
              <a:avLst/>
            </a:prstTxWarp>
            <a:noAutofit/>
          </a:bodyPr>
          <a:lstStyle/>
          <a:p>
            <a:pPr marL="0" marR="0" indent="0" algn="ctr" defTabSz="914400" rtl="0" eaLnBrk="1" fontAlgn="base" latinLnBrk="0" hangingPunct="1">
              <a:lnSpc>
                <a:spcPct val="105000"/>
              </a:lnSpc>
              <a:spcBef>
                <a:spcPct val="30000"/>
              </a:spcBef>
              <a:spcAft>
                <a:spcPct val="0"/>
              </a:spcAft>
              <a:buClrTx/>
              <a:buSzTx/>
              <a:buFontTx/>
              <a:buNone/>
              <a:tabLst/>
            </a:pPr>
            <a:r>
              <a:rPr kumimoji="0" lang="es-ES" sz="1300" b="1" i="0" u="none" strike="noStrike" cap="none" normalizeH="0" baseline="0" dirty="0" smtClean="0">
                <a:ln>
                  <a:noFill/>
                </a:ln>
                <a:solidFill>
                  <a:schemeClr val="tx1"/>
                </a:solidFill>
                <a:effectLst/>
                <a:latin typeface="Arial" pitchFamily="34" charset="0"/>
                <a:ea typeface="ＭＳ Ｐゴシック" pitchFamily="34" charset="-128"/>
                <a:cs typeface="Arial" pitchFamily="34" charset="0"/>
              </a:rPr>
              <a:t>III</a:t>
            </a:r>
          </a:p>
        </p:txBody>
      </p:sp>
      <p:sp>
        <p:nvSpPr>
          <p:cNvPr id="59" name="58 Elipse"/>
          <p:cNvSpPr/>
          <p:nvPr/>
        </p:nvSpPr>
        <p:spPr bwMode="auto">
          <a:xfrm>
            <a:off x="4377707" y="5513959"/>
            <a:ext cx="471596" cy="400369"/>
          </a:xfrm>
          <a:prstGeom prst="rect">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0" tIns="0" rIns="0" bIns="0" numCol="1" rtlCol="0" anchor="ctr" anchorCtr="0" compatLnSpc="1">
            <a:prstTxWarp prst="textNoShape">
              <a:avLst/>
            </a:prstTxWarp>
            <a:noAutofit/>
          </a:bodyPr>
          <a:lstStyle/>
          <a:p>
            <a:pPr marL="0" marR="0" indent="0" algn="ctr" defTabSz="914400" rtl="0" eaLnBrk="1" fontAlgn="base" latinLnBrk="0" hangingPunct="1">
              <a:lnSpc>
                <a:spcPct val="105000"/>
              </a:lnSpc>
              <a:spcBef>
                <a:spcPct val="30000"/>
              </a:spcBef>
              <a:spcAft>
                <a:spcPct val="0"/>
              </a:spcAft>
              <a:buClrTx/>
              <a:buSzTx/>
              <a:buFontTx/>
              <a:buNone/>
              <a:tabLst/>
            </a:pPr>
            <a:r>
              <a:rPr kumimoji="0" lang="es-ES" sz="1300" b="1" i="0" u="none" strike="noStrike" cap="none" normalizeH="0" baseline="0" dirty="0" smtClean="0">
                <a:ln>
                  <a:noFill/>
                </a:ln>
                <a:solidFill>
                  <a:schemeClr val="tx1"/>
                </a:solidFill>
                <a:effectLst/>
                <a:latin typeface="Arial" pitchFamily="34" charset="0"/>
                <a:ea typeface="ＭＳ Ｐゴシック" pitchFamily="34" charset="-128"/>
                <a:cs typeface="Arial" pitchFamily="34" charset="0"/>
              </a:rPr>
              <a:t>VI</a:t>
            </a:r>
          </a:p>
        </p:txBody>
      </p:sp>
      <p:pic>
        <p:nvPicPr>
          <p:cNvPr id="39" name="Picture 3"/>
          <p:cNvPicPr>
            <a:picLocks noChangeArrowheads="1"/>
          </p:cNvPicPr>
          <p:nvPr/>
        </p:nvPicPr>
        <p:blipFill rotWithShape="1">
          <a:blip r:embed="rId3" cstate="print">
            <a:extLst>
              <a:ext uri="{28A0092B-C50C-407E-A947-70E740481C1C}">
                <a14:useLocalDpi xmlns:a14="http://schemas.microsoft.com/office/drawing/2010/main" xmlns="" val="0"/>
              </a:ext>
            </a:extLst>
          </a:blip>
          <a:srcRect l="10649" t="13209" r="23960" b="38805"/>
          <a:stretch/>
        </p:blipFill>
        <p:spPr bwMode="auto">
          <a:xfrm>
            <a:off x="7173811" y="5248753"/>
            <a:ext cx="1413608" cy="9307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Lst>
        </p:spPr>
      </p:pic>
      <p:pic>
        <p:nvPicPr>
          <p:cNvPr id="42" name="Picture 20" descr="http://icons.iconarchive.com/icons/rob-sanders/gear/256/spur-gear-icon.png"/>
          <p:cNvPicPr>
            <a:picLocks noChangeAspect="1" noChangeArrowheads="1"/>
          </p:cNvPicPr>
          <p:nvPr/>
        </p:nvPicPr>
        <p:blipFill>
          <a:blip r:embed="rId4" cstate="screen">
            <a:duotone>
              <a:prstClr val="black"/>
              <a:schemeClr val="accent1">
                <a:tint val="45000"/>
                <a:satMod val="400000"/>
              </a:schemeClr>
            </a:duotone>
          </a:blip>
          <a:srcRect/>
          <a:stretch>
            <a:fillRect/>
          </a:stretch>
        </p:blipFill>
        <p:spPr bwMode="auto">
          <a:xfrm>
            <a:off x="7318995" y="1387216"/>
            <a:ext cx="1123243" cy="1123243"/>
          </a:xfrm>
          <a:prstGeom prst="rect">
            <a:avLst/>
          </a:prstGeom>
          <a:noFill/>
        </p:spPr>
      </p:pic>
      <p:pic>
        <p:nvPicPr>
          <p:cNvPr id="43" name="Picture 1"/>
          <p:cNvPicPr>
            <a:picLocks noChangeAspect="1" noChangeArrowheads="1"/>
          </p:cNvPicPr>
          <p:nvPr/>
        </p:nvPicPr>
        <p:blipFill rotWithShape="1">
          <a:blip r:embed="rId5" cstate="print">
            <a:extLst>
              <a:ext uri="{28A0092B-C50C-407E-A947-70E740481C1C}">
                <a14:useLocalDpi xmlns:a14="http://schemas.microsoft.com/office/drawing/2010/main" xmlns="" val="0"/>
              </a:ext>
            </a:extLst>
          </a:blip>
          <a:srcRect l="22041" t="13883" r="50650" b="42027"/>
          <a:stretch/>
        </p:blipFill>
        <p:spPr bwMode="auto">
          <a:xfrm>
            <a:off x="7166042" y="2704047"/>
            <a:ext cx="1429146" cy="9030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Lst>
        </p:spPr>
      </p:pic>
      <p:pic>
        <p:nvPicPr>
          <p:cNvPr id="45" name="Picture 1"/>
          <p:cNvPicPr>
            <a:picLocks noChangeAspect="1" noChangeArrowheads="1"/>
          </p:cNvPicPr>
          <p:nvPr/>
        </p:nvPicPr>
        <p:blipFill rotWithShape="1">
          <a:blip r:embed="rId6" cstate="print">
            <a:extLst>
              <a:ext uri="{28A0092B-C50C-407E-A947-70E740481C1C}">
                <a14:useLocalDpi xmlns:a14="http://schemas.microsoft.com/office/drawing/2010/main" xmlns="" val="0"/>
              </a:ext>
            </a:extLst>
          </a:blip>
          <a:srcRect r="21608"/>
          <a:stretch/>
        </p:blipFill>
        <p:spPr bwMode="auto">
          <a:xfrm>
            <a:off x="7099043" y="3971446"/>
            <a:ext cx="1563147" cy="94156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Lst>
        </p:spPr>
      </p:pic>
      <p:grpSp>
        <p:nvGrpSpPr>
          <p:cNvPr id="41" name="Group 40"/>
          <p:cNvGrpSpPr/>
          <p:nvPr/>
        </p:nvGrpSpPr>
        <p:grpSpPr>
          <a:xfrm>
            <a:off x="637974" y="2133773"/>
            <a:ext cx="3129243" cy="2918028"/>
            <a:chOff x="637973" y="1429926"/>
            <a:chExt cx="3129243" cy="2918028"/>
          </a:xfrm>
        </p:grpSpPr>
        <p:sp>
          <p:nvSpPr>
            <p:cNvPr id="46" name="AutoShape 2"/>
            <p:cNvSpPr>
              <a:spLocks noChangeArrowheads="1"/>
            </p:cNvSpPr>
            <p:nvPr/>
          </p:nvSpPr>
          <p:spPr bwMode="auto">
            <a:xfrm>
              <a:off x="637973" y="1484243"/>
              <a:ext cx="1666973" cy="897683"/>
            </a:xfrm>
            <a:prstGeom prst="roundRect">
              <a:avLst>
                <a:gd name="adj" fmla="val 16667"/>
              </a:avLst>
            </a:prstGeom>
            <a:noFill/>
            <a:ln w="9525" algn="ctr">
              <a:noFill/>
              <a:round/>
              <a:headEnd/>
              <a:tailEnd/>
            </a:ln>
          </p:spPr>
          <p:txBody>
            <a:bodyPr wrap="square" lIns="36000" tIns="36000" rIns="36000" bIns="36000">
              <a:spAutoFit/>
            </a:bodyPr>
            <a:lstStyle/>
            <a:p>
              <a:pPr algn="ctr" defTabSz="457200"/>
              <a:r>
                <a:rPr lang="en-GB" sz="2400" b="1" dirty="0" smtClean="0">
                  <a:solidFill>
                    <a:schemeClr val="accent5">
                      <a:lumMod val="50000"/>
                    </a:schemeClr>
                  </a:solidFill>
                  <a:latin typeface="Telefonica Headline Light" pitchFamily="2" charset="0"/>
                  <a:ea typeface="Arial Unicode MS" pitchFamily="34" charset="-128"/>
                  <a:cs typeface="Arial" pitchFamily="34" charset="0"/>
                </a:rPr>
                <a:t>Telefonica Smart City</a:t>
              </a:r>
              <a:endParaRPr lang="en-GB" sz="2400" b="1" dirty="0">
                <a:solidFill>
                  <a:schemeClr val="accent5">
                    <a:lumMod val="50000"/>
                  </a:schemeClr>
                </a:solidFill>
                <a:latin typeface="Telefonica Headline Light" pitchFamily="2" charset="0"/>
                <a:ea typeface="Arial Unicode MS" pitchFamily="34" charset="-128"/>
                <a:cs typeface="Arial" pitchFamily="34" charset="0"/>
              </a:endParaRPr>
            </a:p>
          </p:txBody>
        </p:sp>
        <p:pic>
          <p:nvPicPr>
            <p:cNvPr id="47" name="Imagen 31"/>
            <p:cNvPicPr>
              <a:picLocks noChangeAspect="1"/>
            </p:cNvPicPr>
            <p:nvPr/>
          </p:nvPicPr>
          <p:blipFill>
            <a:blip r:embed="rId7" cstate="print">
              <a:extLst>
                <a:ext uri="{28A0092B-C50C-407E-A947-70E740481C1C}">
                  <a14:useLocalDpi xmlns:a14="http://schemas.microsoft.com/office/drawing/2010/main" xmlns="" val="0"/>
                </a:ext>
              </a:extLst>
            </a:blip>
            <a:srcRect l="14441" r="34065" b="8344"/>
            <a:stretch>
              <a:fillRect/>
            </a:stretch>
          </p:blipFill>
          <p:spPr bwMode="auto">
            <a:xfrm flipH="1">
              <a:off x="637973" y="2510046"/>
              <a:ext cx="3129243" cy="1837908"/>
            </a:xfrm>
            <a:prstGeom prst="rect">
              <a:avLst/>
            </a:prstGeom>
            <a:noFill/>
            <a:ln>
              <a:noFill/>
            </a:ln>
            <a:effectLst>
              <a:reflection blurRad="6350" stA="50000" endA="300" endPos="55000" dir="5400000" sy="-100000" algn="bl" rotWithShape="0"/>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9" name="Picture 1"/>
            <p:cNvPicPr>
              <a:picLocks noChangeAspect="1" noChangeArrowheads="1"/>
            </p:cNvPicPr>
            <p:nvPr/>
          </p:nvPicPr>
          <p:blipFill rotWithShape="1">
            <a:blip r:embed="rId8" cstate="print">
              <a:extLst>
                <a:ext uri="{28A0092B-C50C-407E-A947-70E740481C1C}">
                  <a14:useLocalDpi xmlns:a14="http://schemas.microsoft.com/office/drawing/2010/main" xmlns="" val="0"/>
                </a:ext>
              </a:extLst>
            </a:blip>
            <a:srcRect r="12256"/>
            <a:stretch/>
          </p:blipFill>
          <p:spPr bwMode="auto">
            <a:xfrm>
              <a:off x="1614698" y="1429926"/>
              <a:ext cx="2152518" cy="10801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Lst>
          </p:spPr>
        </p:pic>
        <p:cxnSp>
          <p:nvCxnSpPr>
            <p:cNvPr id="50" name="Straight Connector 49"/>
            <p:cNvCxnSpPr/>
            <p:nvPr/>
          </p:nvCxnSpPr>
          <p:spPr>
            <a:xfrm>
              <a:off x="637973" y="2510046"/>
              <a:ext cx="3129243" cy="0"/>
            </a:xfrm>
            <a:prstGeom prst="line">
              <a:avLst/>
            </a:prstGeom>
            <a:ln w="28575"/>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4622007" y="1000636"/>
            <a:ext cx="4189806" cy="318924"/>
            <a:chOff x="5152288" y="1000636"/>
            <a:chExt cx="3129243" cy="318924"/>
          </a:xfrm>
        </p:grpSpPr>
        <p:sp>
          <p:nvSpPr>
            <p:cNvPr id="40" name="Rounded Rectangle 4"/>
            <p:cNvSpPr/>
            <p:nvPr/>
          </p:nvSpPr>
          <p:spPr bwMode="auto">
            <a:xfrm>
              <a:off x="5358012" y="1000636"/>
              <a:ext cx="2717794" cy="318924"/>
            </a:xfrm>
            <a:prstGeom prst="rect">
              <a:avLst/>
            </a:prstGeom>
            <a:noFill/>
            <a:ln w="9525" algn="ctr">
              <a:noFill/>
              <a:round/>
              <a:headEnd/>
              <a:tailEnd/>
            </a:ln>
          </p:spPr>
          <p:txBody>
            <a:bodyPr lIns="36000" tIns="36000" rIns="36000" bIns="36000">
              <a:spAutoFit/>
            </a:bodyPr>
            <a:lstStyle/>
            <a:p>
              <a:pPr algn="ctr" defTabSz="457200"/>
              <a:r>
                <a:rPr lang="en-US" sz="1600" b="1" dirty="0">
                  <a:solidFill>
                    <a:schemeClr val="accent5">
                      <a:lumMod val="50000"/>
                    </a:schemeClr>
                  </a:solidFill>
                  <a:latin typeface="Arial" pitchFamily="34" charset="0"/>
                  <a:ea typeface="Arial Unicode MS" pitchFamily="34" charset="-128"/>
                  <a:cs typeface="Arial" pitchFamily="34" charset="0"/>
                </a:rPr>
                <a:t>Value </a:t>
              </a:r>
              <a:r>
                <a:rPr lang="en-US" sz="1600" b="1" dirty="0" smtClean="0">
                  <a:solidFill>
                    <a:schemeClr val="accent5">
                      <a:lumMod val="50000"/>
                    </a:schemeClr>
                  </a:solidFill>
                  <a:latin typeface="Arial" pitchFamily="34" charset="0"/>
                  <a:ea typeface="Arial Unicode MS" pitchFamily="34" charset="-128"/>
                  <a:cs typeface="Arial" pitchFamily="34" charset="0"/>
                </a:rPr>
                <a:t>levers</a:t>
              </a:r>
              <a:endParaRPr lang="en-US" sz="1600" b="1" dirty="0">
                <a:solidFill>
                  <a:schemeClr val="accent5">
                    <a:lumMod val="50000"/>
                  </a:schemeClr>
                </a:solidFill>
                <a:latin typeface="Arial" pitchFamily="34" charset="0"/>
                <a:ea typeface="Arial Unicode MS" pitchFamily="34" charset="-128"/>
                <a:cs typeface="Arial" pitchFamily="34" charset="0"/>
              </a:endParaRPr>
            </a:p>
          </p:txBody>
        </p:sp>
        <p:cxnSp>
          <p:nvCxnSpPr>
            <p:cNvPr id="51" name="Straight Connector 50"/>
            <p:cNvCxnSpPr/>
            <p:nvPr/>
          </p:nvCxnSpPr>
          <p:spPr>
            <a:xfrm>
              <a:off x="5152288" y="1319560"/>
              <a:ext cx="3129243" cy="0"/>
            </a:xfrm>
            <a:prstGeom prst="line">
              <a:avLst/>
            </a:prstGeom>
            <a:ln w="28575"/>
          </p:spPr>
          <p:style>
            <a:lnRef idx="1">
              <a:schemeClr val="accent1"/>
            </a:lnRef>
            <a:fillRef idx="0">
              <a:schemeClr val="accent1"/>
            </a:fillRef>
            <a:effectRef idx="0">
              <a:schemeClr val="accent1"/>
            </a:effectRef>
            <a:fontRef idx="minor">
              <a:schemeClr val="tx1"/>
            </a:fontRef>
          </p:style>
        </p:cxnSp>
      </p:grpSp>
      <p:sp>
        <p:nvSpPr>
          <p:cNvPr id="61" name="60 Elipse"/>
          <p:cNvSpPr/>
          <p:nvPr/>
        </p:nvSpPr>
        <p:spPr bwMode="auto">
          <a:xfrm>
            <a:off x="8209783" y="2595234"/>
            <a:ext cx="477988" cy="405796"/>
          </a:xfrm>
          <a:prstGeom prst="ellipse">
            <a:avLst/>
          </a:prstGeom>
          <a:solidFill>
            <a:srgbClr val="FFC000"/>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vert="horz" wrap="square" lIns="0" tIns="0" rIns="0" bIns="0" numCol="1" rtlCol="0" anchor="ctr" anchorCtr="0" compatLnSpc="1">
            <a:prstTxWarp prst="textNoShape">
              <a:avLst/>
            </a:prstTxWarp>
            <a:noAutofit/>
          </a:bodyPr>
          <a:lstStyle/>
          <a:p>
            <a:pPr marL="0" marR="0" indent="0" algn="ctr" defTabSz="914400" rtl="0" eaLnBrk="1" fontAlgn="base" latinLnBrk="0" hangingPunct="1">
              <a:lnSpc>
                <a:spcPct val="105000"/>
              </a:lnSpc>
              <a:spcBef>
                <a:spcPct val="30000"/>
              </a:spcBef>
              <a:spcAft>
                <a:spcPct val="0"/>
              </a:spcAft>
              <a:buClrTx/>
              <a:buSzTx/>
              <a:buFontTx/>
              <a:buNone/>
              <a:tabLst/>
            </a:pPr>
            <a:r>
              <a:rPr kumimoji="0" lang="es-ES" b="1" i="0" u="none" strike="noStrike" cap="none" normalizeH="0" baseline="0" dirty="0" smtClean="0">
                <a:ln>
                  <a:noFill/>
                </a:ln>
                <a:solidFill>
                  <a:schemeClr val="tx1"/>
                </a:solidFill>
                <a:effectLst/>
                <a:latin typeface="Arial" pitchFamily="34" charset="0"/>
                <a:ea typeface="ＭＳ Ｐゴシック" pitchFamily="34" charset="-128"/>
                <a:cs typeface="Arial" pitchFamily="34" charset="0"/>
              </a:rPr>
              <a:t>$</a:t>
            </a:r>
          </a:p>
        </p:txBody>
      </p:sp>
      <p:sp>
        <p:nvSpPr>
          <p:cNvPr id="29" name="60 Elipse"/>
          <p:cNvSpPr/>
          <p:nvPr/>
        </p:nvSpPr>
        <p:spPr bwMode="auto">
          <a:xfrm>
            <a:off x="8209783" y="1387214"/>
            <a:ext cx="477988" cy="405796"/>
          </a:xfrm>
          <a:prstGeom prst="ellipse">
            <a:avLst/>
          </a:prstGeom>
          <a:solidFill>
            <a:srgbClr val="FFC000"/>
          </a:solidFill>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vert="horz" wrap="square" lIns="0" tIns="0" rIns="0" bIns="0" numCol="1" rtlCol="0" anchor="ctr" anchorCtr="0" compatLnSpc="1">
            <a:prstTxWarp prst="textNoShape">
              <a:avLst/>
            </a:prstTxWarp>
            <a:noAutofit/>
          </a:bodyPr>
          <a:lstStyle/>
          <a:p>
            <a:pPr marL="0" marR="0" indent="0" algn="ctr" defTabSz="914400" rtl="0" eaLnBrk="1" fontAlgn="base" latinLnBrk="0" hangingPunct="1">
              <a:lnSpc>
                <a:spcPct val="105000"/>
              </a:lnSpc>
              <a:spcBef>
                <a:spcPct val="30000"/>
              </a:spcBef>
              <a:spcAft>
                <a:spcPct val="0"/>
              </a:spcAft>
              <a:buClrTx/>
              <a:buSzTx/>
              <a:buFontTx/>
              <a:buNone/>
              <a:tabLst/>
            </a:pPr>
            <a:r>
              <a:rPr kumimoji="0" lang="es-ES" b="1" i="0" u="none" strike="noStrike" cap="none" normalizeH="0" baseline="0" dirty="0" smtClean="0">
                <a:ln>
                  <a:noFill/>
                </a:ln>
                <a:solidFill>
                  <a:schemeClr val="tx1"/>
                </a:solidFill>
                <a:effectLst/>
                <a:latin typeface="Arial" pitchFamily="34" charset="0"/>
                <a:ea typeface="ＭＳ Ｐゴシック" pitchFamily="34" charset="-128"/>
                <a:cs typeface="Arial" pitchFamily="34" charset="0"/>
              </a:rPr>
              <a:t>$</a:t>
            </a:r>
          </a:p>
        </p:txBody>
      </p:sp>
      <p:sp>
        <p:nvSpPr>
          <p:cNvPr id="31" name="Rectangle 1"/>
          <p:cNvSpPr>
            <a:spLocks/>
          </p:cNvSpPr>
          <p:nvPr/>
        </p:nvSpPr>
        <p:spPr bwMode="auto">
          <a:xfrm>
            <a:off x="0" y="0"/>
            <a:ext cx="368300" cy="647700"/>
          </a:xfrm>
          <a:prstGeom prst="rect">
            <a:avLst/>
          </a:prstGeom>
          <a:gradFill rotWithShape="0">
            <a:gsLst>
              <a:gs pos="0">
                <a:srgbClr val="0A1519"/>
              </a:gs>
              <a:gs pos="100000">
                <a:srgbClr val="2A5E77"/>
              </a:gs>
            </a:gsLst>
            <a:lin ang="2700000" scaled="1"/>
          </a:gradFill>
          <a:ln>
            <a:noFill/>
          </a:ln>
          <a:extLst>
            <a:ext uri="{91240B29-F687-4F45-9708-019B960494DF}">
              <a14:hiddenLine xmlns:a14="http://schemas.microsoft.com/office/drawing/2010/main" xmlns="" w="12700">
                <a:solidFill>
                  <a:schemeClr val="tx1"/>
                </a:solidFill>
                <a:miter lim="800000"/>
                <a:headEnd/>
                <a:tailEnd/>
              </a14:hiddenLine>
            </a:ext>
          </a:extLst>
        </p:spPr>
        <p:txBody>
          <a:bodyPr lIns="0" tIns="0" rIns="0" bIns="0"/>
          <a:lstStyle/>
          <a:p>
            <a:endParaRPr lang="es-ES">
              <a:cs typeface="Arial" pitchFamily="34" charset="0"/>
            </a:endParaRPr>
          </a:p>
        </p:txBody>
      </p:sp>
      <p:sp>
        <p:nvSpPr>
          <p:cNvPr id="32" name="Rectangle 9"/>
          <p:cNvSpPr>
            <a:spLocks/>
          </p:cNvSpPr>
          <p:nvPr/>
        </p:nvSpPr>
        <p:spPr bwMode="auto">
          <a:xfrm>
            <a:off x="55563" y="334963"/>
            <a:ext cx="339725" cy="357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chemeClr val="tx1"/>
                </a:solidFill>
                <a:miter lim="800000"/>
                <a:headEnd/>
                <a:tailEnd/>
              </a14:hiddenLine>
            </a:ext>
          </a:extLst>
        </p:spPr>
        <p:txBody>
          <a:bodyPr lIns="38100" tIns="38100" rIns="38100" bIns="38100"/>
          <a:lstStyle/>
          <a:p>
            <a:pPr algn="l"/>
            <a:r>
              <a:rPr lang="en-US" sz="1400" dirty="0" smtClean="0">
                <a:solidFill>
                  <a:srgbClr val="44B5CA"/>
                </a:solidFill>
                <a:ea typeface="MS PGothic" pitchFamily="34" charset="-128"/>
                <a:sym typeface="Telefonica Text Bold"/>
              </a:rPr>
              <a:t>02</a:t>
            </a:r>
            <a:endParaRPr lang="en-US" sz="1400" dirty="0">
              <a:solidFill>
                <a:srgbClr val="44B5CA"/>
              </a:solidFill>
              <a:ea typeface="MS PGothic" pitchFamily="34" charset="-128"/>
              <a:sym typeface="Telefonica Text Bold"/>
            </a:endParaRPr>
          </a:p>
        </p:txBody>
      </p:sp>
    </p:spTree>
    <p:extLst>
      <p:ext uri="{BB962C8B-B14F-4D97-AF65-F5344CB8AC3E}">
        <p14:creationId xmlns:p14="http://schemas.microsoft.com/office/powerpoint/2010/main" xmlns="" val="4033075399"/>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1 Marcador de número de diapositiva"/>
          <p:cNvSpPr>
            <a:spLocks noGrp="1"/>
          </p:cNvSpPr>
          <p:nvPr>
            <p:ph type="sldNum" sz="quarter" idx="10"/>
          </p:nvPr>
        </p:nvSpPr>
        <p:spPr/>
        <p:txBody>
          <a:bodyPr/>
          <a:lstStyle/>
          <a:p>
            <a:pPr>
              <a:defRPr/>
            </a:pPr>
            <a:fld id="{3A2D1CAA-D845-445B-8DC0-373649863AB5}" type="slidenum">
              <a:rPr lang="es-ES"/>
              <a:pPr>
                <a:defRPr/>
              </a:pPr>
              <a:t>14</a:t>
            </a:fld>
            <a:endParaRPr lang="es-ES"/>
          </a:p>
        </p:txBody>
      </p:sp>
      <p:pic>
        <p:nvPicPr>
          <p:cNvPr id="11267" name="Picture 1"/>
          <p:cNvPicPr>
            <a:picLocks noChangeArrowheads="1"/>
          </p:cNvPicPr>
          <p:nvPr/>
        </p:nvPicPr>
        <p:blipFill>
          <a:blip r:embed="rId3" cstate="print">
            <a:extLst>
              <a:ext uri="{28A0092B-C50C-407E-A947-70E740481C1C}">
                <a14:useLocalDpi xmlns:a14="http://schemas.microsoft.com/office/drawing/2010/main" xmlns="" val="0"/>
              </a:ext>
            </a:extLst>
          </a:blip>
          <a:srcRect t="1167" r="1167"/>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1268" name="Picture 2"/>
          <p:cNvPicPr>
            <a:picLocks noChangeAspect="1" noChangeArrowheads="1"/>
          </p:cNvPicPr>
          <p:nvPr/>
        </p:nvPicPr>
        <p:blipFill>
          <a:blip r:embed="rId4" cstate="print">
            <a:extLst>
              <a:ext uri="{28A0092B-C50C-407E-A947-70E740481C1C}">
                <a14:useLocalDpi xmlns:a14="http://schemas.microsoft.com/office/drawing/2010/main" xmlns="" val="0"/>
              </a:ext>
            </a:extLst>
          </a:blip>
          <a:srcRect t="1169" r="1740"/>
          <a:stretch>
            <a:fillRect/>
          </a:stretch>
        </p:blipFill>
        <p:spPr bwMode="auto">
          <a:xfrm>
            <a:off x="0" y="3"/>
            <a:ext cx="9144000" cy="6850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25400">
                <a:solidFill>
                  <a:srgbClr val="000000"/>
                </a:solidFill>
                <a:round/>
                <a:headEnd/>
                <a:tailEnd/>
              </a14:hiddenLine>
            </a:ext>
          </a:extLst>
        </p:spPr>
      </p:pic>
      <p:sp>
        <p:nvSpPr>
          <p:cNvPr id="11269" name="Rectangle 3"/>
          <p:cNvSpPr>
            <a:spLocks/>
          </p:cNvSpPr>
          <p:nvPr/>
        </p:nvSpPr>
        <p:spPr bwMode="auto">
          <a:xfrm>
            <a:off x="471406" y="188915"/>
            <a:ext cx="4142656" cy="2008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26788" tIns="26788" rIns="26788" bIns="26788" anchor="ctr"/>
          <a:lstStyle/>
          <a:p>
            <a:pPr algn="l" defTabSz="642938" eaLnBrk="1" hangingPunct="1"/>
            <a:r>
              <a:rPr lang="en-GB" sz="13800" b="0" dirty="0" smtClean="0">
                <a:solidFill>
                  <a:srgbClr val="44B5CA"/>
                </a:solidFill>
                <a:latin typeface="Telefonica Headline Light" pitchFamily="2" charset="0"/>
                <a:ea typeface="ヒラギノ角ゴ ProN W3"/>
                <a:cs typeface="Arial" pitchFamily="34" charset="0"/>
                <a:sym typeface="Arial" pitchFamily="34" charset="0"/>
              </a:rPr>
              <a:t>03</a:t>
            </a:r>
            <a:endParaRPr lang="en-GB" sz="13800" b="0" dirty="0">
              <a:solidFill>
                <a:srgbClr val="44B5CA"/>
              </a:solidFill>
              <a:latin typeface="Telefonica Headline Light" pitchFamily="2" charset="0"/>
              <a:ea typeface="ヒラギノ角ゴ ProN W3"/>
              <a:cs typeface="Arial" pitchFamily="34" charset="0"/>
              <a:sym typeface="Arial" pitchFamily="34" charset="0"/>
            </a:endParaRPr>
          </a:p>
        </p:txBody>
      </p:sp>
      <p:sp>
        <p:nvSpPr>
          <p:cNvPr id="11270" name="Rectangle 4"/>
          <p:cNvSpPr>
            <a:spLocks/>
          </p:cNvSpPr>
          <p:nvPr/>
        </p:nvSpPr>
        <p:spPr bwMode="auto">
          <a:xfrm>
            <a:off x="449186" y="2062163"/>
            <a:ext cx="6643095" cy="1231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26788" tIns="26788" rIns="26788" bIns="26788"/>
          <a:lstStyle/>
          <a:p>
            <a:pPr algn="l" defTabSz="642938" eaLnBrk="1" hangingPunct="1"/>
            <a:r>
              <a:rPr lang="en-US" sz="4100" b="0" dirty="0" smtClean="0">
                <a:solidFill>
                  <a:srgbClr val="FFFFFF"/>
                </a:solidFill>
                <a:latin typeface="Telefonica Headline Light" pitchFamily="2" charset="0"/>
                <a:ea typeface="ヒラギノ角ゴ ProN W3"/>
                <a:cs typeface="Arial" pitchFamily="34" charset="0"/>
                <a:sym typeface="Arial" pitchFamily="34" charset="0"/>
              </a:rPr>
              <a:t>Green ICT Services in cities</a:t>
            </a:r>
            <a:endParaRPr lang="en-US" sz="4100" b="0" dirty="0">
              <a:solidFill>
                <a:srgbClr val="FFFFFF"/>
              </a:solidFill>
              <a:latin typeface="Telefonica Headline Light" pitchFamily="2" charset="0"/>
              <a:ea typeface="ヒラギノ角ゴ ProN W3"/>
              <a:cs typeface="Arial" pitchFamily="34" charset="0"/>
              <a:sym typeface="Arial" pitchFamily="34" charset="0"/>
            </a:endParaRPr>
          </a:p>
        </p:txBody>
      </p:sp>
    </p:spTree>
    <p:extLst>
      <p:ext uri="{BB962C8B-B14F-4D97-AF65-F5344CB8AC3E}">
        <p14:creationId xmlns:p14="http://schemas.microsoft.com/office/powerpoint/2010/main" xmlns="" val="3871942426"/>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PhAnim="0">
  <p:cSld>
    <p:bg>
      <p:bgPr>
        <a:solidFill>
          <a:schemeClr val="bg1"/>
        </a:solidFill>
        <a:effectLst/>
      </p:bgPr>
    </p:bg>
    <p:spTree>
      <p:nvGrpSpPr>
        <p:cNvPr id="1" name=""/>
        <p:cNvGrpSpPr/>
        <p:nvPr/>
      </p:nvGrpSpPr>
      <p:grpSpPr>
        <a:xfrm>
          <a:off x="0" y="0"/>
          <a:ext cx="0" cy="0"/>
          <a:chOff x="0" y="0"/>
          <a:chExt cx="0" cy="0"/>
        </a:xfrm>
      </p:grpSpPr>
      <p:sp>
        <p:nvSpPr>
          <p:cNvPr id="260" name="Rectangle 259"/>
          <p:cNvSpPr/>
          <p:nvPr/>
        </p:nvSpPr>
        <p:spPr>
          <a:xfrm flipH="1">
            <a:off x="4394200" y="5094514"/>
            <a:ext cx="4749800" cy="1052286"/>
          </a:xfrm>
          <a:prstGeom prst="rect">
            <a:avLst/>
          </a:prstGeom>
          <a:gradFill>
            <a:gsLst>
              <a:gs pos="0">
                <a:schemeClr val="bg1">
                  <a:lumMod val="85000"/>
                </a:schemeClr>
              </a:gs>
              <a:gs pos="100000">
                <a:schemeClr val="bg1"/>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59" name="Rectangle 258"/>
          <p:cNvSpPr/>
          <p:nvPr/>
        </p:nvSpPr>
        <p:spPr>
          <a:xfrm>
            <a:off x="0" y="2971800"/>
            <a:ext cx="3162300" cy="1524000"/>
          </a:xfrm>
          <a:prstGeom prst="rect">
            <a:avLst/>
          </a:prstGeom>
          <a:gradFill>
            <a:gsLst>
              <a:gs pos="0">
                <a:schemeClr val="bg1">
                  <a:lumMod val="85000"/>
                </a:schemeClr>
              </a:gs>
              <a:gs pos="100000">
                <a:schemeClr val="bg1"/>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58" name="Rectangle 257"/>
          <p:cNvSpPr/>
          <p:nvPr/>
        </p:nvSpPr>
        <p:spPr>
          <a:xfrm flipH="1">
            <a:off x="6010276" y="2984501"/>
            <a:ext cx="3133725" cy="1911351"/>
          </a:xfrm>
          <a:prstGeom prst="rect">
            <a:avLst/>
          </a:prstGeom>
          <a:gradFill>
            <a:gsLst>
              <a:gs pos="0">
                <a:schemeClr val="bg1">
                  <a:lumMod val="85000"/>
                </a:schemeClr>
              </a:gs>
              <a:gs pos="100000">
                <a:schemeClr val="bg1"/>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57" name="Rectangle 256"/>
          <p:cNvSpPr/>
          <p:nvPr/>
        </p:nvSpPr>
        <p:spPr>
          <a:xfrm flipH="1">
            <a:off x="5727701" y="1117600"/>
            <a:ext cx="3416300" cy="1625600"/>
          </a:xfrm>
          <a:prstGeom prst="rect">
            <a:avLst/>
          </a:prstGeom>
          <a:gradFill>
            <a:gsLst>
              <a:gs pos="0">
                <a:schemeClr val="bg1">
                  <a:lumMod val="85000"/>
                </a:schemeClr>
              </a:gs>
              <a:gs pos="100000">
                <a:schemeClr val="bg1"/>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56" name="Rectangle 255"/>
          <p:cNvSpPr/>
          <p:nvPr/>
        </p:nvSpPr>
        <p:spPr>
          <a:xfrm>
            <a:off x="0" y="1092200"/>
            <a:ext cx="3162300" cy="1612900"/>
          </a:xfrm>
          <a:prstGeom prst="rect">
            <a:avLst/>
          </a:prstGeom>
          <a:gradFill>
            <a:gsLst>
              <a:gs pos="0">
                <a:schemeClr val="bg1">
                  <a:lumMod val="85000"/>
                </a:schemeClr>
              </a:gs>
              <a:gs pos="100000">
                <a:schemeClr val="bg1"/>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nvGrpSpPr>
          <p:cNvPr id="85" name="Group 84"/>
          <p:cNvGrpSpPr>
            <a:grpSpLocks noChangeAspect="1"/>
          </p:cNvGrpSpPr>
          <p:nvPr/>
        </p:nvGrpSpPr>
        <p:grpSpPr>
          <a:xfrm>
            <a:off x="1763564" y="921420"/>
            <a:ext cx="5170286" cy="5195514"/>
            <a:chOff x="2546847" y="2060670"/>
            <a:chExt cx="2508220" cy="2520458"/>
          </a:xfrm>
          <a:solidFill>
            <a:schemeClr val="tx2">
              <a:lumMod val="20000"/>
              <a:lumOff val="80000"/>
            </a:schemeClr>
          </a:solidFill>
          <a:effectLst>
            <a:outerShdw blurRad="50800" dist="38100" dir="2700000" algn="tl" rotWithShape="0">
              <a:prstClr val="black">
                <a:alpha val="40000"/>
              </a:prstClr>
            </a:outerShdw>
          </a:effectLst>
        </p:grpSpPr>
        <p:sp>
          <p:nvSpPr>
            <p:cNvPr id="78" name="Regular Pentagon 77"/>
            <p:cNvSpPr/>
            <p:nvPr/>
          </p:nvSpPr>
          <p:spPr>
            <a:xfrm>
              <a:off x="3347864" y="2708920"/>
              <a:ext cx="960120" cy="914400"/>
            </a:xfrm>
            <a:prstGeom prst="pentagon">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79" name="Regular Pentagon 78"/>
            <p:cNvSpPr/>
            <p:nvPr/>
          </p:nvSpPr>
          <p:spPr>
            <a:xfrm rot="19451674">
              <a:off x="4094947" y="2980182"/>
              <a:ext cx="960120" cy="914400"/>
            </a:xfrm>
            <a:prstGeom prst="pentagon">
              <a:avLst/>
            </a:prstGeom>
            <a:gradFill>
              <a:gsLst>
                <a:gs pos="0">
                  <a:schemeClr val="tx2">
                    <a:lumMod val="40000"/>
                    <a:lumOff val="60000"/>
                  </a:schemeClr>
                </a:gs>
                <a:gs pos="100000">
                  <a:schemeClr val="accent1">
                    <a:lumMod val="20000"/>
                    <a:lumOff val="80000"/>
                  </a:schemeClr>
                </a:gs>
              </a:gsLst>
              <a:lin ang="4800000" scaled="0"/>
            </a:gra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81" name="Regular Pentagon 80"/>
            <p:cNvSpPr/>
            <p:nvPr/>
          </p:nvSpPr>
          <p:spPr>
            <a:xfrm flipV="1">
              <a:off x="3350298" y="3627608"/>
              <a:ext cx="960542" cy="953520"/>
            </a:xfrm>
            <a:prstGeom prst="pentagon">
              <a:avLst/>
            </a:prstGeom>
            <a:gradFill>
              <a:gsLst>
                <a:gs pos="0">
                  <a:schemeClr val="tx2">
                    <a:lumMod val="40000"/>
                    <a:lumOff val="60000"/>
                  </a:schemeClr>
                </a:gs>
                <a:gs pos="100000">
                  <a:schemeClr val="accent1">
                    <a:lumMod val="20000"/>
                    <a:lumOff val="80000"/>
                  </a:schemeClr>
                </a:gs>
              </a:gsLst>
              <a:lin ang="16800000" scaled="0"/>
            </a:gra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82" name="Regular Pentagon 81"/>
            <p:cNvSpPr/>
            <p:nvPr/>
          </p:nvSpPr>
          <p:spPr>
            <a:xfrm rot="19456848">
              <a:off x="2546847" y="2975189"/>
              <a:ext cx="960120" cy="914400"/>
            </a:xfrm>
            <a:prstGeom prst="pentagon">
              <a:avLst/>
            </a:prstGeom>
            <a:gradFill>
              <a:gsLst>
                <a:gs pos="0">
                  <a:schemeClr val="tx2">
                    <a:lumMod val="40000"/>
                    <a:lumOff val="60000"/>
                  </a:schemeClr>
                </a:gs>
                <a:gs pos="100000">
                  <a:schemeClr val="accent1">
                    <a:lumMod val="20000"/>
                    <a:lumOff val="80000"/>
                  </a:schemeClr>
                </a:gs>
              </a:gsLst>
              <a:lin ang="12600000" scaled="0"/>
            </a:gra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83" name="Regular Pentagon 82"/>
            <p:cNvSpPr/>
            <p:nvPr/>
          </p:nvSpPr>
          <p:spPr>
            <a:xfrm rot="19451674">
              <a:off x="2848795" y="2060670"/>
              <a:ext cx="960120" cy="914400"/>
            </a:xfrm>
            <a:prstGeom prst="pentagon">
              <a:avLst/>
            </a:prstGeom>
            <a:gradFill>
              <a:gsLst>
                <a:gs pos="0">
                  <a:schemeClr val="tx2">
                    <a:lumMod val="40000"/>
                    <a:lumOff val="60000"/>
                  </a:schemeClr>
                </a:gs>
                <a:gs pos="100000">
                  <a:schemeClr val="accent1">
                    <a:lumMod val="20000"/>
                    <a:lumOff val="80000"/>
                  </a:schemeClr>
                </a:gs>
              </a:gsLst>
              <a:lin ang="15600000" scaled="0"/>
            </a:gra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84" name="Regular Pentagon 83"/>
            <p:cNvSpPr/>
            <p:nvPr/>
          </p:nvSpPr>
          <p:spPr>
            <a:xfrm rot="19456848">
              <a:off x="3809593" y="2069564"/>
              <a:ext cx="960120" cy="914400"/>
            </a:xfrm>
            <a:prstGeom prst="pentagon">
              <a:avLst/>
            </a:prstGeom>
            <a:gradFill>
              <a:gsLst>
                <a:gs pos="0">
                  <a:schemeClr val="tx2">
                    <a:lumMod val="40000"/>
                    <a:lumOff val="60000"/>
                  </a:schemeClr>
                </a:gs>
                <a:gs pos="100000">
                  <a:schemeClr val="accent1">
                    <a:lumMod val="20000"/>
                    <a:lumOff val="80000"/>
                  </a:schemeClr>
                </a:gs>
              </a:gsLst>
              <a:lin ang="21000000" scaled="0"/>
            </a:gra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pic>
        <p:nvPicPr>
          <p:cNvPr id="87" name="Picture 1"/>
          <p:cNvPicPr>
            <a:picLocks noChangeAspect="1" noChangeArrowheads="1"/>
          </p:cNvPicPr>
          <p:nvPr/>
        </p:nvPicPr>
        <p:blipFill rotWithShape="1">
          <a:blip r:embed="rId4" cstate="print">
            <a:extLst>
              <a:ext uri="{28A0092B-C50C-407E-A947-70E740481C1C}">
                <a14:useLocalDpi xmlns:a14="http://schemas.microsoft.com/office/drawing/2010/main" xmlns="" val="0"/>
              </a:ext>
            </a:extLst>
          </a:blip>
          <a:srcRect r="12256"/>
          <a:stretch/>
        </p:blipFill>
        <p:spPr bwMode="auto">
          <a:xfrm>
            <a:off x="3103665" y="3091585"/>
            <a:ext cx="1148010" cy="5760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Lst>
        </p:spPr>
      </p:pic>
      <p:sp>
        <p:nvSpPr>
          <p:cNvPr id="88" name="Freeform 87"/>
          <p:cNvSpPr/>
          <p:nvPr/>
        </p:nvSpPr>
        <p:spPr>
          <a:xfrm>
            <a:off x="3043238" y="1757363"/>
            <a:ext cx="1377701" cy="1228725"/>
          </a:xfrm>
          <a:custGeom>
            <a:avLst/>
            <a:gdLst>
              <a:gd name="connsiteX0" fmla="*/ 1214437 w 1385887"/>
              <a:gd name="connsiteY0" fmla="*/ 0 h 1228725"/>
              <a:gd name="connsiteX1" fmla="*/ 1385887 w 1385887"/>
              <a:gd name="connsiteY1" fmla="*/ 523875 h 1228725"/>
              <a:gd name="connsiteX2" fmla="*/ 385762 w 1385887"/>
              <a:gd name="connsiteY2" fmla="*/ 1228725 h 1228725"/>
              <a:gd name="connsiteX3" fmla="*/ 0 w 1385887"/>
              <a:gd name="connsiteY3" fmla="*/ 947737 h 1228725"/>
              <a:gd name="connsiteX4" fmla="*/ 1214437 w 1385887"/>
              <a:gd name="connsiteY4" fmla="*/ 0 h 1228725"/>
              <a:gd name="connsiteX0" fmla="*/ 1214437 w 1315789"/>
              <a:gd name="connsiteY0" fmla="*/ 0 h 1228725"/>
              <a:gd name="connsiteX1" fmla="*/ 1315789 w 1315789"/>
              <a:gd name="connsiteY1" fmla="*/ 519509 h 1228725"/>
              <a:gd name="connsiteX2" fmla="*/ 385762 w 1315789"/>
              <a:gd name="connsiteY2" fmla="*/ 1228725 h 1228725"/>
              <a:gd name="connsiteX3" fmla="*/ 0 w 1315789"/>
              <a:gd name="connsiteY3" fmla="*/ 947737 h 1228725"/>
              <a:gd name="connsiteX4" fmla="*/ 1214437 w 1315789"/>
              <a:gd name="connsiteY4" fmla="*/ 0 h 1228725"/>
              <a:gd name="connsiteX0" fmla="*/ 1214437 w 1377701"/>
              <a:gd name="connsiteY0" fmla="*/ 0 h 1228725"/>
              <a:gd name="connsiteX1" fmla="*/ 1377701 w 1377701"/>
              <a:gd name="connsiteY1" fmla="*/ 509984 h 1228725"/>
              <a:gd name="connsiteX2" fmla="*/ 385762 w 1377701"/>
              <a:gd name="connsiteY2" fmla="*/ 1228725 h 1228725"/>
              <a:gd name="connsiteX3" fmla="*/ 0 w 1377701"/>
              <a:gd name="connsiteY3" fmla="*/ 947737 h 1228725"/>
              <a:gd name="connsiteX4" fmla="*/ 1214437 w 1377701"/>
              <a:gd name="connsiteY4" fmla="*/ 0 h 1228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701" h="1228725">
                <a:moveTo>
                  <a:pt x="1214437" y="0"/>
                </a:moveTo>
                <a:lnTo>
                  <a:pt x="1377701" y="509984"/>
                </a:lnTo>
                <a:lnTo>
                  <a:pt x="385762" y="1228725"/>
                </a:lnTo>
                <a:lnTo>
                  <a:pt x="0" y="947737"/>
                </a:lnTo>
                <a:lnTo>
                  <a:pt x="1214437" y="0"/>
                </a:lnTo>
                <a:close/>
              </a:path>
            </a:pathLst>
          </a:cu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89" name="Freeform 88"/>
          <p:cNvSpPr/>
          <p:nvPr/>
        </p:nvSpPr>
        <p:spPr>
          <a:xfrm>
            <a:off x="3003551" y="2984500"/>
            <a:ext cx="800100" cy="1431925"/>
          </a:xfrm>
          <a:custGeom>
            <a:avLst/>
            <a:gdLst>
              <a:gd name="connsiteX0" fmla="*/ 0 w 800100"/>
              <a:gd name="connsiteY0" fmla="*/ 0 h 1431925"/>
              <a:gd name="connsiteX1" fmla="*/ 425450 w 800100"/>
              <a:gd name="connsiteY1" fmla="*/ 6350 h 1431925"/>
              <a:gd name="connsiteX2" fmla="*/ 800100 w 800100"/>
              <a:gd name="connsiteY2" fmla="*/ 1171575 h 1431925"/>
              <a:gd name="connsiteX3" fmla="*/ 434975 w 800100"/>
              <a:gd name="connsiteY3" fmla="*/ 1431925 h 1431925"/>
              <a:gd name="connsiteX4" fmla="*/ 0 w 800100"/>
              <a:gd name="connsiteY4" fmla="*/ 0 h 143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0100" h="1431925">
                <a:moveTo>
                  <a:pt x="0" y="0"/>
                </a:moveTo>
                <a:lnTo>
                  <a:pt x="425450" y="6350"/>
                </a:lnTo>
                <a:lnTo>
                  <a:pt x="800100" y="1171575"/>
                </a:lnTo>
                <a:lnTo>
                  <a:pt x="434975" y="1431925"/>
                </a:lnTo>
                <a:lnTo>
                  <a:pt x="0" y="0"/>
                </a:lnTo>
                <a:close/>
              </a:path>
            </a:pathLst>
          </a:cu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90" name="Freeform 89"/>
          <p:cNvSpPr/>
          <p:nvPr/>
        </p:nvSpPr>
        <p:spPr>
          <a:xfrm>
            <a:off x="3654426" y="4149725"/>
            <a:ext cx="1508125" cy="463550"/>
          </a:xfrm>
          <a:custGeom>
            <a:avLst/>
            <a:gdLst>
              <a:gd name="connsiteX0" fmla="*/ 146050 w 1508125"/>
              <a:gd name="connsiteY0" fmla="*/ 3175 h 463550"/>
              <a:gd name="connsiteX1" fmla="*/ 146050 w 1508125"/>
              <a:gd name="connsiteY1" fmla="*/ 3175 h 463550"/>
              <a:gd name="connsiteX2" fmla="*/ 1377950 w 1508125"/>
              <a:gd name="connsiteY2" fmla="*/ 0 h 463550"/>
              <a:gd name="connsiteX3" fmla="*/ 1508125 w 1508125"/>
              <a:gd name="connsiteY3" fmla="*/ 463550 h 463550"/>
              <a:gd name="connsiteX4" fmla="*/ 0 w 1508125"/>
              <a:gd name="connsiteY4" fmla="*/ 457200 h 463550"/>
              <a:gd name="connsiteX5" fmla="*/ 146050 w 1508125"/>
              <a:gd name="connsiteY5" fmla="*/ 3175 h 463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8125" h="463550">
                <a:moveTo>
                  <a:pt x="146050" y="3175"/>
                </a:moveTo>
                <a:lnTo>
                  <a:pt x="146050" y="3175"/>
                </a:lnTo>
                <a:lnTo>
                  <a:pt x="1377950" y="0"/>
                </a:lnTo>
                <a:lnTo>
                  <a:pt x="1508125" y="463550"/>
                </a:lnTo>
                <a:lnTo>
                  <a:pt x="0" y="457200"/>
                </a:lnTo>
                <a:lnTo>
                  <a:pt x="146050" y="3175"/>
                </a:lnTo>
                <a:close/>
              </a:path>
            </a:pathLst>
          </a:cu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91" name="Freeform 90"/>
          <p:cNvSpPr/>
          <p:nvPr/>
        </p:nvSpPr>
        <p:spPr>
          <a:xfrm>
            <a:off x="5013325" y="2990850"/>
            <a:ext cx="781050" cy="1422400"/>
          </a:xfrm>
          <a:custGeom>
            <a:avLst/>
            <a:gdLst>
              <a:gd name="connsiteX0" fmla="*/ 374650 w 781050"/>
              <a:gd name="connsiteY0" fmla="*/ 0 h 1422400"/>
              <a:gd name="connsiteX1" fmla="*/ 781050 w 781050"/>
              <a:gd name="connsiteY1" fmla="*/ 3175 h 1422400"/>
              <a:gd name="connsiteX2" fmla="*/ 346075 w 781050"/>
              <a:gd name="connsiteY2" fmla="*/ 1422400 h 1422400"/>
              <a:gd name="connsiteX3" fmla="*/ 0 w 781050"/>
              <a:gd name="connsiteY3" fmla="*/ 1165225 h 1422400"/>
              <a:gd name="connsiteX4" fmla="*/ 374650 w 781050"/>
              <a:gd name="connsiteY4" fmla="*/ 0 h 142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050" h="1422400">
                <a:moveTo>
                  <a:pt x="374650" y="0"/>
                </a:moveTo>
                <a:lnTo>
                  <a:pt x="781050" y="3175"/>
                </a:lnTo>
                <a:lnTo>
                  <a:pt x="346075" y="1422400"/>
                </a:lnTo>
                <a:lnTo>
                  <a:pt x="0" y="1165225"/>
                </a:lnTo>
                <a:lnTo>
                  <a:pt x="374650" y="0"/>
                </a:lnTo>
                <a:close/>
              </a:path>
            </a:pathLst>
          </a:cu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95" name="TextBox 94"/>
          <p:cNvSpPr txBox="1"/>
          <p:nvPr/>
        </p:nvSpPr>
        <p:spPr>
          <a:xfrm rot="19347011">
            <a:off x="3025366" y="2293270"/>
            <a:ext cx="1480661" cy="276999"/>
          </a:xfrm>
          <a:prstGeom prst="rect">
            <a:avLst/>
          </a:prstGeom>
          <a:noFill/>
        </p:spPr>
        <p:txBody>
          <a:bodyPr wrap="square" rtlCol="0">
            <a:spAutoFit/>
          </a:bodyPr>
          <a:lstStyle/>
          <a:p>
            <a:pPr algn="ctr"/>
            <a:r>
              <a:rPr lang="en-GB" sz="1200" b="1" smtClean="0">
                <a:solidFill>
                  <a:schemeClr val="bg1"/>
                </a:solidFill>
                <a:latin typeface="Telefonica Text" pitchFamily="50" charset="0"/>
              </a:rPr>
              <a:t>Smart Mobility</a:t>
            </a:r>
            <a:endParaRPr lang="en-GB" sz="1200" b="1">
              <a:solidFill>
                <a:schemeClr val="bg1"/>
              </a:solidFill>
              <a:latin typeface="Telefonica Text" pitchFamily="50" charset="0"/>
            </a:endParaRPr>
          </a:p>
        </p:txBody>
      </p:sp>
      <p:sp>
        <p:nvSpPr>
          <p:cNvPr id="96" name="TextBox 95"/>
          <p:cNvSpPr txBox="1"/>
          <p:nvPr/>
        </p:nvSpPr>
        <p:spPr>
          <a:xfrm>
            <a:off x="3787775" y="4130030"/>
            <a:ext cx="1152526" cy="461665"/>
          </a:xfrm>
          <a:prstGeom prst="rect">
            <a:avLst/>
          </a:prstGeom>
          <a:noFill/>
        </p:spPr>
        <p:txBody>
          <a:bodyPr wrap="square" rtlCol="0">
            <a:spAutoFit/>
          </a:bodyPr>
          <a:lstStyle/>
          <a:p>
            <a:pPr algn="ctr"/>
            <a:r>
              <a:rPr lang="en-GB" sz="1200" b="1" smtClean="0">
                <a:solidFill>
                  <a:schemeClr val="bg1"/>
                </a:solidFill>
                <a:latin typeface="Telefonica Text" pitchFamily="50" charset="0"/>
              </a:rPr>
              <a:t>Security </a:t>
            </a:r>
          </a:p>
          <a:p>
            <a:pPr algn="ctr"/>
            <a:r>
              <a:rPr lang="en-GB" sz="1200" b="1" smtClean="0">
                <a:solidFill>
                  <a:schemeClr val="bg1"/>
                </a:solidFill>
                <a:latin typeface="Telefonica Text" pitchFamily="50" charset="0"/>
              </a:rPr>
              <a:t>&amp; e-Health</a:t>
            </a:r>
            <a:endParaRPr lang="en-GB" sz="1200" b="1">
              <a:solidFill>
                <a:schemeClr val="bg1"/>
              </a:solidFill>
              <a:latin typeface="Telefonica Text" pitchFamily="50" charset="0"/>
            </a:endParaRPr>
          </a:p>
        </p:txBody>
      </p:sp>
      <p:sp>
        <p:nvSpPr>
          <p:cNvPr id="97" name="TextBox 96"/>
          <p:cNvSpPr txBox="1"/>
          <p:nvPr/>
        </p:nvSpPr>
        <p:spPr>
          <a:xfrm rot="4410237">
            <a:off x="2663416" y="3493420"/>
            <a:ext cx="1480661" cy="276999"/>
          </a:xfrm>
          <a:prstGeom prst="rect">
            <a:avLst/>
          </a:prstGeom>
          <a:noFill/>
        </p:spPr>
        <p:txBody>
          <a:bodyPr wrap="square" rtlCol="0">
            <a:spAutoFit/>
          </a:bodyPr>
          <a:lstStyle/>
          <a:p>
            <a:pPr algn="ctr"/>
            <a:r>
              <a:rPr lang="en-GB" sz="1200" b="1" dirty="0" smtClean="0">
                <a:solidFill>
                  <a:schemeClr val="bg1"/>
                </a:solidFill>
                <a:latin typeface="Telefonica Text" pitchFamily="50" charset="0"/>
              </a:rPr>
              <a:t>City Economy</a:t>
            </a:r>
            <a:endParaRPr lang="en-GB" sz="1200" b="1" dirty="0">
              <a:solidFill>
                <a:schemeClr val="bg1"/>
              </a:solidFill>
              <a:latin typeface="Telefonica Text" pitchFamily="50" charset="0"/>
            </a:endParaRPr>
          </a:p>
        </p:txBody>
      </p:sp>
      <p:sp>
        <p:nvSpPr>
          <p:cNvPr id="98" name="TextBox 97"/>
          <p:cNvSpPr txBox="1"/>
          <p:nvPr/>
        </p:nvSpPr>
        <p:spPr>
          <a:xfrm rot="17232454">
            <a:off x="4644616" y="3493419"/>
            <a:ext cx="1480661" cy="276999"/>
          </a:xfrm>
          <a:prstGeom prst="rect">
            <a:avLst/>
          </a:prstGeom>
          <a:noFill/>
        </p:spPr>
        <p:txBody>
          <a:bodyPr wrap="square" rtlCol="0">
            <a:spAutoFit/>
          </a:bodyPr>
          <a:lstStyle/>
          <a:p>
            <a:pPr algn="ctr"/>
            <a:r>
              <a:rPr lang="en-GB" sz="1200" b="1" smtClean="0">
                <a:solidFill>
                  <a:schemeClr val="bg1"/>
                </a:solidFill>
                <a:latin typeface="Telefonica Text" pitchFamily="50" charset="0"/>
              </a:rPr>
              <a:t>City Management</a:t>
            </a:r>
            <a:endParaRPr lang="en-GB" sz="1200" b="1">
              <a:solidFill>
                <a:schemeClr val="bg1"/>
              </a:solidFill>
              <a:latin typeface="Telefonica Text" pitchFamily="50" charset="0"/>
            </a:endParaRPr>
          </a:p>
        </p:txBody>
      </p:sp>
      <p:pic>
        <p:nvPicPr>
          <p:cNvPr id="118" name="Picture 3"/>
          <p:cNvPicPr>
            <a:picLocks noChangeArrowheads="1"/>
          </p:cNvPicPr>
          <p:nvPr/>
        </p:nvPicPr>
        <p:blipFill>
          <a:blip r:embed="rId5" cstate="print"/>
          <a:srcRect l="27927" t="11628" r="27927" b="18810"/>
          <a:stretch>
            <a:fillRect/>
          </a:stretch>
        </p:blipFill>
        <p:spPr bwMode="auto">
          <a:xfrm>
            <a:off x="4813301" y="1788378"/>
            <a:ext cx="149225" cy="221399"/>
          </a:xfrm>
          <a:prstGeom prst="rect">
            <a:avLst/>
          </a:prstGeom>
          <a:noFill/>
          <a:ln w="9525">
            <a:noFill/>
            <a:miter lim="800000"/>
            <a:headEnd/>
            <a:tailEnd/>
          </a:ln>
          <a:effectLst/>
        </p:spPr>
      </p:pic>
      <p:sp>
        <p:nvSpPr>
          <p:cNvPr id="122" name="TextBox 121"/>
          <p:cNvSpPr txBox="1"/>
          <p:nvPr/>
        </p:nvSpPr>
        <p:spPr>
          <a:xfrm>
            <a:off x="4882437" y="1121656"/>
            <a:ext cx="1296144" cy="230832"/>
          </a:xfrm>
          <a:prstGeom prst="rect">
            <a:avLst/>
          </a:prstGeom>
          <a:noFill/>
        </p:spPr>
        <p:txBody>
          <a:bodyPr wrap="square" rtlCol="0">
            <a:spAutoFit/>
          </a:bodyPr>
          <a:lstStyle/>
          <a:p>
            <a:r>
              <a:rPr lang="en-GB" sz="900" b="1" smtClean="0">
                <a:solidFill>
                  <a:schemeClr val="tx2"/>
                </a:solidFill>
                <a:latin typeface="Telefonica Text" pitchFamily="50" charset="0"/>
              </a:rPr>
              <a:t>Smart Building</a:t>
            </a:r>
            <a:endParaRPr lang="en-GB" sz="900" b="1">
              <a:solidFill>
                <a:schemeClr val="tx2"/>
              </a:solidFill>
              <a:latin typeface="Telefonica Text" pitchFamily="50" charset="0"/>
            </a:endParaRPr>
          </a:p>
        </p:txBody>
      </p:sp>
      <p:sp>
        <p:nvSpPr>
          <p:cNvPr id="123" name="TextBox 122"/>
          <p:cNvSpPr txBox="1"/>
          <p:nvPr/>
        </p:nvSpPr>
        <p:spPr>
          <a:xfrm>
            <a:off x="4813947" y="1323801"/>
            <a:ext cx="1440160" cy="230832"/>
          </a:xfrm>
          <a:prstGeom prst="rect">
            <a:avLst/>
          </a:prstGeom>
          <a:noFill/>
        </p:spPr>
        <p:txBody>
          <a:bodyPr wrap="square" rtlCol="0">
            <a:spAutoFit/>
          </a:bodyPr>
          <a:lstStyle/>
          <a:p>
            <a:r>
              <a:rPr lang="en-GB" sz="900" b="1" smtClean="0">
                <a:solidFill>
                  <a:schemeClr val="tx2"/>
                </a:solidFill>
                <a:latin typeface="Telefonica Text" pitchFamily="50" charset="0"/>
              </a:rPr>
              <a:t>Elec. Smart Meter/Grid</a:t>
            </a:r>
            <a:endParaRPr lang="en-GB" sz="900" b="1">
              <a:solidFill>
                <a:schemeClr val="tx2"/>
              </a:solidFill>
              <a:latin typeface="Telefonica Text" pitchFamily="50" charset="0"/>
            </a:endParaRPr>
          </a:p>
        </p:txBody>
      </p:sp>
      <p:sp>
        <p:nvSpPr>
          <p:cNvPr id="124" name="TextBox 123"/>
          <p:cNvSpPr txBox="1"/>
          <p:nvPr/>
        </p:nvSpPr>
        <p:spPr>
          <a:xfrm>
            <a:off x="4879261" y="1743871"/>
            <a:ext cx="1512168" cy="230832"/>
          </a:xfrm>
          <a:prstGeom prst="rect">
            <a:avLst/>
          </a:prstGeom>
          <a:noFill/>
        </p:spPr>
        <p:txBody>
          <a:bodyPr wrap="square" rtlCol="0">
            <a:spAutoFit/>
          </a:bodyPr>
          <a:lstStyle/>
          <a:p>
            <a:r>
              <a:rPr lang="en-GB" sz="900" b="1" dirty="0" smtClean="0">
                <a:solidFill>
                  <a:schemeClr val="tx2"/>
                </a:solidFill>
                <a:latin typeface="Telefonica Text" pitchFamily="50" charset="0"/>
              </a:rPr>
              <a:t>Smart Urban Lighting</a:t>
            </a:r>
            <a:endParaRPr lang="en-GB" sz="900" b="1" dirty="0">
              <a:solidFill>
                <a:schemeClr val="tx2"/>
              </a:solidFill>
              <a:latin typeface="Telefonica Text" pitchFamily="50" charset="0"/>
            </a:endParaRPr>
          </a:p>
        </p:txBody>
      </p:sp>
      <p:sp>
        <p:nvSpPr>
          <p:cNvPr id="125" name="TextBox 124"/>
          <p:cNvSpPr txBox="1"/>
          <p:nvPr/>
        </p:nvSpPr>
        <p:spPr>
          <a:xfrm>
            <a:off x="5118022" y="1922430"/>
            <a:ext cx="1512168" cy="230832"/>
          </a:xfrm>
          <a:prstGeom prst="rect">
            <a:avLst/>
          </a:prstGeom>
          <a:noFill/>
        </p:spPr>
        <p:txBody>
          <a:bodyPr wrap="square" rtlCol="0">
            <a:spAutoFit/>
          </a:bodyPr>
          <a:lstStyle/>
          <a:p>
            <a:r>
              <a:rPr lang="en-GB" sz="900" b="1" dirty="0" smtClean="0">
                <a:solidFill>
                  <a:schemeClr val="tx2"/>
                </a:solidFill>
                <a:latin typeface="Telefonica Text" pitchFamily="50" charset="0"/>
              </a:rPr>
              <a:t>Waste Management</a:t>
            </a:r>
            <a:endParaRPr lang="en-GB" sz="900" b="1" dirty="0">
              <a:solidFill>
                <a:schemeClr val="tx2"/>
              </a:solidFill>
              <a:latin typeface="Telefonica Text" pitchFamily="50" charset="0"/>
            </a:endParaRPr>
          </a:p>
        </p:txBody>
      </p:sp>
      <p:sp>
        <p:nvSpPr>
          <p:cNvPr id="126" name="TextBox 125"/>
          <p:cNvSpPr txBox="1"/>
          <p:nvPr/>
        </p:nvSpPr>
        <p:spPr>
          <a:xfrm>
            <a:off x="5412026" y="2146788"/>
            <a:ext cx="1656184" cy="230832"/>
          </a:xfrm>
          <a:prstGeom prst="rect">
            <a:avLst/>
          </a:prstGeom>
          <a:noFill/>
        </p:spPr>
        <p:txBody>
          <a:bodyPr wrap="square" rtlCol="0">
            <a:spAutoFit/>
          </a:bodyPr>
          <a:lstStyle/>
          <a:p>
            <a:r>
              <a:rPr lang="en-GB" sz="900" b="1" dirty="0" smtClean="0">
                <a:solidFill>
                  <a:schemeClr val="tx2"/>
                </a:solidFill>
                <a:latin typeface="Telefonica Text" pitchFamily="50" charset="0"/>
              </a:rPr>
              <a:t>Watering </a:t>
            </a:r>
            <a:r>
              <a:rPr lang="en-GB" sz="900" b="1" dirty="0" err="1" smtClean="0">
                <a:solidFill>
                  <a:schemeClr val="tx2"/>
                </a:solidFill>
                <a:latin typeface="Telefonica Text" pitchFamily="50" charset="0"/>
              </a:rPr>
              <a:t>Manag</a:t>
            </a:r>
            <a:r>
              <a:rPr lang="en-GB" sz="900" b="1" dirty="0" smtClean="0">
                <a:solidFill>
                  <a:schemeClr val="tx2"/>
                </a:solidFill>
                <a:latin typeface="Telefonica Text" pitchFamily="50" charset="0"/>
              </a:rPr>
              <a:t>.</a:t>
            </a:r>
            <a:endParaRPr lang="en-GB" sz="900" b="1" dirty="0">
              <a:solidFill>
                <a:schemeClr val="tx2"/>
              </a:solidFill>
              <a:latin typeface="Telefonica Text" pitchFamily="50" charset="0"/>
            </a:endParaRPr>
          </a:p>
        </p:txBody>
      </p:sp>
      <p:sp>
        <p:nvSpPr>
          <p:cNvPr id="128" name="TextBox 127"/>
          <p:cNvSpPr txBox="1"/>
          <p:nvPr/>
        </p:nvSpPr>
        <p:spPr>
          <a:xfrm>
            <a:off x="4737022" y="1548862"/>
            <a:ext cx="1296144" cy="230832"/>
          </a:xfrm>
          <a:prstGeom prst="rect">
            <a:avLst/>
          </a:prstGeom>
          <a:noFill/>
        </p:spPr>
        <p:txBody>
          <a:bodyPr wrap="square" rtlCol="0">
            <a:spAutoFit/>
          </a:bodyPr>
          <a:lstStyle/>
          <a:p>
            <a:r>
              <a:rPr lang="en-GB" sz="900" b="1" smtClean="0">
                <a:solidFill>
                  <a:schemeClr val="tx2"/>
                </a:solidFill>
                <a:latin typeface="Telefonica Text" pitchFamily="50" charset="0"/>
              </a:rPr>
              <a:t>Water Smart Meter</a:t>
            </a:r>
            <a:endParaRPr lang="en-GB" sz="900" b="1">
              <a:solidFill>
                <a:schemeClr val="tx2"/>
              </a:solidFill>
              <a:latin typeface="Telefonica Text" pitchFamily="50" charset="0"/>
            </a:endParaRPr>
          </a:p>
        </p:txBody>
      </p:sp>
      <p:grpSp>
        <p:nvGrpSpPr>
          <p:cNvPr id="129" name="Group 128"/>
          <p:cNvGrpSpPr/>
          <p:nvPr/>
        </p:nvGrpSpPr>
        <p:grpSpPr>
          <a:xfrm>
            <a:off x="4738554" y="1335780"/>
            <a:ext cx="159202" cy="231021"/>
            <a:chOff x="5367856" y="4158960"/>
            <a:chExt cx="438406" cy="573759"/>
          </a:xfrm>
        </p:grpSpPr>
        <p:grpSp>
          <p:nvGrpSpPr>
            <p:cNvPr id="130" name="Group 48"/>
            <p:cNvGrpSpPr>
              <a:grpSpLocks noChangeAspect="1"/>
            </p:cNvGrpSpPr>
            <p:nvPr/>
          </p:nvGrpSpPr>
          <p:grpSpPr>
            <a:xfrm>
              <a:off x="5367856" y="4158960"/>
              <a:ext cx="239163" cy="423664"/>
              <a:chOff x="762212" y="192617"/>
              <a:chExt cx="3653473" cy="6471920"/>
            </a:xfrm>
            <a:solidFill>
              <a:schemeClr val="tx2">
                <a:lumMod val="60000"/>
                <a:lumOff val="40000"/>
              </a:schemeClr>
            </a:solidFill>
          </p:grpSpPr>
          <p:sp>
            <p:nvSpPr>
              <p:cNvPr id="151" name="Freeform 150"/>
              <p:cNvSpPr/>
              <p:nvPr/>
            </p:nvSpPr>
            <p:spPr>
              <a:xfrm>
                <a:off x="762212" y="192617"/>
                <a:ext cx="3653473" cy="6471920"/>
              </a:xfrm>
              <a:custGeom>
                <a:avLst/>
                <a:gdLst>
                  <a:gd name="connsiteX0" fmla="*/ 1536700 w 3390900"/>
                  <a:gd name="connsiteY0" fmla="*/ 0 h 6261100"/>
                  <a:gd name="connsiteX1" fmla="*/ 1536700 w 3390900"/>
                  <a:gd name="connsiteY1" fmla="*/ 0 h 6261100"/>
                  <a:gd name="connsiteX2" fmla="*/ 1295400 w 3390900"/>
                  <a:gd name="connsiteY2" fmla="*/ 685800 h 6261100"/>
                  <a:gd name="connsiteX3" fmla="*/ 0 w 3390900"/>
                  <a:gd name="connsiteY3" fmla="*/ 1219200 h 6261100"/>
                  <a:gd name="connsiteX4" fmla="*/ 12700 w 3390900"/>
                  <a:gd name="connsiteY4" fmla="*/ 1485900 h 6261100"/>
                  <a:gd name="connsiteX5" fmla="*/ 1282700 w 3390900"/>
                  <a:gd name="connsiteY5" fmla="*/ 1460500 h 6261100"/>
                  <a:gd name="connsiteX6" fmla="*/ 1295400 w 3390900"/>
                  <a:gd name="connsiteY6" fmla="*/ 2400300 h 6261100"/>
                  <a:gd name="connsiteX7" fmla="*/ 279400 w 3390900"/>
                  <a:gd name="connsiteY7" fmla="*/ 6248400 h 6261100"/>
                  <a:gd name="connsiteX8" fmla="*/ 444500 w 3390900"/>
                  <a:gd name="connsiteY8" fmla="*/ 6261100 h 6261100"/>
                  <a:gd name="connsiteX9" fmla="*/ 444500 w 3390900"/>
                  <a:gd name="connsiteY9" fmla="*/ 6096000 h 6261100"/>
                  <a:gd name="connsiteX10" fmla="*/ 1422400 w 3390900"/>
                  <a:gd name="connsiteY10" fmla="*/ 2362200 h 6261100"/>
                  <a:gd name="connsiteX11" fmla="*/ 1358900 w 3390900"/>
                  <a:gd name="connsiteY11" fmla="*/ 1257300 h 6261100"/>
                  <a:gd name="connsiteX12" fmla="*/ 508000 w 3390900"/>
                  <a:gd name="connsiteY12" fmla="*/ 1257300 h 6261100"/>
                  <a:gd name="connsiteX13" fmla="*/ 1371600 w 3390900"/>
                  <a:gd name="connsiteY13" fmla="*/ 800100 h 6261100"/>
                  <a:gd name="connsiteX14" fmla="*/ 1663700 w 3390900"/>
                  <a:gd name="connsiteY14" fmla="*/ 139700 h 6261100"/>
                  <a:gd name="connsiteX15" fmla="*/ 1930400 w 3390900"/>
                  <a:gd name="connsiteY15" fmla="*/ 736600 h 6261100"/>
                  <a:gd name="connsiteX16" fmla="*/ 2946400 w 3390900"/>
                  <a:gd name="connsiteY16" fmla="*/ 1231900 h 6261100"/>
                  <a:gd name="connsiteX17" fmla="*/ 1981200 w 3390900"/>
                  <a:gd name="connsiteY17" fmla="*/ 1219200 h 6261100"/>
                  <a:gd name="connsiteX18" fmla="*/ 1968500 w 3390900"/>
                  <a:gd name="connsiteY18" fmla="*/ 2324100 h 6261100"/>
                  <a:gd name="connsiteX19" fmla="*/ 2984500 w 3390900"/>
                  <a:gd name="connsiteY19" fmla="*/ 6248400 h 6261100"/>
                  <a:gd name="connsiteX20" fmla="*/ 3124200 w 3390900"/>
                  <a:gd name="connsiteY20" fmla="*/ 6172200 h 6261100"/>
                  <a:gd name="connsiteX21" fmla="*/ 2108200 w 3390900"/>
                  <a:gd name="connsiteY21" fmla="*/ 2362200 h 6261100"/>
                  <a:gd name="connsiteX22" fmla="*/ 2120900 w 3390900"/>
                  <a:gd name="connsiteY22" fmla="*/ 1473200 h 6261100"/>
                  <a:gd name="connsiteX23" fmla="*/ 3390900 w 3390900"/>
                  <a:gd name="connsiteY23" fmla="*/ 1460500 h 6261100"/>
                  <a:gd name="connsiteX24" fmla="*/ 3365500 w 3390900"/>
                  <a:gd name="connsiteY24" fmla="*/ 1231900 h 6261100"/>
                  <a:gd name="connsiteX25" fmla="*/ 2082800 w 3390900"/>
                  <a:gd name="connsiteY25" fmla="*/ 596900 h 6261100"/>
                  <a:gd name="connsiteX26" fmla="*/ 1892300 w 3390900"/>
                  <a:gd name="connsiteY26" fmla="*/ 0 h 6261100"/>
                  <a:gd name="connsiteX27" fmla="*/ 1536700 w 3390900"/>
                  <a:gd name="connsiteY27" fmla="*/ 0 h 6261100"/>
                  <a:gd name="connsiteX0" fmla="*/ 1536700 w 3390900"/>
                  <a:gd name="connsiteY0" fmla="*/ 0 h 6261100"/>
                  <a:gd name="connsiteX1" fmla="*/ 1536700 w 3390900"/>
                  <a:gd name="connsiteY1" fmla="*/ 0 h 6261100"/>
                  <a:gd name="connsiteX2" fmla="*/ 1310640 w 3390900"/>
                  <a:gd name="connsiteY2" fmla="*/ 579120 h 6261100"/>
                  <a:gd name="connsiteX3" fmla="*/ 0 w 3390900"/>
                  <a:gd name="connsiteY3" fmla="*/ 1219200 h 6261100"/>
                  <a:gd name="connsiteX4" fmla="*/ 12700 w 3390900"/>
                  <a:gd name="connsiteY4" fmla="*/ 1485900 h 6261100"/>
                  <a:gd name="connsiteX5" fmla="*/ 1282700 w 3390900"/>
                  <a:gd name="connsiteY5" fmla="*/ 1460500 h 6261100"/>
                  <a:gd name="connsiteX6" fmla="*/ 1295400 w 3390900"/>
                  <a:gd name="connsiteY6" fmla="*/ 2400300 h 6261100"/>
                  <a:gd name="connsiteX7" fmla="*/ 279400 w 3390900"/>
                  <a:gd name="connsiteY7" fmla="*/ 6248400 h 6261100"/>
                  <a:gd name="connsiteX8" fmla="*/ 444500 w 3390900"/>
                  <a:gd name="connsiteY8" fmla="*/ 6261100 h 6261100"/>
                  <a:gd name="connsiteX9" fmla="*/ 444500 w 3390900"/>
                  <a:gd name="connsiteY9" fmla="*/ 6096000 h 6261100"/>
                  <a:gd name="connsiteX10" fmla="*/ 1422400 w 3390900"/>
                  <a:gd name="connsiteY10" fmla="*/ 2362200 h 6261100"/>
                  <a:gd name="connsiteX11" fmla="*/ 1358900 w 3390900"/>
                  <a:gd name="connsiteY11" fmla="*/ 1257300 h 6261100"/>
                  <a:gd name="connsiteX12" fmla="*/ 508000 w 3390900"/>
                  <a:gd name="connsiteY12" fmla="*/ 1257300 h 6261100"/>
                  <a:gd name="connsiteX13" fmla="*/ 1371600 w 3390900"/>
                  <a:gd name="connsiteY13" fmla="*/ 800100 h 6261100"/>
                  <a:gd name="connsiteX14" fmla="*/ 1663700 w 3390900"/>
                  <a:gd name="connsiteY14" fmla="*/ 139700 h 6261100"/>
                  <a:gd name="connsiteX15" fmla="*/ 1930400 w 3390900"/>
                  <a:gd name="connsiteY15" fmla="*/ 736600 h 6261100"/>
                  <a:gd name="connsiteX16" fmla="*/ 2946400 w 3390900"/>
                  <a:gd name="connsiteY16" fmla="*/ 1231900 h 6261100"/>
                  <a:gd name="connsiteX17" fmla="*/ 1981200 w 3390900"/>
                  <a:gd name="connsiteY17" fmla="*/ 1219200 h 6261100"/>
                  <a:gd name="connsiteX18" fmla="*/ 1968500 w 3390900"/>
                  <a:gd name="connsiteY18" fmla="*/ 2324100 h 6261100"/>
                  <a:gd name="connsiteX19" fmla="*/ 2984500 w 3390900"/>
                  <a:gd name="connsiteY19" fmla="*/ 6248400 h 6261100"/>
                  <a:gd name="connsiteX20" fmla="*/ 3124200 w 3390900"/>
                  <a:gd name="connsiteY20" fmla="*/ 6172200 h 6261100"/>
                  <a:gd name="connsiteX21" fmla="*/ 2108200 w 3390900"/>
                  <a:gd name="connsiteY21" fmla="*/ 2362200 h 6261100"/>
                  <a:gd name="connsiteX22" fmla="*/ 2120900 w 3390900"/>
                  <a:gd name="connsiteY22" fmla="*/ 1473200 h 6261100"/>
                  <a:gd name="connsiteX23" fmla="*/ 3390900 w 3390900"/>
                  <a:gd name="connsiteY23" fmla="*/ 1460500 h 6261100"/>
                  <a:gd name="connsiteX24" fmla="*/ 3365500 w 3390900"/>
                  <a:gd name="connsiteY24" fmla="*/ 1231900 h 6261100"/>
                  <a:gd name="connsiteX25" fmla="*/ 2082800 w 3390900"/>
                  <a:gd name="connsiteY25" fmla="*/ 596900 h 6261100"/>
                  <a:gd name="connsiteX26" fmla="*/ 1892300 w 3390900"/>
                  <a:gd name="connsiteY26" fmla="*/ 0 h 6261100"/>
                  <a:gd name="connsiteX27" fmla="*/ 1536700 w 3390900"/>
                  <a:gd name="connsiteY27" fmla="*/ 0 h 6261100"/>
                  <a:gd name="connsiteX0" fmla="*/ 1524000 w 3378200"/>
                  <a:gd name="connsiteY0" fmla="*/ 0 h 6261100"/>
                  <a:gd name="connsiteX1" fmla="*/ 1524000 w 3378200"/>
                  <a:gd name="connsiteY1" fmla="*/ 0 h 6261100"/>
                  <a:gd name="connsiteX2" fmla="*/ 1297940 w 3378200"/>
                  <a:gd name="connsiteY2" fmla="*/ 579120 h 6261100"/>
                  <a:gd name="connsiteX3" fmla="*/ 10160 w 3378200"/>
                  <a:gd name="connsiteY3" fmla="*/ 1196340 h 6261100"/>
                  <a:gd name="connsiteX4" fmla="*/ 0 w 3378200"/>
                  <a:gd name="connsiteY4" fmla="*/ 1485900 h 6261100"/>
                  <a:gd name="connsiteX5" fmla="*/ 1270000 w 3378200"/>
                  <a:gd name="connsiteY5" fmla="*/ 1460500 h 6261100"/>
                  <a:gd name="connsiteX6" fmla="*/ 1282700 w 3378200"/>
                  <a:gd name="connsiteY6" fmla="*/ 2400300 h 6261100"/>
                  <a:gd name="connsiteX7" fmla="*/ 266700 w 3378200"/>
                  <a:gd name="connsiteY7" fmla="*/ 6248400 h 6261100"/>
                  <a:gd name="connsiteX8" fmla="*/ 431800 w 3378200"/>
                  <a:gd name="connsiteY8" fmla="*/ 6261100 h 6261100"/>
                  <a:gd name="connsiteX9" fmla="*/ 431800 w 3378200"/>
                  <a:gd name="connsiteY9" fmla="*/ 6096000 h 6261100"/>
                  <a:gd name="connsiteX10" fmla="*/ 1409700 w 3378200"/>
                  <a:gd name="connsiteY10" fmla="*/ 2362200 h 6261100"/>
                  <a:gd name="connsiteX11" fmla="*/ 1346200 w 3378200"/>
                  <a:gd name="connsiteY11" fmla="*/ 1257300 h 6261100"/>
                  <a:gd name="connsiteX12" fmla="*/ 495300 w 3378200"/>
                  <a:gd name="connsiteY12" fmla="*/ 1257300 h 6261100"/>
                  <a:gd name="connsiteX13" fmla="*/ 1358900 w 3378200"/>
                  <a:gd name="connsiteY13" fmla="*/ 800100 h 6261100"/>
                  <a:gd name="connsiteX14" fmla="*/ 1651000 w 3378200"/>
                  <a:gd name="connsiteY14" fmla="*/ 139700 h 6261100"/>
                  <a:gd name="connsiteX15" fmla="*/ 1917700 w 3378200"/>
                  <a:gd name="connsiteY15" fmla="*/ 736600 h 6261100"/>
                  <a:gd name="connsiteX16" fmla="*/ 2933700 w 3378200"/>
                  <a:gd name="connsiteY16" fmla="*/ 1231900 h 6261100"/>
                  <a:gd name="connsiteX17" fmla="*/ 1968500 w 3378200"/>
                  <a:gd name="connsiteY17" fmla="*/ 1219200 h 6261100"/>
                  <a:gd name="connsiteX18" fmla="*/ 1955800 w 3378200"/>
                  <a:gd name="connsiteY18" fmla="*/ 2324100 h 6261100"/>
                  <a:gd name="connsiteX19" fmla="*/ 2971800 w 3378200"/>
                  <a:gd name="connsiteY19" fmla="*/ 6248400 h 6261100"/>
                  <a:gd name="connsiteX20" fmla="*/ 3111500 w 3378200"/>
                  <a:gd name="connsiteY20" fmla="*/ 6172200 h 6261100"/>
                  <a:gd name="connsiteX21" fmla="*/ 2095500 w 3378200"/>
                  <a:gd name="connsiteY21" fmla="*/ 2362200 h 6261100"/>
                  <a:gd name="connsiteX22" fmla="*/ 2108200 w 3378200"/>
                  <a:gd name="connsiteY22" fmla="*/ 1473200 h 6261100"/>
                  <a:gd name="connsiteX23" fmla="*/ 3378200 w 3378200"/>
                  <a:gd name="connsiteY23" fmla="*/ 1460500 h 6261100"/>
                  <a:gd name="connsiteX24" fmla="*/ 3352800 w 3378200"/>
                  <a:gd name="connsiteY24" fmla="*/ 1231900 h 6261100"/>
                  <a:gd name="connsiteX25" fmla="*/ 2070100 w 3378200"/>
                  <a:gd name="connsiteY25" fmla="*/ 596900 h 6261100"/>
                  <a:gd name="connsiteX26" fmla="*/ 1879600 w 3378200"/>
                  <a:gd name="connsiteY26" fmla="*/ 0 h 6261100"/>
                  <a:gd name="connsiteX27" fmla="*/ 1524000 w 3378200"/>
                  <a:gd name="connsiteY27" fmla="*/ 0 h 6261100"/>
                  <a:gd name="connsiteX0" fmla="*/ 1524000 w 3378200"/>
                  <a:gd name="connsiteY0" fmla="*/ 0 h 6261100"/>
                  <a:gd name="connsiteX1" fmla="*/ 1524000 w 3378200"/>
                  <a:gd name="connsiteY1" fmla="*/ 0 h 6261100"/>
                  <a:gd name="connsiteX2" fmla="*/ 1297940 w 3378200"/>
                  <a:gd name="connsiteY2" fmla="*/ 579120 h 6261100"/>
                  <a:gd name="connsiteX3" fmla="*/ 10160 w 3378200"/>
                  <a:gd name="connsiteY3" fmla="*/ 1196340 h 6261100"/>
                  <a:gd name="connsiteX4" fmla="*/ 0 w 3378200"/>
                  <a:gd name="connsiteY4" fmla="*/ 1455420 h 6261100"/>
                  <a:gd name="connsiteX5" fmla="*/ 1270000 w 3378200"/>
                  <a:gd name="connsiteY5" fmla="*/ 1460500 h 6261100"/>
                  <a:gd name="connsiteX6" fmla="*/ 1282700 w 3378200"/>
                  <a:gd name="connsiteY6" fmla="*/ 2400300 h 6261100"/>
                  <a:gd name="connsiteX7" fmla="*/ 266700 w 3378200"/>
                  <a:gd name="connsiteY7" fmla="*/ 6248400 h 6261100"/>
                  <a:gd name="connsiteX8" fmla="*/ 431800 w 3378200"/>
                  <a:gd name="connsiteY8" fmla="*/ 6261100 h 6261100"/>
                  <a:gd name="connsiteX9" fmla="*/ 431800 w 3378200"/>
                  <a:gd name="connsiteY9" fmla="*/ 6096000 h 6261100"/>
                  <a:gd name="connsiteX10" fmla="*/ 1409700 w 3378200"/>
                  <a:gd name="connsiteY10" fmla="*/ 2362200 h 6261100"/>
                  <a:gd name="connsiteX11" fmla="*/ 1346200 w 3378200"/>
                  <a:gd name="connsiteY11" fmla="*/ 1257300 h 6261100"/>
                  <a:gd name="connsiteX12" fmla="*/ 495300 w 3378200"/>
                  <a:gd name="connsiteY12" fmla="*/ 1257300 h 6261100"/>
                  <a:gd name="connsiteX13" fmla="*/ 1358900 w 3378200"/>
                  <a:gd name="connsiteY13" fmla="*/ 800100 h 6261100"/>
                  <a:gd name="connsiteX14" fmla="*/ 1651000 w 3378200"/>
                  <a:gd name="connsiteY14" fmla="*/ 139700 h 6261100"/>
                  <a:gd name="connsiteX15" fmla="*/ 1917700 w 3378200"/>
                  <a:gd name="connsiteY15" fmla="*/ 736600 h 6261100"/>
                  <a:gd name="connsiteX16" fmla="*/ 2933700 w 3378200"/>
                  <a:gd name="connsiteY16" fmla="*/ 1231900 h 6261100"/>
                  <a:gd name="connsiteX17" fmla="*/ 1968500 w 3378200"/>
                  <a:gd name="connsiteY17" fmla="*/ 1219200 h 6261100"/>
                  <a:gd name="connsiteX18" fmla="*/ 1955800 w 3378200"/>
                  <a:gd name="connsiteY18" fmla="*/ 2324100 h 6261100"/>
                  <a:gd name="connsiteX19" fmla="*/ 2971800 w 3378200"/>
                  <a:gd name="connsiteY19" fmla="*/ 6248400 h 6261100"/>
                  <a:gd name="connsiteX20" fmla="*/ 3111500 w 3378200"/>
                  <a:gd name="connsiteY20" fmla="*/ 6172200 h 6261100"/>
                  <a:gd name="connsiteX21" fmla="*/ 2095500 w 3378200"/>
                  <a:gd name="connsiteY21" fmla="*/ 2362200 h 6261100"/>
                  <a:gd name="connsiteX22" fmla="*/ 2108200 w 3378200"/>
                  <a:gd name="connsiteY22" fmla="*/ 1473200 h 6261100"/>
                  <a:gd name="connsiteX23" fmla="*/ 3378200 w 3378200"/>
                  <a:gd name="connsiteY23" fmla="*/ 1460500 h 6261100"/>
                  <a:gd name="connsiteX24" fmla="*/ 3352800 w 3378200"/>
                  <a:gd name="connsiteY24" fmla="*/ 1231900 h 6261100"/>
                  <a:gd name="connsiteX25" fmla="*/ 2070100 w 3378200"/>
                  <a:gd name="connsiteY25" fmla="*/ 596900 h 6261100"/>
                  <a:gd name="connsiteX26" fmla="*/ 1879600 w 3378200"/>
                  <a:gd name="connsiteY26" fmla="*/ 0 h 6261100"/>
                  <a:gd name="connsiteX27" fmla="*/ 1524000 w 3378200"/>
                  <a:gd name="connsiteY27" fmla="*/ 0 h 6261100"/>
                  <a:gd name="connsiteX0" fmla="*/ 1524000 w 3378200"/>
                  <a:gd name="connsiteY0" fmla="*/ 0 h 6261100"/>
                  <a:gd name="connsiteX1" fmla="*/ 1524000 w 3378200"/>
                  <a:gd name="connsiteY1" fmla="*/ 0 h 6261100"/>
                  <a:gd name="connsiteX2" fmla="*/ 1297940 w 3378200"/>
                  <a:gd name="connsiteY2" fmla="*/ 579120 h 6261100"/>
                  <a:gd name="connsiteX3" fmla="*/ 10160 w 3378200"/>
                  <a:gd name="connsiteY3" fmla="*/ 1196340 h 6261100"/>
                  <a:gd name="connsiteX4" fmla="*/ 0 w 3378200"/>
                  <a:gd name="connsiteY4" fmla="*/ 1455420 h 6261100"/>
                  <a:gd name="connsiteX5" fmla="*/ 1270000 w 3378200"/>
                  <a:gd name="connsiteY5" fmla="*/ 1460500 h 6261100"/>
                  <a:gd name="connsiteX6" fmla="*/ 1282700 w 3378200"/>
                  <a:gd name="connsiteY6" fmla="*/ 2400300 h 6261100"/>
                  <a:gd name="connsiteX7" fmla="*/ 266700 w 3378200"/>
                  <a:gd name="connsiteY7" fmla="*/ 6248400 h 6261100"/>
                  <a:gd name="connsiteX8" fmla="*/ 431800 w 3378200"/>
                  <a:gd name="connsiteY8" fmla="*/ 6261100 h 6261100"/>
                  <a:gd name="connsiteX9" fmla="*/ 431800 w 3378200"/>
                  <a:gd name="connsiteY9" fmla="*/ 6096000 h 6261100"/>
                  <a:gd name="connsiteX10" fmla="*/ 1409700 w 3378200"/>
                  <a:gd name="connsiteY10" fmla="*/ 2362200 h 6261100"/>
                  <a:gd name="connsiteX11" fmla="*/ 1346200 w 3378200"/>
                  <a:gd name="connsiteY11" fmla="*/ 1257300 h 6261100"/>
                  <a:gd name="connsiteX12" fmla="*/ 495300 w 3378200"/>
                  <a:gd name="connsiteY12" fmla="*/ 1257300 h 6261100"/>
                  <a:gd name="connsiteX13" fmla="*/ 1358900 w 3378200"/>
                  <a:gd name="connsiteY13" fmla="*/ 800100 h 6261100"/>
                  <a:gd name="connsiteX14" fmla="*/ 1651000 w 3378200"/>
                  <a:gd name="connsiteY14" fmla="*/ 139700 h 6261100"/>
                  <a:gd name="connsiteX15" fmla="*/ 1917700 w 3378200"/>
                  <a:gd name="connsiteY15" fmla="*/ 736600 h 6261100"/>
                  <a:gd name="connsiteX16" fmla="*/ 2933700 w 3378200"/>
                  <a:gd name="connsiteY16" fmla="*/ 1231900 h 6261100"/>
                  <a:gd name="connsiteX17" fmla="*/ 1968500 w 3378200"/>
                  <a:gd name="connsiteY17" fmla="*/ 1219200 h 6261100"/>
                  <a:gd name="connsiteX18" fmla="*/ 1955800 w 3378200"/>
                  <a:gd name="connsiteY18" fmla="*/ 2324100 h 6261100"/>
                  <a:gd name="connsiteX19" fmla="*/ 2971800 w 3378200"/>
                  <a:gd name="connsiteY19" fmla="*/ 6248400 h 6261100"/>
                  <a:gd name="connsiteX20" fmla="*/ 3111500 w 3378200"/>
                  <a:gd name="connsiteY20" fmla="*/ 6172200 h 6261100"/>
                  <a:gd name="connsiteX21" fmla="*/ 2095500 w 3378200"/>
                  <a:gd name="connsiteY21" fmla="*/ 2362200 h 6261100"/>
                  <a:gd name="connsiteX22" fmla="*/ 2077720 w 3378200"/>
                  <a:gd name="connsiteY22" fmla="*/ 1419860 h 6261100"/>
                  <a:gd name="connsiteX23" fmla="*/ 3378200 w 3378200"/>
                  <a:gd name="connsiteY23" fmla="*/ 1460500 h 6261100"/>
                  <a:gd name="connsiteX24" fmla="*/ 3352800 w 3378200"/>
                  <a:gd name="connsiteY24" fmla="*/ 1231900 h 6261100"/>
                  <a:gd name="connsiteX25" fmla="*/ 2070100 w 3378200"/>
                  <a:gd name="connsiteY25" fmla="*/ 596900 h 6261100"/>
                  <a:gd name="connsiteX26" fmla="*/ 1879600 w 3378200"/>
                  <a:gd name="connsiteY26" fmla="*/ 0 h 6261100"/>
                  <a:gd name="connsiteX27" fmla="*/ 1524000 w 3378200"/>
                  <a:gd name="connsiteY27" fmla="*/ 0 h 6261100"/>
                  <a:gd name="connsiteX0" fmla="*/ 1524000 w 3352800"/>
                  <a:gd name="connsiteY0" fmla="*/ 0 h 6261100"/>
                  <a:gd name="connsiteX1" fmla="*/ 1524000 w 3352800"/>
                  <a:gd name="connsiteY1" fmla="*/ 0 h 6261100"/>
                  <a:gd name="connsiteX2" fmla="*/ 1297940 w 3352800"/>
                  <a:gd name="connsiteY2" fmla="*/ 579120 h 6261100"/>
                  <a:gd name="connsiteX3" fmla="*/ 10160 w 3352800"/>
                  <a:gd name="connsiteY3" fmla="*/ 1196340 h 6261100"/>
                  <a:gd name="connsiteX4" fmla="*/ 0 w 3352800"/>
                  <a:gd name="connsiteY4" fmla="*/ 1455420 h 6261100"/>
                  <a:gd name="connsiteX5" fmla="*/ 1270000 w 3352800"/>
                  <a:gd name="connsiteY5" fmla="*/ 1460500 h 6261100"/>
                  <a:gd name="connsiteX6" fmla="*/ 1282700 w 3352800"/>
                  <a:gd name="connsiteY6" fmla="*/ 2400300 h 6261100"/>
                  <a:gd name="connsiteX7" fmla="*/ 266700 w 3352800"/>
                  <a:gd name="connsiteY7" fmla="*/ 6248400 h 6261100"/>
                  <a:gd name="connsiteX8" fmla="*/ 431800 w 3352800"/>
                  <a:gd name="connsiteY8" fmla="*/ 6261100 h 6261100"/>
                  <a:gd name="connsiteX9" fmla="*/ 431800 w 3352800"/>
                  <a:gd name="connsiteY9" fmla="*/ 6096000 h 6261100"/>
                  <a:gd name="connsiteX10" fmla="*/ 1409700 w 3352800"/>
                  <a:gd name="connsiteY10" fmla="*/ 2362200 h 6261100"/>
                  <a:gd name="connsiteX11" fmla="*/ 1346200 w 3352800"/>
                  <a:gd name="connsiteY11" fmla="*/ 1257300 h 6261100"/>
                  <a:gd name="connsiteX12" fmla="*/ 495300 w 3352800"/>
                  <a:gd name="connsiteY12" fmla="*/ 1257300 h 6261100"/>
                  <a:gd name="connsiteX13" fmla="*/ 1358900 w 3352800"/>
                  <a:gd name="connsiteY13" fmla="*/ 800100 h 6261100"/>
                  <a:gd name="connsiteX14" fmla="*/ 1651000 w 3352800"/>
                  <a:gd name="connsiteY14" fmla="*/ 139700 h 6261100"/>
                  <a:gd name="connsiteX15" fmla="*/ 1917700 w 3352800"/>
                  <a:gd name="connsiteY15" fmla="*/ 736600 h 6261100"/>
                  <a:gd name="connsiteX16" fmla="*/ 2933700 w 3352800"/>
                  <a:gd name="connsiteY16" fmla="*/ 1231900 h 6261100"/>
                  <a:gd name="connsiteX17" fmla="*/ 1968500 w 3352800"/>
                  <a:gd name="connsiteY17" fmla="*/ 1219200 h 6261100"/>
                  <a:gd name="connsiteX18" fmla="*/ 1955800 w 3352800"/>
                  <a:gd name="connsiteY18" fmla="*/ 2324100 h 6261100"/>
                  <a:gd name="connsiteX19" fmla="*/ 2971800 w 3352800"/>
                  <a:gd name="connsiteY19" fmla="*/ 6248400 h 6261100"/>
                  <a:gd name="connsiteX20" fmla="*/ 3111500 w 3352800"/>
                  <a:gd name="connsiteY20" fmla="*/ 6172200 h 6261100"/>
                  <a:gd name="connsiteX21" fmla="*/ 2095500 w 3352800"/>
                  <a:gd name="connsiteY21" fmla="*/ 2362200 h 6261100"/>
                  <a:gd name="connsiteX22" fmla="*/ 2077720 w 3352800"/>
                  <a:gd name="connsiteY22" fmla="*/ 1419860 h 6261100"/>
                  <a:gd name="connsiteX23" fmla="*/ 3241040 w 3352800"/>
                  <a:gd name="connsiteY23" fmla="*/ 1445260 h 6261100"/>
                  <a:gd name="connsiteX24" fmla="*/ 3352800 w 3352800"/>
                  <a:gd name="connsiteY24" fmla="*/ 1231900 h 6261100"/>
                  <a:gd name="connsiteX25" fmla="*/ 2070100 w 3352800"/>
                  <a:gd name="connsiteY25" fmla="*/ 596900 h 6261100"/>
                  <a:gd name="connsiteX26" fmla="*/ 1879600 w 3352800"/>
                  <a:gd name="connsiteY26" fmla="*/ 0 h 6261100"/>
                  <a:gd name="connsiteX27" fmla="*/ 1524000 w 33528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51000 w 3314700"/>
                  <a:gd name="connsiteY14" fmla="*/ 139700 h 6261100"/>
                  <a:gd name="connsiteX15" fmla="*/ 1917700 w 3314700"/>
                  <a:gd name="connsiteY15" fmla="*/ 736600 h 6261100"/>
                  <a:gd name="connsiteX16" fmla="*/ 293370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51000 w 3314700"/>
                  <a:gd name="connsiteY14" fmla="*/ 139700 h 6261100"/>
                  <a:gd name="connsiteX15" fmla="*/ 1917700 w 3314700"/>
                  <a:gd name="connsiteY15" fmla="*/ 736600 h 6261100"/>
                  <a:gd name="connsiteX16" fmla="*/ 2750820 w 3314700"/>
                  <a:gd name="connsiteY16" fmla="*/ 124714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51000 w 3314700"/>
                  <a:gd name="connsiteY14" fmla="*/ 13970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5382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5382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5382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6906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379220 w 3314700"/>
                  <a:gd name="connsiteY10" fmla="*/ 2354580 h 6261100"/>
                  <a:gd name="connsiteX11" fmla="*/ 136906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1379220 w 3314700"/>
                  <a:gd name="connsiteY9" fmla="*/ 2354580 h 6261100"/>
                  <a:gd name="connsiteX10" fmla="*/ 1369060 w 3314700"/>
                  <a:gd name="connsiteY10" fmla="*/ 1211580 h 6261100"/>
                  <a:gd name="connsiteX11" fmla="*/ 464820 w 3314700"/>
                  <a:gd name="connsiteY11" fmla="*/ 1219200 h 6261100"/>
                  <a:gd name="connsiteX12" fmla="*/ 1358900 w 3314700"/>
                  <a:gd name="connsiteY12" fmla="*/ 800100 h 6261100"/>
                  <a:gd name="connsiteX13" fmla="*/ 1696720 w 3314700"/>
                  <a:gd name="connsiteY13" fmla="*/ 154940 h 6261100"/>
                  <a:gd name="connsiteX14" fmla="*/ 1917700 w 3314700"/>
                  <a:gd name="connsiteY14" fmla="*/ 736600 h 6261100"/>
                  <a:gd name="connsiteX15" fmla="*/ 2887980 w 3314700"/>
                  <a:gd name="connsiteY15" fmla="*/ 1231900 h 6261100"/>
                  <a:gd name="connsiteX16" fmla="*/ 1968500 w 3314700"/>
                  <a:gd name="connsiteY16" fmla="*/ 1219200 h 6261100"/>
                  <a:gd name="connsiteX17" fmla="*/ 1955800 w 3314700"/>
                  <a:gd name="connsiteY17" fmla="*/ 2324100 h 6261100"/>
                  <a:gd name="connsiteX18" fmla="*/ 2971800 w 3314700"/>
                  <a:gd name="connsiteY18" fmla="*/ 6248400 h 6261100"/>
                  <a:gd name="connsiteX19" fmla="*/ 3111500 w 3314700"/>
                  <a:gd name="connsiteY19" fmla="*/ 6172200 h 6261100"/>
                  <a:gd name="connsiteX20" fmla="*/ 2095500 w 3314700"/>
                  <a:gd name="connsiteY20" fmla="*/ 2362200 h 6261100"/>
                  <a:gd name="connsiteX21" fmla="*/ 2077720 w 3314700"/>
                  <a:gd name="connsiteY21" fmla="*/ 1419860 h 6261100"/>
                  <a:gd name="connsiteX22" fmla="*/ 3241040 w 3314700"/>
                  <a:gd name="connsiteY22" fmla="*/ 1445260 h 6261100"/>
                  <a:gd name="connsiteX23" fmla="*/ 3314700 w 3314700"/>
                  <a:gd name="connsiteY23" fmla="*/ 1224280 h 6261100"/>
                  <a:gd name="connsiteX24" fmla="*/ 2070100 w 3314700"/>
                  <a:gd name="connsiteY24" fmla="*/ 596900 h 6261100"/>
                  <a:gd name="connsiteX25" fmla="*/ 1879600 w 3314700"/>
                  <a:gd name="connsiteY25" fmla="*/ 0 h 6261100"/>
                  <a:gd name="connsiteX26" fmla="*/ 1524000 w 3314700"/>
                  <a:gd name="connsiteY26"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1379220 w 3314700"/>
                  <a:gd name="connsiteY9" fmla="*/ 2354580 h 6261100"/>
                  <a:gd name="connsiteX10" fmla="*/ 1369060 w 3314700"/>
                  <a:gd name="connsiteY10" fmla="*/ 1211580 h 6261100"/>
                  <a:gd name="connsiteX11" fmla="*/ 464820 w 3314700"/>
                  <a:gd name="connsiteY11" fmla="*/ 1219200 h 6261100"/>
                  <a:gd name="connsiteX12" fmla="*/ 1358900 w 3314700"/>
                  <a:gd name="connsiteY12" fmla="*/ 800100 h 6261100"/>
                  <a:gd name="connsiteX13" fmla="*/ 1696720 w 3314700"/>
                  <a:gd name="connsiteY13" fmla="*/ 154940 h 6261100"/>
                  <a:gd name="connsiteX14" fmla="*/ 1917700 w 3314700"/>
                  <a:gd name="connsiteY14" fmla="*/ 736600 h 6261100"/>
                  <a:gd name="connsiteX15" fmla="*/ 2887980 w 3314700"/>
                  <a:gd name="connsiteY15" fmla="*/ 1231900 h 6261100"/>
                  <a:gd name="connsiteX16" fmla="*/ 1968500 w 3314700"/>
                  <a:gd name="connsiteY16" fmla="*/ 1219200 h 6261100"/>
                  <a:gd name="connsiteX17" fmla="*/ 1955800 w 3314700"/>
                  <a:gd name="connsiteY17" fmla="*/ 2324100 h 6261100"/>
                  <a:gd name="connsiteX18" fmla="*/ 2971800 w 3314700"/>
                  <a:gd name="connsiteY18" fmla="*/ 6248400 h 6261100"/>
                  <a:gd name="connsiteX19" fmla="*/ 3149600 w 3314700"/>
                  <a:gd name="connsiteY19" fmla="*/ 6164580 h 6261100"/>
                  <a:gd name="connsiteX20" fmla="*/ 2095500 w 3314700"/>
                  <a:gd name="connsiteY20" fmla="*/ 2362200 h 6261100"/>
                  <a:gd name="connsiteX21" fmla="*/ 2077720 w 3314700"/>
                  <a:gd name="connsiteY21" fmla="*/ 1419860 h 6261100"/>
                  <a:gd name="connsiteX22" fmla="*/ 3241040 w 3314700"/>
                  <a:gd name="connsiteY22" fmla="*/ 1445260 h 6261100"/>
                  <a:gd name="connsiteX23" fmla="*/ 3314700 w 3314700"/>
                  <a:gd name="connsiteY23" fmla="*/ 1224280 h 6261100"/>
                  <a:gd name="connsiteX24" fmla="*/ 2070100 w 3314700"/>
                  <a:gd name="connsiteY24" fmla="*/ 596900 h 6261100"/>
                  <a:gd name="connsiteX25" fmla="*/ 1879600 w 3314700"/>
                  <a:gd name="connsiteY25" fmla="*/ 0 h 6261100"/>
                  <a:gd name="connsiteX26" fmla="*/ 1524000 w 3314700"/>
                  <a:gd name="connsiteY26" fmla="*/ 0 h 626110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31800 w 3314700"/>
                  <a:gd name="connsiteY8" fmla="*/ 6261100 h 6263640"/>
                  <a:gd name="connsiteX9" fmla="*/ 137922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85140 w 3314700"/>
                  <a:gd name="connsiteY8" fmla="*/ 6253480 h 6263640"/>
                  <a:gd name="connsiteX9" fmla="*/ 137922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37922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110740 w 3314700"/>
                  <a:gd name="connsiteY20" fmla="*/ 231648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087880 w 3314700"/>
                  <a:gd name="connsiteY20" fmla="*/ 231648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110740 w 3314700"/>
                  <a:gd name="connsiteY20" fmla="*/ 23241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110740 w 3314700"/>
                  <a:gd name="connsiteY20" fmla="*/ 2324100 h 6263640"/>
                  <a:gd name="connsiteX21" fmla="*/ 21158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641052 w 3431752"/>
                  <a:gd name="connsiteY0" fmla="*/ 0 h 6263640"/>
                  <a:gd name="connsiteX1" fmla="*/ 1641052 w 3431752"/>
                  <a:gd name="connsiteY1" fmla="*/ 0 h 6263640"/>
                  <a:gd name="connsiteX2" fmla="*/ 1414992 w 3431752"/>
                  <a:gd name="connsiteY2" fmla="*/ 579120 h 6263640"/>
                  <a:gd name="connsiteX3" fmla="*/ 127212 w 3431752"/>
                  <a:gd name="connsiteY3" fmla="*/ 1196340 h 6263640"/>
                  <a:gd name="connsiteX4" fmla="*/ 117052 w 3431752"/>
                  <a:gd name="connsiteY4" fmla="*/ 1455420 h 6263640"/>
                  <a:gd name="connsiteX5" fmla="*/ 1356572 w 3431752"/>
                  <a:gd name="connsiteY5" fmla="*/ 1460500 h 6263640"/>
                  <a:gd name="connsiteX6" fmla="*/ 1338792 w 3431752"/>
                  <a:gd name="connsiteY6" fmla="*/ 2407920 h 6263640"/>
                  <a:gd name="connsiteX7" fmla="*/ 383752 w 3431752"/>
                  <a:gd name="connsiteY7" fmla="*/ 6248400 h 6263640"/>
                  <a:gd name="connsiteX8" fmla="*/ 571712 w 3431752"/>
                  <a:gd name="connsiteY8" fmla="*/ 6253480 h 6263640"/>
                  <a:gd name="connsiteX9" fmla="*/ 1526752 w 3431752"/>
                  <a:gd name="connsiteY9" fmla="*/ 2354580 h 6263640"/>
                  <a:gd name="connsiteX10" fmla="*/ 1486112 w 3431752"/>
                  <a:gd name="connsiteY10" fmla="*/ 1211580 h 6263640"/>
                  <a:gd name="connsiteX11" fmla="*/ 581872 w 3431752"/>
                  <a:gd name="connsiteY11" fmla="*/ 1219200 h 6263640"/>
                  <a:gd name="connsiteX12" fmla="*/ 1475952 w 3431752"/>
                  <a:gd name="connsiteY12" fmla="*/ 800100 h 6263640"/>
                  <a:gd name="connsiteX13" fmla="*/ 1813772 w 3431752"/>
                  <a:gd name="connsiteY13" fmla="*/ 154940 h 6263640"/>
                  <a:gd name="connsiteX14" fmla="*/ 2034752 w 3431752"/>
                  <a:gd name="connsiteY14" fmla="*/ 736600 h 6263640"/>
                  <a:gd name="connsiteX15" fmla="*/ 3005032 w 3431752"/>
                  <a:gd name="connsiteY15" fmla="*/ 1231900 h 6263640"/>
                  <a:gd name="connsiteX16" fmla="*/ 2085552 w 3431752"/>
                  <a:gd name="connsiteY16" fmla="*/ 1219200 h 6263640"/>
                  <a:gd name="connsiteX17" fmla="*/ 2080472 w 3431752"/>
                  <a:gd name="connsiteY17" fmla="*/ 2324100 h 6263640"/>
                  <a:gd name="connsiteX18" fmla="*/ 3073612 w 3431752"/>
                  <a:gd name="connsiteY18" fmla="*/ 6263640 h 6263640"/>
                  <a:gd name="connsiteX19" fmla="*/ 3266652 w 3431752"/>
                  <a:gd name="connsiteY19" fmla="*/ 6164580 h 6263640"/>
                  <a:gd name="connsiteX20" fmla="*/ 2227792 w 3431752"/>
                  <a:gd name="connsiteY20" fmla="*/ 2324100 h 6263640"/>
                  <a:gd name="connsiteX21" fmla="*/ 2232872 w 3431752"/>
                  <a:gd name="connsiteY21" fmla="*/ 1419860 h 6263640"/>
                  <a:gd name="connsiteX22" fmla="*/ 3358092 w 3431752"/>
                  <a:gd name="connsiteY22" fmla="*/ 1445260 h 6263640"/>
                  <a:gd name="connsiteX23" fmla="*/ 3431752 w 3431752"/>
                  <a:gd name="connsiteY23" fmla="*/ 1224280 h 6263640"/>
                  <a:gd name="connsiteX24" fmla="*/ 2187152 w 3431752"/>
                  <a:gd name="connsiteY24" fmla="*/ 596900 h 6263640"/>
                  <a:gd name="connsiteX25" fmla="*/ 1996652 w 3431752"/>
                  <a:gd name="connsiteY25" fmla="*/ 0 h 6263640"/>
                  <a:gd name="connsiteX26" fmla="*/ 1641052 w 3431752"/>
                  <a:gd name="connsiteY26" fmla="*/ 0 h 6263640"/>
                  <a:gd name="connsiteX0" fmla="*/ 1663488 w 3454188"/>
                  <a:gd name="connsiteY0" fmla="*/ 0 h 6263640"/>
                  <a:gd name="connsiteX1" fmla="*/ 1663488 w 3454188"/>
                  <a:gd name="connsiteY1" fmla="*/ 0 h 6263640"/>
                  <a:gd name="connsiteX2" fmla="*/ 1437428 w 3454188"/>
                  <a:gd name="connsiteY2" fmla="*/ 579120 h 6263640"/>
                  <a:gd name="connsiteX3" fmla="*/ 149648 w 3454188"/>
                  <a:gd name="connsiteY3" fmla="*/ 1196340 h 6263640"/>
                  <a:gd name="connsiteX4" fmla="*/ 139488 w 3454188"/>
                  <a:gd name="connsiteY4" fmla="*/ 1455420 h 6263640"/>
                  <a:gd name="connsiteX5" fmla="*/ 1379008 w 3454188"/>
                  <a:gd name="connsiteY5" fmla="*/ 1460500 h 6263640"/>
                  <a:gd name="connsiteX6" fmla="*/ 1361228 w 3454188"/>
                  <a:gd name="connsiteY6" fmla="*/ 2407920 h 6263640"/>
                  <a:gd name="connsiteX7" fmla="*/ 406188 w 3454188"/>
                  <a:gd name="connsiteY7" fmla="*/ 6248400 h 6263640"/>
                  <a:gd name="connsiteX8" fmla="*/ 594148 w 3454188"/>
                  <a:gd name="connsiteY8" fmla="*/ 6253480 h 6263640"/>
                  <a:gd name="connsiteX9" fmla="*/ 1549188 w 3454188"/>
                  <a:gd name="connsiteY9" fmla="*/ 2354580 h 6263640"/>
                  <a:gd name="connsiteX10" fmla="*/ 1508548 w 3454188"/>
                  <a:gd name="connsiteY10" fmla="*/ 1211580 h 6263640"/>
                  <a:gd name="connsiteX11" fmla="*/ 604308 w 3454188"/>
                  <a:gd name="connsiteY11" fmla="*/ 1219200 h 6263640"/>
                  <a:gd name="connsiteX12" fmla="*/ 1498388 w 3454188"/>
                  <a:gd name="connsiteY12" fmla="*/ 800100 h 6263640"/>
                  <a:gd name="connsiteX13" fmla="*/ 1836208 w 3454188"/>
                  <a:gd name="connsiteY13" fmla="*/ 154940 h 6263640"/>
                  <a:gd name="connsiteX14" fmla="*/ 2057188 w 3454188"/>
                  <a:gd name="connsiteY14" fmla="*/ 736600 h 6263640"/>
                  <a:gd name="connsiteX15" fmla="*/ 3027468 w 3454188"/>
                  <a:gd name="connsiteY15" fmla="*/ 1231900 h 6263640"/>
                  <a:gd name="connsiteX16" fmla="*/ 2107988 w 3454188"/>
                  <a:gd name="connsiteY16" fmla="*/ 1219200 h 6263640"/>
                  <a:gd name="connsiteX17" fmla="*/ 2102908 w 3454188"/>
                  <a:gd name="connsiteY17" fmla="*/ 2324100 h 6263640"/>
                  <a:gd name="connsiteX18" fmla="*/ 3096048 w 3454188"/>
                  <a:gd name="connsiteY18" fmla="*/ 6263640 h 6263640"/>
                  <a:gd name="connsiteX19" fmla="*/ 3289088 w 3454188"/>
                  <a:gd name="connsiteY19" fmla="*/ 6164580 h 6263640"/>
                  <a:gd name="connsiteX20" fmla="*/ 2250228 w 3454188"/>
                  <a:gd name="connsiteY20" fmla="*/ 2324100 h 6263640"/>
                  <a:gd name="connsiteX21" fmla="*/ 2255308 w 3454188"/>
                  <a:gd name="connsiteY21" fmla="*/ 1419860 h 6263640"/>
                  <a:gd name="connsiteX22" fmla="*/ 3380528 w 3454188"/>
                  <a:gd name="connsiteY22" fmla="*/ 1445260 h 6263640"/>
                  <a:gd name="connsiteX23" fmla="*/ 3454188 w 3454188"/>
                  <a:gd name="connsiteY23" fmla="*/ 1224280 h 6263640"/>
                  <a:gd name="connsiteX24" fmla="*/ 2209588 w 3454188"/>
                  <a:gd name="connsiteY24" fmla="*/ 596900 h 6263640"/>
                  <a:gd name="connsiteX25" fmla="*/ 2019088 w 3454188"/>
                  <a:gd name="connsiteY25" fmla="*/ 0 h 6263640"/>
                  <a:gd name="connsiteX26" fmla="*/ 1663488 w 3454188"/>
                  <a:gd name="connsiteY26" fmla="*/ 0 h 6263640"/>
                  <a:gd name="connsiteX0" fmla="*/ 1663488 w 3653473"/>
                  <a:gd name="connsiteY0" fmla="*/ 0 h 6263640"/>
                  <a:gd name="connsiteX1" fmla="*/ 1663488 w 3653473"/>
                  <a:gd name="connsiteY1" fmla="*/ 0 h 6263640"/>
                  <a:gd name="connsiteX2" fmla="*/ 1437428 w 3653473"/>
                  <a:gd name="connsiteY2" fmla="*/ 579120 h 6263640"/>
                  <a:gd name="connsiteX3" fmla="*/ 149648 w 3653473"/>
                  <a:gd name="connsiteY3" fmla="*/ 1196340 h 6263640"/>
                  <a:gd name="connsiteX4" fmla="*/ 139488 w 3653473"/>
                  <a:gd name="connsiteY4" fmla="*/ 1455420 h 6263640"/>
                  <a:gd name="connsiteX5" fmla="*/ 1379008 w 3653473"/>
                  <a:gd name="connsiteY5" fmla="*/ 1460500 h 6263640"/>
                  <a:gd name="connsiteX6" fmla="*/ 1361228 w 3653473"/>
                  <a:gd name="connsiteY6" fmla="*/ 2407920 h 6263640"/>
                  <a:gd name="connsiteX7" fmla="*/ 406188 w 3653473"/>
                  <a:gd name="connsiteY7" fmla="*/ 6248400 h 6263640"/>
                  <a:gd name="connsiteX8" fmla="*/ 594148 w 3653473"/>
                  <a:gd name="connsiteY8" fmla="*/ 6253480 h 6263640"/>
                  <a:gd name="connsiteX9" fmla="*/ 1549188 w 3653473"/>
                  <a:gd name="connsiteY9" fmla="*/ 2354580 h 6263640"/>
                  <a:gd name="connsiteX10" fmla="*/ 1508548 w 3653473"/>
                  <a:gd name="connsiteY10" fmla="*/ 1211580 h 6263640"/>
                  <a:gd name="connsiteX11" fmla="*/ 604308 w 3653473"/>
                  <a:gd name="connsiteY11" fmla="*/ 1219200 h 6263640"/>
                  <a:gd name="connsiteX12" fmla="*/ 1498388 w 3653473"/>
                  <a:gd name="connsiteY12" fmla="*/ 800100 h 6263640"/>
                  <a:gd name="connsiteX13" fmla="*/ 1836208 w 3653473"/>
                  <a:gd name="connsiteY13" fmla="*/ 154940 h 6263640"/>
                  <a:gd name="connsiteX14" fmla="*/ 2057188 w 3653473"/>
                  <a:gd name="connsiteY14" fmla="*/ 736600 h 6263640"/>
                  <a:gd name="connsiteX15" fmla="*/ 3027468 w 3653473"/>
                  <a:gd name="connsiteY15" fmla="*/ 1231900 h 6263640"/>
                  <a:gd name="connsiteX16" fmla="*/ 2107988 w 3653473"/>
                  <a:gd name="connsiteY16" fmla="*/ 1219200 h 6263640"/>
                  <a:gd name="connsiteX17" fmla="*/ 2102908 w 3653473"/>
                  <a:gd name="connsiteY17" fmla="*/ 2324100 h 6263640"/>
                  <a:gd name="connsiteX18" fmla="*/ 3096048 w 3653473"/>
                  <a:gd name="connsiteY18" fmla="*/ 6263640 h 6263640"/>
                  <a:gd name="connsiteX19" fmla="*/ 3289088 w 3653473"/>
                  <a:gd name="connsiteY19" fmla="*/ 6164580 h 6263640"/>
                  <a:gd name="connsiteX20" fmla="*/ 2250228 w 3653473"/>
                  <a:gd name="connsiteY20" fmla="*/ 2324100 h 6263640"/>
                  <a:gd name="connsiteX21" fmla="*/ 2255308 w 3653473"/>
                  <a:gd name="connsiteY21" fmla="*/ 1419860 h 6263640"/>
                  <a:gd name="connsiteX22" fmla="*/ 3380528 w 3653473"/>
                  <a:gd name="connsiteY22" fmla="*/ 1445260 h 6263640"/>
                  <a:gd name="connsiteX23" fmla="*/ 3454188 w 3653473"/>
                  <a:gd name="connsiteY23" fmla="*/ 1224280 h 6263640"/>
                  <a:gd name="connsiteX24" fmla="*/ 2209588 w 3653473"/>
                  <a:gd name="connsiteY24" fmla="*/ 596900 h 6263640"/>
                  <a:gd name="connsiteX25" fmla="*/ 2019088 w 3653473"/>
                  <a:gd name="connsiteY25" fmla="*/ 0 h 6263640"/>
                  <a:gd name="connsiteX26" fmla="*/ 1663488 w 3653473"/>
                  <a:gd name="connsiteY26" fmla="*/ 0 h 6263640"/>
                  <a:gd name="connsiteX0" fmla="*/ 1663488 w 3653473"/>
                  <a:gd name="connsiteY0" fmla="*/ 0 h 6263640"/>
                  <a:gd name="connsiteX1" fmla="*/ 1663488 w 3653473"/>
                  <a:gd name="connsiteY1" fmla="*/ 0 h 6263640"/>
                  <a:gd name="connsiteX2" fmla="*/ 1437428 w 3653473"/>
                  <a:gd name="connsiteY2" fmla="*/ 579120 h 6263640"/>
                  <a:gd name="connsiteX3" fmla="*/ 149648 w 3653473"/>
                  <a:gd name="connsiteY3" fmla="*/ 1196340 h 6263640"/>
                  <a:gd name="connsiteX4" fmla="*/ 139488 w 3653473"/>
                  <a:gd name="connsiteY4" fmla="*/ 1455420 h 6263640"/>
                  <a:gd name="connsiteX5" fmla="*/ 1379008 w 3653473"/>
                  <a:gd name="connsiteY5" fmla="*/ 1460500 h 6263640"/>
                  <a:gd name="connsiteX6" fmla="*/ 1361228 w 3653473"/>
                  <a:gd name="connsiteY6" fmla="*/ 2407920 h 6263640"/>
                  <a:gd name="connsiteX7" fmla="*/ 406188 w 3653473"/>
                  <a:gd name="connsiteY7" fmla="*/ 6248400 h 6263640"/>
                  <a:gd name="connsiteX8" fmla="*/ 594148 w 3653473"/>
                  <a:gd name="connsiteY8" fmla="*/ 6253480 h 6263640"/>
                  <a:gd name="connsiteX9" fmla="*/ 1549188 w 3653473"/>
                  <a:gd name="connsiteY9" fmla="*/ 2354580 h 6263640"/>
                  <a:gd name="connsiteX10" fmla="*/ 1508548 w 3653473"/>
                  <a:gd name="connsiteY10" fmla="*/ 1211580 h 6263640"/>
                  <a:gd name="connsiteX11" fmla="*/ 604308 w 3653473"/>
                  <a:gd name="connsiteY11" fmla="*/ 1219200 h 6263640"/>
                  <a:gd name="connsiteX12" fmla="*/ 1498388 w 3653473"/>
                  <a:gd name="connsiteY12" fmla="*/ 800100 h 6263640"/>
                  <a:gd name="connsiteX13" fmla="*/ 1836208 w 3653473"/>
                  <a:gd name="connsiteY13" fmla="*/ 154940 h 6263640"/>
                  <a:gd name="connsiteX14" fmla="*/ 2057188 w 3653473"/>
                  <a:gd name="connsiteY14" fmla="*/ 736600 h 6263640"/>
                  <a:gd name="connsiteX15" fmla="*/ 3027468 w 3653473"/>
                  <a:gd name="connsiteY15" fmla="*/ 1231900 h 6263640"/>
                  <a:gd name="connsiteX16" fmla="*/ 2107988 w 3653473"/>
                  <a:gd name="connsiteY16" fmla="*/ 1219200 h 6263640"/>
                  <a:gd name="connsiteX17" fmla="*/ 2102908 w 3653473"/>
                  <a:gd name="connsiteY17" fmla="*/ 2324100 h 6263640"/>
                  <a:gd name="connsiteX18" fmla="*/ 3096048 w 3653473"/>
                  <a:gd name="connsiteY18" fmla="*/ 6263640 h 6263640"/>
                  <a:gd name="connsiteX19" fmla="*/ 3289088 w 3653473"/>
                  <a:gd name="connsiteY19" fmla="*/ 6164580 h 6263640"/>
                  <a:gd name="connsiteX20" fmla="*/ 2250228 w 3653473"/>
                  <a:gd name="connsiteY20" fmla="*/ 2324100 h 6263640"/>
                  <a:gd name="connsiteX21" fmla="*/ 2255308 w 3653473"/>
                  <a:gd name="connsiteY21" fmla="*/ 1419860 h 6263640"/>
                  <a:gd name="connsiteX22" fmla="*/ 3380528 w 3653473"/>
                  <a:gd name="connsiteY22" fmla="*/ 1445260 h 6263640"/>
                  <a:gd name="connsiteX23" fmla="*/ 3454188 w 3653473"/>
                  <a:gd name="connsiteY23" fmla="*/ 1224280 h 6263640"/>
                  <a:gd name="connsiteX24" fmla="*/ 2209588 w 3653473"/>
                  <a:gd name="connsiteY24" fmla="*/ 596900 h 6263640"/>
                  <a:gd name="connsiteX25" fmla="*/ 2019088 w 3653473"/>
                  <a:gd name="connsiteY25" fmla="*/ 0 h 6263640"/>
                  <a:gd name="connsiteX26" fmla="*/ 1663488 w 3653473"/>
                  <a:gd name="connsiteY26" fmla="*/ 0 h 6263640"/>
                  <a:gd name="connsiteX0" fmla="*/ 1663488 w 3653473"/>
                  <a:gd name="connsiteY0" fmla="*/ 142875 h 6406515"/>
                  <a:gd name="connsiteX1" fmla="*/ 1663488 w 3653473"/>
                  <a:gd name="connsiteY1" fmla="*/ 142875 h 6406515"/>
                  <a:gd name="connsiteX2" fmla="*/ 1437428 w 3653473"/>
                  <a:gd name="connsiteY2" fmla="*/ 721995 h 6406515"/>
                  <a:gd name="connsiteX3" fmla="*/ 149648 w 3653473"/>
                  <a:gd name="connsiteY3" fmla="*/ 1339215 h 6406515"/>
                  <a:gd name="connsiteX4" fmla="*/ 139488 w 3653473"/>
                  <a:gd name="connsiteY4" fmla="*/ 1598295 h 6406515"/>
                  <a:gd name="connsiteX5" fmla="*/ 1379008 w 3653473"/>
                  <a:gd name="connsiteY5" fmla="*/ 1603375 h 6406515"/>
                  <a:gd name="connsiteX6" fmla="*/ 1361228 w 3653473"/>
                  <a:gd name="connsiteY6" fmla="*/ 2550795 h 6406515"/>
                  <a:gd name="connsiteX7" fmla="*/ 406188 w 3653473"/>
                  <a:gd name="connsiteY7" fmla="*/ 6391275 h 6406515"/>
                  <a:gd name="connsiteX8" fmla="*/ 594148 w 3653473"/>
                  <a:gd name="connsiteY8" fmla="*/ 6396355 h 6406515"/>
                  <a:gd name="connsiteX9" fmla="*/ 1549188 w 3653473"/>
                  <a:gd name="connsiteY9" fmla="*/ 2497455 h 6406515"/>
                  <a:gd name="connsiteX10" fmla="*/ 1508548 w 3653473"/>
                  <a:gd name="connsiteY10" fmla="*/ 1354455 h 6406515"/>
                  <a:gd name="connsiteX11" fmla="*/ 604308 w 3653473"/>
                  <a:gd name="connsiteY11" fmla="*/ 1362075 h 6406515"/>
                  <a:gd name="connsiteX12" fmla="*/ 1498388 w 3653473"/>
                  <a:gd name="connsiteY12" fmla="*/ 942975 h 6406515"/>
                  <a:gd name="connsiteX13" fmla="*/ 1836208 w 3653473"/>
                  <a:gd name="connsiteY13" fmla="*/ 297815 h 6406515"/>
                  <a:gd name="connsiteX14" fmla="*/ 2057188 w 3653473"/>
                  <a:gd name="connsiteY14" fmla="*/ 879475 h 6406515"/>
                  <a:gd name="connsiteX15" fmla="*/ 3027468 w 3653473"/>
                  <a:gd name="connsiteY15" fmla="*/ 1374775 h 6406515"/>
                  <a:gd name="connsiteX16" fmla="*/ 2107988 w 3653473"/>
                  <a:gd name="connsiteY16" fmla="*/ 1362075 h 6406515"/>
                  <a:gd name="connsiteX17" fmla="*/ 2102908 w 3653473"/>
                  <a:gd name="connsiteY17" fmla="*/ 2466975 h 6406515"/>
                  <a:gd name="connsiteX18" fmla="*/ 3096048 w 3653473"/>
                  <a:gd name="connsiteY18" fmla="*/ 6406515 h 6406515"/>
                  <a:gd name="connsiteX19" fmla="*/ 3289088 w 3653473"/>
                  <a:gd name="connsiteY19" fmla="*/ 6307455 h 6406515"/>
                  <a:gd name="connsiteX20" fmla="*/ 2250228 w 3653473"/>
                  <a:gd name="connsiteY20" fmla="*/ 2466975 h 6406515"/>
                  <a:gd name="connsiteX21" fmla="*/ 2255308 w 3653473"/>
                  <a:gd name="connsiteY21" fmla="*/ 1562735 h 6406515"/>
                  <a:gd name="connsiteX22" fmla="*/ 3380528 w 3653473"/>
                  <a:gd name="connsiteY22" fmla="*/ 1588135 h 6406515"/>
                  <a:gd name="connsiteX23" fmla="*/ 3454188 w 3653473"/>
                  <a:gd name="connsiteY23" fmla="*/ 1367155 h 6406515"/>
                  <a:gd name="connsiteX24" fmla="*/ 2209588 w 3653473"/>
                  <a:gd name="connsiteY24" fmla="*/ 739775 h 6406515"/>
                  <a:gd name="connsiteX25" fmla="*/ 2019088 w 3653473"/>
                  <a:gd name="connsiteY25" fmla="*/ 142875 h 6406515"/>
                  <a:gd name="connsiteX26" fmla="*/ 1663488 w 3653473"/>
                  <a:gd name="connsiteY26" fmla="*/ 142875 h 6406515"/>
                  <a:gd name="connsiteX0" fmla="*/ 1663488 w 3653473"/>
                  <a:gd name="connsiteY0" fmla="*/ 142875 h 6406515"/>
                  <a:gd name="connsiteX1" fmla="*/ 1663488 w 3653473"/>
                  <a:gd name="connsiteY1" fmla="*/ 142875 h 6406515"/>
                  <a:gd name="connsiteX2" fmla="*/ 1437428 w 3653473"/>
                  <a:gd name="connsiteY2" fmla="*/ 721995 h 6406515"/>
                  <a:gd name="connsiteX3" fmla="*/ 149648 w 3653473"/>
                  <a:gd name="connsiteY3" fmla="*/ 1339215 h 6406515"/>
                  <a:gd name="connsiteX4" fmla="*/ 139488 w 3653473"/>
                  <a:gd name="connsiteY4" fmla="*/ 1598295 h 6406515"/>
                  <a:gd name="connsiteX5" fmla="*/ 1379008 w 3653473"/>
                  <a:gd name="connsiteY5" fmla="*/ 1603375 h 6406515"/>
                  <a:gd name="connsiteX6" fmla="*/ 1361228 w 3653473"/>
                  <a:gd name="connsiteY6" fmla="*/ 2550795 h 6406515"/>
                  <a:gd name="connsiteX7" fmla="*/ 406188 w 3653473"/>
                  <a:gd name="connsiteY7" fmla="*/ 6391275 h 6406515"/>
                  <a:gd name="connsiteX8" fmla="*/ 594148 w 3653473"/>
                  <a:gd name="connsiteY8" fmla="*/ 6396355 h 6406515"/>
                  <a:gd name="connsiteX9" fmla="*/ 1549188 w 3653473"/>
                  <a:gd name="connsiteY9" fmla="*/ 2497455 h 6406515"/>
                  <a:gd name="connsiteX10" fmla="*/ 1508548 w 3653473"/>
                  <a:gd name="connsiteY10" fmla="*/ 1354455 h 6406515"/>
                  <a:gd name="connsiteX11" fmla="*/ 604308 w 3653473"/>
                  <a:gd name="connsiteY11" fmla="*/ 1362075 h 6406515"/>
                  <a:gd name="connsiteX12" fmla="*/ 1498388 w 3653473"/>
                  <a:gd name="connsiteY12" fmla="*/ 942975 h 6406515"/>
                  <a:gd name="connsiteX13" fmla="*/ 1836208 w 3653473"/>
                  <a:gd name="connsiteY13" fmla="*/ 297815 h 6406515"/>
                  <a:gd name="connsiteX14" fmla="*/ 2057188 w 3653473"/>
                  <a:gd name="connsiteY14" fmla="*/ 879475 h 6406515"/>
                  <a:gd name="connsiteX15" fmla="*/ 3027468 w 3653473"/>
                  <a:gd name="connsiteY15" fmla="*/ 1374775 h 6406515"/>
                  <a:gd name="connsiteX16" fmla="*/ 2107988 w 3653473"/>
                  <a:gd name="connsiteY16" fmla="*/ 1362075 h 6406515"/>
                  <a:gd name="connsiteX17" fmla="*/ 2102908 w 3653473"/>
                  <a:gd name="connsiteY17" fmla="*/ 2466975 h 6406515"/>
                  <a:gd name="connsiteX18" fmla="*/ 3096048 w 3653473"/>
                  <a:gd name="connsiteY18" fmla="*/ 6406515 h 6406515"/>
                  <a:gd name="connsiteX19" fmla="*/ 3289088 w 3653473"/>
                  <a:gd name="connsiteY19" fmla="*/ 6307455 h 6406515"/>
                  <a:gd name="connsiteX20" fmla="*/ 2250228 w 3653473"/>
                  <a:gd name="connsiteY20" fmla="*/ 2466975 h 6406515"/>
                  <a:gd name="connsiteX21" fmla="*/ 2255308 w 3653473"/>
                  <a:gd name="connsiteY21" fmla="*/ 1562735 h 6406515"/>
                  <a:gd name="connsiteX22" fmla="*/ 3380528 w 3653473"/>
                  <a:gd name="connsiteY22" fmla="*/ 1588135 h 6406515"/>
                  <a:gd name="connsiteX23" fmla="*/ 3454188 w 3653473"/>
                  <a:gd name="connsiteY23" fmla="*/ 1367155 h 6406515"/>
                  <a:gd name="connsiteX24" fmla="*/ 2209588 w 3653473"/>
                  <a:gd name="connsiteY24" fmla="*/ 739775 h 6406515"/>
                  <a:gd name="connsiteX25" fmla="*/ 2019088 w 3653473"/>
                  <a:gd name="connsiteY25" fmla="*/ 142875 h 6406515"/>
                  <a:gd name="connsiteX26" fmla="*/ 1663488 w 3653473"/>
                  <a:gd name="connsiteY26" fmla="*/ 142875 h 6406515"/>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836208 w 3653473"/>
                  <a:gd name="connsiteY13" fmla="*/ 254423 h 6363123"/>
                  <a:gd name="connsiteX14" fmla="*/ 2057188 w 3653473"/>
                  <a:gd name="connsiteY14" fmla="*/ 836083 h 6363123"/>
                  <a:gd name="connsiteX15" fmla="*/ 3027468 w 3653473"/>
                  <a:gd name="connsiteY15" fmla="*/ 1331383 h 6363123"/>
                  <a:gd name="connsiteX16" fmla="*/ 2107988 w 3653473"/>
                  <a:gd name="connsiteY16" fmla="*/ 1318683 h 6363123"/>
                  <a:gd name="connsiteX17" fmla="*/ 2102908 w 3653473"/>
                  <a:gd name="connsiteY17" fmla="*/ 2423583 h 6363123"/>
                  <a:gd name="connsiteX18" fmla="*/ 3096048 w 3653473"/>
                  <a:gd name="connsiteY18" fmla="*/ 6363123 h 6363123"/>
                  <a:gd name="connsiteX19" fmla="*/ 3289088 w 3653473"/>
                  <a:gd name="connsiteY19" fmla="*/ 6264063 h 6363123"/>
                  <a:gd name="connsiteX20" fmla="*/ 2250228 w 3653473"/>
                  <a:gd name="connsiteY20" fmla="*/ 2423583 h 6363123"/>
                  <a:gd name="connsiteX21" fmla="*/ 2255308 w 3653473"/>
                  <a:gd name="connsiteY21" fmla="*/ 1519343 h 6363123"/>
                  <a:gd name="connsiteX22" fmla="*/ 3380528 w 3653473"/>
                  <a:gd name="connsiteY22" fmla="*/ 1544743 h 6363123"/>
                  <a:gd name="connsiteX23" fmla="*/ 3454188 w 3653473"/>
                  <a:gd name="connsiteY23" fmla="*/ 1323763 h 6363123"/>
                  <a:gd name="connsiteX24" fmla="*/ 2209588 w 3653473"/>
                  <a:gd name="connsiteY24" fmla="*/ 696383 h 6363123"/>
                  <a:gd name="connsiteX25" fmla="*/ 2019088 w 3653473"/>
                  <a:gd name="connsiteY25"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36208 w 3653473"/>
                  <a:gd name="connsiteY14" fmla="*/ 25442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80658 w 3653473"/>
                  <a:gd name="connsiteY14" fmla="*/ 36237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80658 w 3653473"/>
                  <a:gd name="connsiteY14" fmla="*/ 36237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80658 w 3653473"/>
                  <a:gd name="connsiteY14" fmla="*/ 36237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52963"/>
                  <a:gd name="connsiteX1" fmla="*/ 1663488 w 3653473"/>
                  <a:gd name="connsiteY1" fmla="*/ 99483 h 6352963"/>
                  <a:gd name="connsiteX2" fmla="*/ 1437428 w 3653473"/>
                  <a:gd name="connsiteY2" fmla="*/ 678603 h 6352963"/>
                  <a:gd name="connsiteX3" fmla="*/ 149648 w 3653473"/>
                  <a:gd name="connsiteY3" fmla="*/ 1295823 h 6352963"/>
                  <a:gd name="connsiteX4" fmla="*/ 139488 w 3653473"/>
                  <a:gd name="connsiteY4" fmla="*/ 1554903 h 6352963"/>
                  <a:gd name="connsiteX5" fmla="*/ 1379008 w 3653473"/>
                  <a:gd name="connsiteY5" fmla="*/ 1559983 h 6352963"/>
                  <a:gd name="connsiteX6" fmla="*/ 1361228 w 3653473"/>
                  <a:gd name="connsiteY6" fmla="*/ 2507403 h 6352963"/>
                  <a:gd name="connsiteX7" fmla="*/ 406188 w 3653473"/>
                  <a:gd name="connsiteY7" fmla="*/ 6347883 h 6352963"/>
                  <a:gd name="connsiteX8" fmla="*/ 594148 w 3653473"/>
                  <a:gd name="connsiteY8" fmla="*/ 6352963 h 6352963"/>
                  <a:gd name="connsiteX9" fmla="*/ 1549188 w 3653473"/>
                  <a:gd name="connsiteY9" fmla="*/ 2454063 h 6352963"/>
                  <a:gd name="connsiteX10" fmla="*/ 1508548 w 3653473"/>
                  <a:gd name="connsiteY10" fmla="*/ 1311063 h 6352963"/>
                  <a:gd name="connsiteX11" fmla="*/ 604308 w 3653473"/>
                  <a:gd name="connsiteY11" fmla="*/ 1318683 h 6352963"/>
                  <a:gd name="connsiteX12" fmla="*/ 1498388 w 3653473"/>
                  <a:gd name="connsiteY12" fmla="*/ 899583 h 6352963"/>
                  <a:gd name="connsiteX13" fmla="*/ 1758738 w 3653473"/>
                  <a:gd name="connsiteY13" fmla="*/ 366184 h 6352963"/>
                  <a:gd name="connsiteX14" fmla="*/ 1880658 w 3653473"/>
                  <a:gd name="connsiteY14" fmla="*/ 362373 h 6352963"/>
                  <a:gd name="connsiteX15" fmla="*/ 2057188 w 3653473"/>
                  <a:gd name="connsiteY15" fmla="*/ 836083 h 6352963"/>
                  <a:gd name="connsiteX16" fmla="*/ 3027468 w 3653473"/>
                  <a:gd name="connsiteY16" fmla="*/ 1331383 h 6352963"/>
                  <a:gd name="connsiteX17" fmla="*/ 2107988 w 3653473"/>
                  <a:gd name="connsiteY17" fmla="*/ 1318683 h 6352963"/>
                  <a:gd name="connsiteX18" fmla="*/ 2102908 w 3653473"/>
                  <a:gd name="connsiteY18" fmla="*/ 2423583 h 6352963"/>
                  <a:gd name="connsiteX19" fmla="*/ 3083348 w 3653473"/>
                  <a:gd name="connsiteY19" fmla="*/ 6261523 h 6352963"/>
                  <a:gd name="connsiteX20" fmla="*/ 3289088 w 3653473"/>
                  <a:gd name="connsiteY20" fmla="*/ 6264063 h 6352963"/>
                  <a:gd name="connsiteX21" fmla="*/ 2250228 w 3653473"/>
                  <a:gd name="connsiteY21" fmla="*/ 2423583 h 6352963"/>
                  <a:gd name="connsiteX22" fmla="*/ 2255308 w 3653473"/>
                  <a:gd name="connsiteY22" fmla="*/ 1519343 h 6352963"/>
                  <a:gd name="connsiteX23" fmla="*/ 3380528 w 3653473"/>
                  <a:gd name="connsiteY23" fmla="*/ 1544743 h 6352963"/>
                  <a:gd name="connsiteX24" fmla="*/ 3454188 w 3653473"/>
                  <a:gd name="connsiteY24" fmla="*/ 1323763 h 6352963"/>
                  <a:gd name="connsiteX25" fmla="*/ 2209588 w 3653473"/>
                  <a:gd name="connsiteY25" fmla="*/ 696383 h 6352963"/>
                  <a:gd name="connsiteX26" fmla="*/ 2019088 w 3653473"/>
                  <a:gd name="connsiteY26" fmla="*/ 99483 h 6352963"/>
                  <a:gd name="connsiteX0" fmla="*/ 2019088 w 3653473"/>
                  <a:gd name="connsiteY0" fmla="*/ 99483 h 6441016"/>
                  <a:gd name="connsiteX1" fmla="*/ 1663488 w 3653473"/>
                  <a:gd name="connsiteY1" fmla="*/ 99483 h 6441016"/>
                  <a:gd name="connsiteX2" fmla="*/ 1437428 w 3653473"/>
                  <a:gd name="connsiteY2" fmla="*/ 678603 h 6441016"/>
                  <a:gd name="connsiteX3" fmla="*/ 149648 w 3653473"/>
                  <a:gd name="connsiteY3" fmla="*/ 1295823 h 6441016"/>
                  <a:gd name="connsiteX4" fmla="*/ 139488 w 3653473"/>
                  <a:gd name="connsiteY4" fmla="*/ 1554903 h 6441016"/>
                  <a:gd name="connsiteX5" fmla="*/ 1379008 w 3653473"/>
                  <a:gd name="connsiteY5" fmla="*/ 1559983 h 6441016"/>
                  <a:gd name="connsiteX6" fmla="*/ 1361228 w 3653473"/>
                  <a:gd name="connsiteY6" fmla="*/ 2507403 h 6441016"/>
                  <a:gd name="connsiteX7" fmla="*/ 406188 w 3653473"/>
                  <a:gd name="connsiteY7" fmla="*/ 6347883 h 6441016"/>
                  <a:gd name="connsiteX8" fmla="*/ 594148 w 3653473"/>
                  <a:gd name="connsiteY8" fmla="*/ 6352963 h 6441016"/>
                  <a:gd name="connsiteX9" fmla="*/ 1549188 w 3653473"/>
                  <a:gd name="connsiteY9" fmla="*/ 2454063 h 6441016"/>
                  <a:gd name="connsiteX10" fmla="*/ 1508548 w 3653473"/>
                  <a:gd name="connsiteY10" fmla="*/ 1311063 h 6441016"/>
                  <a:gd name="connsiteX11" fmla="*/ 604308 w 3653473"/>
                  <a:gd name="connsiteY11" fmla="*/ 1318683 h 6441016"/>
                  <a:gd name="connsiteX12" fmla="*/ 1498388 w 3653473"/>
                  <a:gd name="connsiteY12" fmla="*/ 899583 h 6441016"/>
                  <a:gd name="connsiteX13" fmla="*/ 1758738 w 3653473"/>
                  <a:gd name="connsiteY13" fmla="*/ 366184 h 6441016"/>
                  <a:gd name="connsiteX14" fmla="*/ 1880658 w 3653473"/>
                  <a:gd name="connsiteY14" fmla="*/ 362373 h 6441016"/>
                  <a:gd name="connsiteX15" fmla="*/ 2057188 w 3653473"/>
                  <a:gd name="connsiteY15" fmla="*/ 836083 h 6441016"/>
                  <a:gd name="connsiteX16" fmla="*/ 3027468 w 3653473"/>
                  <a:gd name="connsiteY16" fmla="*/ 1331383 h 6441016"/>
                  <a:gd name="connsiteX17" fmla="*/ 2107988 w 3653473"/>
                  <a:gd name="connsiteY17" fmla="*/ 1318683 h 6441016"/>
                  <a:gd name="connsiteX18" fmla="*/ 2102908 w 3653473"/>
                  <a:gd name="connsiteY18" fmla="*/ 2423583 h 6441016"/>
                  <a:gd name="connsiteX19" fmla="*/ 3083348 w 3653473"/>
                  <a:gd name="connsiteY19" fmla="*/ 6261523 h 6441016"/>
                  <a:gd name="connsiteX20" fmla="*/ 3289088 w 3653473"/>
                  <a:gd name="connsiteY20" fmla="*/ 6264063 h 6441016"/>
                  <a:gd name="connsiteX21" fmla="*/ 2250228 w 3653473"/>
                  <a:gd name="connsiteY21" fmla="*/ 2423583 h 6441016"/>
                  <a:gd name="connsiteX22" fmla="*/ 2255308 w 3653473"/>
                  <a:gd name="connsiteY22" fmla="*/ 1519343 h 6441016"/>
                  <a:gd name="connsiteX23" fmla="*/ 3380528 w 3653473"/>
                  <a:gd name="connsiteY23" fmla="*/ 1544743 h 6441016"/>
                  <a:gd name="connsiteX24" fmla="*/ 3454188 w 3653473"/>
                  <a:gd name="connsiteY24" fmla="*/ 1323763 h 6441016"/>
                  <a:gd name="connsiteX25" fmla="*/ 2209588 w 3653473"/>
                  <a:gd name="connsiteY25" fmla="*/ 696383 h 6441016"/>
                  <a:gd name="connsiteX26" fmla="*/ 2019088 w 3653473"/>
                  <a:gd name="connsiteY26" fmla="*/ 99483 h 6441016"/>
                  <a:gd name="connsiteX0" fmla="*/ 2019088 w 3653473"/>
                  <a:gd name="connsiteY0" fmla="*/ 99483 h 6441016"/>
                  <a:gd name="connsiteX1" fmla="*/ 1663488 w 3653473"/>
                  <a:gd name="connsiteY1" fmla="*/ 99483 h 6441016"/>
                  <a:gd name="connsiteX2" fmla="*/ 1437428 w 3653473"/>
                  <a:gd name="connsiteY2" fmla="*/ 678603 h 6441016"/>
                  <a:gd name="connsiteX3" fmla="*/ 149648 w 3653473"/>
                  <a:gd name="connsiteY3" fmla="*/ 1295823 h 6441016"/>
                  <a:gd name="connsiteX4" fmla="*/ 139488 w 3653473"/>
                  <a:gd name="connsiteY4" fmla="*/ 1554903 h 6441016"/>
                  <a:gd name="connsiteX5" fmla="*/ 1379008 w 3653473"/>
                  <a:gd name="connsiteY5" fmla="*/ 1559983 h 6441016"/>
                  <a:gd name="connsiteX6" fmla="*/ 1361228 w 3653473"/>
                  <a:gd name="connsiteY6" fmla="*/ 2507403 h 6441016"/>
                  <a:gd name="connsiteX7" fmla="*/ 406188 w 3653473"/>
                  <a:gd name="connsiteY7" fmla="*/ 6347883 h 6441016"/>
                  <a:gd name="connsiteX8" fmla="*/ 594148 w 3653473"/>
                  <a:gd name="connsiteY8" fmla="*/ 6352963 h 6441016"/>
                  <a:gd name="connsiteX9" fmla="*/ 1549188 w 3653473"/>
                  <a:gd name="connsiteY9" fmla="*/ 2454063 h 6441016"/>
                  <a:gd name="connsiteX10" fmla="*/ 1508548 w 3653473"/>
                  <a:gd name="connsiteY10" fmla="*/ 1311063 h 6441016"/>
                  <a:gd name="connsiteX11" fmla="*/ 604308 w 3653473"/>
                  <a:gd name="connsiteY11" fmla="*/ 1318683 h 6441016"/>
                  <a:gd name="connsiteX12" fmla="*/ 1498388 w 3653473"/>
                  <a:gd name="connsiteY12" fmla="*/ 899583 h 6441016"/>
                  <a:gd name="connsiteX13" fmla="*/ 1758738 w 3653473"/>
                  <a:gd name="connsiteY13" fmla="*/ 366184 h 6441016"/>
                  <a:gd name="connsiteX14" fmla="*/ 1880658 w 3653473"/>
                  <a:gd name="connsiteY14" fmla="*/ 362373 h 6441016"/>
                  <a:gd name="connsiteX15" fmla="*/ 2057188 w 3653473"/>
                  <a:gd name="connsiteY15" fmla="*/ 836083 h 6441016"/>
                  <a:gd name="connsiteX16" fmla="*/ 3027468 w 3653473"/>
                  <a:gd name="connsiteY16" fmla="*/ 1331383 h 6441016"/>
                  <a:gd name="connsiteX17" fmla="*/ 2107988 w 3653473"/>
                  <a:gd name="connsiteY17" fmla="*/ 1318683 h 6441016"/>
                  <a:gd name="connsiteX18" fmla="*/ 2102908 w 3653473"/>
                  <a:gd name="connsiteY18" fmla="*/ 2423583 h 6441016"/>
                  <a:gd name="connsiteX19" fmla="*/ 3083348 w 3653473"/>
                  <a:gd name="connsiteY19" fmla="*/ 6261523 h 6441016"/>
                  <a:gd name="connsiteX20" fmla="*/ 3289088 w 3653473"/>
                  <a:gd name="connsiteY20" fmla="*/ 6264063 h 6441016"/>
                  <a:gd name="connsiteX21" fmla="*/ 2250228 w 3653473"/>
                  <a:gd name="connsiteY21" fmla="*/ 2423583 h 6441016"/>
                  <a:gd name="connsiteX22" fmla="*/ 2255308 w 3653473"/>
                  <a:gd name="connsiteY22" fmla="*/ 1519343 h 6441016"/>
                  <a:gd name="connsiteX23" fmla="*/ 3380528 w 3653473"/>
                  <a:gd name="connsiteY23" fmla="*/ 1544743 h 6441016"/>
                  <a:gd name="connsiteX24" fmla="*/ 3454188 w 3653473"/>
                  <a:gd name="connsiteY24" fmla="*/ 1323763 h 6441016"/>
                  <a:gd name="connsiteX25" fmla="*/ 2209588 w 3653473"/>
                  <a:gd name="connsiteY25" fmla="*/ 696383 h 6441016"/>
                  <a:gd name="connsiteX26" fmla="*/ 2019088 w 3653473"/>
                  <a:gd name="connsiteY26" fmla="*/ 99483 h 6441016"/>
                  <a:gd name="connsiteX0" fmla="*/ 2019088 w 3653473"/>
                  <a:gd name="connsiteY0" fmla="*/ 99483 h 6471920"/>
                  <a:gd name="connsiteX1" fmla="*/ 1663488 w 3653473"/>
                  <a:gd name="connsiteY1" fmla="*/ 99483 h 6471920"/>
                  <a:gd name="connsiteX2" fmla="*/ 1437428 w 3653473"/>
                  <a:gd name="connsiteY2" fmla="*/ 678603 h 6471920"/>
                  <a:gd name="connsiteX3" fmla="*/ 149648 w 3653473"/>
                  <a:gd name="connsiteY3" fmla="*/ 1295823 h 6471920"/>
                  <a:gd name="connsiteX4" fmla="*/ 139488 w 3653473"/>
                  <a:gd name="connsiteY4" fmla="*/ 1554903 h 6471920"/>
                  <a:gd name="connsiteX5" fmla="*/ 1379008 w 3653473"/>
                  <a:gd name="connsiteY5" fmla="*/ 1559983 h 6471920"/>
                  <a:gd name="connsiteX6" fmla="*/ 1361228 w 3653473"/>
                  <a:gd name="connsiteY6" fmla="*/ 2507403 h 6471920"/>
                  <a:gd name="connsiteX7" fmla="*/ 406188 w 3653473"/>
                  <a:gd name="connsiteY7" fmla="*/ 6347883 h 6471920"/>
                  <a:gd name="connsiteX8" fmla="*/ 594148 w 3653473"/>
                  <a:gd name="connsiteY8" fmla="*/ 6352963 h 6471920"/>
                  <a:gd name="connsiteX9" fmla="*/ 1549188 w 3653473"/>
                  <a:gd name="connsiteY9" fmla="*/ 2454063 h 6471920"/>
                  <a:gd name="connsiteX10" fmla="*/ 1508548 w 3653473"/>
                  <a:gd name="connsiteY10" fmla="*/ 1311063 h 6471920"/>
                  <a:gd name="connsiteX11" fmla="*/ 604308 w 3653473"/>
                  <a:gd name="connsiteY11" fmla="*/ 1318683 h 6471920"/>
                  <a:gd name="connsiteX12" fmla="*/ 1498388 w 3653473"/>
                  <a:gd name="connsiteY12" fmla="*/ 899583 h 6471920"/>
                  <a:gd name="connsiteX13" fmla="*/ 1758738 w 3653473"/>
                  <a:gd name="connsiteY13" fmla="*/ 366184 h 6471920"/>
                  <a:gd name="connsiteX14" fmla="*/ 1880658 w 3653473"/>
                  <a:gd name="connsiteY14" fmla="*/ 362373 h 6471920"/>
                  <a:gd name="connsiteX15" fmla="*/ 2057188 w 3653473"/>
                  <a:gd name="connsiteY15" fmla="*/ 836083 h 6471920"/>
                  <a:gd name="connsiteX16" fmla="*/ 3027468 w 3653473"/>
                  <a:gd name="connsiteY16" fmla="*/ 1331383 h 6471920"/>
                  <a:gd name="connsiteX17" fmla="*/ 2107988 w 3653473"/>
                  <a:gd name="connsiteY17" fmla="*/ 1318683 h 6471920"/>
                  <a:gd name="connsiteX18" fmla="*/ 2102908 w 3653473"/>
                  <a:gd name="connsiteY18" fmla="*/ 2423583 h 6471920"/>
                  <a:gd name="connsiteX19" fmla="*/ 3083348 w 3653473"/>
                  <a:gd name="connsiteY19" fmla="*/ 6261523 h 6471920"/>
                  <a:gd name="connsiteX20" fmla="*/ 3289088 w 3653473"/>
                  <a:gd name="connsiteY20" fmla="*/ 6264063 h 6471920"/>
                  <a:gd name="connsiteX21" fmla="*/ 2250228 w 3653473"/>
                  <a:gd name="connsiteY21" fmla="*/ 2423583 h 6471920"/>
                  <a:gd name="connsiteX22" fmla="*/ 2255308 w 3653473"/>
                  <a:gd name="connsiteY22" fmla="*/ 1519343 h 6471920"/>
                  <a:gd name="connsiteX23" fmla="*/ 3380528 w 3653473"/>
                  <a:gd name="connsiteY23" fmla="*/ 1544743 h 6471920"/>
                  <a:gd name="connsiteX24" fmla="*/ 3454188 w 3653473"/>
                  <a:gd name="connsiteY24" fmla="*/ 1323763 h 6471920"/>
                  <a:gd name="connsiteX25" fmla="*/ 2209588 w 3653473"/>
                  <a:gd name="connsiteY25" fmla="*/ 696383 h 6471920"/>
                  <a:gd name="connsiteX26" fmla="*/ 2019088 w 3653473"/>
                  <a:gd name="connsiteY26" fmla="*/ 99483 h 6471920"/>
                  <a:gd name="connsiteX0" fmla="*/ 2019088 w 3653473"/>
                  <a:gd name="connsiteY0" fmla="*/ 99483 h 6471920"/>
                  <a:gd name="connsiteX1" fmla="*/ 1663488 w 3653473"/>
                  <a:gd name="connsiteY1" fmla="*/ 99483 h 6471920"/>
                  <a:gd name="connsiteX2" fmla="*/ 1437428 w 3653473"/>
                  <a:gd name="connsiteY2" fmla="*/ 678603 h 6471920"/>
                  <a:gd name="connsiteX3" fmla="*/ 149648 w 3653473"/>
                  <a:gd name="connsiteY3" fmla="*/ 1295823 h 6471920"/>
                  <a:gd name="connsiteX4" fmla="*/ 139488 w 3653473"/>
                  <a:gd name="connsiteY4" fmla="*/ 1554903 h 6471920"/>
                  <a:gd name="connsiteX5" fmla="*/ 1379008 w 3653473"/>
                  <a:gd name="connsiteY5" fmla="*/ 1559983 h 6471920"/>
                  <a:gd name="connsiteX6" fmla="*/ 1361228 w 3653473"/>
                  <a:gd name="connsiteY6" fmla="*/ 2507403 h 6471920"/>
                  <a:gd name="connsiteX7" fmla="*/ 406188 w 3653473"/>
                  <a:gd name="connsiteY7" fmla="*/ 6347883 h 6471920"/>
                  <a:gd name="connsiteX8" fmla="*/ 594148 w 3653473"/>
                  <a:gd name="connsiteY8" fmla="*/ 6352963 h 6471920"/>
                  <a:gd name="connsiteX9" fmla="*/ 1549188 w 3653473"/>
                  <a:gd name="connsiteY9" fmla="*/ 2454063 h 6471920"/>
                  <a:gd name="connsiteX10" fmla="*/ 1508548 w 3653473"/>
                  <a:gd name="connsiteY10" fmla="*/ 1311063 h 6471920"/>
                  <a:gd name="connsiteX11" fmla="*/ 604308 w 3653473"/>
                  <a:gd name="connsiteY11" fmla="*/ 1318683 h 6471920"/>
                  <a:gd name="connsiteX12" fmla="*/ 1498388 w 3653473"/>
                  <a:gd name="connsiteY12" fmla="*/ 899583 h 6471920"/>
                  <a:gd name="connsiteX13" fmla="*/ 1758738 w 3653473"/>
                  <a:gd name="connsiteY13" fmla="*/ 366184 h 6471920"/>
                  <a:gd name="connsiteX14" fmla="*/ 1880658 w 3653473"/>
                  <a:gd name="connsiteY14" fmla="*/ 362373 h 6471920"/>
                  <a:gd name="connsiteX15" fmla="*/ 2057188 w 3653473"/>
                  <a:gd name="connsiteY15" fmla="*/ 836083 h 6471920"/>
                  <a:gd name="connsiteX16" fmla="*/ 3027468 w 3653473"/>
                  <a:gd name="connsiteY16" fmla="*/ 1331383 h 6471920"/>
                  <a:gd name="connsiteX17" fmla="*/ 2107988 w 3653473"/>
                  <a:gd name="connsiteY17" fmla="*/ 1318683 h 6471920"/>
                  <a:gd name="connsiteX18" fmla="*/ 2102908 w 3653473"/>
                  <a:gd name="connsiteY18" fmla="*/ 2423583 h 6471920"/>
                  <a:gd name="connsiteX19" fmla="*/ 3083348 w 3653473"/>
                  <a:gd name="connsiteY19" fmla="*/ 6261523 h 6471920"/>
                  <a:gd name="connsiteX20" fmla="*/ 3289088 w 3653473"/>
                  <a:gd name="connsiteY20" fmla="*/ 6264063 h 6471920"/>
                  <a:gd name="connsiteX21" fmla="*/ 2250228 w 3653473"/>
                  <a:gd name="connsiteY21" fmla="*/ 2423583 h 6471920"/>
                  <a:gd name="connsiteX22" fmla="*/ 2255308 w 3653473"/>
                  <a:gd name="connsiteY22" fmla="*/ 1519343 h 6471920"/>
                  <a:gd name="connsiteX23" fmla="*/ 3380528 w 3653473"/>
                  <a:gd name="connsiteY23" fmla="*/ 1544743 h 6471920"/>
                  <a:gd name="connsiteX24" fmla="*/ 3454188 w 3653473"/>
                  <a:gd name="connsiteY24" fmla="*/ 1323763 h 6471920"/>
                  <a:gd name="connsiteX25" fmla="*/ 2209588 w 3653473"/>
                  <a:gd name="connsiteY25" fmla="*/ 696383 h 6471920"/>
                  <a:gd name="connsiteX26" fmla="*/ 2019088 w 3653473"/>
                  <a:gd name="connsiteY26" fmla="*/ 99483 h 647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653473" h="6471920">
                    <a:moveTo>
                      <a:pt x="2019088" y="99483"/>
                    </a:moveTo>
                    <a:cubicBezTo>
                      <a:pt x="1928071" y="0"/>
                      <a:pt x="1760431" y="2963"/>
                      <a:pt x="1663488" y="99483"/>
                    </a:cubicBezTo>
                    <a:lnTo>
                      <a:pt x="1437428" y="678603"/>
                    </a:lnTo>
                    <a:lnTo>
                      <a:pt x="149648" y="1295823"/>
                    </a:lnTo>
                    <a:cubicBezTo>
                      <a:pt x="22436" y="1386945"/>
                      <a:pt x="0" y="1525693"/>
                      <a:pt x="139488" y="1554903"/>
                    </a:cubicBezTo>
                    <a:lnTo>
                      <a:pt x="1379008" y="1559983"/>
                    </a:lnTo>
                    <a:lnTo>
                      <a:pt x="1361228" y="2507403"/>
                    </a:lnTo>
                    <a:lnTo>
                      <a:pt x="406188" y="6347883"/>
                    </a:lnTo>
                    <a:cubicBezTo>
                      <a:pt x="386291" y="6419426"/>
                      <a:pt x="531495" y="6471920"/>
                      <a:pt x="594148" y="6352963"/>
                    </a:cubicBezTo>
                    <a:lnTo>
                      <a:pt x="1549188" y="2454063"/>
                    </a:lnTo>
                    <a:cubicBezTo>
                      <a:pt x="1545801" y="2073063"/>
                      <a:pt x="1511935" y="1692063"/>
                      <a:pt x="1508548" y="1311063"/>
                    </a:cubicBezTo>
                    <a:lnTo>
                      <a:pt x="604308" y="1318683"/>
                    </a:lnTo>
                    <a:lnTo>
                      <a:pt x="1498388" y="899583"/>
                    </a:lnTo>
                    <a:lnTo>
                      <a:pt x="1758738" y="366184"/>
                    </a:lnTo>
                    <a:cubicBezTo>
                      <a:pt x="1812078" y="244264"/>
                      <a:pt x="1827318" y="192193"/>
                      <a:pt x="1880658" y="362373"/>
                    </a:cubicBezTo>
                    <a:lnTo>
                      <a:pt x="2057188" y="836083"/>
                    </a:lnTo>
                    <a:lnTo>
                      <a:pt x="3027468" y="1331383"/>
                    </a:lnTo>
                    <a:lnTo>
                      <a:pt x="2107988" y="1318683"/>
                    </a:lnTo>
                    <a:cubicBezTo>
                      <a:pt x="2106295" y="1686983"/>
                      <a:pt x="2104601" y="2055283"/>
                      <a:pt x="2102908" y="2423583"/>
                    </a:cubicBezTo>
                    <a:lnTo>
                      <a:pt x="3083348" y="6261523"/>
                    </a:lnTo>
                    <a:cubicBezTo>
                      <a:pt x="3107478" y="6383020"/>
                      <a:pt x="3245908" y="6441016"/>
                      <a:pt x="3289088" y="6264063"/>
                    </a:cubicBezTo>
                    <a:lnTo>
                      <a:pt x="2250228" y="2423583"/>
                    </a:lnTo>
                    <a:cubicBezTo>
                      <a:pt x="2251921" y="2122170"/>
                      <a:pt x="2253615" y="1820756"/>
                      <a:pt x="2255308" y="1519343"/>
                    </a:cubicBezTo>
                    <a:lnTo>
                      <a:pt x="3380528" y="1544743"/>
                    </a:lnTo>
                    <a:cubicBezTo>
                      <a:pt x="3505094" y="1590145"/>
                      <a:pt x="3653473" y="1440285"/>
                      <a:pt x="3454188" y="1323763"/>
                    </a:cubicBezTo>
                    <a:lnTo>
                      <a:pt x="2209588" y="696383"/>
                    </a:lnTo>
                    <a:lnTo>
                      <a:pt x="2019088" y="99483"/>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2" name="Rectangle 151"/>
              <p:cNvSpPr/>
              <p:nvPr/>
            </p:nvSpPr>
            <p:spPr>
              <a:xfrm>
                <a:off x="2203450" y="1504950"/>
                <a:ext cx="812800" cy="317500"/>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3" name="Freeform 152"/>
              <p:cNvSpPr/>
              <p:nvPr/>
            </p:nvSpPr>
            <p:spPr>
              <a:xfrm>
                <a:off x="2209800" y="901700"/>
                <a:ext cx="711200" cy="152400"/>
              </a:xfrm>
              <a:custGeom>
                <a:avLst/>
                <a:gdLst>
                  <a:gd name="connsiteX0" fmla="*/ 127000 w 711200"/>
                  <a:gd name="connsiteY0" fmla="*/ 0 h 152400"/>
                  <a:gd name="connsiteX1" fmla="*/ 698500 w 711200"/>
                  <a:gd name="connsiteY1" fmla="*/ 0 h 152400"/>
                  <a:gd name="connsiteX2" fmla="*/ 711200 w 711200"/>
                  <a:gd name="connsiteY2" fmla="*/ 152400 h 152400"/>
                  <a:gd name="connsiteX3" fmla="*/ 0 w 711200"/>
                  <a:gd name="connsiteY3" fmla="*/ 139700 h 152400"/>
                  <a:gd name="connsiteX4" fmla="*/ 127000 w 71120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1200" h="152400">
                    <a:moveTo>
                      <a:pt x="127000" y="0"/>
                    </a:moveTo>
                    <a:lnTo>
                      <a:pt x="698500" y="0"/>
                    </a:lnTo>
                    <a:lnTo>
                      <a:pt x="711200" y="152400"/>
                    </a:lnTo>
                    <a:lnTo>
                      <a:pt x="0" y="139700"/>
                    </a:lnTo>
                    <a:lnTo>
                      <a:pt x="1270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4" name="Freeform 153"/>
              <p:cNvSpPr/>
              <p:nvPr/>
            </p:nvSpPr>
            <p:spPr>
              <a:xfrm>
                <a:off x="2139950" y="933450"/>
                <a:ext cx="171450" cy="736600"/>
              </a:xfrm>
              <a:custGeom>
                <a:avLst/>
                <a:gdLst>
                  <a:gd name="connsiteX0" fmla="*/ 6350 w 171450"/>
                  <a:gd name="connsiteY0" fmla="*/ 730250 h 736600"/>
                  <a:gd name="connsiteX1" fmla="*/ 0 w 171450"/>
                  <a:gd name="connsiteY1" fmla="*/ 95250 h 736600"/>
                  <a:gd name="connsiteX2" fmla="*/ 171450 w 171450"/>
                  <a:gd name="connsiteY2" fmla="*/ 0 h 736600"/>
                  <a:gd name="connsiteX3" fmla="*/ 127000 w 171450"/>
                  <a:gd name="connsiteY3" fmla="*/ 736600 h 736600"/>
                  <a:gd name="connsiteX4" fmla="*/ 6350 w 171450"/>
                  <a:gd name="connsiteY4" fmla="*/ 730250 h 736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736600">
                    <a:moveTo>
                      <a:pt x="6350" y="730250"/>
                    </a:moveTo>
                    <a:cubicBezTo>
                      <a:pt x="4233" y="518583"/>
                      <a:pt x="2117" y="306917"/>
                      <a:pt x="0" y="95250"/>
                    </a:cubicBezTo>
                    <a:lnTo>
                      <a:pt x="171450" y="0"/>
                    </a:lnTo>
                    <a:lnTo>
                      <a:pt x="127000" y="736600"/>
                    </a:lnTo>
                    <a:lnTo>
                      <a:pt x="6350" y="7302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5" name="Freeform 154"/>
              <p:cNvSpPr/>
              <p:nvPr/>
            </p:nvSpPr>
            <p:spPr>
              <a:xfrm>
                <a:off x="2851150" y="850900"/>
                <a:ext cx="184150" cy="838200"/>
              </a:xfrm>
              <a:custGeom>
                <a:avLst/>
                <a:gdLst>
                  <a:gd name="connsiteX0" fmla="*/ 0 w 184150"/>
                  <a:gd name="connsiteY0" fmla="*/ 0 h 838200"/>
                  <a:gd name="connsiteX1" fmla="*/ 25400 w 184150"/>
                  <a:gd name="connsiteY1" fmla="*/ 838200 h 838200"/>
                  <a:gd name="connsiteX2" fmla="*/ 184150 w 184150"/>
                  <a:gd name="connsiteY2" fmla="*/ 819150 h 838200"/>
                  <a:gd name="connsiteX3" fmla="*/ 120650 w 184150"/>
                  <a:gd name="connsiteY3" fmla="*/ 114300 h 838200"/>
                  <a:gd name="connsiteX4" fmla="*/ 0 w 184150"/>
                  <a:gd name="connsiteY4" fmla="*/ 0 h 83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50" h="838200">
                    <a:moveTo>
                      <a:pt x="0" y="0"/>
                    </a:moveTo>
                    <a:lnTo>
                      <a:pt x="25400" y="838200"/>
                    </a:lnTo>
                    <a:lnTo>
                      <a:pt x="184150" y="819150"/>
                    </a:lnTo>
                    <a:lnTo>
                      <a:pt x="120650" y="114300"/>
                    </a:lnTo>
                    <a:lnTo>
                      <a:pt x="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6" name="Freeform 155"/>
              <p:cNvSpPr/>
              <p:nvPr/>
            </p:nvSpPr>
            <p:spPr>
              <a:xfrm>
                <a:off x="2216150" y="901700"/>
                <a:ext cx="749300" cy="825500"/>
              </a:xfrm>
              <a:custGeom>
                <a:avLst/>
                <a:gdLst>
                  <a:gd name="connsiteX0" fmla="*/ 0 w 749300"/>
                  <a:gd name="connsiteY0" fmla="*/ 76200 h 825500"/>
                  <a:gd name="connsiteX1" fmla="*/ 711200 w 749300"/>
                  <a:gd name="connsiteY1" fmla="*/ 825500 h 825500"/>
                  <a:gd name="connsiteX2" fmla="*/ 749300 w 749300"/>
                  <a:gd name="connsiteY2" fmla="*/ 641350 h 825500"/>
                  <a:gd name="connsiteX3" fmla="*/ 44450 w 749300"/>
                  <a:gd name="connsiteY3" fmla="*/ 0 h 825500"/>
                  <a:gd name="connsiteX4" fmla="*/ 0 w 749300"/>
                  <a:gd name="connsiteY4" fmla="*/ 76200 h 825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9300" h="825500">
                    <a:moveTo>
                      <a:pt x="0" y="76200"/>
                    </a:moveTo>
                    <a:lnTo>
                      <a:pt x="711200" y="825500"/>
                    </a:lnTo>
                    <a:lnTo>
                      <a:pt x="749300" y="641350"/>
                    </a:lnTo>
                    <a:lnTo>
                      <a:pt x="44450" y="0"/>
                    </a:lnTo>
                    <a:lnTo>
                      <a:pt x="0" y="762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7" name="Freeform 156"/>
              <p:cNvSpPr/>
              <p:nvPr/>
            </p:nvSpPr>
            <p:spPr>
              <a:xfrm>
                <a:off x="2114550" y="946150"/>
                <a:ext cx="844550" cy="654050"/>
              </a:xfrm>
              <a:custGeom>
                <a:avLst/>
                <a:gdLst>
                  <a:gd name="connsiteX0" fmla="*/ 266700 w 844550"/>
                  <a:gd name="connsiteY0" fmla="*/ 615950 h 654050"/>
                  <a:gd name="connsiteX1" fmla="*/ 266700 w 844550"/>
                  <a:gd name="connsiteY1" fmla="*/ 615950 h 654050"/>
                  <a:gd name="connsiteX2" fmla="*/ 311150 w 844550"/>
                  <a:gd name="connsiteY2" fmla="*/ 558800 h 654050"/>
                  <a:gd name="connsiteX3" fmla="*/ 844550 w 844550"/>
                  <a:gd name="connsiteY3" fmla="*/ 88900 h 654050"/>
                  <a:gd name="connsiteX4" fmla="*/ 749300 w 844550"/>
                  <a:gd name="connsiteY4" fmla="*/ 0 h 654050"/>
                  <a:gd name="connsiteX5" fmla="*/ 0 w 844550"/>
                  <a:gd name="connsiteY5" fmla="*/ 654050 h 654050"/>
                  <a:gd name="connsiteX6" fmla="*/ 266700 w 844550"/>
                  <a:gd name="connsiteY6" fmla="*/ 615950 h 65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4550" h="654050">
                    <a:moveTo>
                      <a:pt x="266700" y="615950"/>
                    </a:moveTo>
                    <a:lnTo>
                      <a:pt x="266700" y="615950"/>
                    </a:lnTo>
                    <a:lnTo>
                      <a:pt x="311150" y="558800"/>
                    </a:lnTo>
                    <a:lnTo>
                      <a:pt x="844550" y="88900"/>
                    </a:lnTo>
                    <a:lnTo>
                      <a:pt x="749300" y="0"/>
                    </a:lnTo>
                    <a:lnTo>
                      <a:pt x="0" y="654050"/>
                    </a:lnTo>
                    <a:lnTo>
                      <a:pt x="266700" y="6159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8" name="Freeform 157"/>
              <p:cNvSpPr/>
              <p:nvPr/>
            </p:nvSpPr>
            <p:spPr>
              <a:xfrm>
                <a:off x="2222500" y="1714500"/>
                <a:ext cx="495300" cy="520700"/>
              </a:xfrm>
              <a:custGeom>
                <a:avLst/>
                <a:gdLst>
                  <a:gd name="connsiteX0" fmla="*/ 69850 w 495300"/>
                  <a:gd name="connsiteY0" fmla="*/ 400050 h 520700"/>
                  <a:gd name="connsiteX1" fmla="*/ 495300 w 495300"/>
                  <a:gd name="connsiteY1" fmla="*/ 0 h 520700"/>
                  <a:gd name="connsiteX2" fmla="*/ 0 w 495300"/>
                  <a:gd name="connsiteY2" fmla="*/ 95250 h 520700"/>
                  <a:gd name="connsiteX3" fmla="*/ 6350 w 495300"/>
                  <a:gd name="connsiteY3" fmla="*/ 520700 h 520700"/>
                  <a:gd name="connsiteX4" fmla="*/ 69850 w 495300"/>
                  <a:gd name="connsiteY4" fmla="*/ 400050 h 520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520700">
                    <a:moveTo>
                      <a:pt x="69850" y="400050"/>
                    </a:moveTo>
                    <a:lnTo>
                      <a:pt x="495300" y="0"/>
                    </a:lnTo>
                    <a:lnTo>
                      <a:pt x="0" y="95250"/>
                    </a:lnTo>
                    <a:cubicBezTo>
                      <a:pt x="2117" y="237067"/>
                      <a:pt x="4233" y="378883"/>
                      <a:pt x="6350" y="520700"/>
                    </a:cubicBezTo>
                    <a:lnTo>
                      <a:pt x="69850" y="4000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9" name="Freeform 158"/>
              <p:cNvSpPr/>
              <p:nvPr/>
            </p:nvSpPr>
            <p:spPr>
              <a:xfrm>
                <a:off x="2527300" y="1638300"/>
                <a:ext cx="444500" cy="476250"/>
              </a:xfrm>
              <a:custGeom>
                <a:avLst/>
                <a:gdLst>
                  <a:gd name="connsiteX0" fmla="*/ 425450 w 444500"/>
                  <a:gd name="connsiteY0" fmla="*/ 476250 h 476250"/>
                  <a:gd name="connsiteX1" fmla="*/ 0 w 444500"/>
                  <a:gd name="connsiteY1" fmla="*/ 82550 h 476250"/>
                  <a:gd name="connsiteX2" fmla="*/ 222250 w 444500"/>
                  <a:gd name="connsiteY2" fmla="*/ 0 h 476250"/>
                  <a:gd name="connsiteX3" fmla="*/ 444500 w 444500"/>
                  <a:gd name="connsiteY3" fmla="*/ 82550 h 476250"/>
                  <a:gd name="connsiteX4" fmla="*/ 425450 w 444500"/>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00" h="476250">
                    <a:moveTo>
                      <a:pt x="425450" y="476250"/>
                    </a:moveTo>
                    <a:lnTo>
                      <a:pt x="0" y="82550"/>
                    </a:lnTo>
                    <a:lnTo>
                      <a:pt x="222250" y="0"/>
                    </a:lnTo>
                    <a:lnTo>
                      <a:pt x="444500" y="82550"/>
                    </a:lnTo>
                    <a:lnTo>
                      <a:pt x="425450" y="4762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0" name="Freeform 159"/>
              <p:cNvSpPr/>
              <p:nvPr/>
            </p:nvSpPr>
            <p:spPr>
              <a:xfrm>
                <a:off x="2165350" y="1809750"/>
                <a:ext cx="749300" cy="812800"/>
              </a:xfrm>
              <a:custGeom>
                <a:avLst/>
                <a:gdLst>
                  <a:gd name="connsiteX0" fmla="*/ 723900 w 749300"/>
                  <a:gd name="connsiteY0" fmla="*/ 0 h 812800"/>
                  <a:gd name="connsiteX1" fmla="*/ 0 w 749300"/>
                  <a:gd name="connsiteY1" fmla="*/ 692150 h 812800"/>
                  <a:gd name="connsiteX2" fmla="*/ 63500 w 749300"/>
                  <a:gd name="connsiteY2" fmla="*/ 812800 h 812800"/>
                  <a:gd name="connsiteX3" fmla="*/ 749300 w 749300"/>
                  <a:gd name="connsiteY3" fmla="*/ 114300 h 812800"/>
                  <a:gd name="connsiteX4" fmla="*/ 723900 w 749300"/>
                  <a:gd name="connsiteY4" fmla="*/ 0 h 812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9300" h="812800">
                    <a:moveTo>
                      <a:pt x="723900" y="0"/>
                    </a:moveTo>
                    <a:lnTo>
                      <a:pt x="0" y="692150"/>
                    </a:lnTo>
                    <a:lnTo>
                      <a:pt x="63500" y="812800"/>
                    </a:lnTo>
                    <a:lnTo>
                      <a:pt x="749300" y="114300"/>
                    </a:lnTo>
                    <a:lnTo>
                      <a:pt x="7239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1" name="Freeform 160"/>
              <p:cNvSpPr/>
              <p:nvPr/>
            </p:nvSpPr>
            <p:spPr>
              <a:xfrm>
                <a:off x="2286000" y="1885950"/>
                <a:ext cx="654050" cy="647700"/>
              </a:xfrm>
              <a:custGeom>
                <a:avLst/>
                <a:gdLst>
                  <a:gd name="connsiteX0" fmla="*/ 0 w 654050"/>
                  <a:gd name="connsiteY0" fmla="*/ 76200 h 647700"/>
                  <a:gd name="connsiteX1" fmla="*/ 628650 w 654050"/>
                  <a:gd name="connsiteY1" fmla="*/ 647700 h 647700"/>
                  <a:gd name="connsiteX2" fmla="*/ 654050 w 654050"/>
                  <a:gd name="connsiteY2" fmla="*/ 457200 h 647700"/>
                  <a:gd name="connsiteX3" fmla="*/ 63500 w 654050"/>
                  <a:gd name="connsiteY3" fmla="*/ 0 h 647700"/>
                  <a:gd name="connsiteX4" fmla="*/ 0 w 654050"/>
                  <a:gd name="connsiteY4" fmla="*/ 76200 h 647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050" h="647700">
                    <a:moveTo>
                      <a:pt x="0" y="76200"/>
                    </a:moveTo>
                    <a:lnTo>
                      <a:pt x="628650" y="647700"/>
                    </a:lnTo>
                    <a:lnTo>
                      <a:pt x="654050" y="457200"/>
                    </a:lnTo>
                    <a:lnTo>
                      <a:pt x="63500" y="0"/>
                    </a:lnTo>
                    <a:lnTo>
                      <a:pt x="0" y="762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2" name="Freeform 161"/>
              <p:cNvSpPr/>
              <p:nvPr/>
            </p:nvSpPr>
            <p:spPr>
              <a:xfrm>
                <a:off x="2171700" y="2400300"/>
                <a:ext cx="946150" cy="793750"/>
              </a:xfrm>
              <a:custGeom>
                <a:avLst/>
                <a:gdLst>
                  <a:gd name="connsiteX0" fmla="*/ 165100 w 946150"/>
                  <a:gd name="connsiteY0" fmla="*/ 0 h 793750"/>
                  <a:gd name="connsiteX1" fmla="*/ 946150 w 946150"/>
                  <a:gd name="connsiteY1" fmla="*/ 730250 h 793750"/>
                  <a:gd name="connsiteX2" fmla="*/ 908050 w 946150"/>
                  <a:gd name="connsiteY2" fmla="*/ 793750 h 793750"/>
                  <a:gd name="connsiteX3" fmla="*/ 0 w 946150"/>
                  <a:gd name="connsiteY3" fmla="*/ 25400 h 793750"/>
                  <a:gd name="connsiteX4" fmla="*/ 165100 w 946150"/>
                  <a:gd name="connsiteY4" fmla="*/ 0 h 79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6150" h="793750">
                    <a:moveTo>
                      <a:pt x="165100" y="0"/>
                    </a:moveTo>
                    <a:lnTo>
                      <a:pt x="946150" y="730250"/>
                    </a:lnTo>
                    <a:lnTo>
                      <a:pt x="908050" y="793750"/>
                    </a:lnTo>
                    <a:lnTo>
                      <a:pt x="0" y="25400"/>
                    </a:lnTo>
                    <a:lnTo>
                      <a:pt x="1651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3" name="Freeform 162"/>
              <p:cNvSpPr/>
              <p:nvPr/>
            </p:nvSpPr>
            <p:spPr>
              <a:xfrm>
                <a:off x="2063750" y="2381250"/>
                <a:ext cx="889000" cy="895350"/>
              </a:xfrm>
              <a:custGeom>
                <a:avLst/>
                <a:gdLst>
                  <a:gd name="connsiteX0" fmla="*/ 889000 w 889000"/>
                  <a:gd name="connsiteY0" fmla="*/ 139700 h 895350"/>
                  <a:gd name="connsiteX1" fmla="*/ 0 w 889000"/>
                  <a:gd name="connsiteY1" fmla="*/ 895350 h 895350"/>
                  <a:gd name="connsiteX2" fmla="*/ 57150 w 889000"/>
                  <a:gd name="connsiteY2" fmla="*/ 666750 h 895350"/>
                  <a:gd name="connsiteX3" fmla="*/ 889000 w 889000"/>
                  <a:gd name="connsiteY3" fmla="*/ 0 h 895350"/>
                  <a:gd name="connsiteX4" fmla="*/ 889000 w 889000"/>
                  <a:gd name="connsiteY4" fmla="*/ 139700 h 895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000" h="895350">
                    <a:moveTo>
                      <a:pt x="889000" y="139700"/>
                    </a:moveTo>
                    <a:lnTo>
                      <a:pt x="0" y="895350"/>
                    </a:lnTo>
                    <a:lnTo>
                      <a:pt x="57150" y="666750"/>
                    </a:lnTo>
                    <a:lnTo>
                      <a:pt x="889000" y="0"/>
                    </a:lnTo>
                    <a:lnTo>
                      <a:pt x="889000" y="1397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4" name="Freeform 163"/>
              <p:cNvSpPr/>
              <p:nvPr/>
            </p:nvSpPr>
            <p:spPr>
              <a:xfrm>
                <a:off x="2108200" y="3048000"/>
                <a:ext cx="1181100" cy="984250"/>
              </a:xfrm>
              <a:custGeom>
                <a:avLst/>
                <a:gdLst>
                  <a:gd name="connsiteX0" fmla="*/ 101600 w 1181100"/>
                  <a:gd name="connsiteY0" fmla="*/ 0 h 984250"/>
                  <a:gd name="connsiteX1" fmla="*/ 1181100 w 1181100"/>
                  <a:gd name="connsiteY1" fmla="*/ 857250 h 984250"/>
                  <a:gd name="connsiteX2" fmla="*/ 1155700 w 1181100"/>
                  <a:gd name="connsiteY2" fmla="*/ 984250 h 984250"/>
                  <a:gd name="connsiteX3" fmla="*/ 0 w 1181100"/>
                  <a:gd name="connsiteY3" fmla="*/ 127000 h 984250"/>
                  <a:gd name="connsiteX4" fmla="*/ 101600 w 1181100"/>
                  <a:gd name="connsiteY4" fmla="*/ 0 h 984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100" h="984250">
                    <a:moveTo>
                      <a:pt x="101600" y="0"/>
                    </a:moveTo>
                    <a:lnTo>
                      <a:pt x="1181100" y="857250"/>
                    </a:lnTo>
                    <a:lnTo>
                      <a:pt x="1155700" y="984250"/>
                    </a:lnTo>
                    <a:lnTo>
                      <a:pt x="0" y="127000"/>
                    </a:lnTo>
                    <a:lnTo>
                      <a:pt x="1016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5" name="Freeform 164"/>
              <p:cNvSpPr/>
              <p:nvPr/>
            </p:nvSpPr>
            <p:spPr>
              <a:xfrm>
                <a:off x="1879600" y="3003550"/>
                <a:ext cx="1219200" cy="1117600"/>
              </a:xfrm>
              <a:custGeom>
                <a:avLst/>
                <a:gdLst>
                  <a:gd name="connsiteX0" fmla="*/ 1219200 w 1219200"/>
                  <a:gd name="connsiteY0" fmla="*/ 158750 h 1117600"/>
                  <a:gd name="connsiteX1" fmla="*/ 0 w 1219200"/>
                  <a:gd name="connsiteY1" fmla="*/ 1117600 h 1117600"/>
                  <a:gd name="connsiteX2" fmla="*/ 69850 w 1219200"/>
                  <a:gd name="connsiteY2" fmla="*/ 806450 h 1117600"/>
                  <a:gd name="connsiteX3" fmla="*/ 1187450 w 1219200"/>
                  <a:gd name="connsiteY3" fmla="*/ 0 h 1117600"/>
                  <a:gd name="connsiteX4" fmla="*/ 1219200 w 1219200"/>
                  <a:gd name="connsiteY4" fmla="*/ 158750 h 1117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 h="1117600">
                    <a:moveTo>
                      <a:pt x="1219200" y="158750"/>
                    </a:moveTo>
                    <a:lnTo>
                      <a:pt x="0" y="1117600"/>
                    </a:lnTo>
                    <a:lnTo>
                      <a:pt x="69850" y="806450"/>
                    </a:lnTo>
                    <a:lnTo>
                      <a:pt x="1187450" y="0"/>
                    </a:lnTo>
                    <a:lnTo>
                      <a:pt x="1219200" y="1587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6" name="Freeform 165"/>
              <p:cNvSpPr/>
              <p:nvPr/>
            </p:nvSpPr>
            <p:spPr>
              <a:xfrm>
                <a:off x="1879600" y="3873500"/>
                <a:ext cx="1689100" cy="1397000"/>
              </a:xfrm>
              <a:custGeom>
                <a:avLst/>
                <a:gdLst>
                  <a:gd name="connsiteX0" fmla="*/ 114300 w 1689100"/>
                  <a:gd name="connsiteY0" fmla="*/ 0 h 1397000"/>
                  <a:gd name="connsiteX1" fmla="*/ 1689100 w 1689100"/>
                  <a:gd name="connsiteY1" fmla="*/ 1155700 h 1397000"/>
                  <a:gd name="connsiteX2" fmla="*/ 1689100 w 1689100"/>
                  <a:gd name="connsiteY2" fmla="*/ 1397000 h 1397000"/>
                  <a:gd name="connsiteX3" fmla="*/ 0 w 1689100"/>
                  <a:gd name="connsiteY3" fmla="*/ 158750 h 1397000"/>
                  <a:gd name="connsiteX4" fmla="*/ 114300 w 1689100"/>
                  <a:gd name="connsiteY4" fmla="*/ 0 h 139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9100" h="1397000">
                    <a:moveTo>
                      <a:pt x="114300" y="0"/>
                    </a:moveTo>
                    <a:lnTo>
                      <a:pt x="1689100" y="1155700"/>
                    </a:lnTo>
                    <a:lnTo>
                      <a:pt x="1689100" y="1397000"/>
                    </a:lnTo>
                    <a:lnTo>
                      <a:pt x="0" y="158750"/>
                    </a:lnTo>
                    <a:lnTo>
                      <a:pt x="1143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7" name="Freeform 166"/>
              <p:cNvSpPr/>
              <p:nvPr/>
            </p:nvSpPr>
            <p:spPr>
              <a:xfrm>
                <a:off x="1593850" y="3835400"/>
                <a:ext cx="1708150" cy="1460500"/>
              </a:xfrm>
              <a:custGeom>
                <a:avLst/>
                <a:gdLst>
                  <a:gd name="connsiteX0" fmla="*/ 1695450 w 1708150"/>
                  <a:gd name="connsiteY0" fmla="*/ 165100 h 1460500"/>
                  <a:gd name="connsiteX1" fmla="*/ 0 w 1708150"/>
                  <a:gd name="connsiteY1" fmla="*/ 1460500 h 1460500"/>
                  <a:gd name="connsiteX2" fmla="*/ 101600 w 1708150"/>
                  <a:gd name="connsiteY2" fmla="*/ 1130300 h 1460500"/>
                  <a:gd name="connsiteX3" fmla="*/ 1708150 w 1708150"/>
                  <a:gd name="connsiteY3" fmla="*/ 0 h 1460500"/>
                  <a:gd name="connsiteX4" fmla="*/ 1695450 w 1708150"/>
                  <a:gd name="connsiteY4" fmla="*/ 165100 h 146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8150" h="1460500">
                    <a:moveTo>
                      <a:pt x="1695450" y="165100"/>
                    </a:moveTo>
                    <a:lnTo>
                      <a:pt x="0" y="1460500"/>
                    </a:lnTo>
                    <a:lnTo>
                      <a:pt x="101600" y="1130300"/>
                    </a:lnTo>
                    <a:lnTo>
                      <a:pt x="1708150" y="0"/>
                    </a:lnTo>
                    <a:lnTo>
                      <a:pt x="1695450" y="1651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8" name="Freeform 167"/>
              <p:cNvSpPr/>
              <p:nvPr/>
            </p:nvSpPr>
            <p:spPr>
              <a:xfrm>
                <a:off x="1587500" y="5111750"/>
                <a:ext cx="2298700" cy="1250950"/>
              </a:xfrm>
              <a:custGeom>
                <a:avLst/>
                <a:gdLst>
                  <a:gd name="connsiteX0" fmla="*/ 69850 w 2298700"/>
                  <a:gd name="connsiteY0" fmla="*/ 0 h 1250950"/>
                  <a:gd name="connsiteX1" fmla="*/ 69850 w 2298700"/>
                  <a:gd name="connsiteY1" fmla="*/ 0 h 1250950"/>
                  <a:gd name="connsiteX2" fmla="*/ 2298700 w 2298700"/>
                  <a:gd name="connsiteY2" fmla="*/ 1054100 h 1250950"/>
                  <a:gd name="connsiteX3" fmla="*/ 2279650 w 2298700"/>
                  <a:gd name="connsiteY3" fmla="*/ 1250950 h 1250950"/>
                  <a:gd name="connsiteX4" fmla="*/ 0 w 2298700"/>
                  <a:gd name="connsiteY4" fmla="*/ 165100 h 1250950"/>
                  <a:gd name="connsiteX5" fmla="*/ 69850 w 2298700"/>
                  <a:gd name="connsiteY5" fmla="*/ 0 h 1250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98700" h="1250950">
                    <a:moveTo>
                      <a:pt x="69850" y="0"/>
                    </a:moveTo>
                    <a:lnTo>
                      <a:pt x="69850" y="0"/>
                    </a:lnTo>
                    <a:lnTo>
                      <a:pt x="2298700" y="1054100"/>
                    </a:lnTo>
                    <a:lnTo>
                      <a:pt x="2279650" y="1250950"/>
                    </a:lnTo>
                    <a:lnTo>
                      <a:pt x="0" y="165100"/>
                    </a:lnTo>
                    <a:lnTo>
                      <a:pt x="6985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9" name="Freeform 168"/>
              <p:cNvSpPr/>
              <p:nvPr/>
            </p:nvSpPr>
            <p:spPr>
              <a:xfrm>
                <a:off x="1308100" y="5016500"/>
                <a:ext cx="2311400" cy="1397000"/>
              </a:xfrm>
              <a:custGeom>
                <a:avLst/>
                <a:gdLst>
                  <a:gd name="connsiteX0" fmla="*/ 69850 w 2311400"/>
                  <a:gd name="connsiteY0" fmla="*/ 1123950 h 1397000"/>
                  <a:gd name="connsiteX1" fmla="*/ 2286000 w 2311400"/>
                  <a:gd name="connsiteY1" fmla="*/ 0 h 1397000"/>
                  <a:gd name="connsiteX2" fmla="*/ 2311400 w 2311400"/>
                  <a:gd name="connsiteY2" fmla="*/ 234950 h 1397000"/>
                  <a:gd name="connsiteX3" fmla="*/ 0 w 2311400"/>
                  <a:gd name="connsiteY3" fmla="*/ 1397000 h 1397000"/>
                  <a:gd name="connsiteX4" fmla="*/ 69850 w 2311400"/>
                  <a:gd name="connsiteY4" fmla="*/ 1123950 h 139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1400" h="1397000">
                    <a:moveTo>
                      <a:pt x="69850" y="1123950"/>
                    </a:moveTo>
                    <a:lnTo>
                      <a:pt x="2286000" y="0"/>
                    </a:lnTo>
                    <a:lnTo>
                      <a:pt x="2311400" y="234950"/>
                    </a:lnTo>
                    <a:lnTo>
                      <a:pt x="0" y="1397000"/>
                    </a:lnTo>
                    <a:lnTo>
                      <a:pt x="69850" y="11239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31" name="Group 28"/>
            <p:cNvGrpSpPr>
              <a:grpSpLocks noChangeAspect="1"/>
            </p:cNvGrpSpPr>
            <p:nvPr/>
          </p:nvGrpSpPr>
          <p:grpSpPr>
            <a:xfrm>
              <a:off x="5511872" y="4211223"/>
              <a:ext cx="294390" cy="521496"/>
              <a:chOff x="762212" y="192617"/>
              <a:chExt cx="3653473" cy="6471920"/>
            </a:xfrm>
            <a:solidFill>
              <a:schemeClr val="tx2">
                <a:lumMod val="75000"/>
              </a:schemeClr>
            </a:solidFill>
          </p:grpSpPr>
          <p:sp>
            <p:nvSpPr>
              <p:cNvPr id="132" name="Freeform 131"/>
              <p:cNvSpPr/>
              <p:nvPr/>
            </p:nvSpPr>
            <p:spPr>
              <a:xfrm>
                <a:off x="762212" y="192617"/>
                <a:ext cx="3653473" cy="6471920"/>
              </a:xfrm>
              <a:custGeom>
                <a:avLst/>
                <a:gdLst>
                  <a:gd name="connsiteX0" fmla="*/ 1536700 w 3390900"/>
                  <a:gd name="connsiteY0" fmla="*/ 0 h 6261100"/>
                  <a:gd name="connsiteX1" fmla="*/ 1536700 w 3390900"/>
                  <a:gd name="connsiteY1" fmla="*/ 0 h 6261100"/>
                  <a:gd name="connsiteX2" fmla="*/ 1295400 w 3390900"/>
                  <a:gd name="connsiteY2" fmla="*/ 685800 h 6261100"/>
                  <a:gd name="connsiteX3" fmla="*/ 0 w 3390900"/>
                  <a:gd name="connsiteY3" fmla="*/ 1219200 h 6261100"/>
                  <a:gd name="connsiteX4" fmla="*/ 12700 w 3390900"/>
                  <a:gd name="connsiteY4" fmla="*/ 1485900 h 6261100"/>
                  <a:gd name="connsiteX5" fmla="*/ 1282700 w 3390900"/>
                  <a:gd name="connsiteY5" fmla="*/ 1460500 h 6261100"/>
                  <a:gd name="connsiteX6" fmla="*/ 1295400 w 3390900"/>
                  <a:gd name="connsiteY6" fmla="*/ 2400300 h 6261100"/>
                  <a:gd name="connsiteX7" fmla="*/ 279400 w 3390900"/>
                  <a:gd name="connsiteY7" fmla="*/ 6248400 h 6261100"/>
                  <a:gd name="connsiteX8" fmla="*/ 444500 w 3390900"/>
                  <a:gd name="connsiteY8" fmla="*/ 6261100 h 6261100"/>
                  <a:gd name="connsiteX9" fmla="*/ 444500 w 3390900"/>
                  <a:gd name="connsiteY9" fmla="*/ 6096000 h 6261100"/>
                  <a:gd name="connsiteX10" fmla="*/ 1422400 w 3390900"/>
                  <a:gd name="connsiteY10" fmla="*/ 2362200 h 6261100"/>
                  <a:gd name="connsiteX11" fmla="*/ 1358900 w 3390900"/>
                  <a:gd name="connsiteY11" fmla="*/ 1257300 h 6261100"/>
                  <a:gd name="connsiteX12" fmla="*/ 508000 w 3390900"/>
                  <a:gd name="connsiteY12" fmla="*/ 1257300 h 6261100"/>
                  <a:gd name="connsiteX13" fmla="*/ 1371600 w 3390900"/>
                  <a:gd name="connsiteY13" fmla="*/ 800100 h 6261100"/>
                  <a:gd name="connsiteX14" fmla="*/ 1663700 w 3390900"/>
                  <a:gd name="connsiteY14" fmla="*/ 139700 h 6261100"/>
                  <a:gd name="connsiteX15" fmla="*/ 1930400 w 3390900"/>
                  <a:gd name="connsiteY15" fmla="*/ 736600 h 6261100"/>
                  <a:gd name="connsiteX16" fmla="*/ 2946400 w 3390900"/>
                  <a:gd name="connsiteY16" fmla="*/ 1231900 h 6261100"/>
                  <a:gd name="connsiteX17" fmla="*/ 1981200 w 3390900"/>
                  <a:gd name="connsiteY17" fmla="*/ 1219200 h 6261100"/>
                  <a:gd name="connsiteX18" fmla="*/ 1968500 w 3390900"/>
                  <a:gd name="connsiteY18" fmla="*/ 2324100 h 6261100"/>
                  <a:gd name="connsiteX19" fmla="*/ 2984500 w 3390900"/>
                  <a:gd name="connsiteY19" fmla="*/ 6248400 h 6261100"/>
                  <a:gd name="connsiteX20" fmla="*/ 3124200 w 3390900"/>
                  <a:gd name="connsiteY20" fmla="*/ 6172200 h 6261100"/>
                  <a:gd name="connsiteX21" fmla="*/ 2108200 w 3390900"/>
                  <a:gd name="connsiteY21" fmla="*/ 2362200 h 6261100"/>
                  <a:gd name="connsiteX22" fmla="*/ 2120900 w 3390900"/>
                  <a:gd name="connsiteY22" fmla="*/ 1473200 h 6261100"/>
                  <a:gd name="connsiteX23" fmla="*/ 3390900 w 3390900"/>
                  <a:gd name="connsiteY23" fmla="*/ 1460500 h 6261100"/>
                  <a:gd name="connsiteX24" fmla="*/ 3365500 w 3390900"/>
                  <a:gd name="connsiteY24" fmla="*/ 1231900 h 6261100"/>
                  <a:gd name="connsiteX25" fmla="*/ 2082800 w 3390900"/>
                  <a:gd name="connsiteY25" fmla="*/ 596900 h 6261100"/>
                  <a:gd name="connsiteX26" fmla="*/ 1892300 w 3390900"/>
                  <a:gd name="connsiteY26" fmla="*/ 0 h 6261100"/>
                  <a:gd name="connsiteX27" fmla="*/ 1536700 w 3390900"/>
                  <a:gd name="connsiteY27" fmla="*/ 0 h 6261100"/>
                  <a:gd name="connsiteX0" fmla="*/ 1536700 w 3390900"/>
                  <a:gd name="connsiteY0" fmla="*/ 0 h 6261100"/>
                  <a:gd name="connsiteX1" fmla="*/ 1536700 w 3390900"/>
                  <a:gd name="connsiteY1" fmla="*/ 0 h 6261100"/>
                  <a:gd name="connsiteX2" fmla="*/ 1310640 w 3390900"/>
                  <a:gd name="connsiteY2" fmla="*/ 579120 h 6261100"/>
                  <a:gd name="connsiteX3" fmla="*/ 0 w 3390900"/>
                  <a:gd name="connsiteY3" fmla="*/ 1219200 h 6261100"/>
                  <a:gd name="connsiteX4" fmla="*/ 12700 w 3390900"/>
                  <a:gd name="connsiteY4" fmla="*/ 1485900 h 6261100"/>
                  <a:gd name="connsiteX5" fmla="*/ 1282700 w 3390900"/>
                  <a:gd name="connsiteY5" fmla="*/ 1460500 h 6261100"/>
                  <a:gd name="connsiteX6" fmla="*/ 1295400 w 3390900"/>
                  <a:gd name="connsiteY6" fmla="*/ 2400300 h 6261100"/>
                  <a:gd name="connsiteX7" fmla="*/ 279400 w 3390900"/>
                  <a:gd name="connsiteY7" fmla="*/ 6248400 h 6261100"/>
                  <a:gd name="connsiteX8" fmla="*/ 444500 w 3390900"/>
                  <a:gd name="connsiteY8" fmla="*/ 6261100 h 6261100"/>
                  <a:gd name="connsiteX9" fmla="*/ 444500 w 3390900"/>
                  <a:gd name="connsiteY9" fmla="*/ 6096000 h 6261100"/>
                  <a:gd name="connsiteX10" fmla="*/ 1422400 w 3390900"/>
                  <a:gd name="connsiteY10" fmla="*/ 2362200 h 6261100"/>
                  <a:gd name="connsiteX11" fmla="*/ 1358900 w 3390900"/>
                  <a:gd name="connsiteY11" fmla="*/ 1257300 h 6261100"/>
                  <a:gd name="connsiteX12" fmla="*/ 508000 w 3390900"/>
                  <a:gd name="connsiteY12" fmla="*/ 1257300 h 6261100"/>
                  <a:gd name="connsiteX13" fmla="*/ 1371600 w 3390900"/>
                  <a:gd name="connsiteY13" fmla="*/ 800100 h 6261100"/>
                  <a:gd name="connsiteX14" fmla="*/ 1663700 w 3390900"/>
                  <a:gd name="connsiteY14" fmla="*/ 139700 h 6261100"/>
                  <a:gd name="connsiteX15" fmla="*/ 1930400 w 3390900"/>
                  <a:gd name="connsiteY15" fmla="*/ 736600 h 6261100"/>
                  <a:gd name="connsiteX16" fmla="*/ 2946400 w 3390900"/>
                  <a:gd name="connsiteY16" fmla="*/ 1231900 h 6261100"/>
                  <a:gd name="connsiteX17" fmla="*/ 1981200 w 3390900"/>
                  <a:gd name="connsiteY17" fmla="*/ 1219200 h 6261100"/>
                  <a:gd name="connsiteX18" fmla="*/ 1968500 w 3390900"/>
                  <a:gd name="connsiteY18" fmla="*/ 2324100 h 6261100"/>
                  <a:gd name="connsiteX19" fmla="*/ 2984500 w 3390900"/>
                  <a:gd name="connsiteY19" fmla="*/ 6248400 h 6261100"/>
                  <a:gd name="connsiteX20" fmla="*/ 3124200 w 3390900"/>
                  <a:gd name="connsiteY20" fmla="*/ 6172200 h 6261100"/>
                  <a:gd name="connsiteX21" fmla="*/ 2108200 w 3390900"/>
                  <a:gd name="connsiteY21" fmla="*/ 2362200 h 6261100"/>
                  <a:gd name="connsiteX22" fmla="*/ 2120900 w 3390900"/>
                  <a:gd name="connsiteY22" fmla="*/ 1473200 h 6261100"/>
                  <a:gd name="connsiteX23" fmla="*/ 3390900 w 3390900"/>
                  <a:gd name="connsiteY23" fmla="*/ 1460500 h 6261100"/>
                  <a:gd name="connsiteX24" fmla="*/ 3365500 w 3390900"/>
                  <a:gd name="connsiteY24" fmla="*/ 1231900 h 6261100"/>
                  <a:gd name="connsiteX25" fmla="*/ 2082800 w 3390900"/>
                  <a:gd name="connsiteY25" fmla="*/ 596900 h 6261100"/>
                  <a:gd name="connsiteX26" fmla="*/ 1892300 w 3390900"/>
                  <a:gd name="connsiteY26" fmla="*/ 0 h 6261100"/>
                  <a:gd name="connsiteX27" fmla="*/ 1536700 w 3390900"/>
                  <a:gd name="connsiteY27" fmla="*/ 0 h 6261100"/>
                  <a:gd name="connsiteX0" fmla="*/ 1524000 w 3378200"/>
                  <a:gd name="connsiteY0" fmla="*/ 0 h 6261100"/>
                  <a:gd name="connsiteX1" fmla="*/ 1524000 w 3378200"/>
                  <a:gd name="connsiteY1" fmla="*/ 0 h 6261100"/>
                  <a:gd name="connsiteX2" fmla="*/ 1297940 w 3378200"/>
                  <a:gd name="connsiteY2" fmla="*/ 579120 h 6261100"/>
                  <a:gd name="connsiteX3" fmla="*/ 10160 w 3378200"/>
                  <a:gd name="connsiteY3" fmla="*/ 1196340 h 6261100"/>
                  <a:gd name="connsiteX4" fmla="*/ 0 w 3378200"/>
                  <a:gd name="connsiteY4" fmla="*/ 1485900 h 6261100"/>
                  <a:gd name="connsiteX5" fmla="*/ 1270000 w 3378200"/>
                  <a:gd name="connsiteY5" fmla="*/ 1460500 h 6261100"/>
                  <a:gd name="connsiteX6" fmla="*/ 1282700 w 3378200"/>
                  <a:gd name="connsiteY6" fmla="*/ 2400300 h 6261100"/>
                  <a:gd name="connsiteX7" fmla="*/ 266700 w 3378200"/>
                  <a:gd name="connsiteY7" fmla="*/ 6248400 h 6261100"/>
                  <a:gd name="connsiteX8" fmla="*/ 431800 w 3378200"/>
                  <a:gd name="connsiteY8" fmla="*/ 6261100 h 6261100"/>
                  <a:gd name="connsiteX9" fmla="*/ 431800 w 3378200"/>
                  <a:gd name="connsiteY9" fmla="*/ 6096000 h 6261100"/>
                  <a:gd name="connsiteX10" fmla="*/ 1409700 w 3378200"/>
                  <a:gd name="connsiteY10" fmla="*/ 2362200 h 6261100"/>
                  <a:gd name="connsiteX11" fmla="*/ 1346200 w 3378200"/>
                  <a:gd name="connsiteY11" fmla="*/ 1257300 h 6261100"/>
                  <a:gd name="connsiteX12" fmla="*/ 495300 w 3378200"/>
                  <a:gd name="connsiteY12" fmla="*/ 1257300 h 6261100"/>
                  <a:gd name="connsiteX13" fmla="*/ 1358900 w 3378200"/>
                  <a:gd name="connsiteY13" fmla="*/ 800100 h 6261100"/>
                  <a:gd name="connsiteX14" fmla="*/ 1651000 w 3378200"/>
                  <a:gd name="connsiteY14" fmla="*/ 139700 h 6261100"/>
                  <a:gd name="connsiteX15" fmla="*/ 1917700 w 3378200"/>
                  <a:gd name="connsiteY15" fmla="*/ 736600 h 6261100"/>
                  <a:gd name="connsiteX16" fmla="*/ 2933700 w 3378200"/>
                  <a:gd name="connsiteY16" fmla="*/ 1231900 h 6261100"/>
                  <a:gd name="connsiteX17" fmla="*/ 1968500 w 3378200"/>
                  <a:gd name="connsiteY17" fmla="*/ 1219200 h 6261100"/>
                  <a:gd name="connsiteX18" fmla="*/ 1955800 w 3378200"/>
                  <a:gd name="connsiteY18" fmla="*/ 2324100 h 6261100"/>
                  <a:gd name="connsiteX19" fmla="*/ 2971800 w 3378200"/>
                  <a:gd name="connsiteY19" fmla="*/ 6248400 h 6261100"/>
                  <a:gd name="connsiteX20" fmla="*/ 3111500 w 3378200"/>
                  <a:gd name="connsiteY20" fmla="*/ 6172200 h 6261100"/>
                  <a:gd name="connsiteX21" fmla="*/ 2095500 w 3378200"/>
                  <a:gd name="connsiteY21" fmla="*/ 2362200 h 6261100"/>
                  <a:gd name="connsiteX22" fmla="*/ 2108200 w 3378200"/>
                  <a:gd name="connsiteY22" fmla="*/ 1473200 h 6261100"/>
                  <a:gd name="connsiteX23" fmla="*/ 3378200 w 3378200"/>
                  <a:gd name="connsiteY23" fmla="*/ 1460500 h 6261100"/>
                  <a:gd name="connsiteX24" fmla="*/ 3352800 w 3378200"/>
                  <a:gd name="connsiteY24" fmla="*/ 1231900 h 6261100"/>
                  <a:gd name="connsiteX25" fmla="*/ 2070100 w 3378200"/>
                  <a:gd name="connsiteY25" fmla="*/ 596900 h 6261100"/>
                  <a:gd name="connsiteX26" fmla="*/ 1879600 w 3378200"/>
                  <a:gd name="connsiteY26" fmla="*/ 0 h 6261100"/>
                  <a:gd name="connsiteX27" fmla="*/ 1524000 w 3378200"/>
                  <a:gd name="connsiteY27" fmla="*/ 0 h 6261100"/>
                  <a:gd name="connsiteX0" fmla="*/ 1524000 w 3378200"/>
                  <a:gd name="connsiteY0" fmla="*/ 0 h 6261100"/>
                  <a:gd name="connsiteX1" fmla="*/ 1524000 w 3378200"/>
                  <a:gd name="connsiteY1" fmla="*/ 0 h 6261100"/>
                  <a:gd name="connsiteX2" fmla="*/ 1297940 w 3378200"/>
                  <a:gd name="connsiteY2" fmla="*/ 579120 h 6261100"/>
                  <a:gd name="connsiteX3" fmla="*/ 10160 w 3378200"/>
                  <a:gd name="connsiteY3" fmla="*/ 1196340 h 6261100"/>
                  <a:gd name="connsiteX4" fmla="*/ 0 w 3378200"/>
                  <a:gd name="connsiteY4" fmla="*/ 1455420 h 6261100"/>
                  <a:gd name="connsiteX5" fmla="*/ 1270000 w 3378200"/>
                  <a:gd name="connsiteY5" fmla="*/ 1460500 h 6261100"/>
                  <a:gd name="connsiteX6" fmla="*/ 1282700 w 3378200"/>
                  <a:gd name="connsiteY6" fmla="*/ 2400300 h 6261100"/>
                  <a:gd name="connsiteX7" fmla="*/ 266700 w 3378200"/>
                  <a:gd name="connsiteY7" fmla="*/ 6248400 h 6261100"/>
                  <a:gd name="connsiteX8" fmla="*/ 431800 w 3378200"/>
                  <a:gd name="connsiteY8" fmla="*/ 6261100 h 6261100"/>
                  <a:gd name="connsiteX9" fmla="*/ 431800 w 3378200"/>
                  <a:gd name="connsiteY9" fmla="*/ 6096000 h 6261100"/>
                  <a:gd name="connsiteX10" fmla="*/ 1409700 w 3378200"/>
                  <a:gd name="connsiteY10" fmla="*/ 2362200 h 6261100"/>
                  <a:gd name="connsiteX11" fmla="*/ 1346200 w 3378200"/>
                  <a:gd name="connsiteY11" fmla="*/ 1257300 h 6261100"/>
                  <a:gd name="connsiteX12" fmla="*/ 495300 w 3378200"/>
                  <a:gd name="connsiteY12" fmla="*/ 1257300 h 6261100"/>
                  <a:gd name="connsiteX13" fmla="*/ 1358900 w 3378200"/>
                  <a:gd name="connsiteY13" fmla="*/ 800100 h 6261100"/>
                  <a:gd name="connsiteX14" fmla="*/ 1651000 w 3378200"/>
                  <a:gd name="connsiteY14" fmla="*/ 139700 h 6261100"/>
                  <a:gd name="connsiteX15" fmla="*/ 1917700 w 3378200"/>
                  <a:gd name="connsiteY15" fmla="*/ 736600 h 6261100"/>
                  <a:gd name="connsiteX16" fmla="*/ 2933700 w 3378200"/>
                  <a:gd name="connsiteY16" fmla="*/ 1231900 h 6261100"/>
                  <a:gd name="connsiteX17" fmla="*/ 1968500 w 3378200"/>
                  <a:gd name="connsiteY17" fmla="*/ 1219200 h 6261100"/>
                  <a:gd name="connsiteX18" fmla="*/ 1955800 w 3378200"/>
                  <a:gd name="connsiteY18" fmla="*/ 2324100 h 6261100"/>
                  <a:gd name="connsiteX19" fmla="*/ 2971800 w 3378200"/>
                  <a:gd name="connsiteY19" fmla="*/ 6248400 h 6261100"/>
                  <a:gd name="connsiteX20" fmla="*/ 3111500 w 3378200"/>
                  <a:gd name="connsiteY20" fmla="*/ 6172200 h 6261100"/>
                  <a:gd name="connsiteX21" fmla="*/ 2095500 w 3378200"/>
                  <a:gd name="connsiteY21" fmla="*/ 2362200 h 6261100"/>
                  <a:gd name="connsiteX22" fmla="*/ 2108200 w 3378200"/>
                  <a:gd name="connsiteY22" fmla="*/ 1473200 h 6261100"/>
                  <a:gd name="connsiteX23" fmla="*/ 3378200 w 3378200"/>
                  <a:gd name="connsiteY23" fmla="*/ 1460500 h 6261100"/>
                  <a:gd name="connsiteX24" fmla="*/ 3352800 w 3378200"/>
                  <a:gd name="connsiteY24" fmla="*/ 1231900 h 6261100"/>
                  <a:gd name="connsiteX25" fmla="*/ 2070100 w 3378200"/>
                  <a:gd name="connsiteY25" fmla="*/ 596900 h 6261100"/>
                  <a:gd name="connsiteX26" fmla="*/ 1879600 w 3378200"/>
                  <a:gd name="connsiteY26" fmla="*/ 0 h 6261100"/>
                  <a:gd name="connsiteX27" fmla="*/ 1524000 w 3378200"/>
                  <a:gd name="connsiteY27" fmla="*/ 0 h 6261100"/>
                  <a:gd name="connsiteX0" fmla="*/ 1524000 w 3378200"/>
                  <a:gd name="connsiteY0" fmla="*/ 0 h 6261100"/>
                  <a:gd name="connsiteX1" fmla="*/ 1524000 w 3378200"/>
                  <a:gd name="connsiteY1" fmla="*/ 0 h 6261100"/>
                  <a:gd name="connsiteX2" fmla="*/ 1297940 w 3378200"/>
                  <a:gd name="connsiteY2" fmla="*/ 579120 h 6261100"/>
                  <a:gd name="connsiteX3" fmla="*/ 10160 w 3378200"/>
                  <a:gd name="connsiteY3" fmla="*/ 1196340 h 6261100"/>
                  <a:gd name="connsiteX4" fmla="*/ 0 w 3378200"/>
                  <a:gd name="connsiteY4" fmla="*/ 1455420 h 6261100"/>
                  <a:gd name="connsiteX5" fmla="*/ 1270000 w 3378200"/>
                  <a:gd name="connsiteY5" fmla="*/ 1460500 h 6261100"/>
                  <a:gd name="connsiteX6" fmla="*/ 1282700 w 3378200"/>
                  <a:gd name="connsiteY6" fmla="*/ 2400300 h 6261100"/>
                  <a:gd name="connsiteX7" fmla="*/ 266700 w 3378200"/>
                  <a:gd name="connsiteY7" fmla="*/ 6248400 h 6261100"/>
                  <a:gd name="connsiteX8" fmla="*/ 431800 w 3378200"/>
                  <a:gd name="connsiteY8" fmla="*/ 6261100 h 6261100"/>
                  <a:gd name="connsiteX9" fmla="*/ 431800 w 3378200"/>
                  <a:gd name="connsiteY9" fmla="*/ 6096000 h 6261100"/>
                  <a:gd name="connsiteX10" fmla="*/ 1409700 w 3378200"/>
                  <a:gd name="connsiteY10" fmla="*/ 2362200 h 6261100"/>
                  <a:gd name="connsiteX11" fmla="*/ 1346200 w 3378200"/>
                  <a:gd name="connsiteY11" fmla="*/ 1257300 h 6261100"/>
                  <a:gd name="connsiteX12" fmla="*/ 495300 w 3378200"/>
                  <a:gd name="connsiteY12" fmla="*/ 1257300 h 6261100"/>
                  <a:gd name="connsiteX13" fmla="*/ 1358900 w 3378200"/>
                  <a:gd name="connsiteY13" fmla="*/ 800100 h 6261100"/>
                  <a:gd name="connsiteX14" fmla="*/ 1651000 w 3378200"/>
                  <a:gd name="connsiteY14" fmla="*/ 139700 h 6261100"/>
                  <a:gd name="connsiteX15" fmla="*/ 1917700 w 3378200"/>
                  <a:gd name="connsiteY15" fmla="*/ 736600 h 6261100"/>
                  <a:gd name="connsiteX16" fmla="*/ 2933700 w 3378200"/>
                  <a:gd name="connsiteY16" fmla="*/ 1231900 h 6261100"/>
                  <a:gd name="connsiteX17" fmla="*/ 1968500 w 3378200"/>
                  <a:gd name="connsiteY17" fmla="*/ 1219200 h 6261100"/>
                  <a:gd name="connsiteX18" fmla="*/ 1955800 w 3378200"/>
                  <a:gd name="connsiteY18" fmla="*/ 2324100 h 6261100"/>
                  <a:gd name="connsiteX19" fmla="*/ 2971800 w 3378200"/>
                  <a:gd name="connsiteY19" fmla="*/ 6248400 h 6261100"/>
                  <a:gd name="connsiteX20" fmla="*/ 3111500 w 3378200"/>
                  <a:gd name="connsiteY20" fmla="*/ 6172200 h 6261100"/>
                  <a:gd name="connsiteX21" fmla="*/ 2095500 w 3378200"/>
                  <a:gd name="connsiteY21" fmla="*/ 2362200 h 6261100"/>
                  <a:gd name="connsiteX22" fmla="*/ 2077720 w 3378200"/>
                  <a:gd name="connsiteY22" fmla="*/ 1419860 h 6261100"/>
                  <a:gd name="connsiteX23" fmla="*/ 3378200 w 3378200"/>
                  <a:gd name="connsiteY23" fmla="*/ 1460500 h 6261100"/>
                  <a:gd name="connsiteX24" fmla="*/ 3352800 w 3378200"/>
                  <a:gd name="connsiteY24" fmla="*/ 1231900 h 6261100"/>
                  <a:gd name="connsiteX25" fmla="*/ 2070100 w 3378200"/>
                  <a:gd name="connsiteY25" fmla="*/ 596900 h 6261100"/>
                  <a:gd name="connsiteX26" fmla="*/ 1879600 w 3378200"/>
                  <a:gd name="connsiteY26" fmla="*/ 0 h 6261100"/>
                  <a:gd name="connsiteX27" fmla="*/ 1524000 w 3378200"/>
                  <a:gd name="connsiteY27" fmla="*/ 0 h 6261100"/>
                  <a:gd name="connsiteX0" fmla="*/ 1524000 w 3352800"/>
                  <a:gd name="connsiteY0" fmla="*/ 0 h 6261100"/>
                  <a:gd name="connsiteX1" fmla="*/ 1524000 w 3352800"/>
                  <a:gd name="connsiteY1" fmla="*/ 0 h 6261100"/>
                  <a:gd name="connsiteX2" fmla="*/ 1297940 w 3352800"/>
                  <a:gd name="connsiteY2" fmla="*/ 579120 h 6261100"/>
                  <a:gd name="connsiteX3" fmla="*/ 10160 w 3352800"/>
                  <a:gd name="connsiteY3" fmla="*/ 1196340 h 6261100"/>
                  <a:gd name="connsiteX4" fmla="*/ 0 w 3352800"/>
                  <a:gd name="connsiteY4" fmla="*/ 1455420 h 6261100"/>
                  <a:gd name="connsiteX5" fmla="*/ 1270000 w 3352800"/>
                  <a:gd name="connsiteY5" fmla="*/ 1460500 h 6261100"/>
                  <a:gd name="connsiteX6" fmla="*/ 1282700 w 3352800"/>
                  <a:gd name="connsiteY6" fmla="*/ 2400300 h 6261100"/>
                  <a:gd name="connsiteX7" fmla="*/ 266700 w 3352800"/>
                  <a:gd name="connsiteY7" fmla="*/ 6248400 h 6261100"/>
                  <a:gd name="connsiteX8" fmla="*/ 431800 w 3352800"/>
                  <a:gd name="connsiteY8" fmla="*/ 6261100 h 6261100"/>
                  <a:gd name="connsiteX9" fmla="*/ 431800 w 3352800"/>
                  <a:gd name="connsiteY9" fmla="*/ 6096000 h 6261100"/>
                  <a:gd name="connsiteX10" fmla="*/ 1409700 w 3352800"/>
                  <a:gd name="connsiteY10" fmla="*/ 2362200 h 6261100"/>
                  <a:gd name="connsiteX11" fmla="*/ 1346200 w 3352800"/>
                  <a:gd name="connsiteY11" fmla="*/ 1257300 h 6261100"/>
                  <a:gd name="connsiteX12" fmla="*/ 495300 w 3352800"/>
                  <a:gd name="connsiteY12" fmla="*/ 1257300 h 6261100"/>
                  <a:gd name="connsiteX13" fmla="*/ 1358900 w 3352800"/>
                  <a:gd name="connsiteY13" fmla="*/ 800100 h 6261100"/>
                  <a:gd name="connsiteX14" fmla="*/ 1651000 w 3352800"/>
                  <a:gd name="connsiteY14" fmla="*/ 139700 h 6261100"/>
                  <a:gd name="connsiteX15" fmla="*/ 1917700 w 3352800"/>
                  <a:gd name="connsiteY15" fmla="*/ 736600 h 6261100"/>
                  <a:gd name="connsiteX16" fmla="*/ 2933700 w 3352800"/>
                  <a:gd name="connsiteY16" fmla="*/ 1231900 h 6261100"/>
                  <a:gd name="connsiteX17" fmla="*/ 1968500 w 3352800"/>
                  <a:gd name="connsiteY17" fmla="*/ 1219200 h 6261100"/>
                  <a:gd name="connsiteX18" fmla="*/ 1955800 w 3352800"/>
                  <a:gd name="connsiteY18" fmla="*/ 2324100 h 6261100"/>
                  <a:gd name="connsiteX19" fmla="*/ 2971800 w 3352800"/>
                  <a:gd name="connsiteY19" fmla="*/ 6248400 h 6261100"/>
                  <a:gd name="connsiteX20" fmla="*/ 3111500 w 3352800"/>
                  <a:gd name="connsiteY20" fmla="*/ 6172200 h 6261100"/>
                  <a:gd name="connsiteX21" fmla="*/ 2095500 w 3352800"/>
                  <a:gd name="connsiteY21" fmla="*/ 2362200 h 6261100"/>
                  <a:gd name="connsiteX22" fmla="*/ 2077720 w 3352800"/>
                  <a:gd name="connsiteY22" fmla="*/ 1419860 h 6261100"/>
                  <a:gd name="connsiteX23" fmla="*/ 3241040 w 3352800"/>
                  <a:gd name="connsiteY23" fmla="*/ 1445260 h 6261100"/>
                  <a:gd name="connsiteX24" fmla="*/ 3352800 w 3352800"/>
                  <a:gd name="connsiteY24" fmla="*/ 1231900 h 6261100"/>
                  <a:gd name="connsiteX25" fmla="*/ 2070100 w 3352800"/>
                  <a:gd name="connsiteY25" fmla="*/ 596900 h 6261100"/>
                  <a:gd name="connsiteX26" fmla="*/ 1879600 w 3352800"/>
                  <a:gd name="connsiteY26" fmla="*/ 0 h 6261100"/>
                  <a:gd name="connsiteX27" fmla="*/ 1524000 w 33528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51000 w 3314700"/>
                  <a:gd name="connsiteY14" fmla="*/ 139700 h 6261100"/>
                  <a:gd name="connsiteX15" fmla="*/ 1917700 w 3314700"/>
                  <a:gd name="connsiteY15" fmla="*/ 736600 h 6261100"/>
                  <a:gd name="connsiteX16" fmla="*/ 293370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51000 w 3314700"/>
                  <a:gd name="connsiteY14" fmla="*/ 139700 h 6261100"/>
                  <a:gd name="connsiteX15" fmla="*/ 1917700 w 3314700"/>
                  <a:gd name="connsiteY15" fmla="*/ 736600 h 6261100"/>
                  <a:gd name="connsiteX16" fmla="*/ 2750820 w 3314700"/>
                  <a:gd name="connsiteY16" fmla="*/ 124714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51000 w 3314700"/>
                  <a:gd name="connsiteY14" fmla="*/ 13970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5382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5382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5382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6906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379220 w 3314700"/>
                  <a:gd name="connsiteY10" fmla="*/ 2354580 h 6261100"/>
                  <a:gd name="connsiteX11" fmla="*/ 136906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1379220 w 3314700"/>
                  <a:gd name="connsiteY9" fmla="*/ 2354580 h 6261100"/>
                  <a:gd name="connsiteX10" fmla="*/ 1369060 w 3314700"/>
                  <a:gd name="connsiteY10" fmla="*/ 1211580 h 6261100"/>
                  <a:gd name="connsiteX11" fmla="*/ 464820 w 3314700"/>
                  <a:gd name="connsiteY11" fmla="*/ 1219200 h 6261100"/>
                  <a:gd name="connsiteX12" fmla="*/ 1358900 w 3314700"/>
                  <a:gd name="connsiteY12" fmla="*/ 800100 h 6261100"/>
                  <a:gd name="connsiteX13" fmla="*/ 1696720 w 3314700"/>
                  <a:gd name="connsiteY13" fmla="*/ 154940 h 6261100"/>
                  <a:gd name="connsiteX14" fmla="*/ 1917700 w 3314700"/>
                  <a:gd name="connsiteY14" fmla="*/ 736600 h 6261100"/>
                  <a:gd name="connsiteX15" fmla="*/ 2887980 w 3314700"/>
                  <a:gd name="connsiteY15" fmla="*/ 1231900 h 6261100"/>
                  <a:gd name="connsiteX16" fmla="*/ 1968500 w 3314700"/>
                  <a:gd name="connsiteY16" fmla="*/ 1219200 h 6261100"/>
                  <a:gd name="connsiteX17" fmla="*/ 1955800 w 3314700"/>
                  <a:gd name="connsiteY17" fmla="*/ 2324100 h 6261100"/>
                  <a:gd name="connsiteX18" fmla="*/ 2971800 w 3314700"/>
                  <a:gd name="connsiteY18" fmla="*/ 6248400 h 6261100"/>
                  <a:gd name="connsiteX19" fmla="*/ 3111500 w 3314700"/>
                  <a:gd name="connsiteY19" fmla="*/ 6172200 h 6261100"/>
                  <a:gd name="connsiteX20" fmla="*/ 2095500 w 3314700"/>
                  <a:gd name="connsiteY20" fmla="*/ 2362200 h 6261100"/>
                  <a:gd name="connsiteX21" fmla="*/ 2077720 w 3314700"/>
                  <a:gd name="connsiteY21" fmla="*/ 1419860 h 6261100"/>
                  <a:gd name="connsiteX22" fmla="*/ 3241040 w 3314700"/>
                  <a:gd name="connsiteY22" fmla="*/ 1445260 h 6261100"/>
                  <a:gd name="connsiteX23" fmla="*/ 3314700 w 3314700"/>
                  <a:gd name="connsiteY23" fmla="*/ 1224280 h 6261100"/>
                  <a:gd name="connsiteX24" fmla="*/ 2070100 w 3314700"/>
                  <a:gd name="connsiteY24" fmla="*/ 596900 h 6261100"/>
                  <a:gd name="connsiteX25" fmla="*/ 1879600 w 3314700"/>
                  <a:gd name="connsiteY25" fmla="*/ 0 h 6261100"/>
                  <a:gd name="connsiteX26" fmla="*/ 1524000 w 3314700"/>
                  <a:gd name="connsiteY26"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1379220 w 3314700"/>
                  <a:gd name="connsiteY9" fmla="*/ 2354580 h 6261100"/>
                  <a:gd name="connsiteX10" fmla="*/ 1369060 w 3314700"/>
                  <a:gd name="connsiteY10" fmla="*/ 1211580 h 6261100"/>
                  <a:gd name="connsiteX11" fmla="*/ 464820 w 3314700"/>
                  <a:gd name="connsiteY11" fmla="*/ 1219200 h 6261100"/>
                  <a:gd name="connsiteX12" fmla="*/ 1358900 w 3314700"/>
                  <a:gd name="connsiteY12" fmla="*/ 800100 h 6261100"/>
                  <a:gd name="connsiteX13" fmla="*/ 1696720 w 3314700"/>
                  <a:gd name="connsiteY13" fmla="*/ 154940 h 6261100"/>
                  <a:gd name="connsiteX14" fmla="*/ 1917700 w 3314700"/>
                  <a:gd name="connsiteY14" fmla="*/ 736600 h 6261100"/>
                  <a:gd name="connsiteX15" fmla="*/ 2887980 w 3314700"/>
                  <a:gd name="connsiteY15" fmla="*/ 1231900 h 6261100"/>
                  <a:gd name="connsiteX16" fmla="*/ 1968500 w 3314700"/>
                  <a:gd name="connsiteY16" fmla="*/ 1219200 h 6261100"/>
                  <a:gd name="connsiteX17" fmla="*/ 1955800 w 3314700"/>
                  <a:gd name="connsiteY17" fmla="*/ 2324100 h 6261100"/>
                  <a:gd name="connsiteX18" fmla="*/ 2971800 w 3314700"/>
                  <a:gd name="connsiteY18" fmla="*/ 6248400 h 6261100"/>
                  <a:gd name="connsiteX19" fmla="*/ 3149600 w 3314700"/>
                  <a:gd name="connsiteY19" fmla="*/ 6164580 h 6261100"/>
                  <a:gd name="connsiteX20" fmla="*/ 2095500 w 3314700"/>
                  <a:gd name="connsiteY20" fmla="*/ 2362200 h 6261100"/>
                  <a:gd name="connsiteX21" fmla="*/ 2077720 w 3314700"/>
                  <a:gd name="connsiteY21" fmla="*/ 1419860 h 6261100"/>
                  <a:gd name="connsiteX22" fmla="*/ 3241040 w 3314700"/>
                  <a:gd name="connsiteY22" fmla="*/ 1445260 h 6261100"/>
                  <a:gd name="connsiteX23" fmla="*/ 3314700 w 3314700"/>
                  <a:gd name="connsiteY23" fmla="*/ 1224280 h 6261100"/>
                  <a:gd name="connsiteX24" fmla="*/ 2070100 w 3314700"/>
                  <a:gd name="connsiteY24" fmla="*/ 596900 h 6261100"/>
                  <a:gd name="connsiteX25" fmla="*/ 1879600 w 3314700"/>
                  <a:gd name="connsiteY25" fmla="*/ 0 h 6261100"/>
                  <a:gd name="connsiteX26" fmla="*/ 1524000 w 3314700"/>
                  <a:gd name="connsiteY26" fmla="*/ 0 h 626110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31800 w 3314700"/>
                  <a:gd name="connsiteY8" fmla="*/ 6261100 h 6263640"/>
                  <a:gd name="connsiteX9" fmla="*/ 137922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85140 w 3314700"/>
                  <a:gd name="connsiteY8" fmla="*/ 6253480 h 6263640"/>
                  <a:gd name="connsiteX9" fmla="*/ 137922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37922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110740 w 3314700"/>
                  <a:gd name="connsiteY20" fmla="*/ 231648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087880 w 3314700"/>
                  <a:gd name="connsiteY20" fmla="*/ 231648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110740 w 3314700"/>
                  <a:gd name="connsiteY20" fmla="*/ 23241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110740 w 3314700"/>
                  <a:gd name="connsiteY20" fmla="*/ 2324100 h 6263640"/>
                  <a:gd name="connsiteX21" fmla="*/ 21158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641052 w 3431752"/>
                  <a:gd name="connsiteY0" fmla="*/ 0 h 6263640"/>
                  <a:gd name="connsiteX1" fmla="*/ 1641052 w 3431752"/>
                  <a:gd name="connsiteY1" fmla="*/ 0 h 6263640"/>
                  <a:gd name="connsiteX2" fmla="*/ 1414992 w 3431752"/>
                  <a:gd name="connsiteY2" fmla="*/ 579120 h 6263640"/>
                  <a:gd name="connsiteX3" fmla="*/ 127212 w 3431752"/>
                  <a:gd name="connsiteY3" fmla="*/ 1196340 h 6263640"/>
                  <a:gd name="connsiteX4" fmla="*/ 117052 w 3431752"/>
                  <a:gd name="connsiteY4" fmla="*/ 1455420 h 6263640"/>
                  <a:gd name="connsiteX5" fmla="*/ 1356572 w 3431752"/>
                  <a:gd name="connsiteY5" fmla="*/ 1460500 h 6263640"/>
                  <a:gd name="connsiteX6" fmla="*/ 1338792 w 3431752"/>
                  <a:gd name="connsiteY6" fmla="*/ 2407920 h 6263640"/>
                  <a:gd name="connsiteX7" fmla="*/ 383752 w 3431752"/>
                  <a:gd name="connsiteY7" fmla="*/ 6248400 h 6263640"/>
                  <a:gd name="connsiteX8" fmla="*/ 571712 w 3431752"/>
                  <a:gd name="connsiteY8" fmla="*/ 6253480 h 6263640"/>
                  <a:gd name="connsiteX9" fmla="*/ 1526752 w 3431752"/>
                  <a:gd name="connsiteY9" fmla="*/ 2354580 h 6263640"/>
                  <a:gd name="connsiteX10" fmla="*/ 1486112 w 3431752"/>
                  <a:gd name="connsiteY10" fmla="*/ 1211580 h 6263640"/>
                  <a:gd name="connsiteX11" fmla="*/ 581872 w 3431752"/>
                  <a:gd name="connsiteY11" fmla="*/ 1219200 h 6263640"/>
                  <a:gd name="connsiteX12" fmla="*/ 1475952 w 3431752"/>
                  <a:gd name="connsiteY12" fmla="*/ 800100 h 6263640"/>
                  <a:gd name="connsiteX13" fmla="*/ 1813772 w 3431752"/>
                  <a:gd name="connsiteY13" fmla="*/ 154940 h 6263640"/>
                  <a:gd name="connsiteX14" fmla="*/ 2034752 w 3431752"/>
                  <a:gd name="connsiteY14" fmla="*/ 736600 h 6263640"/>
                  <a:gd name="connsiteX15" fmla="*/ 3005032 w 3431752"/>
                  <a:gd name="connsiteY15" fmla="*/ 1231900 h 6263640"/>
                  <a:gd name="connsiteX16" fmla="*/ 2085552 w 3431752"/>
                  <a:gd name="connsiteY16" fmla="*/ 1219200 h 6263640"/>
                  <a:gd name="connsiteX17" fmla="*/ 2080472 w 3431752"/>
                  <a:gd name="connsiteY17" fmla="*/ 2324100 h 6263640"/>
                  <a:gd name="connsiteX18" fmla="*/ 3073612 w 3431752"/>
                  <a:gd name="connsiteY18" fmla="*/ 6263640 h 6263640"/>
                  <a:gd name="connsiteX19" fmla="*/ 3266652 w 3431752"/>
                  <a:gd name="connsiteY19" fmla="*/ 6164580 h 6263640"/>
                  <a:gd name="connsiteX20" fmla="*/ 2227792 w 3431752"/>
                  <a:gd name="connsiteY20" fmla="*/ 2324100 h 6263640"/>
                  <a:gd name="connsiteX21" fmla="*/ 2232872 w 3431752"/>
                  <a:gd name="connsiteY21" fmla="*/ 1419860 h 6263640"/>
                  <a:gd name="connsiteX22" fmla="*/ 3358092 w 3431752"/>
                  <a:gd name="connsiteY22" fmla="*/ 1445260 h 6263640"/>
                  <a:gd name="connsiteX23" fmla="*/ 3431752 w 3431752"/>
                  <a:gd name="connsiteY23" fmla="*/ 1224280 h 6263640"/>
                  <a:gd name="connsiteX24" fmla="*/ 2187152 w 3431752"/>
                  <a:gd name="connsiteY24" fmla="*/ 596900 h 6263640"/>
                  <a:gd name="connsiteX25" fmla="*/ 1996652 w 3431752"/>
                  <a:gd name="connsiteY25" fmla="*/ 0 h 6263640"/>
                  <a:gd name="connsiteX26" fmla="*/ 1641052 w 3431752"/>
                  <a:gd name="connsiteY26" fmla="*/ 0 h 6263640"/>
                  <a:gd name="connsiteX0" fmla="*/ 1663488 w 3454188"/>
                  <a:gd name="connsiteY0" fmla="*/ 0 h 6263640"/>
                  <a:gd name="connsiteX1" fmla="*/ 1663488 w 3454188"/>
                  <a:gd name="connsiteY1" fmla="*/ 0 h 6263640"/>
                  <a:gd name="connsiteX2" fmla="*/ 1437428 w 3454188"/>
                  <a:gd name="connsiteY2" fmla="*/ 579120 h 6263640"/>
                  <a:gd name="connsiteX3" fmla="*/ 149648 w 3454188"/>
                  <a:gd name="connsiteY3" fmla="*/ 1196340 h 6263640"/>
                  <a:gd name="connsiteX4" fmla="*/ 139488 w 3454188"/>
                  <a:gd name="connsiteY4" fmla="*/ 1455420 h 6263640"/>
                  <a:gd name="connsiteX5" fmla="*/ 1379008 w 3454188"/>
                  <a:gd name="connsiteY5" fmla="*/ 1460500 h 6263640"/>
                  <a:gd name="connsiteX6" fmla="*/ 1361228 w 3454188"/>
                  <a:gd name="connsiteY6" fmla="*/ 2407920 h 6263640"/>
                  <a:gd name="connsiteX7" fmla="*/ 406188 w 3454188"/>
                  <a:gd name="connsiteY7" fmla="*/ 6248400 h 6263640"/>
                  <a:gd name="connsiteX8" fmla="*/ 594148 w 3454188"/>
                  <a:gd name="connsiteY8" fmla="*/ 6253480 h 6263640"/>
                  <a:gd name="connsiteX9" fmla="*/ 1549188 w 3454188"/>
                  <a:gd name="connsiteY9" fmla="*/ 2354580 h 6263640"/>
                  <a:gd name="connsiteX10" fmla="*/ 1508548 w 3454188"/>
                  <a:gd name="connsiteY10" fmla="*/ 1211580 h 6263640"/>
                  <a:gd name="connsiteX11" fmla="*/ 604308 w 3454188"/>
                  <a:gd name="connsiteY11" fmla="*/ 1219200 h 6263640"/>
                  <a:gd name="connsiteX12" fmla="*/ 1498388 w 3454188"/>
                  <a:gd name="connsiteY12" fmla="*/ 800100 h 6263640"/>
                  <a:gd name="connsiteX13" fmla="*/ 1836208 w 3454188"/>
                  <a:gd name="connsiteY13" fmla="*/ 154940 h 6263640"/>
                  <a:gd name="connsiteX14" fmla="*/ 2057188 w 3454188"/>
                  <a:gd name="connsiteY14" fmla="*/ 736600 h 6263640"/>
                  <a:gd name="connsiteX15" fmla="*/ 3027468 w 3454188"/>
                  <a:gd name="connsiteY15" fmla="*/ 1231900 h 6263640"/>
                  <a:gd name="connsiteX16" fmla="*/ 2107988 w 3454188"/>
                  <a:gd name="connsiteY16" fmla="*/ 1219200 h 6263640"/>
                  <a:gd name="connsiteX17" fmla="*/ 2102908 w 3454188"/>
                  <a:gd name="connsiteY17" fmla="*/ 2324100 h 6263640"/>
                  <a:gd name="connsiteX18" fmla="*/ 3096048 w 3454188"/>
                  <a:gd name="connsiteY18" fmla="*/ 6263640 h 6263640"/>
                  <a:gd name="connsiteX19" fmla="*/ 3289088 w 3454188"/>
                  <a:gd name="connsiteY19" fmla="*/ 6164580 h 6263640"/>
                  <a:gd name="connsiteX20" fmla="*/ 2250228 w 3454188"/>
                  <a:gd name="connsiteY20" fmla="*/ 2324100 h 6263640"/>
                  <a:gd name="connsiteX21" fmla="*/ 2255308 w 3454188"/>
                  <a:gd name="connsiteY21" fmla="*/ 1419860 h 6263640"/>
                  <a:gd name="connsiteX22" fmla="*/ 3380528 w 3454188"/>
                  <a:gd name="connsiteY22" fmla="*/ 1445260 h 6263640"/>
                  <a:gd name="connsiteX23" fmla="*/ 3454188 w 3454188"/>
                  <a:gd name="connsiteY23" fmla="*/ 1224280 h 6263640"/>
                  <a:gd name="connsiteX24" fmla="*/ 2209588 w 3454188"/>
                  <a:gd name="connsiteY24" fmla="*/ 596900 h 6263640"/>
                  <a:gd name="connsiteX25" fmla="*/ 2019088 w 3454188"/>
                  <a:gd name="connsiteY25" fmla="*/ 0 h 6263640"/>
                  <a:gd name="connsiteX26" fmla="*/ 1663488 w 3454188"/>
                  <a:gd name="connsiteY26" fmla="*/ 0 h 6263640"/>
                  <a:gd name="connsiteX0" fmla="*/ 1663488 w 3653473"/>
                  <a:gd name="connsiteY0" fmla="*/ 0 h 6263640"/>
                  <a:gd name="connsiteX1" fmla="*/ 1663488 w 3653473"/>
                  <a:gd name="connsiteY1" fmla="*/ 0 h 6263640"/>
                  <a:gd name="connsiteX2" fmla="*/ 1437428 w 3653473"/>
                  <a:gd name="connsiteY2" fmla="*/ 579120 h 6263640"/>
                  <a:gd name="connsiteX3" fmla="*/ 149648 w 3653473"/>
                  <a:gd name="connsiteY3" fmla="*/ 1196340 h 6263640"/>
                  <a:gd name="connsiteX4" fmla="*/ 139488 w 3653473"/>
                  <a:gd name="connsiteY4" fmla="*/ 1455420 h 6263640"/>
                  <a:gd name="connsiteX5" fmla="*/ 1379008 w 3653473"/>
                  <a:gd name="connsiteY5" fmla="*/ 1460500 h 6263640"/>
                  <a:gd name="connsiteX6" fmla="*/ 1361228 w 3653473"/>
                  <a:gd name="connsiteY6" fmla="*/ 2407920 h 6263640"/>
                  <a:gd name="connsiteX7" fmla="*/ 406188 w 3653473"/>
                  <a:gd name="connsiteY7" fmla="*/ 6248400 h 6263640"/>
                  <a:gd name="connsiteX8" fmla="*/ 594148 w 3653473"/>
                  <a:gd name="connsiteY8" fmla="*/ 6253480 h 6263640"/>
                  <a:gd name="connsiteX9" fmla="*/ 1549188 w 3653473"/>
                  <a:gd name="connsiteY9" fmla="*/ 2354580 h 6263640"/>
                  <a:gd name="connsiteX10" fmla="*/ 1508548 w 3653473"/>
                  <a:gd name="connsiteY10" fmla="*/ 1211580 h 6263640"/>
                  <a:gd name="connsiteX11" fmla="*/ 604308 w 3653473"/>
                  <a:gd name="connsiteY11" fmla="*/ 1219200 h 6263640"/>
                  <a:gd name="connsiteX12" fmla="*/ 1498388 w 3653473"/>
                  <a:gd name="connsiteY12" fmla="*/ 800100 h 6263640"/>
                  <a:gd name="connsiteX13" fmla="*/ 1836208 w 3653473"/>
                  <a:gd name="connsiteY13" fmla="*/ 154940 h 6263640"/>
                  <a:gd name="connsiteX14" fmla="*/ 2057188 w 3653473"/>
                  <a:gd name="connsiteY14" fmla="*/ 736600 h 6263640"/>
                  <a:gd name="connsiteX15" fmla="*/ 3027468 w 3653473"/>
                  <a:gd name="connsiteY15" fmla="*/ 1231900 h 6263640"/>
                  <a:gd name="connsiteX16" fmla="*/ 2107988 w 3653473"/>
                  <a:gd name="connsiteY16" fmla="*/ 1219200 h 6263640"/>
                  <a:gd name="connsiteX17" fmla="*/ 2102908 w 3653473"/>
                  <a:gd name="connsiteY17" fmla="*/ 2324100 h 6263640"/>
                  <a:gd name="connsiteX18" fmla="*/ 3096048 w 3653473"/>
                  <a:gd name="connsiteY18" fmla="*/ 6263640 h 6263640"/>
                  <a:gd name="connsiteX19" fmla="*/ 3289088 w 3653473"/>
                  <a:gd name="connsiteY19" fmla="*/ 6164580 h 6263640"/>
                  <a:gd name="connsiteX20" fmla="*/ 2250228 w 3653473"/>
                  <a:gd name="connsiteY20" fmla="*/ 2324100 h 6263640"/>
                  <a:gd name="connsiteX21" fmla="*/ 2255308 w 3653473"/>
                  <a:gd name="connsiteY21" fmla="*/ 1419860 h 6263640"/>
                  <a:gd name="connsiteX22" fmla="*/ 3380528 w 3653473"/>
                  <a:gd name="connsiteY22" fmla="*/ 1445260 h 6263640"/>
                  <a:gd name="connsiteX23" fmla="*/ 3454188 w 3653473"/>
                  <a:gd name="connsiteY23" fmla="*/ 1224280 h 6263640"/>
                  <a:gd name="connsiteX24" fmla="*/ 2209588 w 3653473"/>
                  <a:gd name="connsiteY24" fmla="*/ 596900 h 6263640"/>
                  <a:gd name="connsiteX25" fmla="*/ 2019088 w 3653473"/>
                  <a:gd name="connsiteY25" fmla="*/ 0 h 6263640"/>
                  <a:gd name="connsiteX26" fmla="*/ 1663488 w 3653473"/>
                  <a:gd name="connsiteY26" fmla="*/ 0 h 6263640"/>
                  <a:gd name="connsiteX0" fmla="*/ 1663488 w 3653473"/>
                  <a:gd name="connsiteY0" fmla="*/ 0 h 6263640"/>
                  <a:gd name="connsiteX1" fmla="*/ 1663488 w 3653473"/>
                  <a:gd name="connsiteY1" fmla="*/ 0 h 6263640"/>
                  <a:gd name="connsiteX2" fmla="*/ 1437428 w 3653473"/>
                  <a:gd name="connsiteY2" fmla="*/ 579120 h 6263640"/>
                  <a:gd name="connsiteX3" fmla="*/ 149648 w 3653473"/>
                  <a:gd name="connsiteY3" fmla="*/ 1196340 h 6263640"/>
                  <a:gd name="connsiteX4" fmla="*/ 139488 w 3653473"/>
                  <a:gd name="connsiteY4" fmla="*/ 1455420 h 6263640"/>
                  <a:gd name="connsiteX5" fmla="*/ 1379008 w 3653473"/>
                  <a:gd name="connsiteY5" fmla="*/ 1460500 h 6263640"/>
                  <a:gd name="connsiteX6" fmla="*/ 1361228 w 3653473"/>
                  <a:gd name="connsiteY6" fmla="*/ 2407920 h 6263640"/>
                  <a:gd name="connsiteX7" fmla="*/ 406188 w 3653473"/>
                  <a:gd name="connsiteY7" fmla="*/ 6248400 h 6263640"/>
                  <a:gd name="connsiteX8" fmla="*/ 594148 w 3653473"/>
                  <a:gd name="connsiteY8" fmla="*/ 6253480 h 6263640"/>
                  <a:gd name="connsiteX9" fmla="*/ 1549188 w 3653473"/>
                  <a:gd name="connsiteY9" fmla="*/ 2354580 h 6263640"/>
                  <a:gd name="connsiteX10" fmla="*/ 1508548 w 3653473"/>
                  <a:gd name="connsiteY10" fmla="*/ 1211580 h 6263640"/>
                  <a:gd name="connsiteX11" fmla="*/ 604308 w 3653473"/>
                  <a:gd name="connsiteY11" fmla="*/ 1219200 h 6263640"/>
                  <a:gd name="connsiteX12" fmla="*/ 1498388 w 3653473"/>
                  <a:gd name="connsiteY12" fmla="*/ 800100 h 6263640"/>
                  <a:gd name="connsiteX13" fmla="*/ 1836208 w 3653473"/>
                  <a:gd name="connsiteY13" fmla="*/ 154940 h 6263640"/>
                  <a:gd name="connsiteX14" fmla="*/ 2057188 w 3653473"/>
                  <a:gd name="connsiteY14" fmla="*/ 736600 h 6263640"/>
                  <a:gd name="connsiteX15" fmla="*/ 3027468 w 3653473"/>
                  <a:gd name="connsiteY15" fmla="*/ 1231900 h 6263640"/>
                  <a:gd name="connsiteX16" fmla="*/ 2107988 w 3653473"/>
                  <a:gd name="connsiteY16" fmla="*/ 1219200 h 6263640"/>
                  <a:gd name="connsiteX17" fmla="*/ 2102908 w 3653473"/>
                  <a:gd name="connsiteY17" fmla="*/ 2324100 h 6263640"/>
                  <a:gd name="connsiteX18" fmla="*/ 3096048 w 3653473"/>
                  <a:gd name="connsiteY18" fmla="*/ 6263640 h 6263640"/>
                  <a:gd name="connsiteX19" fmla="*/ 3289088 w 3653473"/>
                  <a:gd name="connsiteY19" fmla="*/ 6164580 h 6263640"/>
                  <a:gd name="connsiteX20" fmla="*/ 2250228 w 3653473"/>
                  <a:gd name="connsiteY20" fmla="*/ 2324100 h 6263640"/>
                  <a:gd name="connsiteX21" fmla="*/ 2255308 w 3653473"/>
                  <a:gd name="connsiteY21" fmla="*/ 1419860 h 6263640"/>
                  <a:gd name="connsiteX22" fmla="*/ 3380528 w 3653473"/>
                  <a:gd name="connsiteY22" fmla="*/ 1445260 h 6263640"/>
                  <a:gd name="connsiteX23" fmla="*/ 3454188 w 3653473"/>
                  <a:gd name="connsiteY23" fmla="*/ 1224280 h 6263640"/>
                  <a:gd name="connsiteX24" fmla="*/ 2209588 w 3653473"/>
                  <a:gd name="connsiteY24" fmla="*/ 596900 h 6263640"/>
                  <a:gd name="connsiteX25" fmla="*/ 2019088 w 3653473"/>
                  <a:gd name="connsiteY25" fmla="*/ 0 h 6263640"/>
                  <a:gd name="connsiteX26" fmla="*/ 1663488 w 3653473"/>
                  <a:gd name="connsiteY26" fmla="*/ 0 h 6263640"/>
                  <a:gd name="connsiteX0" fmla="*/ 1663488 w 3653473"/>
                  <a:gd name="connsiteY0" fmla="*/ 142875 h 6406515"/>
                  <a:gd name="connsiteX1" fmla="*/ 1663488 w 3653473"/>
                  <a:gd name="connsiteY1" fmla="*/ 142875 h 6406515"/>
                  <a:gd name="connsiteX2" fmla="*/ 1437428 w 3653473"/>
                  <a:gd name="connsiteY2" fmla="*/ 721995 h 6406515"/>
                  <a:gd name="connsiteX3" fmla="*/ 149648 w 3653473"/>
                  <a:gd name="connsiteY3" fmla="*/ 1339215 h 6406515"/>
                  <a:gd name="connsiteX4" fmla="*/ 139488 w 3653473"/>
                  <a:gd name="connsiteY4" fmla="*/ 1598295 h 6406515"/>
                  <a:gd name="connsiteX5" fmla="*/ 1379008 w 3653473"/>
                  <a:gd name="connsiteY5" fmla="*/ 1603375 h 6406515"/>
                  <a:gd name="connsiteX6" fmla="*/ 1361228 w 3653473"/>
                  <a:gd name="connsiteY6" fmla="*/ 2550795 h 6406515"/>
                  <a:gd name="connsiteX7" fmla="*/ 406188 w 3653473"/>
                  <a:gd name="connsiteY7" fmla="*/ 6391275 h 6406515"/>
                  <a:gd name="connsiteX8" fmla="*/ 594148 w 3653473"/>
                  <a:gd name="connsiteY8" fmla="*/ 6396355 h 6406515"/>
                  <a:gd name="connsiteX9" fmla="*/ 1549188 w 3653473"/>
                  <a:gd name="connsiteY9" fmla="*/ 2497455 h 6406515"/>
                  <a:gd name="connsiteX10" fmla="*/ 1508548 w 3653473"/>
                  <a:gd name="connsiteY10" fmla="*/ 1354455 h 6406515"/>
                  <a:gd name="connsiteX11" fmla="*/ 604308 w 3653473"/>
                  <a:gd name="connsiteY11" fmla="*/ 1362075 h 6406515"/>
                  <a:gd name="connsiteX12" fmla="*/ 1498388 w 3653473"/>
                  <a:gd name="connsiteY12" fmla="*/ 942975 h 6406515"/>
                  <a:gd name="connsiteX13" fmla="*/ 1836208 w 3653473"/>
                  <a:gd name="connsiteY13" fmla="*/ 297815 h 6406515"/>
                  <a:gd name="connsiteX14" fmla="*/ 2057188 w 3653473"/>
                  <a:gd name="connsiteY14" fmla="*/ 879475 h 6406515"/>
                  <a:gd name="connsiteX15" fmla="*/ 3027468 w 3653473"/>
                  <a:gd name="connsiteY15" fmla="*/ 1374775 h 6406515"/>
                  <a:gd name="connsiteX16" fmla="*/ 2107988 w 3653473"/>
                  <a:gd name="connsiteY16" fmla="*/ 1362075 h 6406515"/>
                  <a:gd name="connsiteX17" fmla="*/ 2102908 w 3653473"/>
                  <a:gd name="connsiteY17" fmla="*/ 2466975 h 6406515"/>
                  <a:gd name="connsiteX18" fmla="*/ 3096048 w 3653473"/>
                  <a:gd name="connsiteY18" fmla="*/ 6406515 h 6406515"/>
                  <a:gd name="connsiteX19" fmla="*/ 3289088 w 3653473"/>
                  <a:gd name="connsiteY19" fmla="*/ 6307455 h 6406515"/>
                  <a:gd name="connsiteX20" fmla="*/ 2250228 w 3653473"/>
                  <a:gd name="connsiteY20" fmla="*/ 2466975 h 6406515"/>
                  <a:gd name="connsiteX21" fmla="*/ 2255308 w 3653473"/>
                  <a:gd name="connsiteY21" fmla="*/ 1562735 h 6406515"/>
                  <a:gd name="connsiteX22" fmla="*/ 3380528 w 3653473"/>
                  <a:gd name="connsiteY22" fmla="*/ 1588135 h 6406515"/>
                  <a:gd name="connsiteX23" fmla="*/ 3454188 w 3653473"/>
                  <a:gd name="connsiteY23" fmla="*/ 1367155 h 6406515"/>
                  <a:gd name="connsiteX24" fmla="*/ 2209588 w 3653473"/>
                  <a:gd name="connsiteY24" fmla="*/ 739775 h 6406515"/>
                  <a:gd name="connsiteX25" fmla="*/ 2019088 w 3653473"/>
                  <a:gd name="connsiteY25" fmla="*/ 142875 h 6406515"/>
                  <a:gd name="connsiteX26" fmla="*/ 1663488 w 3653473"/>
                  <a:gd name="connsiteY26" fmla="*/ 142875 h 6406515"/>
                  <a:gd name="connsiteX0" fmla="*/ 1663488 w 3653473"/>
                  <a:gd name="connsiteY0" fmla="*/ 142875 h 6406515"/>
                  <a:gd name="connsiteX1" fmla="*/ 1663488 w 3653473"/>
                  <a:gd name="connsiteY1" fmla="*/ 142875 h 6406515"/>
                  <a:gd name="connsiteX2" fmla="*/ 1437428 w 3653473"/>
                  <a:gd name="connsiteY2" fmla="*/ 721995 h 6406515"/>
                  <a:gd name="connsiteX3" fmla="*/ 149648 w 3653473"/>
                  <a:gd name="connsiteY3" fmla="*/ 1339215 h 6406515"/>
                  <a:gd name="connsiteX4" fmla="*/ 139488 w 3653473"/>
                  <a:gd name="connsiteY4" fmla="*/ 1598295 h 6406515"/>
                  <a:gd name="connsiteX5" fmla="*/ 1379008 w 3653473"/>
                  <a:gd name="connsiteY5" fmla="*/ 1603375 h 6406515"/>
                  <a:gd name="connsiteX6" fmla="*/ 1361228 w 3653473"/>
                  <a:gd name="connsiteY6" fmla="*/ 2550795 h 6406515"/>
                  <a:gd name="connsiteX7" fmla="*/ 406188 w 3653473"/>
                  <a:gd name="connsiteY7" fmla="*/ 6391275 h 6406515"/>
                  <a:gd name="connsiteX8" fmla="*/ 594148 w 3653473"/>
                  <a:gd name="connsiteY8" fmla="*/ 6396355 h 6406515"/>
                  <a:gd name="connsiteX9" fmla="*/ 1549188 w 3653473"/>
                  <a:gd name="connsiteY9" fmla="*/ 2497455 h 6406515"/>
                  <a:gd name="connsiteX10" fmla="*/ 1508548 w 3653473"/>
                  <a:gd name="connsiteY10" fmla="*/ 1354455 h 6406515"/>
                  <a:gd name="connsiteX11" fmla="*/ 604308 w 3653473"/>
                  <a:gd name="connsiteY11" fmla="*/ 1362075 h 6406515"/>
                  <a:gd name="connsiteX12" fmla="*/ 1498388 w 3653473"/>
                  <a:gd name="connsiteY12" fmla="*/ 942975 h 6406515"/>
                  <a:gd name="connsiteX13" fmla="*/ 1836208 w 3653473"/>
                  <a:gd name="connsiteY13" fmla="*/ 297815 h 6406515"/>
                  <a:gd name="connsiteX14" fmla="*/ 2057188 w 3653473"/>
                  <a:gd name="connsiteY14" fmla="*/ 879475 h 6406515"/>
                  <a:gd name="connsiteX15" fmla="*/ 3027468 w 3653473"/>
                  <a:gd name="connsiteY15" fmla="*/ 1374775 h 6406515"/>
                  <a:gd name="connsiteX16" fmla="*/ 2107988 w 3653473"/>
                  <a:gd name="connsiteY16" fmla="*/ 1362075 h 6406515"/>
                  <a:gd name="connsiteX17" fmla="*/ 2102908 w 3653473"/>
                  <a:gd name="connsiteY17" fmla="*/ 2466975 h 6406515"/>
                  <a:gd name="connsiteX18" fmla="*/ 3096048 w 3653473"/>
                  <a:gd name="connsiteY18" fmla="*/ 6406515 h 6406515"/>
                  <a:gd name="connsiteX19" fmla="*/ 3289088 w 3653473"/>
                  <a:gd name="connsiteY19" fmla="*/ 6307455 h 6406515"/>
                  <a:gd name="connsiteX20" fmla="*/ 2250228 w 3653473"/>
                  <a:gd name="connsiteY20" fmla="*/ 2466975 h 6406515"/>
                  <a:gd name="connsiteX21" fmla="*/ 2255308 w 3653473"/>
                  <a:gd name="connsiteY21" fmla="*/ 1562735 h 6406515"/>
                  <a:gd name="connsiteX22" fmla="*/ 3380528 w 3653473"/>
                  <a:gd name="connsiteY22" fmla="*/ 1588135 h 6406515"/>
                  <a:gd name="connsiteX23" fmla="*/ 3454188 w 3653473"/>
                  <a:gd name="connsiteY23" fmla="*/ 1367155 h 6406515"/>
                  <a:gd name="connsiteX24" fmla="*/ 2209588 w 3653473"/>
                  <a:gd name="connsiteY24" fmla="*/ 739775 h 6406515"/>
                  <a:gd name="connsiteX25" fmla="*/ 2019088 w 3653473"/>
                  <a:gd name="connsiteY25" fmla="*/ 142875 h 6406515"/>
                  <a:gd name="connsiteX26" fmla="*/ 1663488 w 3653473"/>
                  <a:gd name="connsiteY26" fmla="*/ 142875 h 6406515"/>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836208 w 3653473"/>
                  <a:gd name="connsiteY13" fmla="*/ 254423 h 6363123"/>
                  <a:gd name="connsiteX14" fmla="*/ 2057188 w 3653473"/>
                  <a:gd name="connsiteY14" fmla="*/ 836083 h 6363123"/>
                  <a:gd name="connsiteX15" fmla="*/ 3027468 w 3653473"/>
                  <a:gd name="connsiteY15" fmla="*/ 1331383 h 6363123"/>
                  <a:gd name="connsiteX16" fmla="*/ 2107988 w 3653473"/>
                  <a:gd name="connsiteY16" fmla="*/ 1318683 h 6363123"/>
                  <a:gd name="connsiteX17" fmla="*/ 2102908 w 3653473"/>
                  <a:gd name="connsiteY17" fmla="*/ 2423583 h 6363123"/>
                  <a:gd name="connsiteX18" fmla="*/ 3096048 w 3653473"/>
                  <a:gd name="connsiteY18" fmla="*/ 6363123 h 6363123"/>
                  <a:gd name="connsiteX19" fmla="*/ 3289088 w 3653473"/>
                  <a:gd name="connsiteY19" fmla="*/ 6264063 h 6363123"/>
                  <a:gd name="connsiteX20" fmla="*/ 2250228 w 3653473"/>
                  <a:gd name="connsiteY20" fmla="*/ 2423583 h 6363123"/>
                  <a:gd name="connsiteX21" fmla="*/ 2255308 w 3653473"/>
                  <a:gd name="connsiteY21" fmla="*/ 1519343 h 6363123"/>
                  <a:gd name="connsiteX22" fmla="*/ 3380528 w 3653473"/>
                  <a:gd name="connsiteY22" fmla="*/ 1544743 h 6363123"/>
                  <a:gd name="connsiteX23" fmla="*/ 3454188 w 3653473"/>
                  <a:gd name="connsiteY23" fmla="*/ 1323763 h 6363123"/>
                  <a:gd name="connsiteX24" fmla="*/ 2209588 w 3653473"/>
                  <a:gd name="connsiteY24" fmla="*/ 696383 h 6363123"/>
                  <a:gd name="connsiteX25" fmla="*/ 2019088 w 3653473"/>
                  <a:gd name="connsiteY25"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36208 w 3653473"/>
                  <a:gd name="connsiteY14" fmla="*/ 25442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80658 w 3653473"/>
                  <a:gd name="connsiteY14" fmla="*/ 36237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80658 w 3653473"/>
                  <a:gd name="connsiteY14" fmla="*/ 36237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80658 w 3653473"/>
                  <a:gd name="connsiteY14" fmla="*/ 36237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52963"/>
                  <a:gd name="connsiteX1" fmla="*/ 1663488 w 3653473"/>
                  <a:gd name="connsiteY1" fmla="*/ 99483 h 6352963"/>
                  <a:gd name="connsiteX2" fmla="*/ 1437428 w 3653473"/>
                  <a:gd name="connsiteY2" fmla="*/ 678603 h 6352963"/>
                  <a:gd name="connsiteX3" fmla="*/ 149648 w 3653473"/>
                  <a:gd name="connsiteY3" fmla="*/ 1295823 h 6352963"/>
                  <a:gd name="connsiteX4" fmla="*/ 139488 w 3653473"/>
                  <a:gd name="connsiteY4" fmla="*/ 1554903 h 6352963"/>
                  <a:gd name="connsiteX5" fmla="*/ 1379008 w 3653473"/>
                  <a:gd name="connsiteY5" fmla="*/ 1559983 h 6352963"/>
                  <a:gd name="connsiteX6" fmla="*/ 1361228 w 3653473"/>
                  <a:gd name="connsiteY6" fmla="*/ 2507403 h 6352963"/>
                  <a:gd name="connsiteX7" fmla="*/ 406188 w 3653473"/>
                  <a:gd name="connsiteY7" fmla="*/ 6347883 h 6352963"/>
                  <a:gd name="connsiteX8" fmla="*/ 594148 w 3653473"/>
                  <a:gd name="connsiteY8" fmla="*/ 6352963 h 6352963"/>
                  <a:gd name="connsiteX9" fmla="*/ 1549188 w 3653473"/>
                  <a:gd name="connsiteY9" fmla="*/ 2454063 h 6352963"/>
                  <a:gd name="connsiteX10" fmla="*/ 1508548 w 3653473"/>
                  <a:gd name="connsiteY10" fmla="*/ 1311063 h 6352963"/>
                  <a:gd name="connsiteX11" fmla="*/ 604308 w 3653473"/>
                  <a:gd name="connsiteY11" fmla="*/ 1318683 h 6352963"/>
                  <a:gd name="connsiteX12" fmla="*/ 1498388 w 3653473"/>
                  <a:gd name="connsiteY12" fmla="*/ 899583 h 6352963"/>
                  <a:gd name="connsiteX13" fmla="*/ 1758738 w 3653473"/>
                  <a:gd name="connsiteY13" fmla="*/ 366184 h 6352963"/>
                  <a:gd name="connsiteX14" fmla="*/ 1880658 w 3653473"/>
                  <a:gd name="connsiteY14" fmla="*/ 362373 h 6352963"/>
                  <a:gd name="connsiteX15" fmla="*/ 2057188 w 3653473"/>
                  <a:gd name="connsiteY15" fmla="*/ 836083 h 6352963"/>
                  <a:gd name="connsiteX16" fmla="*/ 3027468 w 3653473"/>
                  <a:gd name="connsiteY16" fmla="*/ 1331383 h 6352963"/>
                  <a:gd name="connsiteX17" fmla="*/ 2107988 w 3653473"/>
                  <a:gd name="connsiteY17" fmla="*/ 1318683 h 6352963"/>
                  <a:gd name="connsiteX18" fmla="*/ 2102908 w 3653473"/>
                  <a:gd name="connsiteY18" fmla="*/ 2423583 h 6352963"/>
                  <a:gd name="connsiteX19" fmla="*/ 3083348 w 3653473"/>
                  <a:gd name="connsiteY19" fmla="*/ 6261523 h 6352963"/>
                  <a:gd name="connsiteX20" fmla="*/ 3289088 w 3653473"/>
                  <a:gd name="connsiteY20" fmla="*/ 6264063 h 6352963"/>
                  <a:gd name="connsiteX21" fmla="*/ 2250228 w 3653473"/>
                  <a:gd name="connsiteY21" fmla="*/ 2423583 h 6352963"/>
                  <a:gd name="connsiteX22" fmla="*/ 2255308 w 3653473"/>
                  <a:gd name="connsiteY22" fmla="*/ 1519343 h 6352963"/>
                  <a:gd name="connsiteX23" fmla="*/ 3380528 w 3653473"/>
                  <a:gd name="connsiteY23" fmla="*/ 1544743 h 6352963"/>
                  <a:gd name="connsiteX24" fmla="*/ 3454188 w 3653473"/>
                  <a:gd name="connsiteY24" fmla="*/ 1323763 h 6352963"/>
                  <a:gd name="connsiteX25" fmla="*/ 2209588 w 3653473"/>
                  <a:gd name="connsiteY25" fmla="*/ 696383 h 6352963"/>
                  <a:gd name="connsiteX26" fmla="*/ 2019088 w 3653473"/>
                  <a:gd name="connsiteY26" fmla="*/ 99483 h 6352963"/>
                  <a:gd name="connsiteX0" fmla="*/ 2019088 w 3653473"/>
                  <a:gd name="connsiteY0" fmla="*/ 99483 h 6441016"/>
                  <a:gd name="connsiteX1" fmla="*/ 1663488 w 3653473"/>
                  <a:gd name="connsiteY1" fmla="*/ 99483 h 6441016"/>
                  <a:gd name="connsiteX2" fmla="*/ 1437428 w 3653473"/>
                  <a:gd name="connsiteY2" fmla="*/ 678603 h 6441016"/>
                  <a:gd name="connsiteX3" fmla="*/ 149648 w 3653473"/>
                  <a:gd name="connsiteY3" fmla="*/ 1295823 h 6441016"/>
                  <a:gd name="connsiteX4" fmla="*/ 139488 w 3653473"/>
                  <a:gd name="connsiteY4" fmla="*/ 1554903 h 6441016"/>
                  <a:gd name="connsiteX5" fmla="*/ 1379008 w 3653473"/>
                  <a:gd name="connsiteY5" fmla="*/ 1559983 h 6441016"/>
                  <a:gd name="connsiteX6" fmla="*/ 1361228 w 3653473"/>
                  <a:gd name="connsiteY6" fmla="*/ 2507403 h 6441016"/>
                  <a:gd name="connsiteX7" fmla="*/ 406188 w 3653473"/>
                  <a:gd name="connsiteY7" fmla="*/ 6347883 h 6441016"/>
                  <a:gd name="connsiteX8" fmla="*/ 594148 w 3653473"/>
                  <a:gd name="connsiteY8" fmla="*/ 6352963 h 6441016"/>
                  <a:gd name="connsiteX9" fmla="*/ 1549188 w 3653473"/>
                  <a:gd name="connsiteY9" fmla="*/ 2454063 h 6441016"/>
                  <a:gd name="connsiteX10" fmla="*/ 1508548 w 3653473"/>
                  <a:gd name="connsiteY10" fmla="*/ 1311063 h 6441016"/>
                  <a:gd name="connsiteX11" fmla="*/ 604308 w 3653473"/>
                  <a:gd name="connsiteY11" fmla="*/ 1318683 h 6441016"/>
                  <a:gd name="connsiteX12" fmla="*/ 1498388 w 3653473"/>
                  <a:gd name="connsiteY12" fmla="*/ 899583 h 6441016"/>
                  <a:gd name="connsiteX13" fmla="*/ 1758738 w 3653473"/>
                  <a:gd name="connsiteY13" fmla="*/ 366184 h 6441016"/>
                  <a:gd name="connsiteX14" fmla="*/ 1880658 w 3653473"/>
                  <a:gd name="connsiteY14" fmla="*/ 362373 h 6441016"/>
                  <a:gd name="connsiteX15" fmla="*/ 2057188 w 3653473"/>
                  <a:gd name="connsiteY15" fmla="*/ 836083 h 6441016"/>
                  <a:gd name="connsiteX16" fmla="*/ 3027468 w 3653473"/>
                  <a:gd name="connsiteY16" fmla="*/ 1331383 h 6441016"/>
                  <a:gd name="connsiteX17" fmla="*/ 2107988 w 3653473"/>
                  <a:gd name="connsiteY17" fmla="*/ 1318683 h 6441016"/>
                  <a:gd name="connsiteX18" fmla="*/ 2102908 w 3653473"/>
                  <a:gd name="connsiteY18" fmla="*/ 2423583 h 6441016"/>
                  <a:gd name="connsiteX19" fmla="*/ 3083348 w 3653473"/>
                  <a:gd name="connsiteY19" fmla="*/ 6261523 h 6441016"/>
                  <a:gd name="connsiteX20" fmla="*/ 3289088 w 3653473"/>
                  <a:gd name="connsiteY20" fmla="*/ 6264063 h 6441016"/>
                  <a:gd name="connsiteX21" fmla="*/ 2250228 w 3653473"/>
                  <a:gd name="connsiteY21" fmla="*/ 2423583 h 6441016"/>
                  <a:gd name="connsiteX22" fmla="*/ 2255308 w 3653473"/>
                  <a:gd name="connsiteY22" fmla="*/ 1519343 h 6441016"/>
                  <a:gd name="connsiteX23" fmla="*/ 3380528 w 3653473"/>
                  <a:gd name="connsiteY23" fmla="*/ 1544743 h 6441016"/>
                  <a:gd name="connsiteX24" fmla="*/ 3454188 w 3653473"/>
                  <a:gd name="connsiteY24" fmla="*/ 1323763 h 6441016"/>
                  <a:gd name="connsiteX25" fmla="*/ 2209588 w 3653473"/>
                  <a:gd name="connsiteY25" fmla="*/ 696383 h 6441016"/>
                  <a:gd name="connsiteX26" fmla="*/ 2019088 w 3653473"/>
                  <a:gd name="connsiteY26" fmla="*/ 99483 h 6441016"/>
                  <a:gd name="connsiteX0" fmla="*/ 2019088 w 3653473"/>
                  <a:gd name="connsiteY0" fmla="*/ 99483 h 6441016"/>
                  <a:gd name="connsiteX1" fmla="*/ 1663488 w 3653473"/>
                  <a:gd name="connsiteY1" fmla="*/ 99483 h 6441016"/>
                  <a:gd name="connsiteX2" fmla="*/ 1437428 w 3653473"/>
                  <a:gd name="connsiteY2" fmla="*/ 678603 h 6441016"/>
                  <a:gd name="connsiteX3" fmla="*/ 149648 w 3653473"/>
                  <a:gd name="connsiteY3" fmla="*/ 1295823 h 6441016"/>
                  <a:gd name="connsiteX4" fmla="*/ 139488 w 3653473"/>
                  <a:gd name="connsiteY4" fmla="*/ 1554903 h 6441016"/>
                  <a:gd name="connsiteX5" fmla="*/ 1379008 w 3653473"/>
                  <a:gd name="connsiteY5" fmla="*/ 1559983 h 6441016"/>
                  <a:gd name="connsiteX6" fmla="*/ 1361228 w 3653473"/>
                  <a:gd name="connsiteY6" fmla="*/ 2507403 h 6441016"/>
                  <a:gd name="connsiteX7" fmla="*/ 406188 w 3653473"/>
                  <a:gd name="connsiteY7" fmla="*/ 6347883 h 6441016"/>
                  <a:gd name="connsiteX8" fmla="*/ 594148 w 3653473"/>
                  <a:gd name="connsiteY8" fmla="*/ 6352963 h 6441016"/>
                  <a:gd name="connsiteX9" fmla="*/ 1549188 w 3653473"/>
                  <a:gd name="connsiteY9" fmla="*/ 2454063 h 6441016"/>
                  <a:gd name="connsiteX10" fmla="*/ 1508548 w 3653473"/>
                  <a:gd name="connsiteY10" fmla="*/ 1311063 h 6441016"/>
                  <a:gd name="connsiteX11" fmla="*/ 604308 w 3653473"/>
                  <a:gd name="connsiteY11" fmla="*/ 1318683 h 6441016"/>
                  <a:gd name="connsiteX12" fmla="*/ 1498388 w 3653473"/>
                  <a:gd name="connsiteY12" fmla="*/ 899583 h 6441016"/>
                  <a:gd name="connsiteX13" fmla="*/ 1758738 w 3653473"/>
                  <a:gd name="connsiteY13" fmla="*/ 366184 h 6441016"/>
                  <a:gd name="connsiteX14" fmla="*/ 1880658 w 3653473"/>
                  <a:gd name="connsiteY14" fmla="*/ 362373 h 6441016"/>
                  <a:gd name="connsiteX15" fmla="*/ 2057188 w 3653473"/>
                  <a:gd name="connsiteY15" fmla="*/ 836083 h 6441016"/>
                  <a:gd name="connsiteX16" fmla="*/ 3027468 w 3653473"/>
                  <a:gd name="connsiteY16" fmla="*/ 1331383 h 6441016"/>
                  <a:gd name="connsiteX17" fmla="*/ 2107988 w 3653473"/>
                  <a:gd name="connsiteY17" fmla="*/ 1318683 h 6441016"/>
                  <a:gd name="connsiteX18" fmla="*/ 2102908 w 3653473"/>
                  <a:gd name="connsiteY18" fmla="*/ 2423583 h 6441016"/>
                  <a:gd name="connsiteX19" fmla="*/ 3083348 w 3653473"/>
                  <a:gd name="connsiteY19" fmla="*/ 6261523 h 6441016"/>
                  <a:gd name="connsiteX20" fmla="*/ 3289088 w 3653473"/>
                  <a:gd name="connsiteY20" fmla="*/ 6264063 h 6441016"/>
                  <a:gd name="connsiteX21" fmla="*/ 2250228 w 3653473"/>
                  <a:gd name="connsiteY21" fmla="*/ 2423583 h 6441016"/>
                  <a:gd name="connsiteX22" fmla="*/ 2255308 w 3653473"/>
                  <a:gd name="connsiteY22" fmla="*/ 1519343 h 6441016"/>
                  <a:gd name="connsiteX23" fmla="*/ 3380528 w 3653473"/>
                  <a:gd name="connsiteY23" fmla="*/ 1544743 h 6441016"/>
                  <a:gd name="connsiteX24" fmla="*/ 3454188 w 3653473"/>
                  <a:gd name="connsiteY24" fmla="*/ 1323763 h 6441016"/>
                  <a:gd name="connsiteX25" fmla="*/ 2209588 w 3653473"/>
                  <a:gd name="connsiteY25" fmla="*/ 696383 h 6441016"/>
                  <a:gd name="connsiteX26" fmla="*/ 2019088 w 3653473"/>
                  <a:gd name="connsiteY26" fmla="*/ 99483 h 6441016"/>
                  <a:gd name="connsiteX0" fmla="*/ 2019088 w 3653473"/>
                  <a:gd name="connsiteY0" fmla="*/ 99483 h 6471920"/>
                  <a:gd name="connsiteX1" fmla="*/ 1663488 w 3653473"/>
                  <a:gd name="connsiteY1" fmla="*/ 99483 h 6471920"/>
                  <a:gd name="connsiteX2" fmla="*/ 1437428 w 3653473"/>
                  <a:gd name="connsiteY2" fmla="*/ 678603 h 6471920"/>
                  <a:gd name="connsiteX3" fmla="*/ 149648 w 3653473"/>
                  <a:gd name="connsiteY3" fmla="*/ 1295823 h 6471920"/>
                  <a:gd name="connsiteX4" fmla="*/ 139488 w 3653473"/>
                  <a:gd name="connsiteY4" fmla="*/ 1554903 h 6471920"/>
                  <a:gd name="connsiteX5" fmla="*/ 1379008 w 3653473"/>
                  <a:gd name="connsiteY5" fmla="*/ 1559983 h 6471920"/>
                  <a:gd name="connsiteX6" fmla="*/ 1361228 w 3653473"/>
                  <a:gd name="connsiteY6" fmla="*/ 2507403 h 6471920"/>
                  <a:gd name="connsiteX7" fmla="*/ 406188 w 3653473"/>
                  <a:gd name="connsiteY7" fmla="*/ 6347883 h 6471920"/>
                  <a:gd name="connsiteX8" fmla="*/ 594148 w 3653473"/>
                  <a:gd name="connsiteY8" fmla="*/ 6352963 h 6471920"/>
                  <a:gd name="connsiteX9" fmla="*/ 1549188 w 3653473"/>
                  <a:gd name="connsiteY9" fmla="*/ 2454063 h 6471920"/>
                  <a:gd name="connsiteX10" fmla="*/ 1508548 w 3653473"/>
                  <a:gd name="connsiteY10" fmla="*/ 1311063 h 6471920"/>
                  <a:gd name="connsiteX11" fmla="*/ 604308 w 3653473"/>
                  <a:gd name="connsiteY11" fmla="*/ 1318683 h 6471920"/>
                  <a:gd name="connsiteX12" fmla="*/ 1498388 w 3653473"/>
                  <a:gd name="connsiteY12" fmla="*/ 899583 h 6471920"/>
                  <a:gd name="connsiteX13" fmla="*/ 1758738 w 3653473"/>
                  <a:gd name="connsiteY13" fmla="*/ 366184 h 6471920"/>
                  <a:gd name="connsiteX14" fmla="*/ 1880658 w 3653473"/>
                  <a:gd name="connsiteY14" fmla="*/ 362373 h 6471920"/>
                  <a:gd name="connsiteX15" fmla="*/ 2057188 w 3653473"/>
                  <a:gd name="connsiteY15" fmla="*/ 836083 h 6471920"/>
                  <a:gd name="connsiteX16" fmla="*/ 3027468 w 3653473"/>
                  <a:gd name="connsiteY16" fmla="*/ 1331383 h 6471920"/>
                  <a:gd name="connsiteX17" fmla="*/ 2107988 w 3653473"/>
                  <a:gd name="connsiteY17" fmla="*/ 1318683 h 6471920"/>
                  <a:gd name="connsiteX18" fmla="*/ 2102908 w 3653473"/>
                  <a:gd name="connsiteY18" fmla="*/ 2423583 h 6471920"/>
                  <a:gd name="connsiteX19" fmla="*/ 3083348 w 3653473"/>
                  <a:gd name="connsiteY19" fmla="*/ 6261523 h 6471920"/>
                  <a:gd name="connsiteX20" fmla="*/ 3289088 w 3653473"/>
                  <a:gd name="connsiteY20" fmla="*/ 6264063 h 6471920"/>
                  <a:gd name="connsiteX21" fmla="*/ 2250228 w 3653473"/>
                  <a:gd name="connsiteY21" fmla="*/ 2423583 h 6471920"/>
                  <a:gd name="connsiteX22" fmla="*/ 2255308 w 3653473"/>
                  <a:gd name="connsiteY22" fmla="*/ 1519343 h 6471920"/>
                  <a:gd name="connsiteX23" fmla="*/ 3380528 w 3653473"/>
                  <a:gd name="connsiteY23" fmla="*/ 1544743 h 6471920"/>
                  <a:gd name="connsiteX24" fmla="*/ 3454188 w 3653473"/>
                  <a:gd name="connsiteY24" fmla="*/ 1323763 h 6471920"/>
                  <a:gd name="connsiteX25" fmla="*/ 2209588 w 3653473"/>
                  <a:gd name="connsiteY25" fmla="*/ 696383 h 6471920"/>
                  <a:gd name="connsiteX26" fmla="*/ 2019088 w 3653473"/>
                  <a:gd name="connsiteY26" fmla="*/ 99483 h 6471920"/>
                  <a:gd name="connsiteX0" fmla="*/ 2019088 w 3653473"/>
                  <a:gd name="connsiteY0" fmla="*/ 99483 h 6471920"/>
                  <a:gd name="connsiteX1" fmla="*/ 1663488 w 3653473"/>
                  <a:gd name="connsiteY1" fmla="*/ 99483 h 6471920"/>
                  <a:gd name="connsiteX2" fmla="*/ 1437428 w 3653473"/>
                  <a:gd name="connsiteY2" fmla="*/ 678603 h 6471920"/>
                  <a:gd name="connsiteX3" fmla="*/ 149648 w 3653473"/>
                  <a:gd name="connsiteY3" fmla="*/ 1295823 h 6471920"/>
                  <a:gd name="connsiteX4" fmla="*/ 139488 w 3653473"/>
                  <a:gd name="connsiteY4" fmla="*/ 1554903 h 6471920"/>
                  <a:gd name="connsiteX5" fmla="*/ 1379008 w 3653473"/>
                  <a:gd name="connsiteY5" fmla="*/ 1559983 h 6471920"/>
                  <a:gd name="connsiteX6" fmla="*/ 1361228 w 3653473"/>
                  <a:gd name="connsiteY6" fmla="*/ 2507403 h 6471920"/>
                  <a:gd name="connsiteX7" fmla="*/ 406188 w 3653473"/>
                  <a:gd name="connsiteY7" fmla="*/ 6347883 h 6471920"/>
                  <a:gd name="connsiteX8" fmla="*/ 594148 w 3653473"/>
                  <a:gd name="connsiteY8" fmla="*/ 6352963 h 6471920"/>
                  <a:gd name="connsiteX9" fmla="*/ 1549188 w 3653473"/>
                  <a:gd name="connsiteY9" fmla="*/ 2454063 h 6471920"/>
                  <a:gd name="connsiteX10" fmla="*/ 1508548 w 3653473"/>
                  <a:gd name="connsiteY10" fmla="*/ 1311063 h 6471920"/>
                  <a:gd name="connsiteX11" fmla="*/ 604308 w 3653473"/>
                  <a:gd name="connsiteY11" fmla="*/ 1318683 h 6471920"/>
                  <a:gd name="connsiteX12" fmla="*/ 1498388 w 3653473"/>
                  <a:gd name="connsiteY12" fmla="*/ 899583 h 6471920"/>
                  <a:gd name="connsiteX13" fmla="*/ 1758738 w 3653473"/>
                  <a:gd name="connsiteY13" fmla="*/ 366184 h 6471920"/>
                  <a:gd name="connsiteX14" fmla="*/ 1880658 w 3653473"/>
                  <a:gd name="connsiteY14" fmla="*/ 362373 h 6471920"/>
                  <a:gd name="connsiteX15" fmla="*/ 2057188 w 3653473"/>
                  <a:gd name="connsiteY15" fmla="*/ 836083 h 6471920"/>
                  <a:gd name="connsiteX16" fmla="*/ 3027468 w 3653473"/>
                  <a:gd name="connsiteY16" fmla="*/ 1331383 h 6471920"/>
                  <a:gd name="connsiteX17" fmla="*/ 2107988 w 3653473"/>
                  <a:gd name="connsiteY17" fmla="*/ 1318683 h 6471920"/>
                  <a:gd name="connsiteX18" fmla="*/ 2102908 w 3653473"/>
                  <a:gd name="connsiteY18" fmla="*/ 2423583 h 6471920"/>
                  <a:gd name="connsiteX19" fmla="*/ 3083348 w 3653473"/>
                  <a:gd name="connsiteY19" fmla="*/ 6261523 h 6471920"/>
                  <a:gd name="connsiteX20" fmla="*/ 3289088 w 3653473"/>
                  <a:gd name="connsiteY20" fmla="*/ 6264063 h 6471920"/>
                  <a:gd name="connsiteX21" fmla="*/ 2250228 w 3653473"/>
                  <a:gd name="connsiteY21" fmla="*/ 2423583 h 6471920"/>
                  <a:gd name="connsiteX22" fmla="*/ 2255308 w 3653473"/>
                  <a:gd name="connsiteY22" fmla="*/ 1519343 h 6471920"/>
                  <a:gd name="connsiteX23" fmla="*/ 3380528 w 3653473"/>
                  <a:gd name="connsiteY23" fmla="*/ 1544743 h 6471920"/>
                  <a:gd name="connsiteX24" fmla="*/ 3454188 w 3653473"/>
                  <a:gd name="connsiteY24" fmla="*/ 1323763 h 6471920"/>
                  <a:gd name="connsiteX25" fmla="*/ 2209588 w 3653473"/>
                  <a:gd name="connsiteY25" fmla="*/ 696383 h 6471920"/>
                  <a:gd name="connsiteX26" fmla="*/ 2019088 w 3653473"/>
                  <a:gd name="connsiteY26" fmla="*/ 99483 h 647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653473" h="6471920">
                    <a:moveTo>
                      <a:pt x="2019088" y="99483"/>
                    </a:moveTo>
                    <a:cubicBezTo>
                      <a:pt x="1928071" y="0"/>
                      <a:pt x="1760431" y="2963"/>
                      <a:pt x="1663488" y="99483"/>
                    </a:cubicBezTo>
                    <a:lnTo>
                      <a:pt x="1437428" y="678603"/>
                    </a:lnTo>
                    <a:lnTo>
                      <a:pt x="149648" y="1295823"/>
                    </a:lnTo>
                    <a:cubicBezTo>
                      <a:pt x="22436" y="1386945"/>
                      <a:pt x="0" y="1525693"/>
                      <a:pt x="139488" y="1554903"/>
                    </a:cubicBezTo>
                    <a:lnTo>
                      <a:pt x="1379008" y="1559983"/>
                    </a:lnTo>
                    <a:lnTo>
                      <a:pt x="1361228" y="2507403"/>
                    </a:lnTo>
                    <a:lnTo>
                      <a:pt x="406188" y="6347883"/>
                    </a:lnTo>
                    <a:cubicBezTo>
                      <a:pt x="386291" y="6419426"/>
                      <a:pt x="531495" y="6471920"/>
                      <a:pt x="594148" y="6352963"/>
                    </a:cubicBezTo>
                    <a:lnTo>
                      <a:pt x="1549188" y="2454063"/>
                    </a:lnTo>
                    <a:cubicBezTo>
                      <a:pt x="1545801" y="2073063"/>
                      <a:pt x="1511935" y="1692063"/>
                      <a:pt x="1508548" y="1311063"/>
                    </a:cubicBezTo>
                    <a:lnTo>
                      <a:pt x="604308" y="1318683"/>
                    </a:lnTo>
                    <a:lnTo>
                      <a:pt x="1498388" y="899583"/>
                    </a:lnTo>
                    <a:lnTo>
                      <a:pt x="1758738" y="366184"/>
                    </a:lnTo>
                    <a:cubicBezTo>
                      <a:pt x="1812078" y="244264"/>
                      <a:pt x="1827318" y="192193"/>
                      <a:pt x="1880658" y="362373"/>
                    </a:cubicBezTo>
                    <a:lnTo>
                      <a:pt x="2057188" y="836083"/>
                    </a:lnTo>
                    <a:lnTo>
                      <a:pt x="3027468" y="1331383"/>
                    </a:lnTo>
                    <a:lnTo>
                      <a:pt x="2107988" y="1318683"/>
                    </a:lnTo>
                    <a:cubicBezTo>
                      <a:pt x="2106295" y="1686983"/>
                      <a:pt x="2104601" y="2055283"/>
                      <a:pt x="2102908" y="2423583"/>
                    </a:cubicBezTo>
                    <a:lnTo>
                      <a:pt x="3083348" y="6261523"/>
                    </a:lnTo>
                    <a:cubicBezTo>
                      <a:pt x="3107478" y="6383020"/>
                      <a:pt x="3245908" y="6441016"/>
                      <a:pt x="3289088" y="6264063"/>
                    </a:cubicBezTo>
                    <a:lnTo>
                      <a:pt x="2250228" y="2423583"/>
                    </a:lnTo>
                    <a:cubicBezTo>
                      <a:pt x="2251921" y="2122170"/>
                      <a:pt x="2253615" y="1820756"/>
                      <a:pt x="2255308" y="1519343"/>
                    </a:cubicBezTo>
                    <a:lnTo>
                      <a:pt x="3380528" y="1544743"/>
                    </a:lnTo>
                    <a:cubicBezTo>
                      <a:pt x="3505094" y="1590145"/>
                      <a:pt x="3653473" y="1440285"/>
                      <a:pt x="3454188" y="1323763"/>
                    </a:cubicBezTo>
                    <a:lnTo>
                      <a:pt x="2209588" y="696383"/>
                    </a:lnTo>
                    <a:lnTo>
                      <a:pt x="2019088" y="99483"/>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3" name="Rectangle 132"/>
              <p:cNvSpPr/>
              <p:nvPr/>
            </p:nvSpPr>
            <p:spPr>
              <a:xfrm>
                <a:off x="2203450" y="1504950"/>
                <a:ext cx="812800" cy="317500"/>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4" name="Freeform 133"/>
              <p:cNvSpPr/>
              <p:nvPr/>
            </p:nvSpPr>
            <p:spPr>
              <a:xfrm>
                <a:off x="2209800" y="901700"/>
                <a:ext cx="711200" cy="152400"/>
              </a:xfrm>
              <a:custGeom>
                <a:avLst/>
                <a:gdLst>
                  <a:gd name="connsiteX0" fmla="*/ 127000 w 711200"/>
                  <a:gd name="connsiteY0" fmla="*/ 0 h 152400"/>
                  <a:gd name="connsiteX1" fmla="*/ 698500 w 711200"/>
                  <a:gd name="connsiteY1" fmla="*/ 0 h 152400"/>
                  <a:gd name="connsiteX2" fmla="*/ 711200 w 711200"/>
                  <a:gd name="connsiteY2" fmla="*/ 152400 h 152400"/>
                  <a:gd name="connsiteX3" fmla="*/ 0 w 711200"/>
                  <a:gd name="connsiteY3" fmla="*/ 139700 h 152400"/>
                  <a:gd name="connsiteX4" fmla="*/ 127000 w 71120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1200" h="152400">
                    <a:moveTo>
                      <a:pt x="127000" y="0"/>
                    </a:moveTo>
                    <a:lnTo>
                      <a:pt x="698500" y="0"/>
                    </a:lnTo>
                    <a:lnTo>
                      <a:pt x="711200" y="152400"/>
                    </a:lnTo>
                    <a:lnTo>
                      <a:pt x="0" y="139700"/>
                    </a:lnTo>
                    <a:lnTo>
                      <a:pt x="1270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5" name="Freeform 134"/>
              <p:cNvSpPr/>
              <p:nvPr/>
            </p:nvSpPr>
            <p:spPr>
              <a:xfrm>
                <a:off x="2139950" y="933450"/>
                <a:ext cx="171450" cy="736600"/>
              </a:xfrm>
              <a:custGeom>
                <a:avLst/>
                <a:gdLst>
                  <a:gd name="connsiteX0" fmla="*/ 6350 w 171450"/>
                  <a:gd name="connsiteY0" fmla="*/ 730250 h 736600"/>
                  <a:gd name="connsiteX1" fmla="*/ 0 w 171450"/>
                  <a:gd name="connsiteY1" fmla="*/ 95250 h 736600"/>
                  <a:gd name="connsiteX2" fmla="*/ 171450 w 171450"/>
                  <a:gd name="connsiteY2" fmla="*/ 0 h 736600"/>
                  <a:gd name="connsiteX3" fmla="*/ 127000 w 171450"/>
                  <a:gd name="connsiteY3" fmla="*/ 736600 h 736600"/>
                  <a:gd name="connsiteX4" fmla="*/ 6350 w 171450"/>
                  <a:gd name="connsiteY4" fmla="*/ 730250 h 736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736600">
                    <a:moveTo>
                      <a:pt x="6350" y="730250"/>
                    </a:moveTo>
                    <a:cubicBezTo>
                      <a:pt x="4233" y="518583"/>
                      <a:pt x="2117" y="306917"/>
                      <a:pt x="0" y="95250"/>
                    </a:cubicBezTo>
                    <a:lnTo>
                      <a:pt x="171450" y="0"/>
                    </a:lnTo>
                    <a:lnTo>
                      <a:pt x="127000" y="736600"/>
                    </a:lnTo>
                    <a:lnTo>
                      <a:pt x="6350" y="7302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6" name="Freeform 135"/>
              <p:cNvSpPr/>
              <p:nvPr/>
            </p:nvSpPr>
            <p:spPr>
              <a:xfrm>
                <a:off x="2851150" y="850900"/>
                <a:ext cx="184150" cy="838200"/>
              </a:xfrm>
              <a:custGeom>
                <a:avLst/>
                <a:gdLst>
                  <a:gd name="connsiteX0" fmla="*/ 0 w 184150"/>
                  <a:gd name="connsiteY0" fmla="*/ 0 h 838200"/>
                  <a:gd name="connsiteX1" fmla="*/ 25400 w 184150"/>
                  <a:gd name="connsiteY1" fmla="*/ 838200 h 838200"/>
                  <a:gd name="connsiteX2" fmla="*/ 184150 w 184150"/>
                  <a:gd name="connsiteY2" fmla="*/ 819150 h 838200"/>
                  <a:gd name="connsiteX3" fmla="*/ 120650 w 184150"/>
                  <a:gd name="connsiteY3" fmla="*/ 114300 h 838200"/>
                  <a:gd name="connsiteX4" fmla="*/ 0 w 184150"/>
                  <a:gd name="connsiteY4" fmla="*/ 0 h 83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50" h="838200">
                    <a:moveTo>
                      <a:pt x="0" y="0"/>
                    </a:moveTo>
                    <a:lnTo>
                      <a:pt x="25400" y="838200"/>
                    </a:lnTo>
                    <a:lnTo>
                      <a:pt x="184150" y="819150"/>
                    </a:lnTo>
                    <a:lnTo>
                      <a:pt x="120650" y="114300"/>
                    </a:lnTo>
                    <a:lnTo>
                      <a:pt x="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7" name="Freeform 136"/>
              <p:cNvSpPr/>
              <p:nvPr/>
            </p:nvSpPr>
            <p:spPr>
              <a:xfrm>
                <a:off x="2216150" y="901700"/>
                <a:ext cx="749300" cy="825500"/>
              </a:xfrm>
              <a:custGeom>
                <a:avLst/>
                <a:gdLst>
                  <a:gd name="connsiteX0" fmla="*/ 0 w 749300"/>
                  <a:gd name="connsiteY0" fmla="*/ 76200 h 825500"/>
                  <a:gd name="connsiteX1" fmla="*/ 711200 w 749300"/>
                  <a:gd name="connsiteY1" fmla="*/ 825500 h 825500"/>
                  <a:gd name="connsiteX2" fmla="*/ 749300 w 749300"/>
                  <a:gd name="connsiteY2" fmla="*/ 641350 h 825500"/>
                  <a:gd name="connsiteX3" fmla="*/ 44450 w 749300"/>
                  <a:gd name="connsiteY3" fmla="*/ 0 h 825500"/>
                  <a:gd name="connsiteX4" fmla="*/ 0 w 749300"/>
                  <a:gd name="connsiteY4" fmla="*/ 76200 h 825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9300" h="825500">
                    <a:moveTo>
                      <a:pt x="0" y="76200"/>
                    </a:moveTo>
                    <a:lnTo>
                      <a:pt x="711200" y="825500"/>
                    </a:lnTo>
                    <a:lnTo>
                      <a:pt x="749300" y="641350"/>
                    </a:lnTo>
                    <a:lnTo>
                      <a:pt x="44450" y="0"/>
                    </a:lnTo>
                    <a:lnTo>
                      <a:pt x="0" y="762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8" name="Freeform 137"/>
              <p:cNvSpPr/>
              <p:nvPr/>
            </p:nvSpPr>
            <p:spPr>
              <a:xfrm>
                <a:off x="2114550" y="946150"/>
                <a:ext cx="844550" cy="654050"/>
              </a:xfrm>
              <a:custGeom>
                <a:avLst/>
                <a:gdLst>
                  <a:gd name="connsiteX0" fmla="*/ 266700 w 844550"/>
                  <a:gd name="connsiteY0" fmla="*/ 615950 h 654050"/>
                  <a:gd name="connsiteX1" fmla="*/ 266700 w 844550"/>
                  <a:gd name="connsiteY1" fmla="*/ 615950 h 654050"/>
                  <a:gd name="connsiteX2" fmla="*/ 311150 w 844550"/>
                  <a:gd name="connsiteY2" fmla="*/ 558800 h 654050"/>
                  <a:gd name="connsiteX3" fmla="*/ 844550 w 844550"/>
                  <a:gd name="connsiteY3" fmla="*/ 88900 h 654050"/>
                  <a:gd name="connsiteX4" fmla="*/ 749300 w 844550"/>
                  <a:gd name="connsiteY4" fmla="*/ 0 h 654050"/>
                  <a:gd name="connsiteX5" fmla="*/ 0 w 844550"/>
                  <a:gd name="connsiteY5" fmla="*/ 654050 h 654050"/>
                  <a:gd name="connsiteX6" fmla="*/ 266700 w 844550"/>
                  <a:gd name="connsiteY6" fmla="*/ 615950 h 65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4550" h="654050">
                    <a:moveTo>
                      <a:pt x="266700" y="615950"/>
                    </a:moveTo>
                    <a:lnTo>
                      <a:pt x="266700" y="615950"/>
                    </a:lnTo>
                    <a:lnTo>
                      <a:pt x="311150" y="558800"/>
                    </a:lnTo>
                    <a:lnTo>
                      <a:pt x="844550" y="88900"/>
                    </a:lnTo>
                    <a:lnTo>
                      <a:pt x="749300" y="0"/>
                    </a:lnTo>
                    <a:lnTo>
                      <a:pt x="0" y="654050"/>
                    </a:lnTo>
                    <a:lnTo>
                      <a:pt x="266700" y="6159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9" name="Freeform 138"/>
              <p:cNvSpPr/>
              <p:nvPr/>
            </p:nvSpPr>
            <p:spPr>
              <a:xfrm>
                <a:off x="2222500" y="1714500"/>
                <a:ext cx="495300" cy="520700"/>
              </a:xfrm>
              <a:custGeom>
                <a:avLst/>
                <a:gdLst>
                  <a:gd name="connsiteX0" fmla="*/ 69850 w 495300"/>
                  <a:gd name="connsiteY0" fmla="*/ 400050 h 520700"/>
                  <a:gd name="connsiteX1" fmla="*/ 495300 w 495300"/>
                  <a:gd name="connsiteY1" fmla="*/ 0 h 520700"/>
                  <a:gd name="connsiteX2" fmla="*/ 0 w 495300"/>
                  <a:gd name="connsiteY2" fmla="*/ 95250 h 520700"/>
                  <a:gd name="connsiteX3" fmla="*/ 6350 w 495300"/>
                  <a:gd name="connsiteY3" fmla="*/ 520700 h 520700"/>
                  <a:gd name="connsiteX4" fmla="*/ 69850 w 495300"/>
                  <a:gd name="connsiteY4" fmla="*/ 400050 h 520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520700">
                    <a:moveTo>
                      <a:pt x="69850" y="400050"/>
                    </a:moveTo>
                    <a:lnTo>
                      <a:pt x="495300" y="0"/>
                    </a:lnTo>
                    <a:lnTo>
                      <a:pt x="0" y="95250"/>
                    </a:lnTo>
                    <a:cubicBezTo>
                      <a:pt x="2117" y="237067"/>
                      <a:pt x="4233" y="378883"/>
                      <a:pt x="6350" y="520700"/>
                    </a:cubicBezTo>
                    <a:lnTo>
                      <a:pt x="69850" y="4000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0" name="Freeform 139"/>
              <p:cNvSpPr/>
              <p:nvPr/>
            </p:nvSpPr>
            <p:spPr>
              <a:xfrm>
                <a:off x="2527300" y="1638300"/>
                <a:ext cx="444500" cy="476250"/>
              </a:xfrm>
              <a:custGeom>
                <a:avLst/>
                <a:gdLst>
                  <a:gd name="connsiteX0" fmla="*/ 425450 w 444500"/>
                  <a:gd name="connsiteY0" fmla="*/ 476250 h 476250"/>
                  <a:gd name="connsiteX1" fmla="*/ 0 w 444500"/>
                  <a:gd name="connsiteY1" fmla="*/ 82550 h 476250"/>
                  <a:gd name="connsiteX2" fmla="*/ 222250 w 444500"/>
                  <a:gd name="connsiteY2" fmla="*/ 0 h 476250"/>
                  <a:gd name="connsiteX3" fmla="*/ 444500 w 444500"/>
                  <a:gd name="connsiteY3" fmla="*/ 82550 h 476250"/>
                  <a:gd name="connsiteX4" fmla="*/ 425450 w 444500"/>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00" h="476250">
                    <a:moveTo>
                      <a:pt x="425450" y="476250"/>
                    </a:moveTo>
                    <a:lnTo>
                      <a:pt x="0" y="82550"/>
                    </a:lnTo>
                    <a:lnTo>
                      <a:pt x="222250" y="0"/>
                    </a:lnTo>
                    <a:lnTo>
                      <a:pt x="444500" y="82550"/>
                    </a:lnTo>
                    <a:lnTo>
                      <a:pt x="425450" y="4762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1" name="Freeform 140"/>
              <p:cNvSpPr/>
              <p:nvPr/>
            </p:nvSpPr>
            <p:spPr>
              <a:xfrm>
                <a:off x="2165350" y="1809750"/>
                <a:ext cx="749300" cy="812800"/>
              </a:xfrm>
              <a:custGeom>
                <a:avLst/>
                <a:gdLst>
                  <a:gd name="connsiteX0" fmla="*/ 723900 w 749300"/>
                  <a:gd name="connsiteY0" fmla="*/ 0 h 812800"/>
                  <a:gd name="connsiteX1" fmla="*/ 0 w 749300"/>
                  <a:gd name="connsiteY1" fmla="*/ 692150 h 812800"/>
                  <a:gd name="connsiteX2" fmla="*/ 63500 w 749300"/>
                  <a:gd name="connsiteY2" fmla="*/ 812800 h 812800"/>
                  <a:gd name="connsiteX3" fmla="*/ 749300 w 749300"/>
                  <a:gd name="connsiteY3" fmla="*/ 114300 h 812800"/>
                  <a:gd name="connsiteX4" fmla="*/ 723900 w 749300"/>
                  <a:gd name="connsiteY4" fmla="*/ 0 h 812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9300" h="812800">
                    <a:moveTo>
                      <a:pt x="723900" y="0"/>
                    </a:moveTo>
                    <a:lnTo>
                      <a:pt x="0" y="692150"/>
                    </a:lnTo>
                    <a:lnTo>
                      <a:pt x="63500" y="812800"/>
                    </a:lnTo>
                    <a:lnTo>
                      <a:pt x="749300" y="114300"/>
                    </a:lnTo>
                    <a:lnTo>
                      <a:pt x="7239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2" name="Freeform 141"/>
              <p:cNvSpPr/>
              <p:nvPr/>
            </p:nvSpPr>
            <p:spPr>
              <a:xfrm>
                <a:off x="2286000" y="1885950"/>
                <a:ext cx="654050" cy="647700"/>
              </a:xfrm>
              <a:custGeom>
                <a:avLst/>
                <a:gdLst>
                  <a:gd name="connsiteX0" fmla="*/ 0 w 654050"/>
                  <a:gd name="connsiteY0" fmla="*/ 76200 h 647700"/>
                  <a:gd name="connsiteX1" fmla="*/ 628650 w 654050"/>
                  <a:gd name="connsiteY1" fmla="*/ 647700 h 647700"/>
                  <a:gd name="connsiteX2" fmla="*/ 654050 w 654050"/>
                  <a:gd name="connsiteY2" fmla="*/ 457200 h 647700"/>
                  <a:gd name="connsiteX3" fmla="*/ 63500 w 654050"/>
                  <a:gd name="connsiteY3" fmla="*/ 0 h 647700"/>
                  <a:gd name="connsiteX4" fmla="*/ 0 w 654050"/>
                  <a:gd name="connsiteY4" fmla="*/ 76200 h 647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050" h="647700">
                    <a:moveTo>
                      <a:pt x="0" y="76200"/>
                    </a:moveTo>
                    <a:lnTo>
                      <a:pt x="628650" y="647700"/>
                    </a:lnTo>
                    <a:lnTo>
                      <a:pt x="654050" y="457200"/>
                    </a:lnTo>
                    <a:lnTo>
                      <a:pt x="63500" y="0"/>
                    </a:lnTo>
                    <a:lnTo>
                      <a:pt x="0" y="762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3" name="Freeform 142"/>
              <p:cNvSpPr/>
              <p:nvPr/>
            </p:nvSpPr>
            <p:spPr>
              <a:xfrm>
                <a:off x="2171700" y="2400300"/>
                <a:ext cx="946150" cy="793750"/>
              </a:xfrm>
              <a:custGeom>
                <a:avLst/>
                <a:gdLst>
                  <a:gd name="connsiteX0" fmla="*/ 165100 w 946150"/>
                  <a:gd name="connsiteY0" fmla="*/ 0 h 793750"/>
                  <a:gd name="connsiteX1" fmla="*/ 946150 w 946150"/>
                  <a:gd name="connsiteY1" fmla="*/ 730250 h 793750"/>
                  <a:gd name="connsiteX2" fmla="*/ 908050 w 946150"/>
                  <a:gd name="connsiteY2" fmla="*/ 793750 h 793750"/>
                  <a:gd name="connsiteX3" fmla="*/ 0 w 946150"/>
                  <a:gd name="connsiteY3" fmla="*/ 25400 h 793750"/>
                  <a:gd name="connsiteX4" fmla="*/ 165100 w 946150"/>
                  <a:gd name="connsiteY4" fmla="*/ 0 h 79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6150" h="793750">
                    <a:moveTo>
                      <a:pt x="165100" y="0"/>
                    </a:moveTo>
                    <a:lnTo>
                      <a:pt x="946150" y="730250"/>
                    </a:lnTo>
                    <a:lnTo>
                      <a:pt x="908050" y="793750"/>
                    </a:lnTo>
                    <a:lnTo>
                      <a:pt x="0" y="25400"/>
                    </a:lnTo>
                    <a:lnTo>
                      <a:pt x="1651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4" name="Freeform 143"/>
              <p:cNvSpPr/>
              <p:nvPr/>
            </p:nvSpPr>
            <p:spPr>
              <a:xfrm>
                <a:off x="2063750" y="2381250"/>
                <a:ext cx="889000" cy="895350"/>
              </a:xfrm>
              <a:custGeom>
                <a:avLst/>
                <a:gdLst>
                  <a:gd name="connsiteX0" fmla="*/ 889000 w 889000"/>
                  <a:gd name="connsiteY0" fmla="*/ 139700 h 895350"/>
                  <a:gd name="connsiteX1" fmla="*/ 0 w 889000"/>
                  <a:gd name="connsiteY1" fmla="*/ 895350 h 895350"/>
                  <a:gd name="connsiteX2" fmla="*/ 57150 w 889000"/>
                  <a:gd name="connsiteY2" fmla="*/ 666750 h 895350"/>
                  <a:gd name="connsiteX3" fmla="*/ 889000 w 889000"/>
                  <a:gd name="connsiteY3" fmla="*/ 0 h 895350"/>
                  <a:gd name="connsiteX4" fmla="*/ 889000 w 889000"/>
                  <a:gd name="connsiteY4" fmla="*/ 139700 h 895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000" h="895350">
                    <a:moveTo>
                      <a:pt x="889000" y="139700"/>
                    </a:moveTo>
                    <a:lnTo>
                      <a:pt x="0" y="895350"/>
                    </a:lnTo>
                    <a:lnTo>
                      <a:pt x="57150" y="666750"/>
                    </a:lnTo>
                    <a:lnTo>
                      <a:pt x="889000" y="0"/>
                    </a:lnTo>
                    <a:lnTo>
                      <a:pt x="889000" y="1397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5" name="Freeform 144"/>
              <p:cNvSpPr/>
              <p:nvPr/>
            </p:nvSpPr>
            <p:spPr>
              <a:xfrm>
                <a:off x="2108200" y="3048000"/>
                <a:ext cx="1181100" cy="984250"/>
              </a:xfrm>
              <a:custGeom>
                <a:avLst/>
                <a:gdLst>
                  <a:gd name="connsiteX0" fmla="*/ 101600 w 1181100"/>
                  <a:gd name="connsiteY0" fmla="*/ 0 h 984250"/>
                  <a:gd name="connsiteX1" fmla="*/ 1181100 w 1181100"/>
                  <a:gd name="connsiteY1" fmla="*/ 857250 h 984250"/>
                  <a:gd name="connsiteX2" fmla="*/ 1155700 w 1181100"/>
                  <a:gd name="connsiteY2" fmla="*/ 984250 h 984250"/>
                  <a:gd name="connsiteX3" fmla="*/ 0 w 1181100"/>
                  <a:gd name="connsiteY3" fmla="*/ 127000 h 984250"/>
                  <a:gd name="connsiteX4" fmla="*/ 101600 w 1181100"/>
                  <a:gd name="connsiteY4" fmla="*/ 0 h 984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100" h="984250">
                    <a:moveTo>
                      <a:pt x="101600" y="0"/>
                    </a:moveTo>
                    <a:lnTo>
                      <a:pt x="1181100" y="857250"/>
                    </a:lnTo>
                    <a:lnTo>
                      <a:pt x="1155700" y="984250"/>
                    </a:lnTo>
                    <a:lnTo>
                      <a:pt x="0" y="127000"/>
                    </a:lnTo>
                    <a:lnTo>
                      <a:pt x="1016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6" name="Freeform 145"/>
              <p:cNvSpPr/>
              <p:nvPr/>
            </p:nvSpPr>
            <p:spPr>
              <a:xfrm>
                <a:off x="1879600" y="3003550"/>
                <a:ext cx="1219200" cy="1117600"/>
              </a:xfrm>
              <a:custGeom>
                <a:avLst/>
                <a:gdLst>
                  <a:gd name="connsiteX0" fmla="*/ 1219200 w 1219200"/>
                  <a:gd name="connsiteY0" fmla="*/ 158750 h 1117600"/>
                  <a:gd name="connsiteX1" fmla="*/ 0 w 1219200"/>
                  <a:gd name="connsiteY1" fmla="*/ 1117600 h 1117600"/>
                  <a:gd name="connsiteX2" fmla="*/ 69850 w 1219200"/>
                  <a:gd name="connsiteY2" fmla="*/ 806450 h 1117600"/>
                  <a:gd name="connsiteX3" fmla="*/ 1187450 w 1219200"/>
                  <a:gd name="connsiteY3" fmla="*/ 0 h 1117600"/>
                  <a:gd name="connsiteX4" fmla="*/ 1219200 w 1219200"/>
                  <a:gd name="connsiteY4" fmla="*/ 158750 h 1117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 h="1117600">
                    <a:moveTo>
                      <a:pt x="1219200" y="158750"/>
                    </a:moveTo>
                    <a:lnTo>
                      <a:pt x="0" y="1117600"/>
                    </a:lnTo>
                    <a:lnTo>
                      <a:pt x="69850" y="806450"/>
                    </a:lnTo>
                    <a:lnTo>
                      <a:pt x="1187450" y="0"/>
                    </a:lnTo>
                    <a:lnTo>
                      <a:pt x="1219200" y="1587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7" name="Freeform 146"/>
              <p:cNvSpPr/>
              <p:nvPr/>
            </p:nvSpPr>
            <p:spPr>
              <a:xfrm>
                <a:off x="1879600" y="3873500"/>
                <a:ext cx="1689100" cy="1397000"/>
              </a:xfrm>
              <a:custGeom>
                <a:avLst/>
                <a:gdLst>
                  <a:gd name="connsiteX0" fmla="*/ 114300 w 1689100"/>
                  <a:gd name="connsiteY0" fmla="*/ 0 h 1397000"/>
                  <a:gd name="connsiteX1" fmla="*/ 1689100 w 1689100"/>
                  <a:gd name="connsiteY1" fmla="*/ 1155700 h 1397000"/>
                  <a:gd name="connsiteX2" fmla="*/ 1689100 w 1689100"/>
                  <a:gd name="connsiteY2" fmla="*/ 1397000 h 1397000"/>
                  <a:gd name="connsiteX3" fmla="*/ 0 w 1689100"/>
                  <a:gd name="connsiteY3" fmla="*/ 158750 h 1397000"/>
                  <a:gd name="connsiteX4" fmla="*/ 114300 w 1689100"/>
                  <a:gd name="connsiteY4" fmla="*/ 0 h 139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9100" h="1397000">
                    <a:moveTo>
                      <a:pt x="114300" y="0"/>
                    </a:moveTo>
                    <a:lnTo>
                      <a:pt x="1689100" y="1155700"/>
                    </a:lnTo>
                    <a:lnTo>
                      <a:pt x="1689100" y="1397000"/>
                    </a:lnTo>
                    <a:lnTo>
                      <a:pt x="0" y="158750"/>
                    </a:lnTo>
                    <a:lnTo>
                      <a:pt x="1143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8" name="Freeform 147"/>
              <p:cNvSpPr/>
              <p:nvPr/>
            </p:nvSpPr>
            <p:spPr>
              <a:xfrm>
                <a:off x="1593850" y="3835400"/>
                <a:ext cx="1708150" cy="1460500"/>
              </a:xfrm>
              <a:custGeom>
                <a:avLst/>
                <a:gdLst>
                  <a:gd name="connsiteX0" fmla="*/ 1695450 w 1708150"/>
                  <a:gd name="connsiteY0" fmla="*/ 165100 h 1460500"/>
                  <a:gd name="connsiteX1" fmla="*/ 0 w 1708150"/>
                  <a:gd name="connsiteY1" fmla="*/ 1460500 h 1460500"/>
                  <a:gd name="connsiteX2" fmla="*/ 101600 w 1708150"/>
                  <a:gd name="connsiteY2" fmla="*/ 1130300 h 1460500"/>
                  <a:gd name="connsiteX3" fmla="*/ 1708150 w 1708150"/>
                  <a:gd name="connsiteY3" fmla="*/ 0 h 1460500"/>
                  <a:gd name="connsiteX4" fmla="*/ 1695450 w 1708150"/>
                  <a:gd name="connsiteY4" fmla="*/ 165100 h 146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8150" h="1460500">
                    <a:moveTo>
                      <a:pt x="1695450" y="165100"/>
                    </a:moveTo>
                    <a:lnTo>
                      <a:pt x="0" y="1460500"/>
                    </a:lnTo>
                    <a:lnTo>
                      <a:pt x="101600" y="1130300"/>
                    </a:lnTo>
                    <a:lnTo>
                      <a:pt x="1708150" y="0"/>
                    </a:lnTo>
                    <a:lnTo>
                      <a:pt x="1695450" y="1651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9" name="Freeform 148"/>
              <p:cNvSpPr/>
              <p:nvPr/>
            </p:nvSpPr>
            <p:spPr>
              <a:xfrm>
                <a:off x="1587500" y="5111750"/>
                <a:ext cx="2298700" cy="1250950"/>
              </a:xfrm>
              <a:custGeom>
                <a:avLst/>
                <a:gdLst>
                  <a:gd name="connsiteX0" fmla="*/ 69850 w 2298700"/>
                  <a:gd name="connsiteY0" fmla="*/ 0 h 1250950"/>
                  <a:gd name="connsiteX1" fmla="*/ 69850 w 2298700"/>
                  <a:gd name="connsiteY1" fmla="*/ 0 h 1250950"/>
                  <a:gd name="connsiteX2" fmla="*/ 2298700 w 2298700"/>
                  <a:gd name="connsiteY2" fmla="*/ 1054100 h 1250950"/>
                  <a:gd name="connsiteX3" fmla="*/ 2279650 w 2298700"/>
                  <a:gd name="connsiteY3" fmla="*/ 1250950 h 1250950"/>
                  <a:gd name="connsiteX4" fmla="*/ 0 w 2298700"/>
                  <a:gd name="connsiteY4" fmla="*/ 165100 h 1250950"/>
                  <a:gd name="connsiteX5" fmla="*/ 69850 w 2298700"/>
                  <a:gd name="connsiteY5" fmla="*/ 0 h 1250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98700" h="1250950">
                    <a:moveTo>
                      <a:pt x="69850" y="0"/>
                    </a:moveTo>
                    <a:lnTo>
                      <a:pt x="69850" y="0"/>
                    </a:lnTo>
                    <a:lnTo>
                      <a:pt x="2298700" y="1054100"/>
                    </a:lnTo>
                    <a:lnTo>
                      <a:pt x="2279650" y="1250950"/>
                    </a:lnTo>
                    <a:lnTo>
                      <a:pt x="0" y="165100"/>
                    </a:lnTo>
                    <a:lnTo>
                      <a:pt x="6985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0" name="Freeform 149"/>
              <p:cNvSpPr/>
              <p:nvPr/>
            </p:nvSpPr>
            <p:spPr>
              <a:xfrm>
                <a:off x="1308100" y="5016500"/>
                <a:ext cx="2311400" cy="1397000"/>
              </a:xfrm>
              <a:custGeom>
                <a:avLst/>
                <a:gdLst>
                  <a:gd name="connsiteX0" fmla="*/ 69850 w 2311400"/>
                  <a:gd name="connsiteY0" fmla="*/ 1123950 h 1397000"/>
                  <a:gd name="connsiteX1" fmla="*/ 2286000 w 2311400"/>
                  <a:gd name="connsiteY1" fmla="*/ 0 h 1397000"/>
                  <a:gd name="connsiteX2" fmla="*/ 2311400 w 2311400"/>
                  <a:gd name="connsiteY2" fmla="*/ 234950 h 1397000"/>
                  <a:gd name="connsiteX3" fmla="*/ 0 w 2311400"/>
                  <a:gd name="connsiteY3" fmla="*/ 1397000 h 1397000"/>
                  <a:gd name="connsiteX4" fmla="*/ 69850 w 2311400"/>
                  <a:gd name="connsiteY4" fmla="*/ 1123950 h 139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1400" h="1397000">
                    <a:moveTo>
                      <a:pt x="69850" y="1123950"/>
                    </a:moveTo>
                    <a:lnTo>
                      <a:pt x="2286000" y="0"/>
                    </a:lnTo>
                    <a:lnTo>
                      <a:pt x="2311400" y="234950"/>
                    </a:lnTo>
                    <a:lnTo>
                      <a:pt x="0" y="1397000"/>
                    </a:lnTo>
                    <a:lnTo>
                      <a:pt x="69850" y="11239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pic>
        <p:nvPicPr>
          <p:cNvPr id="170" name="Picture 2" descr="http://clipartsy.com/SVG/WWW/colours/AJ_RECYCLING_SYMBOL_COLOR_COLOUR/aj_recycling_symbol_colour_slate_blue_2_svg_scalable_vector_graphics.png"/>
          <p:cNvPicPr>
            <a:picLocks noChangeAspect="1" noChangeArrowheads="1"/>
          </p:cNvPicPr>
          <p:nvPr/>
        </p:nvPicPr>
        <p:blipFill>
          <a:blip r:embed="rId6" cstate="print">
            <a:lum bright="-40000"/>
          </a:blip>
          <a:srcRect/>
          <a:stretch>
            <a:fillRect/>
          </a:stretch>
        </p:blipFill>
        <p:spPr bwMode="auto">
          <a:xfrm>
            <a:off x="5036186" y="1974852"/>
            <a:ext cx="149225" cy="149225"/>
          </a:xfrm>
          <a:prstGeom prst="rect">
            <a:avLst/>
          </a:prstGeom>
          <a:noFill/>
        </p:spPr>
      </p:pic>
      <p:pic>
        <p:nvPicPr>
          <p:cNvPr id="171" name="Picture 3"/>
          <p:cNvPicPr>
            <a:picLocks noChangeArrowheads="1"/>
          </p:cNvPicPr>
          <p:nvPr/>
        </p:nvPicPr>
        <p:blipFill>
          <a:blip r:embed="rId7" cstate="print">
            <a:clrChange>
              <a:clrFrom>
                <a:srgbClr val="FFFFFF"/>
              </a:clrFrom>
              <a:clrTo>
                <a:srgbClr val="FFFFFF">
                  <a:alpha val="0"/>
                </a:srgbClr>
              </a:clrTo>
            </a:clrChange>
          </a:blip>
          <a:srcRect l="22299" t="22710" r="74437" b="61478"/>
          <a:stretch>
            <a:fillRect/>
          </a:stretch>
        </p:blipFill>
        <p:spPr bwMode="auto">
          <a:xfrm>
            <a:off x="5306746" y="2172999"/>
            <a:ext cx="169576" cy="185177"/>
          </a:xfrm>
          <a:prstGeom prst="rect">
            <a:avLst/>
          </a:prstGeom>
          <a:noFill/>
          <a:ln w="9525">
            <a:noFill/>
            <a:miter lim="800000"/>
            <a:headEnd/>
            <a:tailEnd/>
          </a:ln>
          <a:effectLst/>
        </p:spPr>
      </p:pic>
      <p:sp>
        <p:nvSpPr>
          <p:cNvPr id="93" name="Freeform 92"/>
          <p:cNvSpPr/>
          <p:nvPr/>
        </p:nvSpPr>
        <p:spPr>
          <a:xfrm>
            <a:off x="4419600" y="1793875"/>
            <a:ext cx="1371600" cy="1212850"/>
          </a:xfrm>
          <a:custGeom>
            <a:avLst/>
            <a:gdLst>
              <a:gd name="connsiteX0" fmla="*/ 161925 w 1371600"/>
              <a:gd name="connsiteY0" fmla="*/ 0 h 1212850"/>
              <a:gd name="connsiteX1" fmla="*/ 1371600 w 1371600"/>
              <a:gd name="connsiteY1" fmla="*/ 936625 h 1212850"/>
              <a:gd name="connsiteX2" fmla="*/ 984250 w 1371600"/>
              <a:gd name="connsiteY2" fmla="*/ 1212850 h 1212850"/>
              <a:gd name="connsiteX3" fmla="*/ 0 w 1371600"/>
              <a:gd name="connsiteY3" fmla="*/ 482600 h 1212850"/>
              <a:gd name="connsiteX4" fmla="*/ 161925 w 1371600"/>
              <a:gd name="connsiteY4" fmla="*/ 0 h 1212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600" h="1212850">
                <a:moveTo>
                  <a:pt x="161925" y="0"/>
                </a:moveTo>
                <a:lnTo>
                  <a:pt x="1371600" y="936625"/>
                </a:lnTo>
                <a:lnTo>
                  <a:pt x="984250" y="1212850"/>
                </a:lnTo>
                <a:lnTo>
                  <a:pt x="0" y="482600"/>
                </a:lnTo>
                <a:lnTo>
                  <a:pt x="161925" y="0"/>
                </a:lnTo>
                <a:close/>
              </a:path>
            </a:pathLst>
          </a:cu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94" name="TextBox 93"/>
          <p:cNvSpPr txBox="1"/>
          <p:nvPr/>
        </p:nvSpPr>
        <p:spPr>
          <a:xfrm rot="2242282">
            <a:off x="4149359" y="2171010"/>
            <a:ext cx="1758672" cy="461665"/>
          </a:xfrm>
          <a:prstGeom prst="rect">
            <a:avLst/>
          </a:prstGeom>
          <a:noFill/>
        </p:spPr>
        <p:txBody>
          <a:bodyPr wrap="square" rtlCol="0">
            <a:spAutoFit/>
          </a:bodyPr>
          <a:lstStyle/>
          <a:p>
            <a:pPr algn="ctr"/>
            <a:r>
              <a:rPr lang="en-GB" sz="1200" b="1" smtClean="0">
                <a:solidFill>
                  <a:schemeClr val="bg1"/>
                </a:solidFill>
                <a:latin typeface="Telefonica Text" pitchFamily="50" charset="0"/>
              </a:rPr>
              <a:t>Energy &amp; </a:t>
            </a:r>
          </a:p>
          <a:p>
            <a:pPr algn="ctr"/>
            <a:r>
              <a:rPr lang="en-GB" sz="1200" b="1" smtClean="0">
                <a:solidFill>
                  <a:schemeClr val="bg1"/>
                </a:solidFill>
                <a:latin typeface="Telefonica Text" pitchFamily="50" charset="0"/>
              </a:rPr>
              <a:t>Environment</a:t>
            </a:r>
            <a:endParaRPr lang="en-GB" sz="1200" b="1">
              <a:solidFill>
                <a:schemeClr val="bg1"/>
              </a:solidFill>
              <a:latin typeface="Telefonica Text" pitchFamily="50" charset="0"/>
            </a:endParaRPr>
          </a:p>
        </p:txBody>
      </p:sp>
      <p:sp>
        <p:nvSpPr>
          <p:cNvPr id="192" name="Freeform 191"/>
          <p:cNvSpPr/>
          <p:nvPr/>
        </p:nvSpPr>
        <p:spPr>
          <a:xfrm flipH="1">
            <a:off x="4662582" y="1587502"/>
            <a:ext cx="153893" cy="204731"/>
          </a:xfrm>
          <a:custGeom>
            <a:avLst/>
            <a:gdLst>
              <a:gd name="connsiteX0" fmla="*/ 3643086 w 3657600"/>
              <a:gd name="connsiteY0" fmla="*/ 1683657 h 1683657"/>
              <a:gd name="connsiteX1" fmla="*/ 3643086 w 3657600"/>
              <a:gd name="connsiteY1" fmla="*/ 1683657 h 1683657"/>
              <a:gd name="connsiteX2" fmla="*/ 3512457 w 3657600"/>
              <a:gd name="connsiteY2" fmla="*/ 1669143 h 1683657"/>
              <a:gd name="connsiteX3" fmla="*/ 2336800 w 3657600"/>
              <a:gd name="connsiteY3" fmla="*/ 1669143 h 1683657"/>
              <a:gd name="connsiteX4" fmla="*/ 2336800 w 3657600"/>
              <a:gd name="connsiteY4" fmla="*/ 1001486 h 1683657"/>
              <a:gd name="connsiteX5" fmla="*/ 1988457 w 3657600"/>
              <a:gd name="connsiteY5" fmla="*/ 957943 h 1683657"/>
              <a:gd name="connsiteX6" fmla="*/ 2002972 w 3657600"/>
              <a:gd name="connsiteY6" fmla="*/ 508000 h 1683657"/>
              <a:gd name="connsiteX7" fmla="*/ 2133600 w 3657600"/>
              <a:gd name="connsiteY7" fmla="*/ 348343 h 1683657"/>
              <a:gd name="connsiteX8" fmla="*/ 3396343 w 3657600"/>
              <a:gd name="connsiteY8" fmla="*/ 478972 h 1683657"/>
              <a:gd name="connsiteX9" fmla="*/ 3657600 w 3657600"/>
              <a:gd name="connsiteY9" fmla="*/ 217715 h 1683657"/>
              <a:gd name="connsiteX10" fmla="*/ 3570515 w 3657600"/>
              <a:gd name="connsiteY10" fmla="*/ 130629 h 1683657"/>
              <a:gd name="connsiteX11" fmla="*/ 2598057 w 3657600"/>
              <a:gd name="connsiteY11" fmla="*/ 0 h 1683657"/>
              <a:gd name="connsiteX12" fmla="*/ 2452915 w 3657600"/>
              <a:gd name="connsiteY12" fmla="*/ 29029 h 1683657"/>
              <a:gd name="connsiteX13" fmla="*/ 2365829 w 3657600"/>
              <a:gd name="connsiteY13" fmla="*/ 58057 h 1683657"/>
              <a:gd name="connsiteX14" fmla="*/ 2075543 w 3657600"/>
              <a:gd name="connsiteY14" fmla="*/ 145143 h 1683657"/>
              <a:gd name="connsiteX15" fmla="*/ 1915886 w 3657600"/>
              <a:gd name="connsiteY15" fmla="*/ 0 h 1683657"/>
              <a:gd name="connsiteX16" fmla="*/ 1669143 w 3657600"/>
              <a:gd name="connsiteY16" fmla="*/ 14515 h 1683657"/>
              <a:gd name="connsiteX17" fmla="*/ 1582057 w 3657600"/>
              <a:gd name="connsiteY17" fmla="*/ 203200 h 1683657"/>
              <a:gd name="connsiteX18" fmla="*/ 406400 w 3657600"/>
              <a:gd name="connsiteY18" fmla="*/ 14515 h 1683657"/>
              <a:gd name="connsiteX19" fmla="*/ 0 w 3657600"/>
              <a:gd name="connsiteY19" fmla="*/ 362857 h 1683657"/>
              <a:gd name="connsiteX20" fmla="*/ 1320800 w 3657600"/>
              <a:gd name="connsiteY20" fmla="*/ 508000 h 1683657"/>
              <a:gd name="connsiteX21" fmla="*/ 1582057 w 3657600"/>
              <a:gd name="connsiteY21" fmla="*/ 406400 h 1683657"/>
              <a:gd name="connsiteX0" fmla="*/ 3643086 w 3657600"/>
              <a:gd name="connsiteY0" fmla="*/ 1683657 h 2703286"/>
              <a:gd name="connsiteX1" fmla="*/ 3643086 w 3657600"/>
              <a:gd name="connsiteY1" fmla="*/ 1683657 h 2703286"/>
              <a:gd name="connsiteX2" fmla="*/ 3512457 w 3657600"/>
              <a:gd name="connsiteY2" fmla="*/ 1669143 h 2703286"/>
              <a:gd name="connsiteX3" fmla="*/ 2336800 w 3657600"/>
              <a:gd name="connsiteY3" fmla="*/ 1669143 h 2703286"/>
              <a:gd name="connsiteX4" fmla="*/ 2336800 w 3657600"/>
              <a:gd name="connsiteY4" fmla="*/ 1001486 h 2703286"/>
              <a:gd name="connsiteX5" fmla="*/ 1988457 w 3657600"/>
              <a:gd name="connsiteY5" fmla="*/ 957943 h 2703286"/>
              <a:gd name="connsiteX6" fmla="*/ 2002972 w 3657600"/>
              <a:gd name="connsiteY6" fmla="*/ 508000 h 2703286"/>
              <a:gd name="connsiteX7" fmla="*/ 2133600 w 3657600"/>
              <a:gd name="connsiteY7" fmla="*/ 348343 h 2703286"/>
              <a:gd name="connsiteX8" fmla="*/ 3396343 w 3657600"/>
              <a:gd name="connsiteY8" fmla="*/ 478972 h 2703286"/>
              <a:gd name="connsiteX9" fmla="*/ 3657600 w 3657600"/>
              <a:gd name="connsiteY9" fmla="*/ 217715 h 2703286"/>
              <a:gd name="connsiteX10" fmla="*/ 3570515 w 3657600"/>
              <a:gd name="connsiteY10" fmla="*/ 130629 h 2703286"/>
              <a:gd name="connsiteX11" fmla="*/ 2598057 w 3657600"/>
              <a:gd name="connsiteY11" fmla="*/ 0 h 2703286"/>
              <a:gd name="connsiteX12" fmla="*/ 2452915 w 3657600"/>
              <a:gd name="connsiteY12" fmla="*/ 29029 h 2703286"/>
              <a:gd name="connsiteX13" fmla="*/ 2365829 w 3657600"/>
              <a:gd name="connsiteY13" fmla="*/ 58057 h 2703286"/>
              <a:gd name="connsiteX14" fmla="*/ 2075543 w 3657600"/>
              <a:gd name="connsiteY14" fmla="*/ 145143 h 2703286"/>
              <a:gd name="connsiteX15" fmla="*/ 1915886 w 3657600"/>
              <a:gd name="connsiteY15" fmla="*/ 0 h 2703286"/>
              <a:gd name="connsiteX16" fmla="*/ 1669143 w 3657600"/>
              <a:gd name="connsiteY16" fmla="*/ 14515 h 2703286"/>
              <a:gd name="connsiteX17" fmla="*/ 1582057 w 3657600"/>
              <a:gd name="connsiteY17" fmla="*/ 203200 h 2703286"/>
              <a:gd name="connsiteX18" fmla="*/ 406400 w 3657600"/>
              <a:gd name="connsiteY18" fmla="*/ 14515 h 2703286"/>
              <a:gd name="connsiteX19" fmla="*/ 0 w 3657600"/>
              <a:gd name="connsiteY19" fmla="*/ 362857 h 2703286"/>
              <a:gd name="connsiteX20" fmla="*/ 1320800 w 3657600"/>
              <a:gd name="connsiteY20" fmla="*/ 508000 h 2703286"/>
              <a:gd name="connsiteX21" fmla="*/ 3628571 w 3657600"/>
              <a:gd name="connsiteY21" fmla="*/ 2703286 h 2703286"/>
              <a:gd name="connsiteX0" fmla="*/ 3643086 w 3657600"/>
              <a:gd name="connsiteY0" fmla="*/ 1683657 h 2703286"/>
              <a:gd name="connsiteX1" fmla="*/ 3643086 w 3657600"/>
              <a:gd name="connsiteY1" fmla="*/ 1683657 h 2703286"/>
              <a:gd name="connsiteX2" fmla="*/ 3512457 w 3657600"/>
              <a:gd name="connsiteY2" fmla="*/ 1669143 h 2703286"/>
              <a:gd name="connsiteX3" fmla="*/ 2336800 w 3657600"/>
              <a:gd name="connsiteY3" fmla="*/ 1669143 h 2703286"/>
              <a:gd name="connsiteX4" fmla="*/ 2336800 w 3657600"/>
              <a:gd name="connsiteY4" fmla="*/ 1001486 h 2703286"/>
              <a:gd name="connsiteX5" fmla="*/ 1988457 w 3657600"/>
              <a:gd name="connsiteY5" fmla="*/ 957943 h 2703286"/>
              <a:gd name="connsiteX6" fmla="*/ 2002972 w 3657600"/>
              <a:gd name="connsiteY6" fmla="*/ 508000 h 2703286"/>
              <a:gd name="connsiteX7" fmla="*/ 2133600 w 3657600"/>
              <a:gd name="connsiteY7" fmla="*/ 348343 h 2703286"/>
              <a:gd name="connsiteX8" fmla="*/ 3396343 w 3657600"/>
              <a:gd name="connsiteY8" fmla="*/ 478972 h 2703286"/>
              <a:gd name="connsiteX9" fmla="*/ 3657600 w 3657600"/>
              <a:gd name="connsiteY9" fmla="*/ 217715 h 2703286"/>
              <a:gd name="connsiteX10" fmla="*/ 3570515 w 3657600"/>
              <a:gd name="connsiteY10" fmla="*/ 130629 h 2703286"/>
              <a:gd name="connsiteX11" fmla="*/ 2598057 w 3657600"/>
              <a:gd name="connsiteY11" fmla="*/ 0 h 2703286"/>
              <a:gd name="connsiteX12" fmla="*/ 2452915 w 3657600"/>
              <a:gd name="connsiteY12" fmla="*/ 29029 h 2703286"/>
              <a:gd name="connsiteX13" fmla="*/ 2365829 w 3657600"/>
              <a:gd name="connsiteY13" fmla="*/ 58057 h 2703286"/>
              <a:gd name="connsiteX14" fmla="*/ 2075543 w 3657600"/>
              <a:gd name="connsiteY14" fmla="*/ 145143 h 2703286"/>
              <a:gd name="connsiteX15" fmla="*/ 1915886 w 3657600"/>
              <a:gd name="connsiteY15" fmla="*/ 0 h 2703286"/>
              <a:gd name="connsiteX16" fmla="*/ 1669143 w 3657600"/>
              <a:gd name="connsiteY16" fmla="*/ 14515 h 2703286"/>
              <a:gd name="connsiteX17" fmla="*/ 1582057 w 3657600"/>
              <a:gd name="connsiteY17" fmla="*/ 203200 h 2703286"/>
              <a:gd name="connsiteX18" fmla="*/ 406400 w 3657600"/>
              <a:gd name="connsiteY18" fmla="*/ 14515 h 2703286"/>
              <a:gd name="connsiteX19" fmla="*/ 0 w 3657600"/>
              <a:gd name="connsiteY19" fmla="*/ 362857 h 2703286"/>
              <a:gd name="connsiteX20" fmla="*/ 1320800 w 3657600"/>
              <a:gd name="connsiteY20" fmla="*/ 508000 h 2703286"/>
              <a:gd name="connsiteX21" fmla="*/ 1364343 w 3657600"/>
              <a:gd name="connsiteY21" fmla="*/ 2703285 h 2703286"/>
              <a:gd name="connsiteX22" fmla="*/ 3628571 w 3657600"/>
              <a:gd name="connsiteY22" fmla="*/ 2703286 h 2703286"/>
              <a:gd name="connsiteX0" fmla="*/ 3643086 w 3657600"/>
              <a:gd name="connsiteY0" fmla="*/ 1683657 h 4037354"/>
              <a:gd name="connsiteX1" fmla="*/ 3643086 w 3657600"/>
              <a:gd name="connsiteY1" fmla="*/ 1683657 h 4037354"/>
              <a:gd name="connsiteX2" fmla="*/ 3512457 w 3657600"/>
              <a:gd name="connsiteY2" fmla="*/ 1669143 h 4037354"/>
              <a:gd name="connsiteX3" fmla="*/ 2336800 w 3657600"/>
              <a:gd name="connsiteY3" fmla="*/ 1669143 h 4037354"/>
              <a:gd name="connsiteX4" fmla="*/ 2336800 w 3657600"/>
              <a:gd name="connsiteY4" fmla="*/ 1001486 h 4037354"/>
              <a:gd name="connsiteX5" fmla="*/ 1988457 w 3657600"/>
              <a:gd name="connsiteY5" fmla="*/ 957943 h 4037354"/>
              <a:gd name="connsiteX6" fmla="*/ 2002972 w 3657600"/>
              <a:gd name="connsiteY6" fmla="*/ 508000 h 4037354"/>
              <a:gd name="connsiteX7" fmla="*/ 2133600 w 3657600"/>
              <a:gd name="connsiteY7" fmla="*/ 348343 h 4037354"/>
              <a:gd name="connsiteX8" fmla="*/ 3396343 w 3657600"/>
              <a:gd name="connsiteY8" fmla="*/ 478972 h 4037354"/>
              <a:gd name="connsiteX9" fmla="*/ 3657600 w 3657600"/>
              <a:gd name="connsiteY9" fmla="*/ 217715 h 4037354"/>
              <a:gd name="connsiteX10" fmla="*/ 3570515 w 3657600"/>
              <a:gd name="connsiteY10" fmla="*/ 130629 h 4037354"/>
              <a:gd name="connsiteX11" fmla="*/ 2598057 w 3657600"/>
              <a:gd name="connsiteY11" fmla="*/ 0 h 4037354"/>
              <a:gd name="connsiteX12" fmla="*/ 2452915 w 3657600"/>
              <a:gd name="connsiteY12" fmla="*/ 29029 h 4037354"/>
              <a:gd name="connsiteX13" fmla="*/ 2365829 w 3657600"/>
              <a:gd name="connsiteY13" fmla="*/ 58057 h 4037354"/>
              <a:gd name="connsiteX14" fmla="*/ 2075543 w 3657600"/>
              <a:gd name="connsiteY14" fmla="*/ 145143 h 4037354"/>
              <a:gd name="connsiteX15" fmla="*/ 1915886 w 3657600"/>
              <a:gd name="connsiteY15" fmla="*/ 0 h 4037354"/>
              <a:gd name="connsiteX16" fmla="*/ 1669143 w 3657600"/>
              <a:gd name="connsiteY16" fmla="*/ 14515 h 4037354"/>
              <a:gd name="connsiteX17" fmla="*/ 1582057 w 3657600"/>
              <a:gd name="connsiteY17" fmla="*/ 203200 h 4037354"/>
              <a:gd name="connsiteX18" fmla="*/ 406400 w 3657600"/>
              <a:gd name="connsiteY18" fmla="*/ 14515 h 4037354"/>
              <a:gd name="connsiteX19" fmla="*/ 0 w 3657600"/>
              <a:gd name="connsiteY19" fmla="*/ 362857 h 4037354"/>
              <a:gd name="connsiteX20" fmla="*/ 1320800 w 3657600"/>
              <a:gd name="connsiteY20" fmla="*/ 508000 h 4037354"/>
              <a:gd name="connsiteX21" fmla="*/ 813450 w 3657600"/>
              <a:gd name="connsiteY21" fmla="*/ 4037354 h 4037354"/>
              <a:gd name="connsiteX22" fmla="*/ 1364343 w 3657600"/>
              <a:gd name="connsiteY22" fmla="*/ 2703285 h 4037354"/>
              <a:gd name="connsiteX23" fmla="*/ 3628571 w 3657600"/>
              <a:gd name="connsiteY23" fmla="*/ 2703286 h 4037354"/>
              <a:gd name="connsiteX0" fmla="*/ 4033310 w 4047824"/>
              <a:gd name="connsiteY0" fmla="*/ 1683657 h 4543693"/>
              <a:gd name="connsiteX1" fmla="*/ 4033310 w 4047824"/>
              <a:gd name="connsiteY1" fmla="*/ 1683657 h 4543693"/>
              <a:gd name="connsiteX2" fmla="*/ 3902681 w 4047824"/>
              <a:gd name="connsiteY2" fmla="*/ 1669143 h 4543693"/>
              <a:gd name="connsiteX3" fmla="*/ 2727024 w 4047824"/>
              <a:gd name="connsiteY3" fmla="*/ 1669143 h 4543693"/>
              <a:gd name="connsiteX4" fmla="*/ 2727024 w 4047824"/>
              <a:gd name="connsiteY4" fmla="*/ 1001486 h 4543693"/>
              <a:gd name="connsiteX5" fmla="*/ 2378681 w 4047824"/>
              <a:gd name="connsiteY5" fmla="*/ 957943 h 4543693"/>
              <a:gd name="connsiteX6" fmla="*/ 2393196 w 4047824"/>
              <a:gd name="connsiteY6" fmla="*/ 508000 h 4543693"/>
              <a:gd name="connsiteX7" fmla="*/ 2523824 w 4047824"/>
              <a:gd name="connsiteY7" fmla="*/ 348343 h 4543693"/>
              <a:gd name="connsiteX8" fmla="*/ 3786567 w 4047824"/>
              <a:gd name="connsiteY8" fmla="*/ 478972 h 4543693"/>
              <a:gd name="connsiteX9" fmla="*/ 4047824 w 4047824"/>
              <a:gd name="connsiteY9" fmla="*/ 217715 h 4543693"/>
              <a:gd name="connsiteX10" fmla="*/ 3960739 w 4047824"/>
              <a:gd name="connsiteY10" fmla="*/ 130629 h 4543693"/>
              <a:gd name="connsiteX11" fmla="*/ 2988281 w 4047824"/>
              <a:gd name="connsiteY11" fmla="*/ 0 h 4543693"/>
              <a:gd name="connsiteX12" fmla="*/ 2843139 w 4047824"/>
              <a:gd name="connsiteY12" fmla="*/ 29029 h 4543693"/>
              <a:gd name="connsiteX13" fmla="*/ 2756053 w 4047824"/>
              <a:gd name="connsiteY13" fmla="*/ 58057 h 4543693"/>
              <a:gd name="connsiteX14" fmla="*/ 2465767 w 4047824"/>
              <a:gd name="connsiteY14" fmla="*/ 145143 h 4543693"/>
              <a:gd name="connsiteX15" fmla="*/ 2306110 w 4047824"/>
              <a:gd name="connsiteY15" fmla="*/ 0 h 4543693"/>
              <a:gd name="connsiteX16" fmla="*/ 2059367 w 4047824"/>
              <a:gd name="connsiteY16" fmla="*/ 14515 h 4543693"/>
              <a:gd name="connsiteX17" fmla="*/ 1972281 w 4047824"/>
              <a:gd name="connsiteY17" fmla="*/ 203200 h 4543693"/>
              <a:gd name="connsiteX18" fmla="*/ 796624 w 4047824"/>
              <a:gd name="connsiteY18" fmla="*/ 14515 h 4543693"/>
              <a:gd name="connsiteX19" fmla="*/ 390224 w 4047824"/>
              <a:gd name="connsiteY19" fmla="*/ 362857 h 4543693"/>
              <a:gd name="connsiteX20" fmla="*/ 1711024 w 4047824"/>
              <a:gd name="connsiteY20" fmla="*/ 508000 h 4543693"/>
              <a:gd name="connsiteX21" fmla="*/ 84558 w 4047824"/>
              <a:gd name="connsiteY21" fmla="*/ 3955467 h 4543693"/>
              <a:gd name="connsiteX22" fmla="*/ 1203674 w 4047824"/>
              <a:gd name="connsiteY22" fmla="*/ 4037354 h 4543693"/>
              <a:gd name="connsiteX23" fmla="*/ 1754567 w 4047824"/>
              <a:gd name="connsiteY23" fmla="*/ 2703285 h 4543693"/>
              <a:gd name="connsiteX24" fmla="*/ 4018795 w 4047824"/>
              <a:gd name="connsiteY24" fmla="*/ 2703286 h 4543693"/>
              <a:gd name="connsiteX0" fmla="*/ 4076131 w 4090645"/>
              <a:gd name="connsiteY0" fmla="*/ 1837538 h 4712124"/>
              <a:gd name="connsiteX1" fmla="*/ 4076131 w 4090645"/>
              <a:gd name="connsiteY1" fmla="*/ 1837538 h 4712124"/>
              <a:gd name="connsiteX2" fmla="*/ 3945502 w 4090645"/>
              <a:gd name="connsiteY2" fmla="*/ 1823024 h 4712124"/>
              <a:gd name="connsiteX3" fmla="*/ 2769845 w 4090645"/>
              <a:gd name="connsiteY3" fmla="*/ 1823024 h 4712124"/>
              <a:gd name="connsiteX4" fmla="*/ 2769845 w 4090645"/>
              <a:gd name="connsiteY4" fmla="*/ 1155367 h 4712124"/>
              <a:gd name="connsiteX5" fmla="*/ 2421502 w 4090645"/>
              <a:gd name="connsiteY5" fmla="*/ 1111824 h 4712124"/>
              <a:gd name="connsiteX6" fmla="*/ 2436017 w 4090645"/>
              <a:gd name="connsiteY6" fmla="*/ 661881 h 4712124"/>
              <a:gd name="connsiteX7" fmla="*/ 2566645 w 4090645"/>
              <a:gd name="connsiteY7" fmla="*/ 502224 h 4712124"/>
              <a:gd name="connsiteX8" fmla="*/ 3829388 w 4090645"/>
              <a:gd name="connsiteY8" fmla="*/ 632853 h 4712124"/>
              <a:gd name="connsiteX9" fmla="*/ 4090645 w 4090645"/>
              <a:gd name="connsiteY9" fmla="*/ 371596 h 4712124"/>
              <a:gd name="connsiteX10" fmla="*/ 4003560 w 4090645"/>
              <a:gd name="connsiteY10" fmla="*/ 284510 h 4712124"/>
              <a:gd name="connsiteX11" fmla="*/ 3031102 w 4090645"/>
              <a:gd name="connsiteY11" fmla="*/ 153881 h 4712124"/>
              <a:gd name="connsiteX12" fmla="*/ 2885960 w 4090645"/>
              <a:gd name="connsiteY12" fmla="*/ 182910 h 4712124"/>
              <a:gd name="connsiteX13" fmla="*/ 2798874 w 4090645"/>
              <a:gd name="connsiteY13" fmla="*/ 211938 h 4712124"/>
              <a:gd name="connsiteX14" fmla="*/ 2508588 w 4090645"/>
              <a:gd name="connsiteY14" fmla="*/ 299024 h 4712124"/>
              <a:gd name="connsiteX15" fmla="*/ 2348931 w 4090645"/>
              <a:gd name="connsiteY15" fmla="*/ 153881 h 4712124"/>
              <a:gd name="connsiteX16" fmla="*/ 2102188 w 4090645"/>
              <a:gd name="connsiteY16" fmla="*/ 168396 h 4712124"/>
              <a:gd name="connsiteX17" fmla="*/ 2015102 w 4090645"/>
              <a:gd name="connsiteY17" fmla="*/ 357081 h 4712124"/>
              <a:gd name="connsiteX18" fmla="*/ 839445 w 4090645"/>
              <a:gd name="connsiteY18" fmla="*/ 168396 h 4712124"/>
              <a:gd name="connsiteX19" fmla="*/ 433045 w 4090645"/>
              <a:gd name="connsiteY19" fmla="*/ 516738 h 4712124"/>
              <a:gd name="connsiteX20" fmla="*/ 1753845 w 4090645"/>
              <a:gd name="connsiteY20" fmla="*/ 661881 h 4712124"/>
              <a:gd name="connsiteX21" fmla="*/ 2010770 w 4090645"/>
              <a:gd name="connsiteY21" fmla="*/ 574578 h 4712124"/>
              <a:gd name="connsiteX22" fmla="*/ 127379 w 4090645"/>
              <a:gd name="connsiteY22" fmla="*/ 4109348 h 4712124"/>
              <a:gd name="connsiteX23" fmla="*/ 1246495 w 4090645"/>
              <a:gd name="connsiteY23" fmla="*/ 4191235 h 4712124"/>
              <a:gd name="connsiteX24" fmla="*/ 1797388 w 4090645"/>
              <a:gd name="connsiteY24" fmla="*/ 2857166 h 4712124"/>
              <a:gd name="connsiteX25" fmla="*/ 4061616 w 4090645"/>
              <a:gd name="connsiteY25" fmla="*/ 2857167 h 4712124"/>
              <a:gd name="connsiteX0" fmla="*/ 4089779 w 4104293"/>
              <a:gd name="connsiteY0" fmla="*/ 1837538 h 4618864"/>
              <a:gd name="connsiteX1" fmla="*/ 4089779 w 4104293"/>
              <a:gd name="connsiteY1" fmla="*/ 1837538 h 4618864"/>
              <a:gd name="connsiteX2" fmla="*/ 3959150 w 4104293"/>
              <a:gd name="connsiteY2" fmla="*/ 1823024 h 4618864"/>
              <a:gd name="connsiteX3" fmla="*/ 2783493 w 4104293"/>
              <a:gd name="connsiteY3" fmla="*/ 1823024 h 4618864"/>
              <a:gd name="connsiteX4" fmla="*/ 2783493 w 4104293"/>
              <a:gd name="connsiteY4" fmla="*/ 1155367 h 4618864"/>
              <a:gd name="connsiteX5" fmla="*/ 2435150 w 4104293"/>
              <a:gd name="connsiteY5" fmla="*/ 1111824 h 4618864"/>
              <a:gd name="connsiteX6" fmla="*/ 2449665 w 4104293"/>
              <a:gd name="connsiteY6" fmla="*/ 661881 h 4618864"/>
              <a:gd name="connsiteX7" fmla="*/ 2580293 w 4104293"/>
              <a:gd name="connsiteY7" fmla="*/ 502224 h 4618864"/>
              <a:gd name="connsiteX8" fmla="*/ 3843036 w 4104293"/>
              <a:gd name="connsiteY8" fmla="*/ 632853 h 4618864"/>
              <a:gd name="connsiteX9" fmla="*/ 4104293 w 4104293"/>
              <a:gd name="connsiteY9" fmla="*/ 371596 h 4618864"/>
              <a:gd name="connsiteX10" fmla="*/ 4017208 w 4104293"/>
              <a:gd name="connsiteY10" fmla="*/ 284510 h 4618864"/>
              <a:gd name="connsiteX11" fmla="*/ 3044750 w 4104293"/>
              <a:gd name="connsiteY11" fmla="*/ 153881 h 4618864"/>
              <a:gd name="connsiteX12" fmla="*/ 2899608 w 4104293"/>
              <a:gd name="connsiteY12" fmla="*/ 182910 h 4618864"/>
              <a:gd name="connsiteX13" fmla="*/ 2812522 w 4104293"/>
              <a:gd name="connsiteY13" fmla="*/ 211938 h 4618864"/>
              <a:gd name="connsiteX14" fmla="*/ 2522236 w 4104293"/>
              <a:gd name="connsiteY14" fmla="*/ 299024 h 4618864"/>
              <a:gd name="connsiteX15" fmla="*/ 2362579 w 4104293"/>
              <a:gd name="connsiteY15" fmla="*/ 153881 h 4618864"/>
              <a:gd name="connsiteX16" fmla="*/ 2115836 w 4104293"/>
              <a:gd name="connsiteY16" fmla="*/ 168396 h 4618864"/>
              <a:gd name="connsiteX17" fmla="*/ 2028750 w 4104293"/>
              <a:gd name="connsiteY17" fmla="*/ 357081 h 4618864"/>
              <a:gd name="connsiteX18" fmla="*/ 853093 w 4104293"/>
              <a:gd name="connsiteY18" fmla="*/ 168396 h 4618864"/>
              <a:gd name="connsiteX19" fmla="*/ 446693 w 4104293"/>
              <a:gd name="connsiteY19" fmla="*/ 516738 h 4618864"/>
              <a:gd name="connsiteX20" fmla="*/ 1767493 w 4104293"/>
              <a:gd name="connsiteY20" fmla="*/ 661881 h 4618864"/>
              <a:gd name="connsiteX21" fmla="*/ 2024418 w 4104293"/>
              <a:gd name="connsiteY21" fmla="*/ 574578 h 4618864"/>
              <a:gd name="connsiteX22" fmla="*/ 2106305 w 4104293"/>
              <a:gd name="connsiteY22" fmla="*/ 1134136 h 4618864"/>
              <a:gd name="connsiteX23" fmla="*/ 141027 w 4104293"/>
              <a:gd name="connsiteY23" fmla="*/ 4109348 h 4618864"/>
              <a:gd name="connsiteX24" fmla="*/ 1260143 w 4104293"/>
              <a:gd name="connsiteY24" fmla="*/ 4191235 h 4618864"/>
              <a:gd name="connsiteX25" fmla="*/ 1811036 w 4104293"/>
              <a:gd name="connsiteY25" fmla="*/ 2857166 h 4618864"/>
              <a:gd name="connsiteX26" fmla="*/ 4075264 w 4104293"/>
              <a:gd name="connsiteY26" fmla="*/ 2857167 h 4618864"/>
              <a:gd name="connsiteX0" fmla="*/ 4042012 w 4056526"/>
              <a:gd name="connsiteY0" fmla="*/ 1837538 h 4612041"/>
              <a:gd name="connsiteX1" fmla="*/ 4042012 w 4056526"/>
              <a:gd name="connsiteY1" fmla="*/ 1837538 h 4612041"/>
              <a:gd name="connsiteX2" fmla="*/ 3911383 w 4056526"/>
              <a:gd name="connsiteY2" fmla="*/ 1823024 h 4612041"/>
              <a:gd name="connsiteX3" fmla="*/ 2735726 w 4056526"/>
              <a:gd name="connsiteY3" fmla="*/ 1823024 h 4612041"/>
              <a:gd name="connsiteX4" fmla="*/ 2735726 w 4056526"/>
              <a:gd name="connsiteY4" fmla="*/ 1155367 h 4612041"/>
              <a:gd name="connsiteX5" fmla="*/ 2387383 w 4056526"/>
              <a:gd name="connsiteY5" fmla="*/ 1111824 h 4612041"/>
              <a:gd name="connsiteX6" fmla="*/ 2401898 w 4056526"/>
              <a:gd name="connsiteY6" fmla="*/ 661881 h 4612041"/>
              <a:gd name="connsiteX7" fmla="*/ 2532526 w 4056526"/>
              <a:gd name="connsiteY7" fmla="*/ 502224 h 4612041"/>
              <a:gd name="connsiteX8" fmla="*/ 3795269 w 4056526"/>
              <a:gd name="connsiteY8" fmla="*/ 632853 h 4612041"/>
              <a:gd name="connsiteX9" fmla="*/ 4056526 w 4056526"/>
              <a:gd name="connsiteY9" fmla="*/ 371596 h 4612041"/>
              <a:gd name="connsiteX10" fmla="*/ 3969441 w 4056526"/>
              <a:gd name="connsiteY10" fmla="*/ 284510 h 4612041"/>
              <a:gd name="connsiteX11" fmla="*/ 2996983 w 4056526"/>
              <a:gd name="connsiteY11" fmla="*/ 153881 h 4612041"/>
              <a:gd name="connsiteX12" fmla="*/ 2851841 w 4056526"/>
              <a:gd name="connsiteY12" fmla="*/ 182910 h 4612041"/>
              <a:gd name="connsiteX13" fmla="*/ 2764755 w 4056526"/>
              <a:gd name="connsiteY13" fmla="*/ 211938 h 4612041"/>
              <a:gd name="connsiteX14" fmla="*/ 2474469 w 4056526"/>
              <a:gd name="connsiteY14" fmla="*/ 299024 h 4612041"/>
              <a:gd name="connsiteX15" fmla="*/ 2314812 w 4056526"/>
              <a:gd name="connsiteY15" fmla="*/ 153881 h 4612041"/>
              <a:gd name="connsiteX16" fmla="*/ 2068069 w 4056526"/>
              <a:gd name="connsiteY16" fmla="*/ 168396 h 4612041"/>
              <a:gd name="connsiteX17" fmla="*/ 1980983 w 4056526"/>
              <a:gd name="connsiteY17" fmla="*/ 357081 h 4612041"/>
              <a:gd name="connsiteX18" fmla="*/ 805326 w 4056526"/>
              <a:gd name="connsiteY18" fmla="*/ 168396 h 4612041"/>
              <a:gd name="connsiteX19" fmla="*/ 398926 w 4056526"/>
              <a:gd name="connsiteY19" fmla="*/ 516738 h 4612041"/>
              <a:gd name="connsiteX20" fmla="*/ 1719726 w 4056526"/>
              <a:gd name="connsiteY20" fmla="*/ 661881 h 4612041"/>
              <a:gd name="connsiteX21" fmla="*/ 1976651 w 4056526"/>
              <a:gd name="connsiteY21" fmla="*/ 574578 h 4612041"/>
              <a:gd name="connsiteX22" fmla="*/ 2058538 w 4056526"/>
              <a:gd name="connsiteY22" fmla="*/ 1134136 h 4612041"/>
              <a:gd name="connsiteX23" fmla="*/ 1771935 w 4056526"/>
              <a:gd name="connsiteY23" fmla="*/ 1175079 h 4612041"/>
              <a:gd name="connsiteX24" fmla="*/ 93260 w 4056526"/>
              <a:gd name="connsiteY24" fmla="*/ 4109348 h 4612041"/>
              <a:gd name="connsiteX25" fmla="*/ 1212376 w 4056526"/>
              <a:gd name="connsiteY25" fmla="*/ 4191235 h 4612041"/>
              <a:gd name="connsiteX26" fmla="*/ 1763269 w 4056526"/>
              <a:gd name="connsiteY26" fmla="*/ 2857166 h 4612041"/>
              <a:gd name="connsiteX27" fmla="*/ 4027497 w 4056526"/>
              <a:gd name="connsiteY27" fmla="*/ 2857167 h 4612041"/>
              <a:gd name="connsiteX0" fmla="*/ 4035188 w 4049702"/>
              <a:gd name="connsiteY0" fmla="*/ 1837538 h 4507408"/>
              <a:gd name="connsiteX1" fmla="*/ 4035188 w 4049702"/>
              <a:gd name="connsiteY1" fmla="*/ 1837538 h 4507408"/>
              <a:gd name="connsiteX2" fmla="*/ 3904559 w 4049702"/>
              <a:gd name="connsiteY2" fmla="*/ 1823024 h 4507408"/>
              <a:gd name="connsiteX3" fmla="*/ 2728902 w 4049702"/>
              <a:gd name="connsiteY3" fmla="*/ 1823024 h 4507408"/>
              <a:gd name="connsiteX4" fmla="*/ 2728902 w 4049702"/>
              <a:gd name="connsiteY4" fmla="*/ 1155367 h 4507408"/>
              <a:gd name="connsiteX5" fmla="*/ 2380559 w 4049702"/>
              <a:gd name="connsiteY5" fmla="*/ 1111824 h 4507408"/>
              <a:gd name="connsiteX6" fmla="*/ 2395074 w 4049702"/>
              <a:gd name="connsiteY6" fmla="*/ 661881 h 4507408"/>
              <a:gd name="connsiteX7" fmla="*/ 2525702 w 4049702"/>
              <a:gd name="connsiteY7" fmla="*/ 502224 h 4507408"/>
              <a:gd name="connsiteX8" fmla="*/ 3788445 w 4049702"/>
              <a:gd name="connsiteY8" fmla="*/ 632853 h 4507408"/>
              <a:gd name="connsiteX9" fmla="*/ 4049702 w 4049702"/>
              <a:gd name="connsiteY9" fmla="*/ 371596 h 4507408"/>
              <a:gd name="connsiteX10" fmla="*/ 3962617 w 4049702"/>
              <a:gd name="connsiteY10" fmla="*/ 284510 h 4507408"/>
              <a:gd name="connsiteX11" fmla="*/ 2990159 w 4049702"/>
              <a:gd name="connsiteY11" fmla="*/ 153881 h 4507408"/>
              <a:gd name="connsiteX12" fmla="*/ 2845017 w 4049702"/>
              <a:gd name="connsiteY12" fmla="*/ 182910 h 4507408"/>
              <a:gd name="connsiteX13" fmla="*/ 2757931 w 4049702"/>
              <a:gd name="connsiteY13" fmla="*/ 211938 h 4507408"/>
              <a:gd name="connsiteX14" fmla="*/ 2467645 w 4049702"/>
              <a:gd name="connsiteY14" fmla="*/ 299024 h 4507408"/>
              <a:gd name="connsiteX15" fmla="*/ 2307988 w 4049702"/>
              <a:gd name="connsiteY15" fmla="*/ 153881 h 4507408"/>
              <a:gd name="connsiteX16" fmla="*/ 2061245 w 4049702"/>
              <a:gd name="connsiteY16" fmla="*/ 168396 h 4507408"/>
              <a:gd name="connsiteX17" fmla="*/ 1974159 w 4049702"/>
              <a:gd name="connsiteY17" fmla="*/ 357081 h 4507408"/>
              <a:gd name="connsiteX18" fmla="*/ 798502 w 4049702"/>
              <a:gd name="connsiteY18" fmla="*/ 168396 h 4507408"/>
              <a:gd name="connsiteX19" fmla="*/ 392102 w 4049702"/>
              <a:gd name="connsiteY19" fmla="*/ 516738 h 4507408"/>
              <a:gd name="connsiteX20" fmla="*/ 1712902 w 4049702"/>
              <a:gd name="connsiteY20" fmla="*/ 661881 h 4507408"/>
              <a:gd name="connsiteX21" fmla="*/ 1969827 w 4049702"/>
              <a:gd name="connsiteY21" fmla="*/ 574578 h 4507408"/>
              <a:gd name="connsiteX22" fmla="*/ 2051714 w 4049702"/>
              <a:gd name="connsiteY22" fmla="*/ 1134136 h 4507408"/>
              <a:gd name="connsiteX23" fmla="*/ 1765111 w 4049702"/>
              <a:gd name="connsiteY23" fmla="*/ 1175079 h 4507408"/>
              <a:gd name="connsiteX24" fmla="*/ 1724167 w 4049702"/>
              <a:gd name="connsiteY24" fmla="*/ 1802877 h 4507408"/>
              <a:gd name="connsiteX25" fmla="*/ 86436 w 4049702"/>
              <a:gd name="connsiteY25" fmla="*/ 4109348 h 4507408"/>
              <a:gd name="connsiteX26" fmla="*/ 1205552 w 4049702"/>
              <a:gd name="connsiteY26" fmla="*/ 4191235 h 4507408"/>
              <a:gd name="connsiteX27" fmla="*/ 1756445 w 4049702"/>
              <a:gd name="connsiteY27" fmla="*/ 2857166 h 4507408"/>
              <a:gd name="connsiteX28" fmla="*/ 4020673 w 4049702"/>
              <a:gd name="connsiteY28" fmla="*/ 2857167 h 4507408"/>
              <a:gd name="connsiteX0" fmla="*/ 4035188 w 4049702"/>
              <a:gd name="connsiteY0" fmla="*/ 1837538 h 4507408"/>
              <a:gd name="connsiteX1" fmla="*/ 4035188 w 4049702"/>
              <a:gd name="connsiteY1" fmla="*/ 1837538 h 4507408"/>
              <a:gd name="connsiteX2" fmla="*/ 3904559 w 4049702"/>
              <a:gd name="connsiteY2" fmla="*/ 1823024 h 4507408"/>
              <a:gd name="connsiteX3" fmla="*/ 2728902 w 4049702"/>
              <a:gd name="connsiteY3" fmla="*/ 1823024 h 4507408"/>
              <a:gd name="connsiteX4" fmla="*/ 2728902 w 4049702"/>
              <a:gd name="connsiteY4" fmla="*/ 1155367 h 4507408"/>
              <a:gd name="connsiteX5" fmla="*/ 2380559 w 4049702"/>
              <a:gd name="connsiteY5" fmla="*/ 1111824 h 4507408"/>
              <a:gd name="connsiteX6" fmla="*/ 2395074 w 4049702"/>
              <a:gd name="connsiteY6" fmla="*/ 661881 h 4507408"/>
              <a:gd name="connsiteX7" fmla="*/ 2525702 w 4049702"/>
              <a:gd name="connsiteY7" fmla="*/ 502224 h 4507408"/>
              <a:gd name="connsiteX8" fmla="*/ 3788445 w 4049702"/>
              <a:gd name="connsiteY8" fmla="*/ 632853 h 4507408"/>
              <a:gd name="connsiteX9" fmla="*/ 4049702 w 4049702"/>
              <a:gd name="connsiteY9" fmla="*/ 371596 h 4507408"/>
              <a:gd name="connsiteX10" fmla="*/ 3962617 w 4049702"/>
              <a:gd name="connsiteY10" fmla="*/ 284510 h 4507408"/>
              <a:gd name="connsiteX11" fmla="*/ 2990159 w 4049702"/>
              <a:gd name="connsiteY11" fmla="*/ 153881 h 4507408"/>
              <a:gd name="connsiteX12" fmla="*/ 2845017 w 4049702"/>
              <a:gd name="connsiteY12" fmla="*/ 182910 h 4507408"/>
              <a:gd name="connsiteX13" fmla="*/ 2757931 w 4049702"/>
              <a:gd name="connsiteY13" fmla="*/ 211938 h 4507408"/>
              <a:gd name="connsiteX14" fmla="*/ 2467645 w 4049702"/>
              <a:gd name="connsiteY14" fmla="*/ 299024 h 4507408"/>
              <a:gd name="connsiteX15" fmla="*/ 2307988 w 4049702"/>
              <a:gd name="connsiteY15" fmla="*/ 153881 h 4507408"/>
              <a:gd name="connsiteX16" fmla="*/ 2061245 w 4049702"/>
              <a:gd name="connsiteY16" fmla="*/ 168396 h 4507408"/>
              <a:gd name="connsiteX17" fmla="*/ 1974159 w 4049702"/>
              <a:gd name="connsiteY17" fmla="*/ 357081 h 4507408"/>
              <a:gd name="connsiteX18" fmla="*/ 798502 w 4049702"/>
              <a:gd name="connsiteY18" fmla="*/ 168396 h 4507408"/>
              <a:gd name="connsiteX19" fmla="*/ 392102 w 4049702"/>
              <a:gd name="connsiteY19" fmla="*/ 516738 h 4507408"/>
              <a:gd name="connsiteX20" fmla="*/ 1712902 w 4049702"/>
              <a:gd name="connsiteY20" fmla="*/ 661881 h 4507408"/>
              <a:gd name="connsiteX21" fmla="*/ 1969827 w 4049702"/>
              <a:gd name="connsiteY21" fmla="*/ 574578 h 4507408"/>
              <a:gd name="connsiteX22" fmla="*/ 2051714 w 4049702"/>
              <a:gd name="connsiteY22" fmla="*/ 1134136 h 4507408"/>
              <a:gd name="connsiteX23" fmla="*/ 1765111 w 4049702"/>
              <a:gd name="connsiteY23" fmla="*/ 1175079 h 4507408"/>
              <a:gd name="connsiteX24" fmla="*/ 1724167 w 4049702"/>
              <a:gd name="connsiteY24" fmla="*/ 1802877 h 4507408"/>
              <a:gd name="connsiteX25" fmla="*/ 86436 w 4049702"/>
              <a:gd name="connsiteY25" fmla="*/ 4109348 h 4507408"/>
              <a:gd name="connsiteX26" fmla="*/ 1205552 w 4049702"/>
              <a:gd name="connsiteY26" fmla="*/ 4191235 h 4507408"/>
              <a:gd name="connsiteX27" fmla="*/ 1756445 w 4049702"/>
              <a:gd name="connsiteY27" fmla="*/ 2857166 h 4507408"/>
              <a:gd name="connsiteX28" fmla="*/ 4020673 w 4049702"/>
              <a:gd name="connsiteY28" fmla="*/ 2857167 h 4507408"/>
              <a:gd name="connsiteX0" fmla="*/ 4035188 w 4049702"/>
              <a:gd name="connsiteY0" fmla="*/ 1837538 h 4507408"/>
              <a:gd name="connsiteX1" fmla="*/ 4035188 w 4049702"/>
              <a:gd name="connsiteY1" fmla="*/ 1837538 h 4507408"/>
              <a:gd name="connsiteX2" fmla="*/ 3904559 w 4049702"/>
              <a:gd name="connsiteY2" fmla="*/ 1823024 h 4507408"/>
              <a:gd name="connsiteX3" fmla="*/ 2728902 w 4049702"/>
              <a:gd name="connsiteY3" fmla="*/ 1823024 h 4507408"/>
              <a:gd name="connsiteX4" fmla="*/ 2728902 w 4049702"/>
              <a:gd name="connsiteY4" fmla="*/ 1155367 h 4507408"/>
              <a:gd name="connsiteX5" fmla="*/ 2380559 w 4049702"/>
              <a:gd name="connsiteY5" fmla="*/ 1111824 h 4507408"/>
              <a:gd name="connsiteX6" fmla="*/ 2395074 w 4049702"/>
              <a:gd name="connsiteY6" fmla="*/ 661881 h 4507408"/>
              <a:gd name="connsiteX7" fmla="*/ 2525702 w 4049702"/>
              <a:gd name="connsiteY7" fmla="*/ 502224 h 4507408"/>
              <a:gd name="connsiteX8" fmla="*/ 3788445 w 4049702"/>
              <a:gd name="connsiteY8" fmla="*/ 632853 h 4507408"/>
              <a:gd name="connsiteX9" fmla="*/ 4049702 w 4049702"/>
              <a:gd name="connsiteY9" fmla="*/ 371596 h 4507408"/>
              <a:gd name="connsiteX10" fmla="*/ 3962617 w 4049702"/>
              <a:gd name="connsiteY10" fmla="*/ 284510 h 4507408"/>
              <a:gd name="connsiteX11" fmla="*/ 2990159 w 4049702"/>
              <a:gd name="connsiteY11" fmla="*/ 153881 h 4507408"/>
              <a:gd name="connsiteX12" fmla="*/ 2845017 w 4049702"/>
              <a:gd name="connsiteY12" fmla="*/ 182910 h 4507408"/>
              <a:gd name="connsiteX13" fmla="*/ 2757931 w 4049702"/>
              <a:gd name="connsiteY13" fmla="*/ 211938 h 4507408"/>
              <a:gd name="connsiteX14" fmla="*/ 2467645 w 4049702"/>
              <a:gd name="connsiteY14" fmla="*/ 299024 h 4507408"/>
              <a:gd name="connsiteX15" fmla="*/ 2307988 w 4049702"/>
              <a:gd name="connsiteY15" fmla="*/ 153881 h 4507408"/>
              <a:gd name="connsiteX16" fmla="*/ 2061245 w 4049702"/>
              <a:gd name="connsiteY16" fmla="*/ 168396 h 4507408"/>
              <a:gd name="connsiteX17" fmla="*/ 1974159 w 4049702"/>
              <a:gd name="connsiteY17" fmla="*/ 357081 h 4507408"/>
              <a:gd name="connsiteX18" fmla="*/ 798502 w 4049702"/>
              <a:gd name="connsiteY18" fmla="*/ 168396 h 4507408"/>
              <a:gd name="connsiteX19" fmla="*/ 392102 w 4049702"/>
              <a:gd name="connsiteY19" fmla="*/ 516738 h 4507408"/>
              <a:gd name="connsiteX20" fmla="*/ 1712902 w 4049702"/>
              <a:gd name="connsiteY20" fmla="*/ 661881 h 4507408"/>
              <a:gd name="connsiteX21" fmla="*/ 1969827 w 4049702"/>
              <a:gd name="connsiteY21" fmla="*/ 574578 h 4507408"/>
              <a:gd name="connsiteX22" fmla="*/ 2051714 w 4049702"/>
              <a:gd name="connsiteY22" fmla="*/ 1134136 h 4507408"/>
              <a:gd name="connsiteX23" fmla="*/ 1765111 w 4049702"/>
              <a:gd name="connsiteY23" fmla="*/ 1175079 h 4507408"/>
              <a:gd name="connsiteX24" fmla="*/ 1724167 w 4049702"/>
              <a:gd name="connsiteY24" fmla="*/ 1802877 h 4507408"/>
              <a:gd name="connsiteX25" fmla="*/ 86436 w 4049702"/>
              <a:gd name="connsiteY25" fmla="*/ 4109348 h 4507408"/>
              <a:gd name="connsiteX26" fmla="*/ 1205552 w 4049702"/>
              <a:gd name="connsiteY26" fmla="*/ 4191235 h 4507408"/>
              <a:gd name="connsiteX27" fmla="*/ 1756445 w 4049702"/>
              <a:gd name="connsiteY27" fmla="*/ 2857166 h 4507408"/>
              <a:gd name="connsiteX28" fmla="*/ 4020673 w 4049702"/>
              <a:gd name="connsiteY28" fmla="*/ 2857167 h 4507408"/>
              <a:gd name="connsiteX0" fmla="*/ 4035188 w 4049702"/>
              <a:gd name="connsiteY0" fmla="*/ 1837538 h 4507408"/>
              <a:gd name="connsiteX1" fmla="*/ 4035188 w 4049702"/>
              <a:gd name="connsiteY1" fmla="*/ 1837538 h 4507408"/>
              <a:gd name="connsiteX2" fmla="*/ 3904559 w 4049702"/>
              <a:gd name="connsiteY2" fmla="*/ 1823024 h 4507408"/>
              <a:gd name="connsiteX3" fmla="*/ 2728902 w 4049702"/>
              <a:gd name="connsiteY3" fmla="*/ 1823024 h 4507408"/>
              <a:gd name="connsiteX4" fmla="*/ 2728902 w 4049702"/>
              <a:gd name="connsiteY4" fmla="*/ 1155367 h 4507408"/>
              <a:gd name="connsiteX5" fmla="*/ 2380559 w 4049702"/>
              <a:gd name="connsiteY5" fmla="*/ 1111824 h 4507408"/>
              <a:gd name="connsiteX6" fmla="*/ 2395074 w 4049702"/>
              <a:gd name="connsiteY6" fmla="*/ 661881 h 4507408"/>
              <a:gd name="connsiteX7" fmla="*/ 2525702 w 4049702"/>
              <a:gd name="connsiteY7" fmla="*/ 502224 h 4507408"/>
              <a:gd name="connsiteX8" fmla="*/ 3788445 w 4049702"/>
              <a:gd name="connsiteY8" fmla="*/ 632853 h 4507408"/>
              <a:gd name="connsiteX9" fmla="*/ 4049702 w 4049702"/>
              <a:gd name="connsiteY9" fmla="*/ 371596 h 4507408"/>
              <a:gd name="connsiteX10" fmla="*/ 3962617 w 4049702"/>
              <a:gd name="connsiteY10" fmla="*/ 284510 h 4507408"/>
              <a:gd name="connsiteX11" fmla="*/ 2990159 w 4049702"/>
              <a:gd name="connsiteY11" fmla="*/ 153881 h 4507408"/>
              <a:gd name="connsiteX12" fmla="*/ 2845017 w 4049702"/>
              <a:gd name="connsiteY12" fmla="*/ 182910 h 4507408"/>
              <a:gd name="connsiteX13" fmla="*/ 2757931 w 4049702"/>
              <a:gd name="connsiteY13" fmla="*/ 211938 h 4507408"/>
              <a:gd name="connsiteX14" fmla="*/ 2467645 w 4049702"/>
              <a:gd name="connsiteY14" fmla="*/ 299024 h 4507408"/>
              <a:gd name="connsiteX15" fmla="*/ 2061245 w 4049702"/>
              <a:gd name="connsiteY15" fmla="*/ 168396 h 4507408"/>
              <a:gd name="connsiteX16" fmla="*/ 1974159 w 4049702"/>
              <a:gd name="connsiteY16" fmla="*/ 357081 h 4507408"/>
              <a:gd name="connsiteX17" fmla="*/ 798502 w 4049702"/>
              <a:gd name="connsiteY17" fmla="*/ 168396 h 4507408"/>
              <a:gd name="connsiteX18" fmla="*/ 392102 w 4049702"/>
              <a:gd name="connsiteY18" fmla="*/ 516738 h 4507408"/>
              <a:gd name="connsiteX19" fmla="*/ 1712902 w 4049702"/>
              <a:gd name="connsiteY19" fmla="*/ 661881 h 4507408"/>
              <a:gd name="connsiteX20" fmla="*/ 1969827 w 4049702"/>
              <a:gd name="connsiteY20" fmla="*/ 574578 h 4507408"/>
              <a:gd name="connsiteX21" fmla="*/ 2051714 w 4049702"/>
              <a:gd name="connsiteY21" fmla="*/ 1134136 h 4507408"/>
              <a:gd name="connsiteX22" fmla="*/ 1765111 w 4049702"/>
              <a:gd name="connsiteY22" fmla="*/ 1175079 h 4507408"/>
              <a:gd name="connsiteX23" fmla="*/ 1724167 w 4049702"/>
              <a:gd name="connsiteY23" fmla="*/ 1802877 h 4507408"/>
              <a:gd name="connsiteX24" fmla="*/ 86436 w 4049702"/>
              <a:gd name="connsiteY24" fmla="*/ 4109348 h 4507408"/>
              <a:gd name="connsiteX25" fmla="*/ 1205552 w 4049702"/>
              <a:gd name="connsiteY25" fmla="*/ 4191235 h 4507408"/>
              <a:gd name="connsiteX26" fmla="*/ 1756445 w 4049702"/>
              <a:gd name="connsiteY26" fmla="*/ 2857166 h 4507408"/>
              <a:gd name="connsiteX27" fmla="*/ 4020673 w 4049702"/>
              <a:gd name="connsiteY27" fmla="*/ 2857167 h 4507408"/>
              <a:gd name="connsiteX0" fmla="*/ 4035188 w 4049702"/>
              <a:gd name="connsiteY0" fmla="*/ 1837538 h 4507408"/>
              <a:gd name="connsiteX1" fmla="*/ 4035188 w 4049702"/>
              <a:gd name="connsiteY1" fmla="*/ 1837538 h 4507408"/>
              <a:gd name="connsiteX2" fmla="*/ 3904559 w 4049702"/>
              <a:gd name="connsiteY2" fmla="*/ 1823024 h 4507408"/>
              <a:gd name="connsiteX3" fmla="*/ 2728902 w 4049702"/>
              <a:gd name="connsiteY3" fmla="*/ 1823024 h 4507408"/>
              <a:gd name="connsiteX4" fmla="*/ 2728902 w 4049702"/>
              <a:gd name="connsiteY4" fmla="*/ 1155367 h 4507408"/>
              <a:gd name="connsiteX5" fmla="*/ 2380559 w 4049702"/>
              <a:gd name="connsiteY5" fmla="*/ 1111824 h 4507408"/>
              <a:gd name="connsiteX6" fmla="*/ 2395074 w 4049702"/>
              <a:gd name="connsiteY6" fmla="*/ 661881 h 4507408"/>
              <a:gd name="connsiteX7" fmla="*/ 2525702 w 4049702"/>
              <a:gd name="connsiteY7" fmla="*/ 502224 h 4507408"/>
              <a:gd name="connsiteX8" fmla="*/ 3788445 w 4049702"/>
              <a:gd name="connsiteY8" fmla="*/ 632853 h 4507408"/>
              <a:gd name="connsiteX9" fmla="*/ 4049702 w 4049702"/>
              <a:gd name="connsiteY9" fmla="*/ 371596 h 4507408"/>
              <a:gd name="connsiteX10" fmla="*/ 3962617 w 4049702"/>
              <a:gd name="connsiteY10" fmla="*/ 284510 h 4507408"/>
              <a:gd name="connsiteX11" fmla="*/ 2990159 w 4049702"/>
              <a:gd name="connsiteY11" fmla="*/ 153881 h 4507408"/>
              <a:gd name="connsiteX12" fmla="*/ 2845017 w 4049702"/>
              <a:gd name="connsiteY12" fmla="*/ 182910 h 4507408"/>
              <a:gd name="connsiteX13" fmla="*/ 2757931 w 4049702"/>
              <a:gd name="connsiteY13" fmla="*/ 211938 h 4507408"/>
              <a:gd name="connsiteX14" fmla="*/ 2467645 w 4049702"/>
              <a:gd name="connsiteY14" fmla="*/ 299024 h 4507408"/>
              <a:gd name="connsiteX15" fmla="*/ 1974159 w 4049702"/>
              <a:gd name="connsiteY15" fmla="*/ 357081 h 4507408"/>
              <a:gd name="connsiteX16" fmla="*/ 798502 w 4049702"/>
              <a:gd name="connsiteY16" fmla="*/ 168396 h 4507408"/>
              <a:gd name="connsiteX17" fmla="*/ 392102 w 4049702"/>
              <a:gd name="connsiteY17" fmla="*/ 516738 h 4507408"/>
              <a:gd name="connsiteX18" fmla="*/ 1712902 w 4049702"/>
              <a:gd name="connsiteY18" fmla="*/ 661881 h 4507408"/>
              <a:gd name="connsiteX19" fmla="*/ 1969827 w 4049702"/>
              <a:gd name="connsiteY19" fmla="*/ 574578 h 4507408"/>
              <a:gd name="connsiteX20" fmla="*/ 2051714 w 4049702"/>
              <a:gd name="connsiteY20" fmla="*/ 1134136 h 4507408"/>
              <a:gd name="connsiteX21" fmla="*/ 1765111 w 4049702"/>
              <a:gd name="connsiteY21" fmla="*/ 1175079 h 4507408"/>
              <a:gd name="connsiteX22" fmla="*/ 1724167 w 4049702"/>
              <a:gd name="connsiteY22" fmla="*/ 1802877 h 4507408"/>
              <a:gd name="connsiteX23" fmla="*/ 86436 w 4049702"/>
              <a:gd name="connsiteY23" fmla="*/ 4109348 h 4507408"/>
              <a:gd name="connsiteX24" fmla="*/ 1205552 w 4049702"/>
              <a:gd name="connsiteY24" fmla="*/ 4191235 h 4507408"/>
              <a:gd name="connsiteX25" fmla="*/ 1756445 w 4049702"/>
              <a:gd name="connsiteY25" fmla="*/ 2857166 h 4507408"/>
              <a:gd name="connsiteX26" fmla="*/ 4020673 w 4049702"/>
              <a:gd name="connsiteY26" fmla="*/ 2857167 h 4507408"/>
              <a:gd name="connsiteX0" fmla="*/ 4035188 w 4049702"/>
              <a:gd name="connsiteY0" fmla="*/ 1837538 h 4507408"/>
              <a:gd name="connsiteX1" fmla="*/ 4035188 w 4049702"/>
              <a:gd name="connsiteY1" fmla="*/ 1837538 h 4507408"/>
              <a:gd name="connsiteX2" fmla="*/ 3904559 w 4049702"/>
              <a:gd name="connsiteY2" fmla="*/ 1823024 h 4507408"/>
              <a:gd name="connsiteX3" fmla="*/ 2728902 w 4049702"/>
              <a:gd name="connsiteY3" fmla="*/ 1823024 h 4507408"/>
              <a:gd name="connsiteX4" fmla="*/ 2728902 w 4049702"/>
              <a:gd name="connsiteY4" fmla="*/ 1155367 h 4507408"/>
              <a:gd name="connsiteX5" fmla="*/ 2380559 w 4049702"/>
              <a:gd name="connsiteY5" fmla="*/ 1111824 h 4507408"/>
              <a:gd name="connsiteX6" fmla="*/ 2395074 w 4049702"/>
              <a:gd name="connsiteY6" fmla="*/ 661881 h 4507408"/>
              <a:gd name="connsiteX7" fmla="*/ 2525702 w 4049702"/>
              <a:gd name="connsiteY7" fmla="*/ 502224 h 4507408"/>
              <a:gd name="connsiteX8" fmla="*/ 3788445 w 4049702"/>
              <a:gd name="connsiteY8" fmla="*/ 632853 h 4507408"/>
              <a:gd name="connsiteX9" fmla="*/ 4049702 w 4049702"/>
              <a:gd name="connsiteY9" fmla="*/ 371596 h 4507408"/>
              <a:gd name="connsiteX10" fmla="*/ 3962617 w 4049702"/>
              <a:gd name="connsiteY10" fmla="*/ 284510 h 4507408"/>
              <a:gd name="connsiteX11" fmla="*/ 2990159 w 4049702"/>
              <a:gd name="connsiteY11" fmla="*/ 153881 h 4507408"/>
              <a:gd name="connsiteX12" fmla="*/ 2845017 w 4049702"/>
              <a:gd name="connsiteY12" fmla="*/ 182910 h 4507408"/>
              <a:gd name="connsiteX13" fmla="*/ 2757931 w 4049702"/>
              <a:gd name="connsiteY13" fmla="*/ 211938 h 4507408"/>
              <a:gd name="connsiteX14" fmla="*/ 2467645 w 4049702"/>
              <a:gd name="connsiteY14" fmla="*/ 299024 h 4507408"/>
              <a:gd name="connsiteX15" fmla="*/ 1978921 w 4049702"/>
              <a:gd name="connsiteY15" fmla="*/ 278499 h 4507408"/>
              <a:gd name="connsiteX16" fmla="*/ 798502 w 4049702"/>
              <a:gd name="connsiteY16" fmla="*/ 168396 h 4507408"/>
              <a:gd name="connsiteX17" fmla="*/ 392102 w 4049702"/>
              <a:gd name="connsiteY17" fmla="*/ 516738 h 4507408"/>
              <a:gd name="connsiteX18" fmla="*/ 1712902 w 4049702"/>
              <a:gd name="connsiteY18" fmla="*/ 661881 h 4507408"/>
              <a:gd name="connsiteX19" fmla="*/ 1969827 w 4049702"/>
              <a:gd name="connsiteY19" fmla="*/ 574578 h 4507408"/>
              <a:gd name="connsiteX20" fmla="*/ 2051714 w 4049702"/>
              <a:gd name="connsiteY20" fmla="*/ 1134136 h 4507408"/>
              <a:gd name="connsiteX21" fmla="*/ 1765111 w 4049702"/>
              <a:gd name="connsiteY21" fmla="*/ 1175079 h 4507408"/>
              <a:gd name="connsiteX22" fmla="*/ 1724167 w 4049702"/>
              <a:gd name="connsiteY22" fmla="*/ 1802877 h 4507408"/>
              <a:gd name="connsiteX23" fmla="*/ 86436 w 4049702"/>
              <a:gd name="connsiteY23" fmla="*/ 4109348 h 4507408"/>
              <a:gd name="connsiteX24" fmla="*/ 1205552 w 4049702"/>
              <a:gd name="connsiteY24" fmla="*/ 4191235 h 4507408"/>
              <a:gd name="connsiteX25" fmla="*/ 1756445 w 4049702"/>
              <a:gd name="connsiteY25" fmla="*/ 2857166 h 4507408"/>
              <a:gd name="connsiteX26" fmla="*/ 4020673 w 4049702"/>
              <a:gd name="connsiteY26" fmla="*/ 2857167 h 4507408"/>
              <a:gd name="connsiteX0" fmla="*/ 4035188 w 4049702"/>
              <a:gd name="connsiteY0" fmla="*/ 1837538 h 4507408"/>
              <a:gd name="connsiteX1" fmla="*/ 4035188 w 4049702"/>
              <a:gd name="connsiteY1" fmla="*/ 1837538 h 4507408"/>
              <a:gd name="connsiteX2" fmla="*/ 3904559 w 4049702"/>
              <a:gd name="connsiteY2" fmla="*/ 1823024 h 4507408"/>
              <a:gd name="connsiteX3" fmla="*/ 2728902 w 4049702"/>
              <a:gd name="connsiteY3" fmla="*/ 1823024 h 4507408"/>
              <a:gd name="connsiteX4" fmla="*/ 2728902 w 4049702"/>
              <a:gd name="connsiteY4" fmla="*/ 1155367 h 4507408"/>
              <a:gd name="connsiteX5" fmla="*/ 2380559 w 4049702"/>
              <a:gd name="connsiteY5" fmla="*/ 1111824 h 4507408"/>
              <a:gd name="connsiteX6" fmla="*/ 2395074 w 4049702"/>
              <a:gd name="connsiteY6" fmla="*/ 661881 h 4507408"/>
              <a:gd name="connsiteX7" fmla="*/ 2525702 w 4049702"/>
              <a:gd name="connsiteY7" fmla="*/ 502224 h 4507408"/>
              <a:gd name="connsiteX8" fmla="*/ 3788445 w 4049702"/>
              <a:gd name="connsiteY8" fmla="*/ 632853 h 4507408"/>
              <a:gd name="connsiteX9" fmla="*/ 4049702 w 4049702"/>
              <a:gd name="connsiteY9" fmla="*/ 371596 h 4507408"/>
              <a:gd name="connsiteX10" fmla="*/ 3962617 w 4049702"/>
              <a:gd name="connsiteY10" fmla="*/ 284510 h 4507408"/>
              <a:gd name="connsiteX11" fmla="*/ 2990159 w 4049702"/>
              <a:gd name="connsiteY11" fmla="*/ 153881 h 4507408"/>
              <a:gd name="connsiteX12" fmla="*/ 2845017 w 4049702"/>
              <a:gd name="connsiteY12" fmla="*/ 182910 h 4507408"/>
              <a:gd name="connsiteX13" fmla="*/ 2757931 w 4049702"/>
              <a:gd name="connsiteY13" fmla="*/ 211938 h 4507408"/>
              <a:gd name="connsiteX14" fmla="*/ 2489076 w 4049702"/>
              <a:gd name="connsiteY14" fmla="*/ 277593 h 4507408"/>
              <a:gd name="connsiteX15" fmla="*/ 1978921 w 4049702"/>
              <a:gd name="connsiteY15" fmla="*/ 278499 h 4507408"/>
              <a:gd name="connsiteX16" fmla="*/ 798502 w 4049702"/>
              <a:gd name="connsiteY16" fmla="*/ 168396 h 4507408"/>
              <a:gd name="connsiteX17" fmla="*/ 392102 w 4049702"/>
              <a:gd name="connsiteY17" fmla="*/ 516738 h 4507408"/>
              <a:gd name="connsiteX18" fmla="*/ 1712902 w 4049702"/>
              <a:gd name="connsiteY18" fmla="*/ 661881 h 4507408"/>
              <a:gd name="connsiteX19" fmla="*/ 1969827 w 4049702"/>
              <a:gd name="connsiteY19" fmla="*/ 574578 h 4507408"/>
              <a:gd name="connsiteX20" fmla="*/ 2051714 w 4049702"/>
              <a:gd name="connsiteY20" fmla="*/ 1134136 h 4507408"/>
              <a:gd name="connsiteX21" fmla="*/ 1765111 w 4049702"/>
              <a:gd name="connsiteY21" fmla="*/ 1175079 h 4507408"/>
              <a:gd name="connsiteX22" fmla="*/ 1724167 w 4049702"/>
              <a:gd name="connsiteY22" fmla="*/ 1802877 h 4507408"/>
              <a:gd name="connsiteX23" fmla="*/ 86436 w 4049702"/>
              <a:gd name="connsiteY23" fmla="*/ 4109348 h 4507408"/>
              <a:gd name="connsiteX24" fmla="*/ 1205552 w 4049702"/>
              <a:gd name="connsiteY24" fmla="*/ 4191235 h 4507408"/>
              <a:gd name="connsiteX25" fmla="*/ 1756445 w 4049702"/>
              <a:gd name="connsiteY25" fmla="*/ 2857166 h 4507408"/>
              <a:gd name="connsiteX26" fmla="*/ 4020673 w 4049702"/>
              <a:gd name="connsiteY26" fmla="*/ 2857167 h 4507408"/>
              <a:gd name="connsiteX0" fmla="*/ 4035188 w 4049702"/>
              <a:gd name="connsiteY0" fmla="*/ 1837538 h 4507408"/>
              <a:gd name="connsiteX1" fmla="*/ 4035188 w 4049702"/>
              <a:gd name="connsiteY1" fmla="*/ 1837538 h 4507408"/>
              <a:gd name="connsiteX2" fmla="*/ 3904559 w 4049702"/>
              <a:gd name="connsiteY2" fmla="*/ 1823024 h 4507408"/>
              <a:gd name="connsiteX3" fmla="*/ 2728902 w 4049702"/>
              <a:gd name="connsiteY3" fmla="*/ 1823024 h 4507408"/>
              <a:gd name="connsiteX4" fmla="*/ 2728902 w 4049702"/>
              <a:gd name="connsiteY4" fmla="*/ 1155367 h 4507408"/>
              <a:gd name="connsiteX5" fmla="*/ 2380559 w 4049702"/>
              <a:gd name="connsiteY5" fmla="*/ 1111824 h 4507408"/>
              <a:gd name="connsiteX6" fmla="*/ 2395074 w 4049702"/>
              <a:gd name="connsiteY6" fmla="*/ 661881 h 4507408"/>
              <a:gd name="connsiteX7" fmla="*/ 2525702 w 4049702"/>
              <a:gd name="connsiteY7" fmla="*/ 502224 h 4507408"/>
              <a:gd name="connsiteX8" fmla="*/ 3788445 w 4049702"/>
              <a:gd name="connsiteY8" fmla="*/ 632853 h 4507408"/>
              <a:gd name="connsiteX9" fmla="*/ 4049702 w 4049702"/>
              <a:gd name="connsiteY9" fmla="*/ 371596 h 4507408"/>
              <a:gd name="connsiteX10" fmla="*/ 3962617 w 4049702"/>
              <a:gd name="connsiteY10" fmla="*/ 284510 h 4507408"/>
              <a:gd name="connsiteX11" fmla="*/ 2990159 w 4049702"/>
              <a:gd name="connsiteY11" fmla="*/ 153881 h 4507408"/>
              <a:gd name="connsiteX12" fmla="*/ 2757931 w 4049702"/>
              <a:gd name="connsiteY12" fmla="*/ 211938 h 4507408"/>
              <a:gd name="connsiteX13" fmla="*/ 2489076 w 4049702"/>
              <a:gd name="connsiteY13" fmla="*/ 277593 h 4507408"/>
              <a:gd name="connsiteX14" fmla="*/ 1978921 w 4049702"/>
              <a:gd name="connsiteY14" fmla="*/ 278499 h 4507408"/>
              <a:gd name="connsiteX15" fmla="*/ 798502 w 4049702"/>
              <a:gd name="connsiteY15" fmla="*/ 168396 h 4507408"/>
              <a:gd name="connsiteX16" fmla="*/ 392102 w 4049702"/>
              <a:gd name="connsiteY16" fmla="*/ 516738 h 4507408"/>
              <a:gd name="connsiteX17" fmla="*/ 1712902 w 4049702"/>
              <a:gd name="connsiteY17" fmla="*/ 661881 h 4507408"/>
              <a:gd name="connsiteX18" fmla="*/ 1969827 w 4049702"/>
              <a:gd name="connsiteY18" fmla="*/ 574578 h 4507408"/>
              <a:gd name="connsiteX19" fmla="*/ 2051714 w 4049702"/>
              <a:gd name="connsiteY19" fmla="*/ 1134136 h 4507408"/>
              <a:gd name="connsiteX20" fmla="*/ 1765111 w 4049702"/>
              <a:gd name="connsiteY20" fmla="*/ 1175079 h 4507408"/>
              <a:gd name="connsiteX21" fmla="*/ 1724167 w 4049702"/>
              <a:gd name="connsiteY21" fmla="*/ 1802877 h 4507408"/>
              <a:gd name="connsiteX22" fmla="*/ 86436 w 4049702"/>
              <a:gd name="connsiteY22" fmla="*/ 4109348 h 4507408"/>
              <a:gd name="connsiteX23" fmla="*/ 1205552 w 4049702"/>
              <a:gd name="connsiteY23" fmla="*/ 4191235 h 4507408"/>
              <a:gd name="connsiteX24" fmla="*/ 1756445 w 4049702"/>
              <a:gd name="connsiteY24" fmla="*/ 2857166 h 4507408"/>
              <a:gd name="connsiteX25" fmla="*/ 4020673 w 4049702"/>
              <a:gd name="connsiteY25" fmla="*/ 2857167 h 4507408"/>
              <a:gd name="connsiteX0" fmla="*/ 4035188 w 4049702"/>
              <a:gd name="connsiteY0" fmla="*/ 1837538 h 4507408"/>
              <a:gd name="connsiteX1" fmla="*/ 4035188 w 4049702"/>
              <a:gd name="connsiteY1" fmla="*/ 1837538 h 4507408"/>
              <a:gd name="connsiteX2" fmla="*/ 3904559 w 4049702"/>
              <a:gd name="connsiteY2" fmla="*/ 1823024 h 4507408"/>
              <a:gd name="connsiteX3" fmla="*/ 2728902 w 4049702"/>
              <a:gd name="connsiteY3" fmla="*/ 1823024 h 4507408"/>
              <a:gd name="connsiteX4" fmla="*/ 2728902 w 4049702"/>
              <a:gd name="connsiteY4" fmla="*/ 1155367 h 4507408"/>
              <a:gd name="connsiteX5" fmla="*/ 2380559 w 4049702"/>
              <a:gd name="connsiteY5" fmla="*/ 1111824 h 4507408"/>
              <a:gd name="connsiteX6" fmla="*/ 2395074 w 4049702"/>
              <a:gd name="connsiteY6" fmla="*/ 661881 h 4507408"/>
              <a:gd name="connsiteX7" fmla="*/ 2525702 w 4049702"/>
              <a:gd name="connsiteY7" fmla="*/ 502224 h 4507408"/>
              <a:gd name="connsiteX8" fmla="*/ 3788445 w 4049702"/>
              <a:gd name="connsiteY8" fmla="*/ 632853 h 4507408"/>
              <a:gd name="connsiteX9" fmla="*/ 4049702 w 4049702"/>
              <a:gd name="connsiteY9" fmla="*/ 371596 h 4507408"/>
              <a:gd name="connsiteX10" fmla="*/ 3962617 w 4049702"/>
              <a:gd name="connsiteY10" fmla="*/ 284510 h 4507408"/>
              <a:gd name="connsiteX11" fmla="*/ 2990159 w 4049702"/>
              <a:gd name="connsiteY11" fmla="*/ 153881 h 4507408"/>
              <a:gd name="connsiteX12" fmla="*/ 2489076 w 4049702"/>
              <a:gd name="connsiteY12" fmla="*/ 277593 h 4507408"/>
              <a:gd name="connsiteX13" fmla="*/ 1978921 w 4049702"/>
              <a:gd name="connsiteY13" fmla="*/ 278499 h 4507408"/>
              <a:gd name="connsiteX14" fmla="*/ 798502 w 4049702"/>
              <a:gd name="connsiteY14" fmla="*/ 168396 h 4507408"/>
              <a:gd name="connsiteX15" fmla="*/ 392102 w 4049702"/>
              <a:gd name="connsiteY15" fmla="*/ 516738 h 4507408"/>
              <a:gd name="connsiteX16" fmla="*/ 1712902 w 4049702"/>
              <a:gd name="connsiteY16" fmla="*/ 661881 h 4507408"/>
              <a:gd name="connsiteX17" fmla="*/ 1969827 w 4049702"/>
              <a:gd name="connsiteY17" fmla="*/ 574578 h 4507408"/>
              <a:gd name="connsiteX18" fmla="*/ 2051714 w 4049702"/>
              <a:gd name="connsiteY18" fmla="*/ 1134136 h 4507408"/>
              <a:gd name="connsiteX19" fmla="*/ 1765111 w 4049702"/>
              <a:gd name="connsiteY19" fmla="*/ 1175079 h 4507408"/>
              <a:gd name="connsiteX20" fmla="*/ 1724167 w 4049702"/>
              <a:gd name="connsiteY20" fmla="*/ 1802877 h 4507408"/>
              <a:gd name="connsiteX21" fmla="*/ 86436 w 4049702"/>
              <a:gd name="connsiteY21" fmla="*/ 4109348 h 4507408"/>
              <a:gd name="connsiteX22" fmla="*/ 1205552 w 4049702"/>
              <a:gd name="connsiteY22" fmla="*/ 4191235 h 4507408"/>
              <a:gd name="connsiteX23" fmla="*/ 1756445 w 4049702"/>
              <a:gd name="connsiteY23" fmla="*/ 2857166 h 4507408"/>
              <a:gd name="connsiteX24" fmla="*/ 4020673 w 4049702"/>
              <a:gd name="connsiteY24" fmla="*/ 2857167 h 4507408"/>
              <a:gd name="connsiteX0" fmla="*/ 4035188 w 4049702"/>
              <a:gd name="connsiteY0" fmla="*/ 1837538 h 4507408"/>
              <a:gd name="connsiteX1" fmla="*/ 4035188 w 4049702"/>
              <a:gd name="connsiteY1" fmla="*/ 1837538 h 4507408"/>
              <a:gd name="connsiteX2" fmla="*/ 3904559 w 4049702"/>
              <a:gd name="connsiteY2" fmla="*/ 1823024 h 4507408"/>
              <a:gd name="connsiteX3" fmla="*/ 2728902 w 4049702"/>
              <a:gd name="connsiteY3" fmla="*/ 1823024 h 4507408"/>
              <a:gd name="connsiteX4" fmla="*/ 2728902 w 4049702"/>
              <a:gd name="connsiteY4" fmla="*/ 1155367 h 4507408"/>
              <a:gd name="connsiteX5" fmla="*/ 2380559 w 4049702"/>
              <a:gd name="connsiteY5" fmla="*/ 1111824 h 4507408"/>
              <a:gd name="connsiteX6" fmla="*/ 2395074 w 4049702"/>
              <a:gd name="connsiteY6" fmla="*/ 661881 h 4507408"/>
              <a:gd name="connsiteX7" fmla="*/ 2525702 w 4049702"/>
              <a:gd name="connsiteY7" fmla="*/ 502224 h 4507408"/>
              <a:gd name="connsiteX8" fmla="*/ 3788445 w 4049702"/>
              <a:gd name="connsiteY8" fmla="*/ 632853 h 4507408"/>
              <a:gd name="connsiteX9" fmla="*/ 4049702 w 4049702"/>
              <a:gd name="connsiteY9" fmla="*/ 371596 h 4507408"/>
              <a:gd name="connsiteX10" fmla="*/ 3962617 w 4049702"/>
              <a:gd name="connsiteY10" fmla="*/ 284510 h 4507408"/>
              <a:gd name="connsiteX11" fmla="*/ 2489076 w 4049702"/>
              <a:gd name="connsiteY11" fmla="*/ 277593 h 4507408"/>
              <a:gd name="connsiteX12" fmla="*/ 1978921 w 4049702"/>
              <a:gd name="connsiteY12" fmla="*/ 278499 h 4507408"/>
              <a:gd name="connsiteX13" fmla="*/ 798502 w 4049702"/>
              <a:gd name="connsiteY13" fmla="*/ 168396 h 4507408"/>
              <a:gd name="connsiteX14" fmla="*/ 392102 w 4049702"/>
              <a:gd name="connsiteY14" fmla="*/ 516738 h 4507408"/>
              <a:gd name="connsiteX15" fmla="*/ 1712902 w 4049702"/>
              <a:gd name="connsiteY15" fmla="*/ 661881 h 4507408"/>
              <a:gd name="connsiteX16" fmla="*/ 1969827 w 4049702"/>
              <a:gd name="connsiteY16" fmla="*/ 574578 h 4507408"/>
              <a:gd name="connsiteX17" fmla="*/ 2051714 w 4049702"/>
              <a:gd name="connsiteY17" fmla="*/ 1134136 h 4507408"/>
              <a:gd name="connsiteX18" fmla="*/ 1765111 w 4049702"/>
              <a:gd name="connsiteY18" fmla="*/ 1175079 h 4507408"/>
              <a:gd name="connsiteX19" fmla="*/ 1724167 w 4049702"/>
              <a:gd name="connsiteY19" fmla="*/ 1802877 h 4507408"/>
              <a:gd name="connsiteX20" fmla="*/ 86436 w 4049702"/>
              <a:gd name="connsiteY20" fmla="*/ 4109348 h 4507408"/>
              <a:gd name="connsiteX21" fmla="*/ 1205552 w 4049702"/>
              <a:gd name="connsiteY21" fmla="*/ 4191235 h 4507408"/>
              <a:gd name="connsiteX22" fmla="*/ 1756445 w 4049702"/>
              <a:gd name="connsiteY22" fmla="*/ 2857166 h 4507408"/>
              <a:gd name="connsiteX23" fmla="*/ 4020673 w 4049702"/>
              <a:gd name="connsiteY23" fmla="*/ 2857167 h 4507408"/>
              <a:gd name="connsiteX0" fmla="*/ 3948752 w 3963266"/>
              <a:gd name="connsiteY0" fmla="*/ 1837538 h 4191235"/>
              <a:gd name="connsiteX1" fmla="*/ 3948752 w 3963266"/>
              <a:gd name="connsiteY1" fmla="*/ 1837538 h 4191235"/>
              <a:gd name="connsiteX2" fmla="*/ 3818123 w 3963266"/>
              <a:gd name="connsiteY2" fmla="*/ 1823024 h 4191235"/>
              <a:gd name="connsiteX3" fmla="*/ 2642466 w 3963266"/>
              <a:gd name="connsiteY3" fmla="*/ 1823024 h 4191235"/>
              <a:gd name="connsiteX4" fmla="*/ 2642466 w 3963266"/>
              <a:gd name="connsiteY4" fmla="*/ 1155367 h 4191235"/>
              <a:gd name="connsiteX5" fmla="*/ 2294123 w 3963266"/>
              <a:gd name="connsiteY5" fmla="*/ 1111824 h 4191235"/>
              <a:gd name="connsiteX6" fmla="*/ 2308638 w 3963266"/>
              <a:gd name="connsiteY6" fmla="*/ 661881 h 4191235"/>
              <a:gd name="connsiteX7" fmla="*/ 2439266 w 3963266"/>
              <a:gd name="connsiteY7" fmla="*/ 502224 h 4191235"/>
              <a:gd name="connsiteX8" fmla="*/ 3702009 w 3963266"/>
              <a:gd name="connsiteY8" fmla="*/ 632853 h 4191235"/>
              <a:gd name="connsiteX9" fmla="*/ 3963266 w 3963266"/>
              <a:gd name="connsiteY9" fmla="*/ 371596 h 4191235"/>
              <a:gd name="connsiteX10" fmla="*/ 3876181 w 3963266"/>
              <a:gd name="connsiteY10" fmla="*/ 284510 h 4191235"/>
              <a:gd name="connsiteX11" fmla="*/ 2402640 w 3963266"/>
              <a:gd name="connsiteY11" fmla="*/ 277593 h 4191235"/>
              <a:gd name="connsiteX12" fmla="*/ 1892485 w 3963266"/>
              <a:gd name="connsiteY12" fmla="*/ 278499 h 4191235"/>
              <a:gd name="connsiteX13" fmla="*/ 712066 w 3963266"/>
              <a:gd name="connsiteY13" fmla="*/ 168396 h 4191235"/>
              <a:gd name="connsiteX14" fmla="*/ 305666 w 3963266"/>
              <a:gd name="connsiteY14" fmla="*/ 516738 h 4191235"/>
              <a:gd name="connsiteX15" fmla="*/ 1626466 w 3963266"/>
              <a:gd name="connsiteY15" fmla="*/ 661881 h 4191235"/>
              <a:gd name="connsiteX16" fmla="*/ 1883391 w 3963266"/>
              <a:gd name="connsiteY16" fmla="*/ 574578 h 4191235"/>
              <a:gd name="connsiteX17" fmla="*/ 1965278 w 3963266"/>
              <a:gd name="connsiteY17" fmla="*/ 1134136 h 4191235"/>
              <a:gd name="connsiteX18" fmla="*/ 1678675 w 3963266"/>
              <a:gd name="connsiteY18" fmla="*/ 1175079 h 4191235"/>
              <a:gd name="connsiteX19" fmla="*/ 1637731 w 3963266"/>
              <a:gd name="connsiteY19" fmla="*/ 1802877 h 4191235"/>
              <a:gd name="connsiteX20" fmla="*/ 0 w 3963266"/>
              <a:gd name="connsiteY20" fmla="*/ 4109348 h 4191235"/>
              <a:gd name="connsiteX21" fmla="*/ 1119116 w 3963266"/>
              <a:gd name="connsiteY21" fmla="*/ 4191235 h 4191235"/>
              <a:gd name="connsiteX22" fmla="*/ 1670009 w 3963266"/>
              <a:gd name="connsiteY22" fmla="*/ 2857166 h 4191235"/>
              <a:gd name="connsiteX23" fmla="*/ 3934237 w 3963266"/>
              <a:gd name="connsiteY23" fmla="*/ 2857167 h 4191235"/>
              <a:gd name="connsiteX0" fmla="*/ 3948752 w 3963266"/>
              <a:gd name="connsiteY0" fmla="*/ 1837538 h 4140435"/>
              <a:gd name="connsiteX1" fmla="*/ 3948752 w 3963266"/>
              <a:gd name="connsiteY1" fmla="*/ 1837538 h 4140435"/>
              <a:gd name="connsiteX2" fmla="*/ 3818123 w 3963266"/>
              <a:gd name="connsiteY2" fmla="*/ 1823024 h 4140435"/>
              <a:gd name="connsiteX3" fmla="*/ 2642466 w 3963266"/>
              <a:gd name="connsiteY3" fmla="*/ 1823024 h 4140435"/>
              <a:gd name="connsiteX4" fmla="*/ 2642466 w 3963266"/>
              <a:gd name="connsiteY4" fmla="*/ 1155367 h 4140435"/>
              <a:gd name="connsiteX5" fmla="*/ 2294123 w 3963266"/>
              <a:gd name="connsiteY5" fmla="*/ 1111824 h 4140435"/>
              <a:gd name="connsiteX6" fmla="*/ 2308638 w 3963266"/>
              <a:gd name="connsiteY6" fmla="*/ 661881 h 4140435"/>
              <a:gd name="connsiteX7" fmla="*/ 2439266 w 3963266"/>
              <a:gd name="connsiteY7" fmla="*/ 502224 h 4140435"/>
              <a:gd name="connsiteX8" fmla="*/ 3702009 w 3963266"/>
              <a:gd name="connsiteY8" fmla="*/ 632853 h 4140435"/>
              <a:gd name="connsiteX9" fmla="*/ 3963266 w 3963266"/>
              <a:gd name="connsiteY9" fmla="*/ 371596 h 4140435"/>
              <a:gd name="connsiteX10" fmla="*/ 3876181 w 3963266"/>
              <a:gd name="connsiteY10" fmla="*/ 284510 h 4140435"/>
              <a:gd name="connsiteX11" fmla="*/ 2402640 w 3963266"/>
              <a:gd name="connsiteY11" fmla="*/ 277593 h 4140435"/>
              <a:gd name="connsiteX12" fmla="*/ 1892485 w 3963266"/>
              <a:gd name="connsiteY12" fmla="*/ 278499 h 4140435"/>
              <a:gd name="connsiteX13" fmla="*/ 712066 w 3963266"/>
              <a:gd name="connsiteY13" fmla="*/ 168396 h 4140435"/>
              <a:gd name="connsiteX14" fmla="*/ 305666 w 3963266"/>
              <a:gd name="connsiteY14" fmla="*/ 516738 h 4140435"/>
              <a:gd name="connsiteX15" fmla="*/ 1626466 w 3963266"/>
              <a:gd name="connsiteY15" fmla="*/ 661881 h 4140435"/>
              <a:gd name="connsiteX16" fmla="*/ 1883391 w 3963266"/>
              <a:gd name="connsiteY16" fmla="*/ 574578 h 4140435"/>
              <a:gd name="connsiteX17" fmla="*/ 1965278 w 3963266"/>
              <a:gd name="connsiteY17" fmla="*/ 1134136 h 4140435"/>
              <a:gd name="connsiteX18" fmla="*/ 1678675 w 3963266"/>
              <a:gd name="connsiteY18" fmla="*/ 1175079 h 4140435"/>
              <a:gd name="connsiteX19" fmla="*/ 1637731 w 3963266"/>
              <a:gd name="connsiteY19" fmla="*/ 1802877 h 4140435"/>
              <a:gd name="connsiteX20" fmla="*/ 0 w 3963266"/>
              <a:gd name="connsiteY20" fmla="*/ 4109348 h 4140435"/>
              <a:gd name="connsiteX21" fmla="*/ 1100066 w 3963266"/>
              <a:gd name="connsiteY21" fmla="*/ 4140435 h 4140435"/>
              <a:gd name="connsiteX22" fmla="*/ 1670009 w 3963266"/>
              <a:gd name="connsiteY22" fmla="*/ 2857166 h 4140435"/>
              <a:gd name="connsiteX23" fmla="*/ 3934237 w 3963266"/>
              <a:gd name="connsiteY23" fmla="*/ 2857167 h 4140435"/>
              <a:gd name="connsiteX0" fmla="*/ 3955102 w 3969616"/>
              <a:gd name="connsiteY0" fmla="*/ 1837538 h 4141098"/>
              <a:gd name="connsiteX1" fmla="*/ 3955102 w 3969616"/>
              <a:gd name="connsiteY1" fmla="*/ 1837538 h 4141098"/>
              <a:gd name="connsiteX2" fmla="*/ 3824473 w 3969616"/>
              <a:gd name="connsiteY2" fmla="*/ 1823024 h 4141098"/>
              <a:gd name="connsiteX3" fmla="*/ 2648816 w 3969616"/>
              <a:gd name="connsiteY3" fmla="*/ 1823024 h 4141098"/>
              <a:gd name="connsiteX4" fmla="*/ 2648816 w 3969616"/>
              <a:gd name="connsiteY4" fmla="*/ 1155367 h 4141098"/>
              <a:gd name="connsiteX5" fmla="*/ 2300473 w 3969616"/>
              <a:gd name="connsiteY5" fmla="*/ 1111824 h 4141098"/>
              <a:gd name="connsiteX6" fmla="*/ 2314988 w 3969616"/>
              <a:gd name="connsiteY6" fmla="*/ 661881 h 4141098"/>
              <a:gd name="connsiteX7" fmla="*/ 2445616 w 3969616"/>
              <a:gd name="connsiteY7" fmla="*/ 502224 h 4141098"/>
              <a:gd name="connsiteX8" fmla="*/ 3708359 w 3969616"/>
              <a:gd name="connsiteY8" fmla="*/ 632853 h 4141098"/>
              <a:gd name="connsiteX9" fmla="*/ 3969616 w 3969616"/>
              <a:gd name="connsiteY9" fmla="*/ 371596 h 4141098"/>
              <a:gd name="connsiteX10" fmla="*/ 3882531 w 3969616"/>
              <a:gd name="connsiteY10" fmla="*/ 284510 h 4141098"/>
              <a:gd name="connsiteX11" fmla="*/ 2408990 w 3969616"/>
              <a:gd name="connsiteY11" fmla="*/ 277593 h 4141098"/>
              <a:gd name="connsiteX12" fmla="*/ 1898835 w 3969616"/>
              <a:gd name="connsiteY12" fmla="*/ 278499 h 4141098"/>
              <a:gd name="connsiteX13" fmla="*/ 718416 w 3969616"/>
              <a:gd name="connsiteY13" fmla="*/ 168396 h 4141098"/>
              <a:gd name="connsiteX14" fmla="*/ 312016 w 3969616"/>
              <a:gd name="connsiteY14" fmla="*/ 516738 h 4141098"/>
              <a:gd name="connsiteX15" fmla="*/ 1632816 w 3969616"/>
              <a:gd name="connsiteY15" fmla="*/ 661881 h 4141098"/>
              <a:gd name="connsiteX16" fmla="*/ 1889741 w 3969616"/>
              <a:gd name="connsiteY16" fmla="*/ 574578 h 4141098"/>
              <a:gd name="connsiteX17" fmla="*/ 1971628 w 3969616"/>
              <a:gd name="connsiteY17" fmla="*/ 1134136 h 4141098"/>
              <a:gd name="connsiteX18" fmla="*/ 1685025 w 3969616"/>
              <a:gd name="connsiteY18" fmla="*/ 1175079 h 4141098"/>
              <a:gd name="connsiteX19" fmla="*/ 1644081 w 3969616"/>
              <a:gd name="connsiteY19" fmla="*/ 1802877 h 4141098"/>
              <a:gd name="connsiteX20" fmla="*/ 0 w 3969616"/>
              <a:gd name="connsiteY20" fmla="*/ 4141098 h 4141098"/>
              <a:gd name="connsiteX21" fmla="*/ 1106416 w 3969616"/>
              <a:gd name="connsiteY21" fmla="*/ 4140435 h 4141098"/>
              <a:gd name="connsiteX22" fmla="*/ 1676359 w 3969616"/>
              <a:gd name="connsiteY22" fmla="*/ 2857166 h 4141098"/>
              <a:gd name="connsiteX23" fmla="*/ 3940587 w 3969616"/>
              <a:gd name="connsiteY23" fmla="*/ 2857167 h 4141098"/>
              <a:gd name="connsiteX0" fmla="*/ 3955102 w 3969616"/>
              <a:gd name="connsiteY0" fmla="*/ 1837538 h 4141098"/>
              <a:gd name="connsiteX1" fmla="*/ 3955102 w 3969616"/>
              <a:gd name="connsiteY1" fmla="*/ 1837538 h 4141098"/>
              <a:gd name="connsiteX2" fmla="*/ 3824473 w 3969616"/>
              <a:gd name="connsiteY2" fmla="*/ 1823024 h 4141098"/>
              <a:gd name="connsiteX3" fmla="*/ 2648816 w 3969616"/>
              <a:gd name="connsiteY3" fmla="*/ 1823024 h 4141098"/>
              <a:gd name="connsiteX4" fmla="*/ 2648816 w 3969616"/>
              <a:gd name="connsiteY4" fmla="*/ 1155367 h 4141098"/>
              <a:gd name="connsiteX5" fmla="*/ 2300473 w 3969616"/>
              <a:gd name="connsiteY5" fmla="*/ 1111824 h 4141098"/>
              <a:gd name="connsiteX6" fmla="*/ 2314988 w 3969616"/>
              <a:gd name="connsiteY6" fmla="*/ 661881 h 4141098"/>
              <a:gd name="connsiteX7" fmla="*/ 2445616 w 3969616"/>
              <a:gd name="connsiteY7" fmla="*/ 502224 h 4141098"/>
              <a:gd name="connsiteX8" fmla="*/ 3708359 w 3969616"/>
              <a:gd name="connsiteY8" fmla="*/ 632853 h 4141098"/>
              <a:gd name="connsiteX9" fmla="*/ 3969616 w 3969616"/>
              <a:gd name="connsiteY9" fmla="*/ 371596 h 4141098"/>
              <a:gd name="connsiteX10" fmla="*/ 3882531 w 3969616"/>
              <a:gd name="connsiteY10" fmla="*/ 284510 h 4141098"/>
              <a:gd name="connsiteX11" fmla="*/ 2408990 w 3969616"/>
              <a:gd name="connsiteY11" fmla="*/ 277593 h 4141098"/>
              <a:gd name="connsiteX12" fmla="*/ 1898835 w 3969616"/>
              <a:gd name="connsiteY12" fmla="*/ 278499 h 4141098"/>
              <a:gd name="connsiteX13" fmla="*/ 718416 w 3969616"/>
              <a:gd name="connsiteY13" fmla="*/ 168396 h 4141098"/>
              <a:gd name="connsiteX14" fmla="*/ 312016 w 3969616"/>
              <a:gd name="connsiteY14" fmla="*/ 516738 h 4141098"/>
              <a:gd name="connsiteX15" fmla="*/ 1632816 w 3969616"/>
              <a:gd name="connsiteY15" fmla="*/ 661881 h 4141098"/>
              <a:gd name="connsiteX16" fmla="*/ 1889741 w 3969616"/>
              <a:gd name="connsiteY16" fmla="*/ 574578 h 4141098"/>
              <a:gd name="connsiteX17" fmla="*/ 1971628 w 3969616"/>
              <a:gd name="connsiteY17" fmla="*/ 1134136 h 4141098"/>
              <a:gd name="connsiteX18" fmla="*/ 1685025 w 3969616"/>
              <a:gd name="connsiteY18" fmla="*/ 1175079 h 4141098"/>
              <a:gd name="connsiteX19" fmla="*/ 1644081 w 3969616"/>
              <a:gd name="connsiteY19" fmla="*/ 1802877 h 4141098"/>
              <a:gd name="connsiteX20" fmla="*/ 0 w 3969616"/>
              <a:gd name="connsiteY20" fmla="*/ 4141098 h 4141098"/>
              <a:gd name="connsiteX21" fmla="*/ 1106416 w 3969616"/>
              <a:gd name="connsiteY21" fmla="*/ 4140435 h 4141098"/>
              <a:gd name="connsiteX22" fmla="*/ 1676359 w 3969616"/>
              <a:gd name="connsiteY22" fmla="*/ 2857166 h 4141098"/>
              <a:gd name="connsiteX23" fmla="*/ 3940587 w 3969616"/>
              <a:gd name="connsiteY23" fmla="*/ 2857167 h 4141098"/>
              <a:gd name="connsiteX24" fmla="*/ 3955102 w 3969616"/>
              <a:gd name="connsiteY24" fmla="*/ 1837538 h 4141098"/>
              <a:gd name="connsiteX0" fmla="*/ 3955102 w 3969616"/>
              <a:gd name="connsiteY0" fmla="*/ 1837538 h 4141098"/>
              <a:gd name="connsiteX1" fmla="*/ 3955102 w 3969616"/>
              <a:gd name="connsiteY1" fmla="*/ 1837538 h 4141098"/>
              <a:gd name="connsiteX2" fmla="*/ 3824473 w 3969616"/>
              <a:gd name="connsiteY2" fmla="*/ 1823024 h 4141098"/>
              <a:gd name="connsiteX3" fmla="*/ 2648816 w 3969616"/>
              <a:gd name="connsiteY3" fmla="*/ 1823024 h 4141098"/>
              <a:gd name="connsiteX4" fmla="*/ 2648816 w 3969616"/>
              <a:gd name="connsiteY4" fmla="*/ 1155367 h 4141098"/>
              <a:gd name="connsiteX5" fmla="*/ 2300473 w 3969616"/>
              <a:gd name="connsiteY5" fmla="*/ 1111824 h 4141098"/>
              <a:gd name="connsiteX6" fmla="*/ 2314988 w 3969616"/>
              <a:gd name="connsiteY6" fmla="*/ 661881 h 4141098"/>
              <a:gd name="connsiteX7" fmla="*/ 2445616 w 3969616"/>
              <a:gd name="connsiteY7" fmla="*/ 502224 h 4141098"/>
              <a:gd name="connsiteX8" fmla="*/ 3708359 w 3969616"/>
              <a:gd name="connsiteY8" fmla="*/ 632853 h 4141098"/>
              <a:gd name="connsiteX9" fmla="*/ 3969616 w 3969616"/>
              <a:gd name="connsiteY9" fmla="*/ 371596 h 4141098"/>
              <a:gd name="connsiteX10" fmla="*/ 3882531 w 3969616"/>
              <a:gd name="connsiteY10" fmla="*/ 284510 h 4141098"/>
              <a:gd name="connsiteX11" fmla="*/ 2408990 w 3969616"/>
              <a:gd name="connsiteY11" fmla="*/ 277593 h 4141098"/>
              <a:gd name="connsiteX12" fmla="*/ 1898835 w 3969616"/>
              <a:gd name="connsiteY12" fmla="*/ 278499 h 4141098"/>
              <a:gd name="connsiteX13" fmla="*/ 718416 w 3969616"/>
              <a:gd name="connsiteY13" fmla="*/ 168396 h 4141098"/>
              <a:gd name="connsiteX14" fmla="*/ 312016 w 3969616"/>
              <a:gd name="connsiteY14" fmla="*/ 516738 h 4141098"/>
              <a:gd name="connsiteX15" fmla="*/ 1632816 w 3969616"/>
              <a:gd name="connsiteY15" fmla="*/ 661881 h 4141098"/>
              <a:gd name="connsiteX16" fmla="*/ 1889741 w 3969616"/>
              <a:gd name="connsiteY16" fmla="*/ 574578 h 4141098"/>
              <a:gd name="connsiteX17" fmla="*/ 1971628 w 3969616"/>
              <a:gd name="connsiteY17" fmla="*/ 1134136 h 4141098"/>
              <a:gd name="connsiteX18" fmla="*/ 1685025 w 3969616"/>
              <a:gd name="connsiteY18" fmla="*/ 1175079 h 4141098"/>
              <a:gd name="connsiteX19" fmla="*/ 1644081 w 3969616"/>
              <a:gd name="connsiteY19" fmla="*/ 1802877 h 4141098"/>
              <a:gd name="connsiteX20" fmla="*/ 0 w 3969616"/>
              <a:gd name="connsiteY20" fmla="*/ 4141098 h 4141098"/>
              <a:gd name="connsiteX21" fmla="*/ 1106416 w 3969616"/>
              <a:gd name="connsiteY21" fmla="*/ 4140435 h 4141098"/>
              <a:gd name="connsiteX22" fmla="*/ 1676359 w 3969616"/>
              <a:gd name="connsiteY22" fmla="*/ 2857166 h 4141098"/>
              <a:gd name="connsiteX23" fmla="*/ 3965987 w 3969616"/>
              <a:gd name="connsiteY23" fmla="*/ 2939717 h 4141098"/>
              <a:gd name="connsiteX24" fmla="*/ 3955102 w 3969616"/>
              <a:gd name="connsiteY24" fmla="*/ 1837538 h 4141098"/>
              <a:gd name="connsiteX0" fmla="*/ 3955102 w 3969616"/>
              <a:gd name="connsiteY0" fmla="*/ 1837538 h 4141098"/>
              <a:gd name="connsiteX1" fmla="*/ 3955102 w 3969616"/>
              <a:gd name="connsiteY1" fmla="*/ 1837538 h 4141098"/>
              <a:gd name="connsiteX2" fmla="*/ 2648816 w 3969616"/>
              <a:gd name="connsiteY2" fmla="*/ 1823024 h 4141098"/>
              <a:gd name="connsiteX3" fmla="*/ 2648816 w 3969616"/>
              <a:gd name="connsiteY3" fmla="*/ 1155367 h 4141098"/>
              <a:gd name="connsiteX4" fmla="*/ 2300473 w 3969616"/>
              <a:gd name="connsiteY4" fmla="*/ 1111824 h 4141098"/>
              <a:gd name="connsiteX5" fmla="*/ 2314988 w 3969616"/>
              <a:gd name="connsiteY5" fmla="*/ 661881 h 4141098"/>
              <a:gd name="connsiteX6" fmla="*/ 2445616 w 3969616"/>
              <a:gd name="connsiteY6" fmla="*/ 502224 h 4141098"/>
              <a:gd name="connsiteX7" fmla="*/ 3708359 w 3969616"/>
              <a:gd name="connsiteY7" fmla="*/ 632853 h 4141098"/>
              <a:gd name="connsiteX8" fmla="*/ 3969616 w 3969616"/>
              <a:gd name="connsiteY8" fmla="*/ 371596 h 4141098"/>
              <a:gd name="connsiteX9" fmla="*/ 3882531 w 3969616"/>
              <a:gd name="connsiteY9" fmla="*/ 284510 h 4141098"/>
              <a:gd name="connsiteX10" fmla="*/ 2408990 w 3969616"/>
              <a:gd name="connsiteY10" fmla="*/ 277593 h 4141098"/>
              <a:gd name="connsiteX11" fmla="*/ 1898835 w 3969616"/>
              <a:gd name="connsiteY11" fmla="*/ 278499 h 4141098"/>
              <a:gd name="connsiteX12" fmla="*/ 718416 w 3969616"/>
              <a:gd name="connsiteY12" fmla="*/ 168396 h 4141098"/>
              <a:gd name="connsiteX13" fmla="*/ 312016 w 3969616"/>
              <a:gd name="connsiteY13" fmla="*/ 516738 h 4141098"/>
              <a:gd name="connsiteX14" fmla="*/ 1632816 w 3969616"/>
              <a:gd name="connsiteY14" fmla="*/ 661881 h 4141098"/>
              <a:gd name="connsiteX15" fmla="*/ 1889741 w 3969616"/>
              <a:gd name="connsiteY15" fmla="*/ 574578 h 4141098"/>
              <a:gd name="connsiteX16" fmla="*/ 1971628 w 3969616"/>
              <a:gd name="connsiteY16" fmla="*/ 1134136 h 4141098"/>
              <a:gd name="connsiteX17" fmla="*/ 1685025 w 3969616"/>
              <a:gd name="connsiteY17" fmla="*/ 1175079 h 4141098"/>
              <a:gd name="connsiteX18" fmla="*/ 1644081 w 3969616"/>
              <a:gd name="connsiteY18" fmla="*/ 1802877 h 4141098"/>
              <a:gd name="connsiteX19" fmla="*/ 0 w 3969616"/>
              <a:gd name="connsiteY19" fmla="*/ 4141098 h 4141098"/>
              <a:gd name="connsiteX20" fmla="*/ 1106416 w 3969616"/>
              <a:gd name="connsiteY20" fmla="*/ 4140435 h 4141098"/>
              <a:gd name="connsiteX21" fmla="*/ 1676359 w 3969616"/>
              <a:gd name="connsiteY21" fmla="*/ 2857166 h 4141098"/>
              <a:gd name="connsiteX22" fmla="*/ 3965987 w 3969616"/>
              <a:gd name="connsiteY22" fmla="*/ 2939717 h 4141098"/>
              <a:gd name="connsiteX23" fmla="*/ 3955102 w 3969616"/>
              <a:gd name="connsiteY23" fmla="*/ 1837538 h 4141098"/>
              <a:gd name="connsiteX0" fmla="*/ 3955102 w 3969616"/>
              <a:gd name="connsiteY0" fmla="*/ 1837538 h 4141098"/>
              <a:gd name="connsiteX1" fmla="*/ 3955102 w 3969616"/>
              <a:gd name="connsiteY1" fmla="*/ 1837538 h 4141098"/>
              <a:gd name="connsiteX2" fmla="*/ 2648816 w 3969616"/>
              <a:gd name="connsiteY2" fmla="*/ 1823024 h 4141098"/>
              <a:gd name="connsiteX3" fmla="*/ 2648816 w 3969616"/>
              <a:gd name="connsiteY3" fmla="*/ 1155367 h 4141098"/>
              <a:gd name="connsiteX4" fmla="*/ 2300473 w 3969616"/>
              <a:gd name="connsiteY4" fmla="*/ 1111824 h 4141098"/>
              <a:gd name="connsiteX5" fmla="*/ 2314988 w 3969616"/>
              <a:gd name="connsiteY5" fmla="*/ 661881 h 4141098"/>
              <a:gd name="connsiteX6" fmla="*/ 2445616 w 3969616"/>
              <a:gd name="connsiteY6" fmla="*/ 502224 h 4141098"/>
              <a:gd name="connsiteX7" fmla="*/ 3708359 w 3969616"/>
              <a:gd name="connsiteY7" fmla="*/ 632853 h 4141098"/>
              <a:gd name="connsiteX8" fmla="*/ 3969616 w 3969616"/>
              <a:gd name="connsiteY8" fmla="*/ 371596 h 4141098"/>
              <a:gd name="connsiteX9" fmla="*/ 3882531 w 3969616"/>
              <a:gd name="connsiteY9" fmla="*/ 284510 h 4141098"/>
              <a:gd name="connsiteX10" fmla="*/ 2408990 w 3969616"/>
              <a:gd name="connsiteY10" fmla="*/ 277593 h 4141098"/>
              <a:gd name="connsiteX11" fmla="*/ 1898835 w 3969616"/>
              <a:gd name="connsiteY11" fmla="*/ 278499 h 4141098"/>
              <a:gd name="connsiteX12" fmla="*/ 718416 w 3969616"/>
              <a:gd name="connsiteY12" fmla="*/ 168396 h 4141098"/>
              <a:gd name="connsiteX13" fmla="*/ 312016 w 3969616"/>
              <a:gd name="connsiteY13" fmla="*/ 516738 h 4141098"/>
              <a:gd name="connsiteX14" fmla="*/ 1632816 w 3969616"/>
              <a:gd name="connsiteY14" fmla="*/ 661881 h 4141098"/>
              <a:gd name="connsiteX15" fmla="*/ 1889741 w 3969616"/>
              <a:gd name="connsiteY15" fmla="*/ 574578 h 4141098"/>
              <a:gd name="connsiteX16" fmla="*/ 1971628 w 3969616"/>
              <a:gd name="connsiteY16" fmla="*/ 1134136 h 4141098"/>
              <a:gd name="connsiteX17" fmla="*/ 1685025 w 3969616"/>
              <a:gd name="connsiteY17" fmla="*/ 1175079 h 4141098"/>
              <a:gd name="connsiteX18" fmla="*/ 1644081 w 3969616"/>
              <a:gd name="connsiteY18" fmla="*/ 1802877 h 4141098"/>
              <a:gd name="connsiteX19" fmla="*/ 0 w 3969616"/>
              <a:gd name="connsiteY19" fmla="*/ 4141098 h 4141098"/>
              <a:gd name="connsiteX20" fmla="*/ 1106416 w 3969616"/>
              <a:gd name="connsiteY20" fmla="*/ 4140435 h 4141098"/>
              <a:gd name="connsiteX21" fmla="*/ 1689059 w 3969616"/>
              <a:gd name="connsiteY21" fmla="*/ 2933366 h 4141098"/>
              <a:gd name="connsiteX22" fmla="*/ 3965987 w 3969616"/>
              <a:gd name="connsiteY22" fmla="*/ 2939717 h 4141098"/>
              <a:gd name="connsiteX23" fmla="*/ 3955102 w 3969616"/>
              <a:gd name="connsiteY23" fmla="*/ 1837538 h 4141098"/>
              <a:gd name="connsiteX0" fmla="*/ 3986852 w 3986852"/>
              <a:gd name="connsiteY0" fmla="*/ 1837538 h 4141098"/>
              <a:gd name="connsiteX1" fmla="*/ 3955102 w 3986852"/>
              <a:gd name="connsiteY1" fmla="*/ 1837538 h 4141098"/>
              <a:gd name="connsiteX2" fmla="*/ 2648816 w 3986852"/>
              <a:gd name="connsiteY2" fmla="*/ 1823024 h 4141098"/>
              <a:gd name="connsiteX3" fmla="*/ 2648816 w 3986852"/>
              <a:gd name="connsiteY3" fmla="*/ 1155367 h 4141098"/>
              <a:gd name="connsiteX4" fmla="*/ 2300473 w 3986852"/>
              <a:gd name="connsiteY4" fmla="*/ 1111824 h 4141098"/>
              <a:gd name="connsiteX5" fmla="*/ 2314988 w 3986852"/>
              <a:gd name="connsiteY5" fmla="*/ 661881 h 4141098"/>
              <a:gd name="connsiteX6" fmla="*/ 2445616 w 3986852"/>
              <a:gd name="connsiteY6" fmla="*/ 502224 h 4141098"/>
              <a:gd name="connsiteX7" fmla="*/ 3708359 w 3986852"/>
              <a:gd name="connsiteY7" fmla="*/ 632853 h 4141098"/>
              <a:gd name="connsiteX8" fmla="*/ 3969616 w 3986852"/>
              <a:gd name="connsiteY8" fmla="*/ 371596 h 4141098"/>
              <a:gd name="connsiteX9" fmla="*/ 3882531 w 3986852"/>
              <a:gd name="connsiteY9" fmla="*/ 284510 h 4141098"/>
              <a:gd name="connsiteX10" fmla="*/ 2408990 w 3986852"/>
              <a:gd name="connsiteY10" fmla="*/ 277593 h 4141098"/>
              <a:gd name="connsiteX11" fmla="*/ 1898835 w 3986852"/>
              <a:gd name="connsiteY11" fmla="*/ 278499 h 4141098"/>
              <a:gd name="connsiteX12" fmla="*/ 718416 w 3986852"/>
              <a:gd name="connsiteY12" fmla="*/ 168396 h 4141098"/>
              <a:gd name="connsiteX13" fmla="*/ 312016 w 3986852"/>
              <a:gd name="connsiteY13" fmla="*/ 516738 h 4141098"/>
              <a:gd name="connsiteX14" fmla="*/ 1632816 w 3986852"/>
              <a:gd name="connsiteY14" fmla="*/ 661881 h 4141098"/>
              <a:gd name="connsiteX15" fmla="*/ 1889741 w 3986852"/>
              <a:gd name="connsiteY15" fmla="*/ 574578 h 4141098"/>
              <a:gd name="connsiteX16" fmla="*/ 1971628 w 3986852"/>
              <a:gd name="connsiteY16" fmla="*/ 1134136 h 4141098"/>
              <a:gd name="connsiteX17" fmla="*/ 1685025 w 3986852"/>
              <a:gd name="connsiteY17" fmla="*/ 1175079 h 4141098"/>
              <a:gd name="connsiteX18" fmla="*/ 1644081 w 3986852"/>
              <a:gd name="connsiteY18" fmla="*/ 1802877 h 4141098"/>
              <a:gd name="connsiteX19" fmla="*/ 0 w 3986852"/>
              <a:gd name="connsiteY19" fmla="*/ 4141098 h 4141098"/>
              <a:gd name="connsiteX20" fmla="*/ 1106416 w 3986852"/>
              <a:gd name="connsiteY20" fmla="*/ 4140435 h 4141098"/>
              <a:gd name="connsiteX21" fmla="*/ 1689059 w 3986852"/>
              <a:gd name="connsiteY21" fmla="*/ 2933366 h 4141098"/>
              <a:gd name="connsiteX22" fmla="*/ 3965987 w 3986852"/>
              <a:gd name="connsiteY22" fmla="*/ 2939717 h 4141098"/>
              <a:gd name="connsiteX23" fmla="*/ 3986852 w 3986852"/>
              <a:gd name="connsiteY23" fmla="*/ 1837538 h 4141098"/>
              <a:gd name="connsiteX0" fmla="*/ 3986852 w 3986852"/>
              <a:gd name="connsiteY0" fmla="*/ 1837538 h 4141098"/>
              <a:gd name="connsiteX1" fmla="*/ 3955102 w 3986852"/>
              <a:gd name="connsiteY1" fmla="*/ 1837538 h 4141098"/>
              <a:gd name="connsiteX2" fmla="*/ 2648816 w 3986852"/>
              <a:gd name="connsiteY2" fmla="*/ 1823024 h 4141098"/>
              <a:gd name="connsiteX3" fmla="*/ 2648816 w 3986852"/>
              <a:gd name="connsiteY3" fmla="*/ 1155367 h 4141098"/>
              <a:gd name="connsiteX4" fmla="*/ 2300473 w 3986852"/>
              <a:gd name="connsiteY4" fmla="*/ 1111824 h 4141098"/>
              <a:gd name="connsiteX5" fmla="*/ 2314988 w 3986852"/>
              <a:gd name="connsiteY5" fmla="*/ 661881 h 4141098"/>
              <a:gd name="connsiteX6" fmla="*/ 2445616 w 3986852"/>
              <a:gd name="connsiteY6" fmla="*/ 502224 h 4141098"/>
              <a:gd name="connsiteX7" fmla="*/ 3708359 w 3986852"/>
              <a:gd name="connsiteY7" fmla="*/ 632853 h 4141098"/>
              <a:gd name="connsiteX8" fmla="*/ 3969616 w 3986852"/>
              <a:gd name="connsiteY8" fmla="*/ 371596 h 4141098"/>
              <a:gd name="connsiteX9" fmla="*/ 3882531 w 3986852"/>
              <a:gd name="connsiteY9" fmla="*/ 284510 h 4141098"/>
              <a:gd name="connsiteX10" fmla="*/ 2408990 w 3986852"/>
              <a:gd name="connsiteY10" fmla="*/ 277593 h 4141098"/>
              <a:gd name="connsiteX11" fmla="*/ 1898835 w 3986852"/>
              <a:gd name="connsiteY11" fmla="*/ 278499 h 4141098"/>
              <a:gd name="connsiteX12" fmla="*/ 718416 w 3986852"/>
              <a:gd name="connsiteY12" fmla="*/ 168396 h 4141098"/>
              <a:gd name="connsiteX13" fmla="*/ 312016 w 3986852"/>
              <a:gd name="connsiteY13" fmla="*/ 516738 h 4141098"/>
              <a:gd name="connsiteX14" fmla="*/ 1632816 w 3986852"/>
              <a:gd name="connsiteY14" fmla="*/ 661881 h 4141098"/>
              <a:gd name="connsiteX15" fmla="*/ 1889741 w 3986852"/>
              <a:gd name="connsiteY15" fmla="*/ 574578 h 4141098"/>
              <a:gd name="connsiteX16" fmla="*/ 1971628 w 3986852"/>
              <a:gd name="connsiteY16" fmla="*/ 1134136 h 4141098"/>
              <a:gd name="connsiteX17" fmla="*/ 1685025 w 3986852"/>
              <a:gd name="connsiteY17" fmla="*/ 1175079 h 4141098"/>
              <a:gd name="connsiteX18" fmla="*/ 1644081 w 3986852"/>
              <a:gd name="connsiteY18" fmla="*/ 1802877 h 4141098"/>
              <a:gd name="connsiteX19" fmla="*/ 0 w 3986852"/>
              <a:gd name="connsiteY19" fmla="*/ 4141098 h 4141098"/>
              <a:gd name="connsiteX20" fmla="*/ 1106416 w 3986852"/>
              <a:gd name="connsiteY20" fmla="*/ 4140435 h 4141098"/>
              <a:gd name="connsiteX21" fmla="*/ 1689059 w 3986852"/>
              <a:gd name="connsiteY21" fmla="*/ 2933366 h 4141098"/>
              <a:gd name="connsiteX22" fmla="*/ 3985037 w 3986852"/>
              <a:gd name="connsiteY22" fmla="*/ 2939717 h 4141098"/>
              <a:gd name="connsiteX23" fmla="*/ 3986852 w 3986852"/>
              <a:gd name="connsiteY23" fmla="*/ 1837538 h 4141098"/>
              <a:gd name="connsiteX0" fmla="*/ 3986852 w 3986852"/>
              <a:gd name="connsiteY0" fmla="*/ 1837538 h 4141098"/>
              <a:gd name="connsiteX1" fmla="*/ 3955102 w 3986852"/>
              <a:gd name="connsiteY1" fmla="*/ 1837538 h 4141098"/>
              <a:gd name="connsiteX2" fmla="*/ 2648816 w 3986852"/>
              <a:gd name="connsiteY2" fmla="*/ 1823024 h 4141098"/>
              <a:gd name="connsiteX3" fmla="*/ 2648816 w 3986852"/>
              <a:gd name="connsiteY3" fmla="*/ 1155367 h 4141098"/>
              <a:gd name="connsiteX4" fmla="*/ 2300473 w 3986852"/>
              <a:gd name="connsiteY4" fmla="*/ 1111824 h 4141098"/>
              <a:gd name="connsiteX5" fmla="*/ 2314988 w 3986852"/>
              <a:gd name="connsiteY5" fmla="*/ 661881 h 4141098"/>
              <a:gd name="connsiteX6" fmla="*/ 2445616 w 3986852"/>
              <a:gd name="connsiteY6" fmla="*/ 502224 h 4141098"/>
              <a:gd name="connsiteX7" fmla="*/ 3708359 w 3986852"/>
              <a:gd name="connsiteY7" fmla="*/ 632853 h 4141098"/>
              <a:gd name="connsiteX8" fmla="*/ 3969616 w 3986852"/>
              <a:gd name="connsiteY8" fmla="*/ 371596 h 4141098"/>
              <a:gd name="connsiteX9" fmla="*/ 3882531 w 3986852"/>
              <a:gd name="connsiteY9" fmla="*/ 284510 h 4141098"/>
              <a:gd name="connsiteX10" fmla="*/ 2408990 w 3986852"/>
              <a:gd name="connsiteY10" fmla="*/ 277593 h 4141098"/>
              <a:gd name="connsiteX11" fmla="*/ 1898835 w 3986852"/>
              <a:gd name="connsiteY11" fmla="*/ 278499 h 4141098"/>
              <a:gd name="connsiteX12" fmla="*/ 718416 w 3986852"/>
              <a:gd name="connsiteY12" fmla="*/ 168396 h 4141098"/>
              <a:gd name="connsiteX13" fmla="*/ 312016 w 3986852"/>
              <a:gd name="connsiteY13" fmla="*/ 516738 h 4141098"/>
              <a:gd name="connsiteX14" fmla="*/ 1632816 w 3986852"/>
              <a:gd name="connsiteY14" fmla="*/ 661881 h 4141098"/>
              <a:gd name="connsiteX15" fmla="*/ 1889741 w 3986852"/>
              <a:gd name="connsiteY15" fmla="*/ 574578 h 4141098"/>
              <a:gd name="connsiteX16" fmla="*/ 1971628 w 3986852"/>
              <a:gd name="connsiteY16" fmla="*/ 1134136 h 4141098"/>
              <a:gd name="connsiteX17" fmla="*/ 1685025 w 3986852"/>
              <a:gd name="connsiteY17" fmla="*/ 1175079 h 4141098"/>
              <a:gd name="connsiteX18" fmla="*/ 1644081 w 3986852"/>
              <a:gd name="connsiteY18" fmla="*/ 1802877 h 4141098"/>
              <a:gd name="connsiteX19" fmla="*/ 0 w 3986852"/>
              <a:gd name="connsiteY19" fmla="*/ 4141098 h 4141098"/>
              <a:gd name="connsiteX20" fmla="*/ 1106416 w 3986852"/>
              <a:gd name="connsiteY20" fmla="*/ 4140435 h 4141098"/>
              <a:gd name="connsiteX21" fmla="*/ 1689059 w 3986852"/>
              <a:gd name="connsiteY21" fmla="*/ 2933366 h 4141098"/>
              <a:gd name="connsiteX22" fmla="*/ 3985037 w 3986852"/>
              <a:gd name="connsiteY22" fmla="*/ 2939717 h 4141098"/>
              <a:gd name="connsiteX23" fmla="*/ 3986852 w 3986852"/>
              <a:gd name="connsiteY23" fmla="*/ 1837538 h 4141098"/>
              <a:gd name="connsiteX0" fmla="*/ 3986852 w 3986852"/>
              <a:gd name="connsiteY0" fmla="*/ 1837538 h 4141098"/>
              <a:gd name="connsiteX1" fmla="*/ 3955102 w 3986852"/>
              <a:gd name="connsiteY1" fmla="*/ 1837538 h 4141098"/>
              <a:gd name="connsiteX2" fmla="*/ 2648816 w 3986852"/>
              <a:gd name="connsiteY2" fmla="*/ 1823024 h 4141098"/>
              <a:gd name="connsiteX3" fmla="*/ 2648816 w 3986852"/>
              <a:gd name="connsiteY3" fmla="*/ 1155367 h 4141098"/>
              <a:gd name="connsiteX4" fmla="*/ 2300473 w 3986852"/>
              <a:gd name="connsiteY4" fmla="*/ 1111824 h 4141098"/>
              <a:gd name="connsiteX5" fmla="*/ 2314988 w 3986852"/>
              <a:gd name="connsiteY5" fmla="*/ 661881 h 4141098"/>
              <a:gd name="connsiteX6" fmla="*/ 2445616 w 3986852"/>
              <a:gd name="connsiteY6" fmla="*/ 502224 h 4141098"/>
              <a:gd name="connsiteX7" fmla="*/ 3708359 w 3986852"/>
              <a:gd name="connsiteY7" fmla="*/ 632853 h 4141098"/>
              <a:gd name="connsiteX8" fmla="*/ 3969616 w 3986852"/>
              <a:gd name="connsiteY8" fmla="*/ 371596 h 4141098"/>
              <a:gd name="connsiteX9" fmla="*/ 3882531 w 3986852"/>
              <a:gd name="connsiteY9" fmla="*/ 284510 h 4141098"/>
              <a:gd name="connsiteX10" fmla="*/ 2408990 w 3986852"/>
              <a:gd name="connsiteY10" fmla="*/ 277593 h 4141098"/>
              <a:gd name="connsiteX11" fmla="*/ 1898835 w 3986852"/>
              <a:gd name="connsiteY11" fmla="*/ 278499 h 4141098"/>
              <a:gd name="connsiteX12" fmla="*/ 718416 w 3986852"/>
              <a:gd name="connsiteY12" fmla="*/ 168396 h 4141098"/>
              <a:gd name="connsiteX13" fmla="*/ 312016 w 3986852"/>
              <a:gd name="connsiteY13" fmla="*/ 516738 h 4141098"/>
              <a:gd name="connsiteX14" fmla="*/ 1632816 w 3986852"/>
              <a:gd name="connsiteY14" fmla="*/ 661881 h 4141098"/>
              <a:gd name="connsiteX15" fmla="*/ 1889741 w 3986852"/>
              <a:gd name="connsiteY15" fmla="*/ 574578 h 4141098"/>
              <a:gd name="connsiteX16" fmla="*/ 1971628 w 3986852"/>
              <a:gd name="connsiteY16" fmla="*/ 1134136 h 4141098"/>
              <a:gd name="connsiteX17" fmla="*/ 1685025 w 3986852"/>
              <a:gd name="connsiteY17" fmla="*/ 1175079 h 4141098"/>
              <a:gd name="connsiteX18" fmla="*/ 1656781 w 3986852"/>
              <a:gd name="connsiteY18" fmla="*/ 1840977 h 4141098"/>
              <a:gd name="connsiteX19" fmla="*/ 0 w 3986852"/>
              <a:gd name="connsiteY19" fmla="*/ 4141098 h 4141098"/>
              <a:gd name="connsiteX20" fmla="*/ 1106416 w 3986852"/>
              <a:gd name="connsiteY20" fmla="*/ 4140435 h 4141098"/>
              <a:gd name="connsiteX21" fmla="*/ 1689059 w 3986852"/>
              <a:gd name="connsiteY21" fmla="*/ 2933366 h 4141098"/>
              <a:gd name="connsiteX22" fmla="*/ 3985037 w 3986852"/>
              <a:gd name="connsiteY22" fmla="*/ 2939717 h 4141098"/>
              <a:gd name="connsiteX23" fmla="*/ 3986852 w 3986852"/>
              <a:gd name="connsiteY23"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28622 w 4166658"/>
              <a:gd name="connsiteY3" fmla="*/ 115536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64831 w 4166658"/>
              <a:gd name="connsiteY17" fmla="*/ 1175079 h 4141098"/>
              <a:gd name="connsiteX18" fmla="*/ 1836587 w 4166658"/>
              <a:gd name="connsiteY18" fmla="*/ 1840977 h 4141098"/>
              <a:gd name="connsiteX19" fmla="*/ 179806 w 4166658"/>
              <a:gd name="connsiteY19" fmla="*/ 4141098 h 4141098"/>
              <a:gd name="connsiteX20" fmla="*/ 1286222 w 4166658"/>
              <a:gd name="connsiteY20" fmla="*/ 4140435 h 4141098"/>
              <a:gd name="connsiteX21" fmla="*/ 1868865 w 4166658"/>
              <a:gd name="connsiteY21" fmla="*/ 2933366 h 4141098"/>
              <a:gd name="connsiteX22" fmla="*/ 4164843 w 4166658"/>
              <a:gd name="connsiteY22" fmla="*/ 2939717 h 4141098"/>
              <a:gd name="connsiteX23" fmla="*/ 4166658 w 4166658"/>
              <a:gd name="connsiteY23"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28622 w 4166658"/>
              <a:gd name="connsiteY3" fmla="*/ 115536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64831 w 4166658"/>
              <a:gd name="connsiteY17" fmla="*/ 1175079 h 4141098"/>
              <a:gd name="connsiteX18" fmla="*/ 1836587 w 4166658"/>
              <a:gd name="connsiteY18" fmla="*/ 1840977 h 4141098"/>
              <a:gd name="connsiteX19" fmla="*/ 179806 w 4166658"/>
              <a:gd name="connsiteY19" fmla="*/ 4141098 h 4141098"/>
              <a:gd name="connsiteX20" fmla="*/ 1286222 w 4166658"/>
              <a:gd name="connsiteY20" fmla="*/ 4140435 h 4141098"/>
              <a:gd name="connsiteX21" fmla="*/ 1868865 w 4166658"/>
              <a:gd name="connsiteY21" fmla="*/ 2933366 h 4141098"/>
              <a:gd name="connsiteX22" fmla="*/ 4164843 w 4166658"/>
              <a:gd name="connsiteY22" fmla="*/ 2939717 h 4141098"/>
              <a:gd name="connsiteX23" fmla="*/ 4166658 w 4166658"/>
              <a:gd name="connsiteY23"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28622 w 4166658"/>
              <a:gd name="connsiteY3" fmla="*/ 115536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64831 w 4166658"/>
              <a:gd name="connsiteY17" fmla="*/ 1175079 h 4141098"/>
              <a:gd name="connsiteX18" fmla="*/ 1836587 w 4166658"/>
              <a:gd name="connsiteY18" fmla="*/ 1840977 h 4141098"/>
              <a:gd name="connsiteX19" fmla="*/ 179806 w 4166658"/>
              <a:gd name="connsiteY19" fmla="*/ 4141098 h 4141098"/>
              <a:gd name="connsiteX20" fmla="*/ 1286222 w 4166658"/>
              <a:gd name="connsiteY20" fmla="*/ 4140435 h 4141098"/>
              <a:gd name="connsiteX21" fmla="*/ 1868865 w 4166658"/>
              <a:gd name="connsiteY21" fmla="*/ 2933366 h 4141098"/>
              <a:gd name="connsiteX22" fmla="*/ 4164843 w 4166658"/>
              <a:gd name="connsiteY22" fmla="*/ 2939717 h 4141098"/>
              <a:gd name="connsiteX23" fmla="*/ 4166658 w 4166658"/>
              <a:gd name="connsiteY23"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28622 w 4166658"/>
              <a:gd name="connsiteY3" fmla="*/ 115536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64831 w 4166658"/>
              <a:gd name="connsiteY17" fmla="*/ 1175079 h 4141098"/>
              <a:gd name="connsiteX18" fmla="*/ 1836587 w 4166658"/>
              <a:gd name="connsiteY18" fmla="*/ 1840977 h 4141098"/>
              <a:gd name="connsiteX19" fmla="*/ 179806 w 4166658"/>
              <a:gd name="connsiteY19" fmla="*/ 4141098 h 4141098"/>
              <a:gd name="connsiteX20" fmla="*/ 1286222 w 4166658"/>
              <a:gd name="connsiteY20" fmla="*/ 4140435 h 4141098"/>
              <a:gd name="connsiteX21" fmla="*/ 1302808 w 4166658"/>
              <a:gd name="connsiteY21" fmla="*/ 3574717 h 4141098"/>
              <a:gd name="connsiteX22" fmla="*/ 1868865 w 4166658"/>
              <a:gd name="connsiteY22" fmla="*/ 2933366 h 4141098"/>
              <a:gd name="connsiteX23" fmla="*/ 4164843 w 4166658"/>
              <a:gd name="connsiteY23" fmla="*/ 2939717 h 4141098"/>
              <a:gd name="connsiteX24" fmla="*/ 4166658 w 4166658"/>
              <a:gd name="connsiteY24"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28622 w 4166658"/>
              <a:gd name="connsiteY3" fmla="*/ 115536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64831 w 4166658"/>
              <a:gd name="connsiteY17" fmla="*/ 1175079 h 4141098"/>
              <a:gd name="connsiteX18" fmla="*/ 1836587 w 4166658"/>
              <a:gd name="connsiteY18" fmla="*/ 1840977 h 4141098"/>
              <a:gd name="connsiteX19" fmla="*/ 179806 w 4166658"/>
              <a:gd name="connsiteY19" fmla="*/ 4141098 h 4141098"/>
              <a:gd name="connsiteX20" fmla="*/ 1286222 w 4166658"/>
              <a:gd name="connsiteY20" fmla="*/ 4140435 h 4141098"/>
              <a:gd name="connsiteX21" fmla="*/ 1302808 w 4166658"/>
              <a:gd name="connsiteY21" fmla="*/ 3574717 h 4141098"/>
              <a:gd name="connsiteX22" fmla="*/ 1868865 w 4166658"/>
              <a:gd name="connsiteY22" fmla="*/ 2933366 h 4141098"/>
              <a:gd name="connsiteX23" fmla="*/ 4164843 w 4166658"/>
              <a:gd name="connsiteY23" fmla="*/ 2939717 h 4141098"/>
              <a:gd name="connsiteX24" fmla="*/ 4166658 w 4166658"/>
              <a:gd name="connsiteY24"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28622 w 4166658"/>
              <a:gd name="connsiteY3" fmla="*/ 115536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64831 w 4166658"/>
              <a:gd name="connsiteY17" fmla="*/ 1175079 h 4141098"/>
              <a:gd name="connsiteX18" fmla="*/ 1836587 w 4166658"/>
              <a:gd name="connsiteY18" fmla="*/ 1840977 h 4141098"/>
              <a:gd name="connsiteX19" fmla="*/ 179806 w 4166658"/>
              <a:gd name="connsiteY19" fmla="*/ 4141098 h 4141098"/>
              <a:gd name="connsiteX20" fmla="*/ 1286222 w 4166658"/>
              <a:gd name="connsiteY20" fmla="*/ 4140435 h 4141098"/>
              <a:gd name="connsiteX21" fmla="*/ 1302808 w 4166658"/>
              <a:gd name="connsiteY21" fmla="*/ 3574717 h 4141098"/>
              <a:gd name="connsiteX22" fmla="*/ 1868865 w 4166658"/>
              <a:gd name="connsiteY22" fmla="*/ 2933366 h 4141098"/>
              <a:gd name="connsiteX23" fmla="*/ 4164843 w 4166658"/>
              <a:gd name="connsiteY23" fmla="*/ 2939717 h 4141098"/>
              <a:gd name="connsiteX24" fmla="*/ 4166658 w 4166658"/>
              <a:gd name="connsiteY24"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28622 w 4166658"/>
              <a:gd name="connsiteY3" fmla="*/ 115536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64831 w 4166658"/>
              <a:gd name="connsiteY17" fmla="*/ 1175079 h 4141098"/>
              <a:gd name="connsiteX18" fmla="*/ 1836587 w 4166658"/>
              <a:gd name="connsiteY18" fmla="*/ 1840977 h 4141098"/>
              <a:gd name="connsiteX19" fmla="*/ 179806 w 4166658"/>
              <a:gd name="connsiteY19" fmla="*/ 4141098 h 4141098"/>
              <a:gd name="connsiteX20" fmla="*/ 1305272 w 4166658"/>
              <a:gd name="connsiteY20" fmla="*/ 4140435 h 4141098"/>
              <a:gd name="connsiteX21" fmla="*/ 1302808 w 4166658"/>
              <a:gd name="connsiteY21" fmla="*/ 3574717 h 4141098"/>
              <a:gd name="connsiteX22" fmla="*/ 1868865 w 4166658"/>
              <a:gd name="connsiteY22" fmla="*/ 2933366 h 4141098"/>
              <a:gd name="connsiteX23" fmla="*/ 4164843 w 4166658"/>
              <a:gd name="connsiteY23" fmla="*/ 2939717 h 4141098"/>
              <a:gd name="connsiteX24" fmla="*/ 4166658 w 4166658"/>
              <a:gd name="connsiteY24"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28622 w 4166658"/>
              <a:gd name="connsiteY3" fmla="*/ 115536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64831 w 4166658"/>
              <a:gd name="connsiteY17" fmla="*/ 1175079 h 4141098"/>
              <a:gd name="connsiteX18" fmla="*/ 1836587 w 4166658"/>
              <a:gd name="connsiteY18" fmla="*/ 1840977 h 4141098"/>
              <a:gd name="connsiteX19" fmla="*/ 179806 w 4166658"/>
              <a:gd name="connsiteY19" fmla="*/ 4141098 h 4141098"/>
              <a:gd name="connsiteX20" fmla="*/ 1305272 w 4166658"/>
              <a:gd name="connsiteY20" fmla="*/ 4140435 h 4141098"/>
              <a:gd name="connsiteX21" fmla="*/ 1302808 w 4166658"/>
              <a:gd name="connsiteY21" fmla="*/ 3574717 h 4141098"/>
              <a:gd name="connsiteX22" fmla="*/ 1868865 w 4166658"/>
              <a:gd name="connsiteY22" fmla="*/ 2933366 h 4141098"/>
              <a:gd name="connsiteX23" fmla="*/ 4164843 w 4166658"/>
              <a:gd name="connsiteY23" fmla="*/ 2939717 h 4141098"/>
              <a:gd name="connsiteX24" fmla="*/ 4166658 w 4166658"/>
              <a:gd name="connsiteY24"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28622 w 4166658"/>
              <a:gd name="connsiteY3" fmla="*/ 115536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64831 w 4166658"/>
              <a:gd name="connsiteY17" fmla="*/ 1175079 h 4141098"/>
              <a:gd name="connsiteX18" fmla="*/ 1836587 w 4166658"/>
              <a:gd name="connsiteY18" fmla="*/ 1840977 h 4141098"/>
              <a:gd name="connsiteX19" fmla="*/ 179806 w 4166658"/>
              <a:gd name="connsiteY19" fmla="*/ 4141098 h 4141098"/>
              <a:gd name="connsiteX20" fmla="*/ 1305272 w 4166658"/>
              <a:gd name="connsiteY20" fmla="*/ 4140435 h 4141098"/>
              <a:gd name="connsiteX21" fmla="*/ 1302808 w 4166658"/>
              <a:gd name="connsiteY21" fmla="*/ 3574717 h 4141098"/>
              <a:gd name="connsiteX22" fmla="*/ 1868865 w 4166658"/>
              <a:gd name="connsiteY22" fmla="*/ 2933366 h 4141098"/>
              <a:gd name="connsiteX23" fmla="*/ 4164843 w 4166658"/>
              <a:gd name="connsiteY23" fmla="*/ 2939717 h 4141098"/>
              <a:gd name="connsiteX24" fmla="*/ 4166658 w 4166658"/>
              <a:gd name="connsiteY24"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28622 w 4166658"/>
              <a:gd name="connsiteY3" fmla="*/ 115536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52131 w 4166658"/>
              <a:gd name="connsiteY17" fmla="*/ 1130629 h 4141098"/>
              <a:gd name="connsiteX18" fmla="*/ 1836587 w 4166658"/>
              <a:gd name="connsiteY18" fmla="*/ 1840977 h 4141098"/>
              <a:gd name="connsiteX19" fmla="*/ 179806 w 4166658"/>
              <a:gd name="connsiteY19" fmla="*/ 4141098 h 4141098"/>
              <a:gd name="connsiteX20" fmla="*/ 1305272 w 4166658"/>
              <a:gd name="connsiteY20" fmla="*/ 4140435 h 4141098"/>
              <a:gd name="connsiteX21" fmla="*/ 1302808 w 4166658"/>
              <a:gd name="connsiteY21" fmla="*/ 3574717 h 4141098"/>
              <a:gd name="connsiteX22" fmla="*/ 1868865 w 4166658"/>
              <a:gd name="connsiteY22" fmla="*/ 2933366 h 4141098"/>
              <a:gd name="connsiteX23" fmla="*/ 4164843 w 4166658"/>
              <a:gd name="connsiteY23" fmla="*/ 2939717 h 4141098"/>
              <a:gd name="connsiteX24" fmla="*/ 4166658 w 4166658"/>
              <a:gd name="connsiteY24"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41322 w 4166658"/>
              <a:gd name="connsiteY3" fmla="*/ 111091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52131 w 4166658"/>
              <a:gd name="connsiteY17" fmla="*/ 1130629 h 4141098"/>
              <a:gd name="connsiteX18" fmla="*/ 1836587 w 4166658"/>
              <a:gd name="connsiteY18" fmla="*/ 1840977 h 4141098"/>
              <a:gd name="connsiteX19" fmla="*/ 179806 w 4166658"/>
              <a:gd name="connsiteY19" fmla="*/ 4141098 h 4141098"/>
              <a:gd name="connsiteX20" fmla="*/ 1305272 w 4166658"/>
              <a:gd name="connsiteY20" fmla="*/ 4140435 h 4141098"/>
              <a:gd name="connsiteX21" fmla="*/ 1302808 w 4166658"/>
              <a:gd name="connsiteY21" fmla="*/ 3574717 h 4141098"/>
              <a:gd name="connsiteX22" fmla="*/ 1868865 w 4166658"/>
              <a:gd name="connsiteY22" fmla="*/ 2933366 h 4141098"/>
              <a:gd name="connsiteX23" fmla="*/ 4164843 w 4166658"/>
              <a:gd name="connsiteY23" fmla="*/ 2939717 h 4141098"/>
              <a:gd name="connsiteX24" fmla="*/ 4166658 w 4166658"/>
              <a:gd name="connsiteY24"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54022 w 4166658"/>
              <a:gd name="connsiteY3" fmla="*/ 112996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52131 w 4166658"/>
              <a:gd name="connsiteY17" fmla="*/ 1130629 h 4141098"/>
              <a:gd name="connsiteX18" fmla="*/ 1836587 w 4166658"/>
              <a:gd name="connsiteY18" fmla="*/ 1840977 h 4141098"/>
              <a:gd name="connsiteX19" fmla="*/ 179806 w 4166658"/>
              <a:gd name="connsiteY19" fmla="*/ 4141098 h 4141098"/>
              <a:gd name="connsiteX20" fmla="*/ 1305272 w 4166658"/>
              <a:gd name="connsiteY20" fmla="*/ 4140435 h 4141098"/>
              <a:gd name="connsiteX21" fmla="*/ 1302808 w 4166658"/>
              <a:gd name="connsiteY21" fmla="*/ 3574717 h 4141098"/>
              <a:gd name="connsiteX22" fmla="*/ 1868865 w 4166658"/>
              <a:gd name="connsiteY22" fmla="*/ 2933366 h 4141098"/>
              <a:gd name="connsiteX23" fmla="*/ 4164843 w 4166658"/>
              <a:gd name="connsiteY23" fmla="*/ 2939717 h 4141098"/>
              <a:gd name="connsiteX24" fmla="*/ 4166658 w 4166658"/>
              <a:gd name="connsiteY24" fmla="*/ 1837538 h 4141098"/>
              <a:gd name="connsiteX0" fmla="*/ 4166658 w 4166658"/>
              <a:gd name="connsiteY0" fmla="*/ 1710538 h 4014098"/>
              <a:gd name="connsiteX1" fmla="*/ 4134908 w 4166658"/>
              <a:gd name="connsiteY1" fmla="*/ 1710538 h 4014098"/>
              <a:gd name="connsiteX2" fmla="*/ 2828622 w 4166658"/>
              <a:gd name="connsiteY2" fmla="*/ 1696024 h 4014098"/>
              <a:gd name="connsiteX3" fmla="*/ 2854022 w 4166658"/>
              <a:gd name="connsiteY3" fmla="*/ 1002967 h 4014098"/>
              <a:gd name="connsiteX4" fmla="*/ 2480279 w 4166658"/>
              <a:gd name="connsiteY4" fmla="*/ 984824 h 4014098"/>
              <a:gd name="connsiteX5" fmla="*/ 2494794 w 4166658"/>
              <a:gd name="connsiteY5" fmla="*/ 534881 h 4014098"/>
              <a:gd name="connsiteX6" fmla="*/ 2625422 w 4166658"/>
              <a:gd name="connsiteY6" fmla="*/ 375224 h 4014098"/>
              <a:gd name="connsiteX7" fmla="*/ 3888165 w 4166658"/>
              <a:gd name="connsiteY7" fmla="*/ 505853 h 4014098"/>
              <a:gd name="connsiteX8" fmla="*/ 4149422 w 4166658"/>
              <a:gd name="connsiteY8" fmla="*/ 244596 h 4014098"/>
              <a:gd name="connsiteX9" fmla="*/ 4062337 w 4166658"/>
              <a:gd name="connsiteY9" fmla="*/ 157510 h 4014098"/>
              <a:gd name="connsiteX10" fmla="*/ 2588796 w 4166658"/>
              <a:gd name="connsiteY10" fmla="*/ 150593 h 4014098"/>
              <a:gd name="connsiteX11" fmla="*/ 2078641 w 4166658"/>
              <a:gd name="connsiteY11" fmla="*/ 151499 h 4014098"/>
              <a:gd name="connsiteX12" fmla="*/ 898222 w 4166658"/>
              <a:gd name="connsiteY12" fmla="*/ 41396 h 4014098"/>
              <a:gd name="connsiteX13" fmla="*/ 491822 w 4166658"/>
              <a:gd name="connsiteY13" fmla="*/ 389738 h 4014098"/>
              <a:gd name="connsiteX14" fmla="*/ 1812622 w 4166658"/>
              <a:gd name="connsiteY14" fmla="*/ 534881 h 4014098"/>
              <a:gd name="connsiteX15" fmla="*/ 2196547 w 4166658"/>
              <a:gd name="connsiteY15" fmla="*/ 574578 h 4014098"/>
              <a:gd name="connsiteX16" fmla="*/ 2151434 w 4166658"/>
              <a:gd name="connsiteY16" fmla="*/ 1007136 h 4014098"/>
              <a:gd name="connsiteX17" fmla="*/ 1852131 w 4166658"/>
              <a:gd name="connsiteY17" fmla="*/ 1003629 h 4014098"/>
              <a:gd name="connsiteX18" fmla="*/ 1836587 w 4166658"/>
              <a:gd name="connsiteY18" fmla="*/ 1713977 h 4014098"/>
              <a:gd name="connsiteX19" fmla="*/ 179806 w 4166658"/>
              <a:gd name="connsiteY19" fmla="*/ 4014098 h 4014098"/>
              <a:gd name="connsiteX20" fmla="*/ 1305272 w 4166658"/>
              <a:gd name="connsiteY20" fmla="*/ 4013435 h 4014098"/>
              <a:gd name="connsiteX21" fmla="*/ 1302808 w 4166658"/>
              <a:gd name="connsiteY21" fmla="*/ 3447717 h 4014098"/>
              <a:gd name="connsiteX22" fmla="*/ 1868865 w 4166658"/>
              <a:gd name="connsiteY22" fmla="*/ 2806366 h 4014098"/>
              <a:gd name="connsiteX23" fmla="*/ 4164843 w 4166658"/>
              <a:gd name="connsiteY23" fmla="*/ 2812717 h 4014098"/>
              <a:gd name="connsiteX24" fmla="*/ 4166658 w 4166658"/>
              <a:gd name="connsiteY24" fmla="*/ 1710538 h 4014098"/>
              <a:gd name="connsiteX0" fmla="*/ 4166658 w 4166658"/>
              <a:gd name="connsiteY0" fmla="*/ 1710538 h 4014098"/>
              <a:gd name="connsiteX1" fmla="*/ 4134908 w 4166658"/>
              <a:gd name="connsiteY1" fmla="*/ 1710538 h 4014098"/>
              <a:gd name="connsiteX2" fmla="*/ 2828622 w 4166658"/>
              <a:gd name="connsiteY2" fmla="*/ 1696024 h 4014098"/>
              <a:gd name="connsiteX3" fmla="*/ 2854022 w 4166658"/>
              <a:gd name="connsiteY3" fmla="*/ 1002967 h 4014098"/>
              <a:gd name="connsiteX4" fmla="*/ 2480279 w 4166658"/>
              <a:gd name="connsiteY4" fmla="*/ 984824 h 4014098"/>
              <a:gd name="connsiteX5" fmla="*/ 2494794 w 4166658"/>
              <a:gd name="connsiteY5" fmla="*/ 534881 h 4014098"/>
              <a:gd name="connsiteX6" fmla="*/ 2625422 w 4166658"/>
              <a:gd name="connsiteY6" fmla="*/ 375224 h 4014098"/>
              <a:gd name="connsiteX7" fmla="*/ 3888165 w 4166658"/>
              <a:gd name="connsiteY7" fmla="*/ 505853 h 4014098"/>
              <a:gd name="connsiteX8" fmla="*/ 4149422 w 4166658"/>
              <a:gd name="connsiteY8" fmla="*/ 244596 h 4014098"/>
              <a:gd name="connsiteX9" fmla="*/ 4062337 w 4166658"/>
              <a:gd name="connsiteY9" fmla="*/ 157510 h 4014098"/>
              <a:gd name="connsiteX10" fmla="*/ 2588796 w 4166658"/>
              <a:gd name="connsiteY10" fmla="*/ 150593 h 4014098"/>
              <a:gd name="connsiteX11" fmla="*/ 2078641 w 4166658"/>
              <a:gd name="connsiteY11" fmla="*/ 151499 h 4014098"/>
              <a:gd name="connsiteX12" fmla="*/ 898222 w 4166658"/>
              <a:gd name="connsiteY12" fmla="*/ 41396 h 4014098"/>
              <a:gd name="connsiteX13" fmla="*/ 491822 w 4166658"/>
              <a:gd name="connsiteY13" fmla="*/ 389738 h 4014098"/>
              <a:gd name="connsiteX14" fmla="*/ 2053922 w 4166658"/>
              <a:gd name="connsiteY14" fmla="*/ 401531 h 4014098"/>
              <a:gd name="connsiteX15" fmla="*/ 2196547 w 4166658"/>
              <a:gd name="connsiteY15" fmla="*/ 574578 h 4014098"/>
              <a:gd name="connsiteX16" fmla="*/ 2151434 w 4166658"/>
              <a:gd name="connsiteY16" fmla="*/ 1007136 h 4014098"/>
              <a:gd name="connsiteX17" fmla="*/ 1852131 w 4166658"/>
              <a:gd name="connsiteY17" fmla="*/ 1003629 h 4014098"/>
              <a:gd name="connsiteX18" fmla="*/ 1836587 w 4166658"/>
              <a:gd name="connsiteY18" fmla="*/ 1713977 h 4014098"/>
              <a:gd name="connsiteX19" fmla="*/ 179806 w 4166658"/>
              <a:gd name="connsiteY19" fmla="*/ 4014098 h 4014098"/>
              <a:gd name="connsiteX20" fmla="*/ 1305272 w 4166658"/>
              <a:gd name="connsiteY20" fmla="*/ 4013435 h 4014098"/>
              <a:gd name="connsiteX21" fmla="*/ 1302808 w 4166658"/>
              <a:gd name="connsiteY21" fmla="*/ 3447717 h 4014098"/>
              <a:gd name="connsiteX22" fmla="*/ 1868865 w 4166658"/>
              <a:gd name="connsiteY22" fmla="*/ 2806366 h 4014098"/>
              <a:gd name="connsiteX23" fmla="*/ 4164843 w 4166658"/>
              <a:gd name="connsiteY23" fmla="*/ 2812717 h 4014098"/>
              <a:gd name="connsiteX24" fmla="*/ 4166658 w 4166658"/>
              <a:gd name="connsiteY24" fmla="*/ 1710538 h 4014098"/>
              <a:gd name="connsiteX0" fmla="*/ 4166658 w 4166658"/>
              <a:gd name="connsiteY0" fmla="*/ 1710538 h 4014098"/>
              <a:gd name="connsiteX1" fmla="*/ 4134908 w 4166658"/>
              <a:gd name="connsiteY1" fmla="*/ 1710538 h 4014098"/>
              <a:gd name="connsiteX2" fmla="*/ 2828622 w 4166658"/>
              <a:gd name="connsiteY2" fmla="*/ 1696024 h 4014098"/>
              <a:gd name="connsiteX3" fmla="*/ 2854022 w 4166658"/>
              <a:gd name="connsiteY3" fmla="*/ 1002967 h 4014098"/>
              <a:gd name="connsiteX4" fmla="*/ 2480279 w 4166658"/>
              <a:gd name="connsiteY4" fmla="*/ 984824 h 4014098"/>
              <a:gd name="connsiteX5" fmla="*/ 2494794 w 4166658"/>
              <a:gd name="connsiteY5" fmla="*/ 534881 h 4014098"/>
              <a:gd name="connsiteX6" fmla="*/ 2625422 w 4166658"/>
              <a:gd name="connsiteY6" fmla="*/ 375224 h 4014098"/>
              <a:gd name="connsiteX7" fmla="*/ 3888165 w 4166658"/>
              <a:gd name="connsiteY7" fmla="*/ 505853 h 4014098"/>
              <a:gd name="connsiteX8" fmla="*/ 4149422 w 4166658"/>
              <a:gd name="connsiteY8" fmla="*/ 244596 h 4014098"/>
              <a:gd name="connsiteX9" fmla="*/ 4062337 w 4166658"/>
              <a:gd name="connsiteY9" fmla="*/ 157510 h 4014098"/>
              <a:gd name="connsiteX10" fmla="*/ 2588796 w 4166658"/>
              <a:gd name="connsiteY10" fmla="*/ 150593 h 4014098"/>
              <a:gd name="connsiteX11" fmla="*/ 2078641 w 4166658"/>
              <a:gd name="connsiteY11" fmla="*/ 151499 h 4014098"/>
              <a:gd name="connsiteX12" fmla="*/ 898222 w 4166658"/>
              <a:gd name="connsiteY12" fmla="*/ 41396 h 4014098"/>
              <a:gd name="connsiteX13" fmla="*/ 523572 w 4166658"/>
              <a:gd name="connsiteY13" fmla="*/ 275438 h 4014098"/>
              <a:gd name="connsiteX14" fmla="*/ 2053922 w 4166658"/>
              <a:gd name="connsiteY14" fmla="*/ 401531 h 4014098"/>
              <a:gd name="connsiteX15" fmla="*/ 2196547 w 4166658"/>
              <a:gd name="connsiteY15" fmla="*/ 574578 h 4014098"/>
              <a:gd name="connsiteX16" fmla="*/ 2151434 w 4166658"/>
              <a:gd name="connsiteY16" fmla="*/ 1007136 h 4014098"/>
              <a:gd name="connsiteX17" fmla="*/ 1852131 w 4166658"/>
              <a:gd name="connsiteY17" fmla="*/ 1003629 h 4014098"/>
              <a:gd name="connsiteX18" fmla="*/ 1836587 w 4166658"/>
              <a:gd name="connsiteY18" fmla="*/ 1713977 h 4014098"/>
              <a:gd name="connsiteX19" fmla="*/ 179806 w 4166658"/>
              <a:gd name="connsiteY19" fmla="*/ 4014098 h 4014098"/>
              <a:gd name="connsiteX20" fmla="*/ 1305272 w 4166658"/>
              <a:gd name="connsiteY20" fmla="*/ 4013435 h 4014098"/>
              <a:gd name="connsiteX21" fmla="*/ 1302808 w 4166658"/>
              <a:gd name="connsiteY21" fmla="*/ 3447717 h 4014098"/>
              <a:gd name="connsiteX22" fmla="*/ 1868865 w 4166658"/>
              <a:gd name="connsiteY22" fmla="*/ 2806366 h 4014098"/>
              <a:gd name="connsiteX23" fmla="*/ 4164843 w 4166658"/>
              <a:gd name="connsiteY23" fmla="*/ 2812717 h 4014098"/>
              <a:gd name="connsiteX24" fmla="*/ 4166658 w 4166658"/>
              <a:gd name="connsiteY24" fmla="*/ 1710538 h 4014098"/>
              <a:gd name="connsiteX0" fmla="*/ 4166658 w 4166658"/>
              <a:gd name="connsiteY0" fmla="*/ 1710538 h 4014098"/>
              <a:gd name="connsiteX1" fmla="*/ 4134908 w 4166658"/>
              <a:gd name="connsiteY1" fmla="*/ 1710538 h 4014098"/>
              <a:gd name="connsiteX2" fmla="*/ 2828622 w 4166658"/>
              <a:gd name="connsiteY2" fmla="*/ 1696024 h 4014098"/>
              <a:gd name="connsiteX3" fmla="*/ 2854022 w 4166658"/>
              <a:gd name="connsiteY3" fmla="*/ 1002967 h 4014098"/>
              <a:gd name="connsiteX4" fmla="*/ 2480279 w 4166658"/>
              <a:gd name="connsiteY4" fmla="*/ 984824 h 4014098"/>
              <a:gd name="connsiteX5" fmla="*/ 2494794 w 4166658"/>
              <a:gd name="connsiteY5" fmla="*/ 534881 h 4014098"/>
              <a:gd name="connsiteX6" fmla="*/ 2625422 w 4166658"/>
              <a:gd name="connsiteY6" fmla="*/ 375224 h 4014098"/>
              <a:gd name="connsiteX7" fmla="*/ 3888165 w 4166658"/>
              <a:gd name="connsiteY7" fmla="*/ 505853 h 4014098"/>
              <a:gd name="connsiteX8" fmla="*/ 4149422 w 4166658"/>
              <a:gd name="connsiteY8" fmla="*/ 244596 h 4014098"/>
              <a:gd name="connsiteX9" fmla="*/ 2588796 w 4166658"/>
              <a:gd name="connsiteY9" fmla="*/ 150593 h 4014098"/>
              <a:gd name="connsiteX10" fmla="*/ 2078641 w 4166658"/>
              <a:gd name="connsiteY10" fmla="*/ 151499 h 4014098"/>
              <a:gd name="connsiteX11" fmla="*/ 898222 w 4166658"/>
              <a:gd name="connsiteY11" fmla="*/ 41396 h 4014098"/>
              <a:gd name="connsiteX12" fmla="*/ 523572 w 4166658"/>
              <a:gd name="connsiteY12" fmla="*/ 275438 h 4014098"/>
              <a:gd name="connsiteX13" fmla="*/ 2053922 w 4166658"/>
              <a:gd name="connsiteY13" fmla="*/ 401531 h 4014098"/>
              <a:gd name="connsiteX14" fmla="*/ 2196547 w 4166658"/>
              <a:gd name="connsiteY14" fmla="*/ 574578 h 4014098"/>
              <a:gd name="connsiteX15" fmla="*/ 2151434 w 4166658"/>
              <a:gd name="connsiteY15" fmla="*/ 1007136 h 4014098"/>
              <a:gd name="connsiteX16" fmla="*/ 1852131 w 4166658"/>
              <a:gd name="connsiteY16" fmla="*/ 1003629 h 4014098"/>
              <a:gd name="connsiteX17" fmla="*/ 1836587 w 4166658"/>
              <a:gd name="connsiteY17" fmla="*/ 1713977 h 4014098"/>
              <a:gd name="connsiteX18" fmla="*/ 179806 w 4166658"/>
              <a:gd name="connsiteY18" fmla="*/ 4014098 h 4014098"/>
              <a:gd name="connsiteX19" fmla="*/ 1305272 w 4166658"/>
              <a:gd name="connsiteY19" fmla="*/ 4013435 h 4014098"/>
              <a:gd name="connsiteX20" fmla="*/ 1302808 w 4166658"/>
              <a:gd name="connsiteY20" fmla="*/ 3447717 h 4014098"/>
              <a:gd name="connsiteX21" fmla="*/ 1868865 w 4166658"/>
              <a:gd name="connsiteY21" fmla="*/ 2806366 h 4014098"/>
              <a:gd name="connsiteX22" fmla="*/ 4164843 w 4166658"/>
              <a:gd name="connsiteY22" fmla="*/ 2812717 h 4014098"/>
              <a:gd name="connsiteX23" fmla="*/ 4166658 w 4166658"/>
              <a:gd name="connsiteY23" fmla="*/ 1710538 h 4014098"/>
              <a:gd name="connsiteX0" fmla="*/ 4166658 w 4166658"/>
              <a:gd name="connsiteY0" fmla="*/ 1710538 h 4014098"/>
              <a:gd name="connsiteX1" fmla="*/ 4134908 w 4166658"/>
              <a:gd name="connsiteY1" fmla="*/ 1710538 h 4014098"/>
              <a:gd name="connsiteX2" fmla="*/ 2828622 w 4166658"/>
              <a:gd name="connsiteY2" fmla="*/ 1696024 h 4014098"/>
              <a:gd name="connsiteX3" fmla="*/ 2854022 w 4166658"/>
              <a:gd name="connsiteY3" fmla="*/ 1002967 h 4014098"/>
              <a:gd name="connsiteX4" fmla="*/ 2480279 w 4166658"/>
              <a:gd name="connsiteY4" fmla="*/ 984824 h 4014098"/>
              <a:gd name="connsiteX5" fmla="*/ 2494794 w 4166658"/>
              <a:gd name="connsiteY5" fmla="*/ 534881 h 4014098"/>
              <a:gd name="connsiteX6" fmla="*/ 2625422 w 4166658"/>
              <a:gd name="connsiteY6" fmla="*/ 375224 h 4014098"/>
              <a:gd name="connsiteX7" fmla="*/ 4149422 w 4166658"/>
              <a:gd name="connsiteY7" fmla="*/ 244596 h 4014098"/>
              <a:gd name="connsiteX8" fmla="*/ 2588796 w 4166658"/>
              <a:gd name="connsiteY8" fmla="*/ 150593 h 4014098"/>
              <a:gd name="connsiteX9" fmla="*/ 2078641 w 4166658"/>
              <a:gd name="connsiteY9" fmla="*/ 151499 h 4014098"/>
              <a:gd name="connsiteX10" fmla="*/ 898222 w 4166658"/>
              <a:gd name="connsiteY10" fmla="*/ 41396 h 4014098"/>
              <a:gd name="connsiteX11" fmla="*/ 523572 w 4166658"/>
              <a:gd name="connsiteY11" fmla="*/ 275438 h 4014098"/>
              <a:gd name="connsiteX12" fmla="*/ 2053922 w 4166658"/>
              <a:gd name="connsiteY12" fmla="*/ 401531 h 4014098"/>
              <a:gd name="connsiteX13" fmla="*/ 2196547 w 4166658"/>
              <a:gd name="connsiteY13" fmla="*/ 574578 h 4014098"/>
              <a:gd name="connsiteX14" fmla="*/ 2151434 w 4166658"/>
              <a:gd name="connsiteY14" fmla="*/ 1007136 h 4014098"/>
              <a:gd name="connsiteX15" fmla="*/ 1852131 w 4166658"/>
              <a:gd name="connsiteY15" fmla="*/ 1003629 h 4014098"/>
              <a:gd name="connsiteX16" fmla="*/ 1836587 w 4166658"/>
              <a:gd name="connsiteY16" fmla="*/ 1713977 h 4014098"/>
              <a:gd name="connsiteX17" fmla="*/ 179806 w 4166658"/>
              <a:gd name="connsiteY17" fmla="*/ 4014098 h 4014098"/>
              <a:gd name="connsiteX18" fmla="*/ 1305272 w 4166658"/>
              <a:gd name="connsiteY18" fmla="*/ 4013435 h 4014098"/>
              <a:gd name="connsiteX19" fmla="*/ 1302808 w 4166658"/>
              <a:gd name="connsiteY19" fmla="*/ 3447717 h 4014098"/>
              <a:gd name="connsiteX20" fmla="*/ 1868865 w 4166658"/>
              <a:gd name="connsiteY20" fmla="*/ 2806366 h 4014098"/>
              <a:gd name="connsiteX21" fmla="*/ 4164843 w 4166658"/>
              <a:gd name="connsiteY21" fmla="*/ 2812717 h 4014098"/>
              <a:gd name="connsiteX22" fmla="*/ 4166658 w 4166658"/>
              <a:gd name="connsiteY22" fmla="*/ 1710538 h 4014098"/>
              <a:gd name="connsiteX0" fmla="*/ 4166658 w 4166658"/>
              <a:gd name="connsiteY0" fmla="*/ 1710538 h 4014098"/>
              <a:gd name="connsiteX1" fmla="*/ 4134908 w 4166658"/>
              <a:gd name="connsiteY1" fmla="*/ 1710538 h 4014098"/>
              <a:gd name="connsiteX2" fmla="*/ 2828622 w 4166658"/>
              <a:gd name="connsiteY2" fmla="*/ 1696024 h 4014098"/>
              <a:gd name="connsiteX3" fmla="*/ 2854022 w 4166658"/>
              <a:gd name="connsiteY3" fmla="*/ 1002967 h 4014098"/>
              <a:gd name="connsiteX4" fmla="*/ 2480279 w 4166658"/>
              <a:gd name="connsiteY4" fmla="*/ 984824 h 4014098"/>
              <a:gd name="connsiteX5" fmla="*/ 2494794 w 4166658"/>
              <a:gd name="connsiteY5" fmla="*/ 534881 h 4014098"/>
              <a:gd name="connsiteX6" fmla="*/ 2625422 w 4166658"/>
              <a:gd name="connsiteY6" fmla="*/ 375224 h 4014098"/>
              <a:gd name="connsiteX7" fmla="*/ 4149422 w 4166658"/>
              <a:gd name="connsiteY7" fmla="*/ 244596 h 4014098"/>
              <a:gd name="connsiteX8" fmla="*/ 2588796 w 4166658"/>
              <a:gd name="connsiteY8" fmla="*/ 150593 h 4014098"/>
              <a:gd name="connsiteX9" fmla="*/ 2078641 w 4166658"/>
              <a:gd name="connsiteY9" fmla="*/ 151499 h 4014098"/>
              <a:gd name="connsiteX10" fmla="*/ 523572 w 4166658"/>
              <a:gd name="connsiteY10" fmla="*/ 275438 h 4014098"/>
              <a:gd name="connsiteX11" fmla="*/ 2053922 w 4166658"/>
              <a:gd name="connsiteY11" fmla="*/ 401531 h 4014098"/>
              <a:gd name="connsiteX12" fmla="*/ 2196547 w 4166658"/>
              <a:gd name="connsiteY12" fmla="*/ 574578 h 4014098"/>
              <a:gd name="connsiteX13" fmla="*/ 2151434 w 4166658"/>
              <a:gd name="connsiteY13" fmla="*/ 1007136 h 4014098"/>
              <a:gd name="connsiteX14" fmla="*/ 1852131 w 4166658"/>
              <a:gd name="connsiteY14" fmla="*/ 1003629 h 4014098"/>
              <a:gd name="connsiteX15" fmla="*/ 1836587 w 4166658"/>
              <a:gd name="connsiteY15" fmla="*/ 1713977 h 4014098"/>
              <a:gd name="connsiteX16" fmla="*/ 179806 w 4166658"/>
              <a:gd name="connsiteY16" fmla="*/ 4014098 h 4014098"/>
              <a:gd name="connsiteX17" fmla="*/ 1305272 w 4166658"/>
              <a:gd name="connsiteY17" fmla="*/ 4013435 h 4014098"/>
              <a:gd name="connsiteX18" fmla="*/ 1302808 w 4166658"/>
              <a:gd name="connsiteY18" fmla="*/ 3447717 h 4014098"/>
              <a:gd name="connsiteX19" fmla="*/ 1868865 w 4166658"/>
              <a:gd name="connsiteY19" fmla="*/ 2806366 h 4014098"/>
              <a:gd name="connsiteX20" fmla="*/ 4164843 w 4166658"/>
              <a:gd name="connsiteY20" fmla="*/ 2812717 h 4014098"/>
              <a:gd name="connsiteX21" fmla="*/ 4166658 w 4166658"/>
              <a:gd name="connsiteY21" fmla="*/ 1710538 h 4014098"/>
              <a:gd name="connsiteX0" fmla="*/ 4166658 w 4166658"/>
              <a:gd name="connsiteY0" fmla="*/ 1710538 h 4014098"/>
              <a:gd name="connsiteX1" fmla="*/ 4134908 w 4166658"/>
              <a:gd name="connsiteY1" fmla="*/ 1710538 h 4014098"/>
              <a:gd name="connsiteX2" fmla="*/ 2828622 w 4166658"/>
              <a:gd name="connsiteY2" fmla="*/ 1696024 h 4014098"/>
              <a:gd name="connsiteX3" fmla="*/ 2854022 w 4166658"/>
              <a:gd name="connsiteY3" fmla="*/ 1002967 h 4014098"/>
              <a:gd name="connsiteX4" fmla="*/ 2480279 w 4166658"/>
              <a:gd name="connsiteY4" fmla="*/ 984824 h 4014098"/>
              <a:gd name="connsiteX5" fmla="*/ 2494794 w 4166658"/>
              <a:gd name="connsiteY5" fmla="*/ 534881 h 4014098"/>
              <a:gd name="connsiteX6" fmla="*/ 2625422 w 4166658"/>
              <a:gd name="connsiteY6" fmla="*/ 375224 h 4014098"/>
              <a:gd name="connsiteX7" fmla="*/ 4149422 w 4166658"/>
              <a:gd name="connsiteY7" fmla="*/ 244596 h 4014098"/>
              <a:gd name="connsiteX8" fmla="*/ 2588796 w 4166658"/>
              <a:gd name="connsiteY8" fmla="*/ 150593 h 4014098"/>
              <a:gd name="connsiteX9" fmla="*/ 2306108 w 4166658"/>
              <a:gd name="connsiteY9" fmla="*/ 18717 h 4014098"/>
              <a:gd name="connsiteX10" fmla="*/ 2078641 w 4166658"/>
              <a:gd name="connsiteY10" fmla="*/ 151499 h 4014098"/>
              <a:gd name="connsiteX11" fmla="*/ 523572 w 4166658"/>
              <a:gd name="connsiteY11" fmla="*/ 275438 h 4014098"/>
              <a:gd name="connsiteX12" fmla="*/ 2053922 w 4166658"/>
              <a:gd name="connsiteY12" fmla="*/ 401531 h 4014098"/>
              <a:gd name="connsiteX13" fmla="*/ 2196547 w 4166658"/>
              <a:gd name="connsiteY13" fmla="*/ 574578 h 4014098"/>
              <a:gd name="connsiteX14" fmla="*/ 2151434 w 4166658"/>
              <a:gd name="connsiteY14" fmla="*/ 1007136 h 4014098"/>
              <a:gd name="connsiteX15" fmla="*/ 1852131 w 4166658"/>
              <a:gd name="connsiteY15" fmla="*/ 1003629 h 4014098"/>
              <a:gd name="connsiteX16" fmla="*/ 1836587 w 4166658"/>
              <a:gd name="connsiteY16" fmla="*/ 1713977 h 4014098"/>
              <a:gd name="connsiteX17" fmla="*/ 179806 w 4166658"/>
              <a:gd name="connsiteY17" fmla="*/ 4014098 h 4014098"/>
              <a:gd name="connsiteX18" fmla="*/ 1305272 w 4166658"/>
              <a:gd name="connsiteY18" fmla="*/ 4013435 h 4014098"/>
              <a:gd name="connsiteX19" fmla="*/ 1302808 w 4166658"/>
              <a:gd name="connsiteY19" fmla="*/ 3447717 h 4014098"/>
              <a:gd name="connsiteX20" fmla="*/ 1868865 w 4166658"/>
              <a:gd name="connsiteY20" fmla="*/ 2806366 h 4014098"/>
              <a:gd name="connsiteX21" fmla="*/ 4164843 w 4166658"/>
              <a:gd name="connsiteY21" fmla="*/ 2812717 h 4014098"/>
              <a:gd name="connsiteX22" fmla="*/ 4166658 w 4166658"/>
              <a:gd name="connsiteY22" fmla="*/ 1710538 h 4014098"/>
              <a:gd name="connsiteX0" fmla="*/ 4166658 w 4166658"/>
              <a:gd name="connsiteY0" fmla="*/ 1710538 h 4014098"/>
              <a:gd name="connsiteX1" fmla="*/ 4134908 w 4166658"/>
              <a:gd name="connsiteY1" fmla="*/ 1710538 h 4014098"/>
              <a:gd name="connsiteX2" fmla="*/ 2828622 w 4166658"/>
              <a:gd name="connsiteY2" fmla="*/ 1696024 h 4014098"/>
              <a:gd name="connsiteX3" fmla="*/ 2854022 w 4166658"/>
              <a:gd name="connsiteY3" fmla="*/ 1002967 h 4014098"/>
              <a:gd name="connsiteX4" fmla="*/ 2480279 w 4166658"/>
              <a:gd name="connsiteY4" fmla="*/ 984824 h 4014098"/>
              <a:gd name="connsiteX5" fmla="*/ 2494794 w 4166658"/>
              <a:gd name="connsiteY5" fmla="*/ 534881 h 4014098"/>
              <a:gd name="connsiteX6" fmla="*/ 2625422 w 4166658"/>
              <a:gd name="connsiteY6" fmla="*/ 375224 h 4014098"/>
              <a:gd name="connsiteX7" fmla="*/ 4149422 w 4166658"/>
              <a:gd name="connsiteY7" fmla="*/ 244596 h 4014098"/>
              <a:gd name="connsiteX8" fmla="*/ 2588796 w 4166658"/>
              <a:gd name="connsiteY8" fmla="*/ 150593 h 4014098"/>
              <a:gd name="connsiteX9" fmla="*/ 2306108 w 4166658"/>
              <a:gd name="connsiteY9" fmla="*/ 18717 h 4014098"/>
              <a:gd name="connsiteX10" fmla="*/ 2078641 w 4166658"/>
              <a:gd name="connsiteY10" fmla="*/ 151499 h 4014098"/>
              <a:gd name="connsiteX11" fmla="*/ 523572 w 4166658"/>
              <a:gd name="connsiteY11" fmla="*/ 275438 h 4014098"/>
              <a:gd name="connsiteX12" fmla="*/ 2053922 w 4166658"/>
              <a:gd name="connsiteY12" fmla="*/ 401531 h 4014098"/>
              <a:gd name="connsiteX13" fmla="*/ 2196547 w 4166658"/>
              <a:gd name="connsiteY13" fmla="*/ 574578 h 4014098"/>
              <a:gd name="connsiteX14" fmla="*/ 2151434 w 4166658"/>
              <a:gd name="connsiteY14" fmla="*/ 1007136 h 4014098"/>
              <a:gd name="connsiteX15" fmla="*/ 1852131 w 4166658"/>
              <a:gd name="connsiteY15" fmla="*/ 1003629 h 4014098"/>
              <a:gd name="connsiteX16" fmla="*/ 1836587 w 4166658"/>
              <a:gd name="connsiteY16" fmla="*/ 1713977 h 4014098"/>
              <a:gd name="connsiteX17" fmla="*/ 179806 w 4166658"/>
              <a:gd name="connsiteY17" fmla="*/ 4014098 h 4014098"/>
              <a:gd name="connsiteX18" fmla="*/ 1305272 w 4166658"/>
              <a:gd name="connsiteY18" fmla="*/ 4013435 h 4014098"/>
              <a:gd name="connsiteX19" fmla="*/ 1302808 w 4166658"/>
              <a:gd name="connsiteY19" fmla="*/ 3447717 h 4014098"/>
              <a:gd name="connsiteX20" fmla="*/ 1868865 w 4166658"/>
              <a:gd name="connsiteY20" fmla="*/ 2806366 h 4014098"/>
              <a:gd name="connsiteX21" fmla="*/ 4164843 w 4166658"/>
              <a:gd name="connsiteY21" fmla="*/ 2812717 h 4014098"/>
              <a:gd name="connsiteX22" fmla="*/ 4166658 w 4166658"/>
              <a:gd name="connsiteY22" fmla="*/ 1710538 h 4014098"/>
              <a:gd name="connsiteX0" fmla="*/ 4166658 w 4166658"/>
              <a:gd name="connsiteY0" fmla="*/ 1710538 h 4014098"/>
              <a:gd name="connsiteX1" fmla="*/ 4134908 w 4166658"/>
              <a:gd name="connsiteY1" fmla="*/ 1710538 h 4014098"/>
              <a:gd name="connsiteX2" fmla="*/ 2828622 w 4166658"/>
              <a:gd name="connsiteY2" fmla="*/ 1696024 h 4014098"/>
              <a:gd name="connsiteX3" fmla="*/ 2854022 w 4166658"/>
              <a:gd name="connsiteY3" fmla="*/ 1002967 h 4014098"/>
              <a:gd name="connsiteX4" fmla="*/ 2480279 w 4166658"/>
              <a:gd name="connsiteY4" fmla="*/ 984824 h 4014098"/>
              <a:gd name="connsiteX5" fmla="*/ 2494794 w 4166658"/>
              <a:gd name="connsiteY5" fmla="*/ 534881 h 4014098"/>
              <a:gd name="connsiteX6" fmla="*/ 2625422 w 4166658"/>
              <a:gd name="connsiteY6" fmla="*/ 375224 h 4014098"/>
              <a:gd name="connsiteX7" fmla="*/ 4149422 w 4166658"/>
              <a:gd name="connsiteY7" fmla="*/ 244596 h 4014098"/>
              <a:gd name="connsiteX8" fmla="*/ 2588796 w 4166658"/>
              <a:gd name="connsiteY8" fmla="*/ 150593 h 4014098"/>
              <a:gd name="connsiteX9" fmla="*/ 2306108 w 4166658"/>
              <a:gd name="connsiteY9" fmla="*/ 18717 h 4014098"/>
              <a:gd name="connsiteX10" fmla="*/ 2078641 w 4166658"/>
              <a:gd name="connsiteY10" fmla="*/ 151499 h 4014098"/>
              <a:gd name="connsiteX11" fmla="*/ 523572 w 4166658"/>
              <a:gd name="connsiteY11" fmla="*/ 275438 h 4014098"/>
              <a:gd name="connsiteX12" fmla="*/ 2053922 w 4166658"/>
              <a:gd name="connsiteY12" fmla="*/ 401531 h 4014098"/>
              <a:gd name="connsiteX13" fmla="*/ 2196547 w 4166658"/>
              <a:gd name="connsiteY13" fmla="*/ 574578 h 4014098"/>
              <a:gd name="connsiteX14" fmla="*/ 2151434 w 4166658"/>
              <a:gd name="connsiteY14" fmla="*/ 1007136 h 4014098"/>
              <a:gd name="connsiteX15" fmla="*/ 1852131 w 4166658"/>
              <a:gd name="connsiteY15" fmla="*/ 1003629 h 4014098"/>
              <a:gd name="connsiteX16" fmla="*/ 1836587 w 4166658"/>
              <a:gd name="connsiteY16" fmla="*/ 1713977 h 4014098"/>
              <a:gd name="connsiteX17" fmla="*/ 179806 w 4166658"/>
              <a:gd name="connsiteY17" fmla="*/ 4014098 h 4014098"/>
              <a:gd name="connsiteX18" fmla="*/ 1305272 w 4166658"/>
              <a:gd name="connsiteY18" fmla="*/ 4013435 h 4014098"/>
              <a:gd name="connsiteX19" fmla="*/ 1302808 w 4166658"/>
              <a:gd name="connsiteY19" fmla="*/ 3447717 h 4014098"/>
              <a:gd name="connsiteX20" fmla="*/ 1868865 w 4166658"/>
              <a:gd name="connsiteY20" fmla="*/ 2806366 h 4014098"/>
              <a:gd name="connsiteX21" fmla="*/ 4164843 w 4166658"/>
              <a:gd name="connsiteY21" fmla="*/ 2812717 h 4014098"/>
              <a:gd name="connsiteX22" fmla="*/ 4166658 w 4166658"/>
              <a:gd name="connsiteY22" fmla="*/ 1710538 h 4014098"/>
              <a:gd name="connsiteX0" fmla="*/ 4166658 w 4166658"/>
              <a:gd name="connsiteY0" fmla="*/ 1710538 h 4014098"/>
              <a:gd name="connsiteX1" fmla="*/ 4134908 w 4166658"/>
              <a:gd name="connsiteY1" fmla="*/ 1710538 h 4014098"/>
              <a:gd name="connsiteX2" fmla="*/ 2828622 w 4166658"/>
              <a:gd name="connsiteY2" fmla="*/ 1696024 h 4014098"/>
              <a:gd name="connsiteX3" fmla="*/ 2854022 w 4166658"/>
              <a:gd name="connsiteY3" fmla="*/ 1002967 h 4014098"/>
              <a:gd name="connsiteX4" fmla="*/ 2480279 w 4166658"/>
              <a:gd name="connsiteY4" fmla="*/ 984824 h 4014098"/>
              <a:gd name="connsiteX5" fmla="*/ 2494794 w 4166658"/>
              <a:gd name="connsiteY5" fmla="*/ 534881 h 4014098"/>
              <a:gd name="connsiteX6" fmla="*/ 2625422 w 4166658"/>
              <a:gd name="connsiteY6" fmla="*/ 375224 h 4014098"/>
              <a:gd name="connsiteX7" fmla="*/ 4149422 w 4166658"/>
              <a:gd name="connsiteY7" fmla="*/ 244596 h 4014098"/>
              <a:gd name="connsiteX8" fmla="*/ 2588796 w 4166658"/>
              <a:gd name="connsiteY8" fmla="*/ 150593 h 4014098"/>
              <a:gd name="connsiteX9" fmla="*/ 2078641 w 4166658"/>
              <a:gd name="connsiteY9" fmla="*/ 151499 h 4014098"/>
              <a:gd name="connsiteX10" fmla="*/ 523572 w 4166658"/>
              <a:gd name="connsiteY10" fmla="*/ 275438 h 4014098"/>
              <a:gd name="connsiteX11" fmla="*/ 2053922 w 4166658"/>
              <a:gd name="connsiteY11" fmla="*/ 401531 h 4014098"/>
              <a:gd name="connsiteX12" fmla="*/ 2196547 w 4166658"/>
              <a:gd name="connsiteY12" fmla="*/ 574578 h 4014098"/>
              <a:gd name="connsiteX13" fmla="*/ 2151434 w 4166658"/>
              <a:gd name="connsiteY13" fmla="*/ 1007136 h 4014098"/>
              <a:gd name="connsiteX14" fmla="*/ 1852131 w 4166658"/>
              <a:gd name="connsiteY14" fmla="*/ 1003629 h 4014098"/>
              <a:gd name="connsiteX15" fmla="*/ 1836587 w 4166658"/>
              <a:gd name="connsiteY15" fmla="*/ 1713977 h 4014098"/>
              <a:gd name="connsiteX16" fmla="*/ 179806 w 4166658"/>
              <a:gd name="connsiteY16" fmla="*/ 4014098 h 4014098"/>
              <a:gd name="connsiteX17" fmla="*/ 1305272 w 4166658"/>
              <a:gd name="connsiteY17" fmla="*/ 4013435 h 4014098"/>
              <a:gd name="connsiteX18" fmla="*/ 1302808 w 4166658"/>
              <a:gd name="connsiteY18" fmla="*/ 3447717 h 4014098"/>
              <a:gd name="connsiteX19" fmla="*/ 1868865 w 4166658"/>
              <a:gd name="connsiteY19" fmla="*/ 2806366 h 4014098"/>
              <a:gd name="connsiteX20" fmla="*/ 4164843 w 4166658"/>
              <a:gd name="connsiteY20" fmla="*/ 2812717 h 4014098"/>
              <a:gd name="connsiteX21" fmla="*/ 4166658 w 4166658"/>
              <a:gd name="connsiteY21" fmla="*/ 1710538 h 4014098"/>
              <a:gd name="connsiteX0" fmla="*/ 4166658 w 4166658"/>
              <a:gd name="connsiteY0" fmla="*/ 1871946 h 4175506"/>
              <a:gd name="connsiteX1" fmla="*/ 4134908 w 4166658"/>
              <a:gd name="connsiteY1" fmla="*/ 1871946 h 4175506"/>
              <a:gd name="connsiteX2" fmla="*/ 2828622 w 4166658"/>
              <a:gd name="connsiteY2" fmla="*/ 1857432 h 4175506"/>
              <a:gd name="connsiteX3" fmla="*/ 2854022 w 4166658"/>
              <a:gd name="connsiteY3" fmla="*/ 1164375 h 4175506"/>
              <a:gd name="connsiteX4" fmla="*/ 2480279 w 4166658"/>
              <a:gd name="connsiteY4" fmla="*/ 1146232 h 4175506"/>
              <a:gd name="connsiteX5" fmla="*/ 2494794 w 4166658"/>
              <a:gd name="connsiteY5" fmla="*/ 696289 h 4175506"/>
              <a:gd name="connsiteX6" fmla="*/ 2625422 w 4166658"/>
              <a:gd name="connsiteY6" fmla="*/ 536632 h 4175506"/>
              <a:gd name="connsiteX7" fmla="*/ 4149422 w 4166658"/>
              <a:gd name="connsiteY7" fmla="*/ 406004 h 4175506"/>
              <a:gd name="connsiteX8" fmla="*/ 2588796 w 4166658"/>
              <a:gd name="connsiteY8" fmla="*/ 312001 h 4175506"/>
              <a:gd name="connsiteX9" fmla="*/ 2078641 w 4166658"/>
              <a:gd name="connsiteY9" fmla="*/ 312907 h 4175506"/>
              <a:gd name="connsiteX10" fmla="*/ 523572 w 4166658"/>
              <a:gd name="connsiteY10" fmla="*/ 436846 h 4175506"/>
              <a:gd name="connsiteX11" fmla="*/ 2053922 w 4166658"/>
              <a:gd name="connsiteY11" fmla="*/ 562939 h 4175506"/>
              <a:gd name="connsiteX12" fmla="*/ 2196547 w 4166658"/>
              <a:gd name="connsiteY12" fmla="*/ 735986 h 4175506"/>
              <a:gd name="connsiteX13" fmla="*/ 2151434 w 4166658"/>
              <a:gd name="connsiteY13" fmla="*/ 1168544 h 4175506"/>
              <a:gd name="connsiteX14" fmla="*/ 1852131 w 4166658"/>
              <a:gd name="connsiteY14" fmla="*/ 1165037 h 4175506"/>
              <a:gd name="connsiteX15" fmla="*/ 1836587 w 4166658"/>
              <a:gd name="connsiteY15" fmla="*/ 1875385 h 4175506"/>
              <a:gd name="connsiteX16" fmla="*/ 179806 w 4166658"/>
              <a:gd name="connsiteY16" fmla="*/ 4175506 h 4175506"/>
              <a:gd name="connsiteX17" fmla="*/ 1305272 w 4166658"/>
              <a:gd name="connsiteY17" fmla="*/ 4174843 h 4175506"/>
              <a:gd name="connsiteX18" fmla="*/ 1302808 w 4166658"/>
              <a:gd name="connsiteY18" fmla="*/ 3609125 h 4175506"/>
              <a:gd name="connsiteX19" fmla="*/ 1868865 w 4166658"/>
              <a:gd name="connsiteY19" fmla="*/ 2967774 h 4175506"/>
              <a:gd name="connsiteX20" fmla="*/ 4164843 w 4166658"/>
              <a:gd name="connsiteY20" fmla="*/ 2974125 h 4175506"/>
              <a:gd name="connsiteX21" fmla="*/ 4166658 w 4166658"/>
              <a:gd name="connsiteY21" fmla="*/ 1871946 h 4175506"/>
              <a:gd name="connsiteX0" fmla="*/ 4166658 w 4166658"/>
              <a:gd name="connsiteY0" fmla="*/ 1871946 h 4175506"/>
              <a:gd name="connsiteX1" fmla="*/ 4134908 w 4166658"/>
              <a:gd name="connsiteY1" fmla="*/ 1871946 h 4175506"/>
              <a:gd name="connsiteX2" fmla="*/ 2828622 w 4166658"/>
              <a:gd name="connsiteY2" fmla="*/ 1857432 h 4175506"/>
              <a:gd name="connsiteX3" fmla="*/ 2854022 w 4166658"/>
              <a:gd name="connsiteY3" fmla="*/ 1164375 h 4175506"/>
              <a:gd name="connsiteX4" fmla="*/ 2480279 w 4166658"/>
              <a:gd name="connsiteY4" fmla="*/ 1146232 h 4175506"/>
              <a:gd name="connsiteX5" fmla="*/ 2494794 w 4166658"/>
              <a:gd name="connsiteY5" fmla="*/ 696289 h 4175506"/>
              <a:gd name="connsiteX6" fmla="*/ 2625422 w 4166658"/>
              <a:gd name="connsiteY6" fmla="*/ 536632 h 4175506"/>
              <a:gd name="connsiteX7" fmla="*/ 4149422 w 4166658"/>
              <a:gd name="connsiteY7" fmla="*/ 406004 h 4175506"/>
              <a:gd name="connsiteX8" fmla="*/ 2588796 w 4166658"/>
              <a:gd name="connsiteY8" fmla="*/ 312001 h 4175506"/>
              <a:gd name="connsiteX9" fmla="*/ 2078641 w 4166658"/>
              <a:gd name="connsiteY9" fmla="*/ 312907 h 4175506"/>
              <a:gd name="connsiteX10" fmla="*/ 523572 w 4166658"/>
              <a:gd name="connsiteY10" fmla="*/ 436846 h 4175506"/>
              <a:gd name="connsiteX11" fmla="*/ 2053922 w 4166658"/>
              <a:gd name="connsiteY11" fmla="*/ 562939 h 4175506"/>
              <a:gd name="connsiteX12" fmla="*/ 2196547 w 4166658"/>
              <a:gd name="connsiteY12" fmla="*/ 735986 h 4175506"/>
              <a:gd name="connsiteX13" fmla="*/ 2151434 w 4166658"/>
              <a:gd name="connsiteY13" fmla="*/ 1168544 h 4175506"/>
              <a:gd name="connsiteX14" fmla="*/ 1852131 w 4166658"/>
              <a:gd name="connsiteY14" fmla="*/ 1165037 h 4175506"/>
              <a:gd name="connsiteX15" fmla="*/ 1836587 w 4166658"/>
              <a:gd name="connsiteY15" fmla="*/ 1875385 h 4175506"/>
              <a:gd name="connsiteX16" fmla="*/ 179806 w 4166658"/>
              <a:gd name="connsiteY16" fmla="*/ 4175506 h 4175506"/>
              <a:gd name="connsiteX17" fmla="*/ 1305272 w 4166658"/>
              <a:gd name="connsiteY17" fmla="*/ 4174843 h 4175506"/>
              <a:gd name="connsiteX18" fmla="*/ 1302808 w 4166658"/>
              <a:gd name="connsiteY18" fmla="*/ 3609125 h 4175506"/>
              <a:gd name="connsiteX19" fmla="*/ 1868865 w 4166658"/>
              <a:gd name="connsiteY19" fmla="*/ 2967774 h 4175506"/>
              <a:gd name="connsiteX20" fmla="*/ 4164843 w 4166658"/>
              <a:gd name="connsiteY20" fmla="*/ 2974125 h 4175506"/>
              <a:gd name="connsiteX21" fmla="*/ 4166658 w 4166658"/>
              <a:gd name="connsiteY21" fmla="*/ 1871946 h 4175506"/>
              <a:gd name="connsiteX0" fmla="*/ 4166658 w 4166658"/>
              <a:gd name="connsiteY0" fmla="*/ 1878296 h 4181856"/>
              <a:gd name="connsiteX1" fmla="*/ 4134908 w 4166658"/>
              <a:gd name="connsiteY1" fmla="*/ 1878296 h 4181856"/>
              <a:gd name="connsiteX2" fmla="*/ 2828622 w 4166658"/>
              <a:gd name="connsiteY2" fmla="*/ 1863782 h 4181856"/>
              <a:gd name="connsiteX3" fmla="*/ 2854022 w 4166658"/>
              <a:gd name="connsiteY3" fmla="*/ 1170725 h 4181856"/>
              <a:gd name="connsiteX4" fmla="*/ 2480279 w 4166658"/>
              <a:gd name="connsiteY4" fmla="*/ 1152582 h 4181856"/>
              <a:gd name="connsiteX5" fmla="*/ 2494794 w 4166658"/>
              <a:gd name="connsiteY5" fmla="*/ 702639 h 4181856"/>
              <a:gd name="connsiteX6" fmla="*/ 2625422 w 4166658"/>
              <a:gd name="connsiteY6" fmla="*/ 542982 h 4181856"/>
              <a:gd name="connsiteX7" fmla="*/ 4149422 w 4166658"/>
              <a:gd name="connsiteY7" fmla="*/ 412354 h 4181856"/>
              <a:gd name="connsiteX8" fmla="*/ 2588796 w 4166658"/>
              <a:gd name="connsiteY8" fmla="*/ 318351 h 4181856"/>
              <a:gd name="connsiteX9" fmla="*/ 2059591 w 4166658"/>
              <a:gd name="connsiteY9" fmla="*/ 312907 h 4181856"/>
              <a:gd name="connsiteX10" fmla="*/ 523572 w 4166658"/>
              <a:gd name="connsiteY10" fmla="*/ 443196 h 4181856"/>
              <a:gd name="connsiteX11" fmla="*/ 2053922 w 4166658"/>
              <a:gd name="connsiteY11" fmla="*/ 569289 h 4181856"/>
              <a:gd name="connsiteX12" fmla="*/ 2196547 w 4166658"/>
              <a:gd name="connsiteY12" fmla="*/ 742336 h 4181856"/>
              <a:gd name="connsiteX13" fmla="*/ 2151434 w 4166658"/>
              <a:gd name="connsiteY13" fmla="*/ 1174894 h 4181856"/>
              <a:gd name="connsiteX14" fmla="*/ 1852131 w 4166658"/>
              <a:gd name="connsiteY14" fmla="*/ 1171387 h 4181856"/>
              <a:gd name="connsiteX15" fmla="*/ 1836587 w 4166658"/>
              <a:gd name="connsiteY15" fmla="*/ 1881735 h 4181856"/>
              <a:gd name="connsiteX16" fmla="*/ 179806 w 4166658"/>
              <a:gd name="connsiteY16" fmla="*/ 4181856 h 4181856"/>
              <a:gd name="connsiteX17" fmla="*/ 1305272 w 4166658"/>
              <a:gd name="connsiteY17" fmla="*/ 4181193 h 4181856"/>
              <a:gd name="connsiteX18" fmla="*/ 1302808 w 4166658"/>
              <a:gd name="connsiteY18" fmla="*/ 3615475 h 4181856"/>
              <a:gd name="connsiteX19" fmla="*/ 1868865 w 4166658"/>
              <a:gd name="connsiteY19" fmla="*/ 2974124 h 4181856"/>
              <a:gd name="connsiteX20" fmla="*/ 4164843 w 4166658"/>
              <a:gd name="connsiteY20" fmla="*/ 2980475 h 4181856"/>
              <a:gd name="connsiteX21" fmla="*/ 4166658 w 4166658"/>
              <a:gd name="connsiteY21" fmla="*/ 1878296 h 4181856"/>
              <a:gd name="connsiteX0" fmla="*/ 4166658 w 4166658"/>
              <a:gd name="connsiteY0" fmla="*/ 1878296 h 4181856"/>
              <a:gd name="connsiteX1" fmla="*/ 4134908 w 4166658"/>
              <a:gd name="connsiteY1" fmla="*/ 1878296 h 4181856"/>
              <a:gd name="connsiteX2" fmla="*/ 2828622 w 4166658"/>
              <a:gd name="connsiteY2" fmla="*/ 1863782 h 4181856"/>
              <a:gd name="connsiteX3" fmla="*/ 2854022 w 4166658"/>
              <a:gd name="connsiteY3" fmla="*/ 1170725 h 4181856"/>
              <a:gd name="connsiteX4" fmla="*/ 2480279 w 4166658"/>
              <a:gd name="connsiteY4" fmla="*/ 1152582 h 4181856"/>
              <a:gd name="connsiteX5" fmla="*/ 2494794 w 4166658"/>
              <a:gd name="connsiteY5" fmla="*/ 702639 h 4181856"/>
              <a:gd name="connsiteX6" fmla="*/ 2625422 w 4166658"/>
              <a:gd name="connsiteY6" fmla="*/ 542982 h 4181856"/>
              <a:gd name="connsiteX7" fmla="*/ 4149422 w 4166658"/>
              <a:gd name="connsiteY7" fmla="*/ 412354 h 4181856"/>
              <a:gd name="connsiteX8" fmla="*/ 2588796 w 4166658"/>
              <a:gd name="connsiteY8" fmla="*/ 318351 h 4181856"/>
              <a:gd name="connsiteX9" fmla="*/ 2059591 w 4166658"/>
              <a:gd name="connsiteY9" fmla="*/ 312907 h 4181856"/>
              <a:gd name="connsiteX10" fmla="*/ 523572 w 4166658"/>
              <a:gd name="connsiteY10" fmla="*/ 443196 h 4181856"/>
              <a:gd name="connsiteX11" fmla="*/ 2053922 w 4166658"/>
              <a:gd name="connsiteY11" fmla="*/ 569289 h 4181856"/>
              <a:gd name="connsiteX12" fmla="*/ 2196547 w 4166658"/>
              <a:gd name="connsiteY12" fmla="*/ 742336 h 4181856"/>
              <a:gd name="connsiteX13" fmla="*/ 2151434 w 4166658"/>
              <a:gd name="connsiteY13" fmla="*/ 1174894 h 4181856"/>
              <a:gd name="connsiteX14" fmla="*/ 1852131 w 4166658"/>
              <a:gd name="connsiteY14" fmla="*/ 1171387 h 4181856"/>
              <a:gd name="connsiteX15" fmla="*/ 1836587 w 4166658"/>
              <a:gd name="connsiteY15" fmla="*/ 1881735 h 4181856"/>
              <a:gd name="connsiteX16" fmla="*/ 179806 w 4166658"/>
              <a:gd name="connsiteY16" fmla="*/ 4181856 h 4181856"/>
              <a:gd name="connsiteX17" fmla="*/ 1305272 w 4166658"/>
              <a:gd name="connsiteY17" fmla="*/ 4181193 h 4181856"/>
              <a:gd name="connsiteX18" fmla="*/ 1302808 w 4166658"/>
              <a:gd name="connsiteY18" fmla="*/ 3615475 h 4181856"/>
              <a:gd name="connsiteX19" fmla="*/ 1868865 w 4166658"/>
              <a:gd name="connsiteY19" fmla="*/ 2974124 h 4181856"/>
              <a:gd name="connsiteX20" fmla="*/ 4164843 w 4166658"/>
              <a:gd name="connsiteY20" fmla="*/ 2980475 h 4181856"/>
              <a:gd name="connsiteX21" fmla="*/ 4166658 w 4166658"/>
              <a:gd name="connsiteY21" fmla="*/ 1878296 h 4181856"/>
              <a:gd name="connsiteX0" fmla="*/ 4166658 w 4166658"/>
              <a:gd name="connsiteY0" fmla="*/ 1878296 h 4181856"/>
              <a:gd name="connsiteX1" fmla="*/ 4134908 w 4166658"/>
              <a:gd name="connsiteY1" fmla="*/ 1878296 h 4181856"/>
              <a:gd name="connsiteX2" fmla="*/ 2828622 w 4166658"/>
              <a:gd name="connsiteY2" fmla="*/ 1863782 h 4181856"/>
              <a:gd name="connsiteX3" fmla="*/ 2854022 w 4166658"/>
              <a:gd name="connsiteY3" fmla="*/ 1170725 h 4181856"/>
              <a:gd name="connsiteX4" fmla="*/ 2480279 w 4166658"/>
              <a:gd name="connsiteY4" fmla="*/ 1152582 h 4181856"/>
              <a:gd name="connsiteX5" fmla="*/ 2494794 w 4166658"/>
              <a:gd name="connsiteY5" fmla="*/ 702639 h 4181856"/>
              <a:gd name="connsiteX6" fmla="*/ 2625422 w 4166658"/>
              <a:gd name="connsiteY6" fmla="*/ 542982 h 4181856"/>
              <a:gd name="connsiteX7" fmla="*/ 4149422 w 4166658"/>
              <a:gd name="connsiteY7" fmla="*/ 412354 h 4181856"/>
              <a:gd name="connsiteX8" fmla="*/ 2588796 w 4166658"/>
              <a:gd name="connsiteY8" fmla="*/ 318351 h 4181856"/>
              <a:gd name="connsiteX9" fmla="*/ 2059591 w 4166658"/>
              <a:gd name="connsiteY9" fmla="*/ 312907 h 4181856"/>
              <a:gd name="connsiteX10" fmla="*/ 523572 w 4166658"/>
              <a:gd name="connsiteY10" fmla="*/ 443196 h 4181856"/>
              <a:gd name="connsiteX11" fmla="*/ 2053922 w 4166658"/>
              <a:gd name="connsiteY11" fmla="*/ 569289 h 4181856"/>
              <a:gd name="connsiteX12" fmla="*/ 2196547 w 4166658"/>
              <a:gd name="connsiteY12" fmla="*/ 742336 h 4181856"/>
              <a:gd name="connsiteX13" fmla="*/ 2151434 w 4166658"/>
              <a:gd name="connsiteY13" fmla="*/ 1174894 h 4181856"/>
              <a:gd name="connsiteX14" fmla="*/ 1852131 w 4166658"/>
              <a:gd name="connsiteY14" fmla="*/ 1171387 h 4181856"/>
              <a:gd name="connsiteX15" fmla="*/ 1836587 w 4166658"/>
              <a:gd name="connsiteY15" fmla="*/ 1881735 h 4181856"/>
              <a:gd name="connsiteX16" fmla="*/ 179806 w 4166658"/>
              <a:gd name="connsiteY16" fmla="*/ 4181856 h 4181856"/>
              <a:gd name="connsiteX17" fmla="*/ 1305272 w 4166658"/>
              <a:gd name="connsiteY17" fmla="*/ 4181193 h 4181856"/>
              <a:gd name="connsiteX18" fmla="*/ 1302808 w 4166658"/>
              <a:gd name="connsiteY18" fmla="*/ 3615475 h 4181856"/>
              <a:gd name="connsiteX19" fmla="*/ 1868865 w 4166658"/>
              <a:gd name="connsiteY19" fmla="*/ 2974124 h 4181856"/>
              <a:gd name="connsiteX20" fmla="*/ 4164843 w 4166658"/>
              <a:gd name="connsiteY20" fmla="*/ 2980475 h 4181856"/>
              <a:gd name="connsiteX21" fmla="*/ 4166658 w 4166658"/>
              <a:gd name="connsiteY21" fmla="*/ 1878296 h 4181856"/>
              <a:gd name="connsiteX0" fmla="*/ 4166658 w 4166658"/>
              <a:gd name="connsiteY0" fmla="*/ 1878296 h 4181856"/>
              <a:gd name="connsiteX1" fmla="*/ 4134908 w 4166658"/>
              <a:gd name="connsiteY1" fmla="*/ 1878296 h 4181856"/>
              <a:gd name="connsiteX2" fmla="*/ 2828622 w 4166658"/>
              <a:gd name="connsiteY2" fmla="*/ 1863782 h 4181856"/>
              <a:gd name="connsiteX3" fmla="*/ 2854022 w 4166658"/>
              <a:gd name="connsiteY3" fmla="*/ 1170725 h 4181856"/>
              <a:gd name="connsiteX4" fmla="*/ 2480279 w 4166658"/>
              <a:gd name="connsiteY4" fmla="*/ 1152582 h 4181856"/>
              <a:gd name="connsiteX5" fmla="*/ 2494794 w 4166658"/>
              <a:gd name="connsiteY5" fmla="*/ 702639 h 4181856"/>
              <a:gd name="connsiteX6" fmla="*/ 2625422 w 4166658"/>
              <a:gd name="connsiteY6" fmla="*/ 542982 h 4181856"/>
              <a:gd name="connsiteX7" fmla="*/ 4149422 w 4166658"/>
              <a:gd name="connsiteY7" fmla="*/ 412354 h 4181856"/>
              <a:gd name="connsiteX8" fmla="*/ 2588796 w 4166658"/>
              <a:gd name="connsiteY8" fmla="*/ 318351 h 4181856"/>
              <a:gd name="connsiteX9" fmla="*/ 2059591 w 4166658"/>
              <a:gd name="connsiteY9" fmla="*/ 312907 h 4181856"/>
              <a:gd name="connsiteX10" fmla="*/ 523572 w 4166658"/>
              <a:gd name="connsiteY10" fmla="*/ 443196 h 4181856"/>
              <a:gd name="connsiteX11" fmla="*/ 2053922 w 4166658"/>
              <a:gd name="connsiteY11" fmla="*/ 569289 h 4181856"/>
              <a:gd name="connsiteX12" fmla="*/ 2196547 w 4166658"/>
              <a:gd name="connsiteY12" fmla="*/ 742336 h 4181856"/>
              <a:gd name="connsiteX13" fmla="*/ 2151434 w 4166658"/>
              <a:gd name="connsiteY13" fmla="*/ 1174894 h 4181856"/>
              <a:gd name="connsiteX14" fmla="*/ 1852131 w 4166658"/>
              <a:gd name="connsiteY14" fmla="*/ 1171387 h 4181856"/>
              <a:gd name="connsiteX15" fmla="*/ 1836587 w 4166658"/>
              <a:gd name="connsiteY15" fmla="*/ 1881735 h 4181856"/>
              <a:gd name="connsiteX16" fmla="*/ 179806 w 4166658"/>
              <a:gd name="connsiteY16" fmla="*/ 4181856 h 4181856"/>
              <a:gd name="connsiteX17" fmla="*/ 1305272 w 4166658"/>
              <a:gd name="connsiteY17" fmla="*/ 4181193 h 4181856"/>
              <a:gd name="connsiteX18" fmla="*/ 1302808 w 4166658"/>
              <a:gd name="connsiteY18" fmla="*/ 3615475 h 4181856"/>
              <a:gd name="connsiteX19" fmla="*/ 1868865 w 4166658"/>
              <a:gd name="connsiteY19" fmla="*/ 2974124 h 4181856"/>
              <a:gd name="connsiteX20" fmla="*/ 4164843 w 4166658"/>
              <a:gd name="connsiteY20" fmla="*/ 2980475 h 4181856"/>
              <a:gd name="connsiteX21" fmla="*/ 4166658 w 4166658"/>
              <a:gd name="connsiteY21" fmla="*/ 1878296 h 4181856"/>
              <a:gd name="connsiteX0" fmla="*/ 4166658 w 4166658"/>
              <a:gd name="connsiteY0" fmla="*/ 1878296 h 4181856"/>
              <a:gd name="connsiteX1" fmla="*/ 4134908 w 4166658"/>
              <a:gd name="connsiteY1" fmla="*/ 1878296 h 4181856"/>
              <a:gd name="connsiteX2" fmla="*/ 2828622 w 4166658"/>
              <a:gd name="connsiteY2" fmla="*/ 1863782 h 4181856"/>
              <a:gd name="connsiteX3" fmla="*/ 2854022 w 4166658"/>
              <a:gd name="connsiteY3" fmla="*/ 1170725 h 4181856"/>
              <a:gd name="connsiteX4" fmla="*/ 2480279 w 4166658"/>
              <a:gd name="connsiteY4" fmla="*/ 1152582 h 4181856"/>
              <a:gd name="connsiteX5" fmla="*/ 2494794 w 4166658"/>
              <a:gd name="connsiteY5" fmla="*/ 702639 h 4181856"/>
              <a:gd name="connsiteX6" fmla="*/ 2625422 w 4166658"/>
              <a:gd name="connsiteY6" fmla="*/ 542982 h 4181856"/>
              <a:gd name="connsiteX7" fmla="*/ 4149422 w 4166658"/>
              <a:gd name="connsiteY7" fmla="*/ 412354 h 4181856"/>
              <a:gd name="connsiteX8" fmla="*/ 2588796 w 4166658"/>
              <a:gd name="connsiteY8" fmla="*/ 318351 h 4181856"/>
              <a:gd name="connsiteX9" fmla="*/ 2059591 w 4166658"/>
              <a:gd name="connsiteY9" fmla="*/ 312907 h 4181856"/>
              <a:gd name="connsiteX10" fmla="*/ 523572 w 4166658"/>
              <a:gd name="connsiteY10" fmla="*/ 443196 h 4181856"/>
              <a:gd name="connsiteX11" fmla="*/ 2053922 w 4166658"/>
              <a:gd name="connsiteY11" fmla="*/ 569289 h 4181856"/>
              <a:gd name="connsiteX12" fmla="*/ 2196547 w 4166658"/>
              <a:gd name="connsiteY12" fmla="*/ 742336 h 4181856"/>
              <a:gd name="connsiteX13" fmla="*/ 2151434 w 4166658"/>
              <a:gd name="connsiteY13" fmla="*/ 1174894 h 4181856"/>
              <a:gd name="connsiteX14" fmla="*/ 1852131 w 4166658"/>
              <a:gd name="connsiteY14" fmla="*/ 1171387 h 4181856"/>
              <a:gd name="connsiteX15" fmla="*/ 1836587 w 4166658"/>
              <a:gd name="connsiteY15" fmla="*/ 1881735 h 4181856"/>
              <a:gd name="connsiteX16" fmla="*/ 179806 w 4166658"/>
              <a:gd name="connsiteY16" fmla="*/ 4181856 h 4181856"/>
              <a:gd name="connsiteX17" fmla="*/ 1305272 w 4166658"/>
              <a:gd name="connsiteY17" fmla="*/ 4181193 h 4181856"/>
              <a:gd name="connsiteX18" fmla="*/ 1302808 w 4166658"/>
              <a:gd name="connsiteY18" fmla="*/ 3615475 h 4181856"/>
              <a:gd name="connsiteX19" fmla="*/ 1868865 w 4166658"/>
              <a:gd name="connsiteY19" fmla="*/ 2974124 h 4181856"/>
              <a:gd name="connsiteX20" fmla="*/ 4164843 w 4166658"/>
              <a:gd name="connsiteY20" fmla="*/ 2980475 h 4181856"/>
              <a:gd name="connsiteX21" fmla="*/ 4166658 w 4166658"/>
              <a:gd name="connsiteY21" fmla="*/ 1878296 h 4181856"/>
              <a:gd name="connsiteX0" fmla="*/ 4166658 w 4166658"/>
              <a:gd name="connsiteY0" fmla="*/ 1923030 h 4226590"/>
              <a:gd name="connsiteX1" fmla="*/ 4134908 w 4166658"/>
              <a:gd name="connsiteY1" fmla="*/ 1923030 h 4226590"/>
              <a:gd name="connsiteX2" fmla="*/ 2828622 w 4166658"/>
              <a:gd name="connsiteY2" fmla="*/ 1908516 h 4226590"/>
              <a:gd name="connsiteX3" fmla="*/ 2854022 w 4166658"/>
              <a:gd name="connsiteY3" fmla="*/ 1215459 h 4226590"/>
              <a:gd name="connsiteX4" fmla="*/ 2480279 w 4166658"/>
              <a:gd name="connsiteY4" fmla="*/ 1197316 h 4226590"/>
              <a:gd name="connsiteX5" fmla="*/ 2494794 w 4166658"/>
              <a:gd name="connsiteY5" fmla="*/ 747373 h 4226590"/>
              <a:gd name="connsiteX6" fmla="*/ 2625422 w 4166658"/>
              <a:gd name="connsiteY6" fmla="*/ 587716 h 4226590"/>
              <a:gd name="connsiteX7" fmla="*/ 4149422 w 4166658"/>
              <a:gd name="connsiteY7" fmla="*/ 457088 h 4226590"/>
              <a:gd name="connsiteX8" fmla="*/ 2588796 w 4166658"/>
              <a:gd name="connsiteY8" fmla="*/ 363085 h 4226590"/>
              <a:gd name="connsiteX9" fmla="*/ 2059591 w 4166658"/>
              <a:gd name="connsiteY9" fmla="*/ 357641 h 4226590"/>
              <a:gd name="connsiteX10" fmla="*/ 523572 w 4166658"/>
              <a:gd name="connsiteY10" fmla="*/ 487930 h 4226590"/>
              <a:gd name="connsiteX11" fmla="*/ 2053922 w 4166658"/>
              <a:gd name="connsiteY11" fmla="*/ 614023 h 4226590"/>
              <a:gd name="connsiteX12" fmla="*/ 2196547 w 4166658"/>
              <a:gd name="connsiteY12" fmla="*/ 787070 h 4226590"/>
              <a:gd name="connsiteX13" fmla="*/ 2151434 w 4166658"/>
              <a:gd name="connsiteY13" fmla="*/ 1219628 h 4226590"/>
              <a:gd name="connsiteX14" fmla="*/ 1852131 w 4166658"/>
              <a:gd name="connsiteY14" fmla="*/ 1216121 h 4226590"/>
              <a:gd name="connsiteX15" fmla="*/ 1836587 w 4166658"/>
              <a:gd name="connsiteY15" fmla="*/ 1926469 h 4226590"/>
              <a:gd name="connsiteX16" fmla="*/ 179806 w 4166658"/>
              <a:gd name="connsiteY16" fmla="*/ 4226590 h 4226590"/>
              <a:gd name="connsiteX17" fmla="*/ 1305272 w 4166658"/>
              <a:gd name="connsiteY17" fmla="*/ 4225927 h 4226590"/>
              <a:gd name="connsiteX18" fmla="*/ 1302808 w 4166658"/>
              <a:gd name="connsiteY18" fmla="*/ 3660209 h 4226590"/>
              <a:gd name="connsiteX19" fmla="*/ 1868865 w 4166658"/>
              <a:gd name="connsiteY19" fmla="*/ 3018858 h 4226590"/>
              <a:gd name="connsiteX20" fmla="*/ 4164843 w 4166658"/>
              <a:gd name="connsiteY20" fmla="*/ 3025209 h 4226590"/>
              <a:gd name="connsiteX21" fmla="*/ 4166658 w 4166658"/>
              <a:gd name="connsiteY21" fmla="*/ 1923030 h 4226590"/>
              <a:gd name="connsiteX0" fmla="*/ 4166658 w 4166658"/>
              <a:gd name="connsiteY0" fmla="*/ 1923030 h 4226590"/>
              <a:gd name="connsiteX1" fmla="*/ 4134908 w 4166658"/>
              <a:gd name="connsiteY1" fmla="*/ 1923030 h 4226590"/>
              <a:gd name="connsiteX2" fmla="*/ 2828622 w 4166658"/>
              <a:gd name="connsiteY2" fmla="*/ 1908516 h 4226590"/>
              <a:gd name="connsiteX3" fmla="*/ 2854022 w 4166658"/>
              <a:gd name="connsiteY3" fmla="*/ 1215459 h 4226590"/>
              <a:gd name="connsiteX4" fmla="*/ 2480279 w 4166658"/>
              <a:gd name="connsiteY4" fmla="*/ 1197316 h 4226590"/>
              <a:gd name="connsiteX5" fmla="*/ 2494794 w 4166658"/>
              <a:gd name="connsiteY5" fmla="*/ 747373 h 4226590"/>
              <a:gd name="connsiteX6" fmla="*/ 2625422 w 4166658"/>
              <a:gd name="connsiteY6" fmla="*/ 587716 h 4226590"/>
              <a:gd name="connsiteX7" fmla="*/ 4149422 w 4166658"/>
              <a:gd name="connsiteY7" fmla="*/ 457088 h 4226590"/>
              <a:gd name="connsiteX8" fmla="*/ 2588796 w 4166658"/>
              <a:gd name="connsiteY8" fmla="*/ 363085 h 4226590"/>
              <a:gd name="connsiteX9" fmla="*/ 2059591 w 4166658"/>
              <a:gd name="connsiteY9" fmla="*/ 357641 h 4226590"/>
              <a:gd name="connsiteX10" fmla="*/ 523572 w 4166658"/>
              <a:gd name="connsiteY10" fmla="*/ 487930 h 4226590"/>
              <a:gd name="connsiteX11" fmla="*/ 2053922 w 4166658"/>
              <a:gd name="connsiteY11" fmla="*/ 614023 h 4226590"/>
              <a:gd name="connsiteX12" fmla="*/ 2196547 w 4166658"/>
              <a:gd name="connsiteY12" fmla="*/ 787070 h 4226590"/>
              <a:gd name="connsiteX13" fmla="*/ 2151434 w 4166658"/>
              <a:gd name="connsiteY13" fmla="*/ 1219628 h 4226590"/>
              <a:gd name="connsiteX14" fmla="*/ 1852131 w 4166658"/>
              <a:gd name="connsiteY14" fmla="*/ 1216121 h 4226590"/>
              <a:gd name="connsiteX15" fmla="*/ 1836587 w 4166658"/>
              <a:gd name="connsiteY15" fmla="*/ 1926469 h 4226590"/>
              <a:gd name="connsiteX16" fmla="*/ 179806 w 4166658"/>
              <a:gd name="connsiteY16" fmla="*/ 4226590 h 4226590"/>
              <a:gd name="connsiteX17" fmla="*/ 1305272 w 4166658"/>
              <a:gd name="connsiteY17" fmla="*/ 4225927 h 4226590"/>
              <a:gd name="connsiteX18" fmla="*/ 1302808 w 4166658"/>
              <a:gd name="connsiteY18" fmla="*/ 3660209 h 4226590"/>
              <a:gd name="connsiteX19" fmla="*/ 1868865 w 4166658"/>
              <a:gd name="connsiteY19" fmla="*/ 3018858 h 4226590"/>
              <a:gd name="connsiteX20" fmla="*/ 4164843 w 4166658"/>
              <a:gd name="connsiteY20" fmla="*/ 3025209 h 4226590"/>
              <a:gd name="connsiteX21" fmla="*/ 4166658 w 4166658"/>
              <a:gd name="connsiteY21" fmla="*/ 1923030 h 4226590"/>
              <a:gd name="connsiteX0" fmla="*/ 4166658 w 4166658"/>
              <a:gd name="connsiteY0" fmla="*/ 1884930 h 4188490"/>
              <a:gd name="connsiteX1" fmla="*/ 4134908 w 4166658"/>
              <a:gd name="connsiteY1" fmla="*/ 1884930 h 4188490"/>
              <a:gd name="connsiteX2" fmla="*/ 2828622 w 4166658"/>
              <a:gd name="connsiteY2" fmla="*/ 1870416 h 4188490"/>
              <a:gd name="connsiteX3" fmla="*/ 2854022 w 4166658"/>
              <a:gd name="connsiteY3" fmla="*/ 1177359 h 4188490"/>
              <a:gd name="connsiteX4" fmla="*/ 2480279 w 4166658"/>
              <a:gd name="connsiteY4" fmla="*/ 1159216 h 4188490"/>
              <a:gd name="connsiteX5" fmla="*/ 2494794 w 4166658"/>
              <a:gd name="connsiteY5" fmla="*/ 709273 h 4188490"/>
              <a:gd name="connsiteX6" fmla="*/ 2625422 w 4166658"/>
              <a:gd name="connsiteY6" fmla="*/ 549616 h 4188490"/>
              <a:gd name="connsiteX7" fmla="*/ 4149422 w 4166658"/>
              <a:gd name="connsiteY7" fmla="*/ 418988 h 4188490"/>
              <a:gd name="connsiteX8" fmla="*/ 2588796 w 4166658"/>
              <a:gd name="connsiteY8" fmla="*/ 324985 h 4188490"/>
              <a:gd name="connsiteX9" fmla="*/ 2059591 w 4166658"/>
              <a:gd name="connsiteY9" fmla="*/ 319541 h 4188490"/>
              <a:gd name="connsiteX10" fmla="*/ 523572 w 4166658"/>
              <a:gd name="connsiteY10" fmla="*/ 449830 h 4188490"/>
              <a:gd name="connsiteX11" fmla="*/ 2053922 w 4166658"/>
              <a:gd name="connsiteY11" fmla="*/ 575923 h 4188490"/>
              <a:gd name="connsiteX12" fmla="*/ 2196547 w 4166658"/>
              <a:gd name="connsiteY12" fmla="*/ 748970 h 4188490"/>
              <a:gd name="connsiteX13" fmla="*/ 2151434 w 4166658"/>
              <a:gd name="connsiteY13" fmla="*/ 1181528 h 4188490"/>
              <a:gd name="connsiteX14" fmla="*/ 1852131 w 4166658"/>
              <a:gd name="connsiteY14" fmla="*/ 1178021 h 4188490"/>
              <a:gd name="connsiteX15" fmla="*/ 1836587 w 4166658"/>
              <a:gd name="connsiteY15" fmla="*/ 1888369 h 4188490"/>
              <a:gd name="connsiteX16" fmla="*/ 179806 w 4166658"/>
              <a:gd name="connsiteY16" fmla="*/ 4188490 h 4188490"/>
              <a:gd name="connsiteX17" fmla="*/ 1305272 w 4166658"/>
              <a:gd name="connsiteY17" fmla="*/ 4187827 h 4188490"/>
              <a:gd name="connsiteX18" fmla="*/ 1302808 w 4166658"/>
              <a:gd name="connsiteY18" fmla="*/ 3622109 h 4188490"/>
              <a:gd name="connsiteX19" fmla="*/ 1868865 w 4166658"/>
              <a:gd name="connsiteY19" fmla="*/ 2980758 h 4188490"/>
              <a:gd name="connsiteX20" fmla="*/ 4164843 w 4166658"/>
              <a:gd name="connsiteY20" fmla="*/ 2987109 h 4188490"/>
              <a:gd name="connsiteX21" fmla="*/ 4166658 w 4166658"/>
              <a:gd name="connsiteY21" fmla="*/ 1884930 h 4188490"/>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0279 w 4166658"/>
              <a:gd name="connsiteY4" fmla="*/ 1171612 h 4200886"/>
              <a:gd name="connsiteX5" fmla="*/ 2494794 w 4166658"/>
              <a:gd name="connsiteY5" fmla="*/ 721669 h 4200886"/>
              <a:gd name="connsiteX6" fmla="*/ 2625422 w 4166658"/>
              <a:gd name="connsiteY6" fmla="*/ 56201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588319 h 4200886"/>
              <a:gd name="connsiteX12" fmla="*/ 2196547 w 4166658"/>
              <a:gd name="connsiteY12" fmla="*/ 761366 h 4200886"/>
              <a:gd name="connsiteX13" fmla="*/ 2151434 w 4166658"/>
              <a:gd name="connsiteY13" fmla="*/ 1193924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0279 w 4166658"/>
              <a:gd name="connsiteY4" fmla="*/ 1171612 h 4200886"/>
              <a:gd name="connsiteX5" fmla="*/ 2494794 w 4166658"/>
              <a:gd name="connsiteY5" fmla="*/ 721669 h 4200886"/>
              <a:gd name="connsiteX6" fmla="*/ 2625422 w 4166658"/>
              <a:gd name="connsiteY6" fmla="*/ 56201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588319 h 4200886"/>
              <a:gd name="connsiteX12" fmla="*/ 2196547 w 4166658"/>
              <a:gd name="connsiteY12" fmla="*/ 761366 h 4200886"/>
              <a:gd name="connsiteX13" fmla="*/ 2151434 w 4166658"/>
              <a:gd name="connsiteY13" fmla="*/ 1193924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0279 w 4166658"/>
              <a:gd name="connsiteY4" fmla="*/ 1171612 h 4200886"/>
              <a:gd name="connsiteX5" fmla="*/ 2494794 w 4166658"/>
              <a:gd name="connsiteY5" fmla="*/ 721669 h 4200886"/>
              <a:gd name="connsiteX6" fmla="*/ 2625422 w 4166658"/>
              <a:gd name="connsiteY6" fmla="*/ 56201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588319 h 4200886"/>
              <a:gd name="connsiteX12" fmla="*/ 2196547 w 4166658"/>
              <a:gd name="connsiteY12" fmla="*/ 761366 h 4200886"/>
              <a:gd name="connsiteX13" fmla="*/ 2151434 w 4166658"/>
              <a:gd name="connsiteY13" fmla="*/ 1193924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0279 w 4166658"/>
              <a:gd name="connsiteY4" fmla="*/ 1171612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588319 h 4200886"/>
              <a:gd name="connsiteX12" fmla="*/ 2196547 w 4166658"/>
              <a:gd name="connsiteY12" fmla="*/ 761366 h 4200886"/>
              <a:gd name="connsiteX13" fmla="*/ 2151434 w 4166658"/>
              <a:gd name="connsiteY13" fmla="*/ 1193924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0279 w 4166658"/>
              <a:gd name="connsiteY4" fmla="*/ 1171612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588319 h 4200886"/>
              <a:gd name="connsiteX12" fmla="*/ 2196547 w 4166658"/>
              <a:gd name="connsiteY12" fmla="*/ 761366 h 4200886"/>
              <a:gd name="connsiteX13" fmla="*/ 2180009 w 4166658"/>
              <a:gd name="connsiteY13" fmla="*/ 1182017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0279 w 4166658"/>
              <a:gd name="connsiteY4" fmla="*/ 1171612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588319 h 4200886"/>
              <a:gd name="connsiteX12" fmla="*/ 2196547 w 4166658"/>
              <a:gd name="connsiteY12" fmla="*/ 761366 h 4200886"/>
              <a:gd name="connsiteX13" fmla="*/ 2177627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588319 h 4200886"/>
              <a:gd name="connsiteX12" fmla="*/ 2196547 w 4166658"/>
              <a:gd name="connsiteY12" fmla="*/ 761366 h 4200886"/>
              <a:gd name="connsiteX13" fmla="*/ 2177627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588319 h 4200886"/>
              <a:gd name="connsiteX12" fmla="*/ 2196547 w 4166658"/>
              <a:gd name="connsiteY12" fmla="*/ 761366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61366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61366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61366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566684 w 4166658"/>
              <a:gd name="connsiteY6" fmla="*/ 598525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566684 w 4166658"/>
              <a:gd name="connsiteY6" fmla="*/ 598525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566684 w 4166658"/>
              <a:gd name="connsiteY6" fmla="*/ 598525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585734 w 4166658"/>
              <a:gd name="connsiteY6" fmla="*/ 591381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585734 w 4166658"/>
              <a:gd name="connsiteY6" fmla="*/ 591381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40528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585734 w 4166658"/>
              <a:gd name="connsiteY6" fmla="*/ 591381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40528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585734 w 4166658"/>
              <a:gd name="connsiteY6" fmla="*/ 591381 h 4200886"/>
              <a:gd name="connsiteX7" fmla="*/ 4149422 w 4166658"/>
              <a:gd name="connsiteY7" fmla="*/ 431384 h 4200886"/>
              <a:gd name="connsiteX8" fmla="*/ 2588796 w 4166658"/>
              <a:gd name="connsiteY8" fmla="*/ 337381 h 4200886"/>
              <a:gd name="connsiteX9" fmla="*/ 2059591 w 4166658"/>
              <a:gd name="connsiteY9" fmla="*/ 320030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40528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585734 w 4166658"/>
              <a:gd name="connsiteY6" fmla="*/ 591381 h 4200886"/>
              <a:gd name="connsiteX7" fmla="*/ 4149422 w 4166658"/>
              <a:gd name="connsiteY7" fmla="*/ 431384 h 4200886"/>
              <a:gd name="connsiteX8" fmla="*/ 2588796 w 4166658"/>
              <a:gd name="connsiteY8" fmla="*/ 337381 h 4200886"/>
              <a:gd name="connsiteX9" fmla="*/ 2059591 w 4166658"/>
              <a:gd name="connsiteY9" fmla="*/ 320030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0203 h 4193763"/>
              <a:gd name="connsiteX1" fmla="*/ 4134908 w 4166658"/>
              <a:gd name="connsiteY1" fmla="*/ 1890203 h 4193763"/>
              <a:gd name="connsiteX2" fmla="*/ 2840528 w 4166658"/>
              <a:gd name="connsiteY2" fmla="*/ 1875689 h 4193763"/>
              <a:gd name="connsiteX3" fmla="*/ 2854022 w 4166658"/>
              <a:gd name="connsiteY3" fmla="*/ 1182632 h 4193763"/>
              <a:gd name="connsiteX4" fmla="*/ 2487423 w 4166658"/>
              <a:gd name="connsiteY4" fmla="*/ 1178777 h 4193763"/>
              <a:gd name="connsiteX5" fmla="*/ 2494794 w 4166658"/>
              <a:gd name="connsiteY5" fmla="*/ 714546 h 4193763"/>
              <a:gd name="connsiteX6" fmla="*/ 2585734 w 4166658"/>
              <a:gd name="connsiteY6" fmla="*/ 584258 h 4193763"/>
              <a:gd name="connsiteX7" fmla="*/ 4154184 w 4166658"/>
              <a:gd name="connsiteY7" fmla="*/ 443311 h 4193763"/>
              <a:gd name="connsiteX8" fmla="*/ 2588796 w 4166658"/>
              <a:gd name="connsiteY8" fmla="*/ 330258 h 4193763"/>
              <a:gd name="connsiteX9" fmla="*/ 2059591 w 4166658"/>
              <a:gd name="connsiteY9" fmla="*/ 312907 h 4193763"/>
              <a:gd name="connsiteX10" fmla="*/ 523572 w 4166658"/>
              <a:gd name="connsiteY10" fmla="*/ 455103 h 4193763"/>
              <a:gd name="connsiteX11" fmla="*/ 2053922 w 4166658"/>
              <a:gd name="connsiteY11" fmla="*/ 595483 h 4193763"/>
              <a:gd name="connsiteX12" fmla="*/ 2196547 w 4166658"/>
              <a:gd name="connsiteY12" fmla="*/ 720906 h 4193763"/>
              <a:gd name="connsiteX13" fmla="*/ 2189533 w 4166658"/>
              <a:gd name="connsiteY13" fmla="*/ 1182038 h 4193763"/>
              <a:gd name="connsiteX14" fmla="*/ 1852131 w 4166658"/>
              <a:gd name="connsiteY14" fmla="*/ 1183294 h 4193763"/>
              <a:gd name="connsiteX15" fmla="*/ 1836587 w 4166658"/>
              <a:gd name="connsiteY15" fmla="*/ 1893642 h 4193763"/>
              <a:gd name="connsiteX16" fmla="*/ 179806 w 4166658"/>
              <a:gd name="connsiteY16" fmla="*/ 4193763 h 4193763"/>
              <a:gd name="connsiteX17" fmla="*/ 1305272 w 4166658"/>
              <a:gd name="connsiteY17" fmla="*/ 4193100 h 4193763"/>
              <a:gd name="connsiteX18" fmla="*/ 1302808 w 4166658"/>
              <a:gd name="connsiteY18" fmla="*/ 3627382 h 4193763"/>
              <a:gd name="connsiteX19" fmla="*/ 1868865 w 4166658"/>
              <a:gd name="connsiteY19" fmla="*/ 2986031 h 4193763"/>
              <a:gd name="connsiteX20" fmla="*/ 4164843 w 4166658"/>
              <a:gd name="connsiteY20" fmla="*/ 2992382 h 4193763"/>
              <a:gd name="connsiteX21" fmla="*/ 4166658 w 4166658"/>
              <a:gd name="connsiteY21" fmla="*/ 1890203 h 4193763"/>
              <a:gd name="connsiteX0" fmla="*/ 4166658 w 4204984"/>
              <a:gd name="connsiteY0" fmla="*/ 1890203 h 4193763"/>
              <a:gd name="connsiteX1" fmla="*/ 4134908 w 4204984"/>
              <a:gd name="connsiteY1" fmla="*/ 1890203 h 4193763"/>
              <a:gd name="connsiteX2" fmla="*/ 2840528 w 4204984"/>
              <a:gd name="connsiteY2" fmla="*/ 1875689 h 4193763"/>
              <a:gd name="connsiteX3" fmla="*/ 2854022 w 4204984"/>
              <a:gd name="connsiteY3" fmla="*/ 1182632 h 4193763"/>
              <a:gd name="connsiteX4" fmla="*/ 2487423 w 4204984"/>
              <a:gd name="connsiteY4" fmla="*/ 1178777 h 4193763"/>
              <a:gd name="connsiteX5" fmla="*/ 2494794 w 4204984"/>
              <a:gd name="connsiteY5" fmla="*/ 714546 h 4193763"/>
              <a:gd name="connsiteX6" fmla="*/ 2585734 w 4204984"/>
              <a:gd name="connsiteY6" fmla="*/ 584258 h 4193763"/>
              <a:gd name="connsiteX7" fmla="*/ 4154184 w 4204984"/>
              <a:gd name="connsiteY7" fmla="*/ 443311 h 4193763"/>
              <a:gd name="connsiteX8" fmla="*/ 2588796 w 4204984"/>
              <a:gd name="connsiteY8" fmla="*/ 330258 h 4193763"/>
              <a:gd name="connsiteX9" fmla="*/ 2059591 w 4204984"/>
              <a:gd name="connsiteY9" fmla="*/ 312907 h 4193763"/>
              <a:gd name="connsiteX10" fmla="*/ 523572 w 4204984"/>
              <a:gd name="connsiteY10" fmla="*/ 455103 h 4193763"/>
              <a:gd name="connsiteX11" fmla="*/ 2053922 w 4204984"/>
              <a:gd name="connsiteY11" fmla="*/ 595483 h 4193763"/>
              <a:gd name="connsiteX12" fmla="*/ 2196547 w 4204984"/>
              <a:gd name="connsiteY12" fmla="*/ 720906 h 4193763"/>
              <a:gd name="connsiteX13" fmla="*/ 2189533 w 4204984"/>
              <a:gd name="connsiteY13" fmla="*/ 1182038 h 4193763"/>
              <a:gd name="connsiteX14" fmla="*/ 1852131 w 4204984"/>
              <a:gd name="connsiteY14" fmla="*/ 1183294 h 4193763"/>
              <a:gd name="connsiteX15" fmla="*/ 1836587 w 4204984"/>
              <a:gd name="connsiteY15" fmla="*/ 1893642 h 4193763"/>
              <a:gd name="connsiteX16" fmla="*/ 179806 w 4204984"/>
              <a:gd name="connsiteY16" fmla="*/ 4193763 h 4193763"/>
              <a:gd name="connsiteX17" fmla="*/ 1305272 w 4204984"/>
              <a:gd name="connsiteY17" fmla="*/ 4193100 h 4193763"/>
              <a:gd name="connsiteX18" fmla="*/ 1302808 w 4204984"/>
              <a:gd name="connsiteY18" fmla="*/ 3627382 h 4193763"/>
              <a:gd name="connsiteX19" fmla="*/ 1868865 w 4204984"/>
              <a:gd name="connsiteY19" fmla="*/ 2986031 h 4193763"/>
              <a:gd name="connsiteX20" fmla="*/ 4164843 w 4204984"/>
              <a:gd name="connsiteY20" fmla="*/ 2992382 h 4193763"/>
              <a:gd name="connsiteX21" fmla="*/ 4166658 w 4204984"/>
              <a:gd name="connsiteY21" fmla="*/ 1890203 h 4193763"/>
              <a:gd name="connsiteX0" fmla="*/ 4166658 w 4204984"/>
              <a:gd name="connsiteY0" fmla="*/ 1890203 h 4193763"/>
              <a:gd name="connsiteX1" fmla="*/ 4134908 w 4204984"/>
              <a:gd name="connsiteY1" fmla="*/ 1890203 h 4193763"/>
              <a:gd name="connsiteX2" fmla="*/ 2840528 w 4204984"/>
              <a:gd name="connsiteY2" fmla="*/ 1875689 h 4193763"/>
              <a:gd name="connsiteX3" fmla="*/ 2854022 w 4204984"/>
              <a:gd name="connsiteY3" fmla="*/ 1182632 h 4193763"/>
              <a:gd name="connsiteX4" fmla="*/ 2487423 w 4204984"/>
              <a:gd name="connsiteY4" fmla="*/ 1178777 h 4193763"/>
              <a:gd name="connsiteX5" fmla="*/ 2494794 w 4204984"/>
              <a:gd name="connsiteY5" fmla="*/ 714546 h 4193763"/>
              <a:gd name="connsiteX6" fmla="*/ 2585734 w 4204984"/>
              <a:gd name="connsiteY6" fmla="*/ 584258 h 4193763"/>
              <a:gd name="connsiteX7" fmla="*/ 4154184 w 4204984"/>
              <a:gd name="connsiteY7" fmla="*/ 443311 h 4193763"/>
              <a:gd name="connsiteX8" fmla="*/ 2588796 w 4204984"/>
              <a:gd name="connsiteY8" fmla="*/ 330258 h 4193763"/>
              <a:gd name="connsiteX9" fmla="*/ 2059591 w 4204984"/>
              <a:gd name="connsiteY9" fmla="*/ 312907 h 4193763"/>
              <a:gd name="connsiteX10" fmla="*/ 523572 w 4204984"/>
              <a:gd name="connsiteY10" fmla="*/ 455103 h 4193763"/>
              <a:gd name="connsiteX11" fmla="*/ 2053922 w 4204984"/>
              <a:gd name="connsiteY11" fmla="*/ 595483 h 4193763"/>
              <a:gd name="connsiteX12" fmla="*/ 2196547 w 4204984"/>
              <a:gd name="connsiteY12" fmla="*/ 720906 h 4193763"/>
              <a:gd name="connsiteX13" fmla="*/ 2189533 w 4204984"/>
              <a:gd name="connsiteY13" fmla="*/ 1182038 h 4193763"/>
              <a:gd name="connsiteX14" fmla="*/ 1852131 w 4204984"/>
              <a:gd name="connsiteY14" fmla="*/ 1183294 h 4193763"/>
              <a:gd name="connsiteX15" fmla="*/ 1836587 w 4204984"/>
              <a:gd name="connsiteY15" fmla="*/ 1893642 h 4193763"/>
              <a:gd name="connsiteX16" fmla="*/ 179806 w 4204984"/>
              <a:gd name="connsiteY16" fmla="*/ 4193763 h 4193763"/>
              <a:gd name="connsiteX17" fmla="*/ 727339 w 4204984"/>
              <a:gd name="connsiteY17" fmla="*/ 4190945 h 4193763"/>
              <a:gd name="connsiteX18" fmla="*/ 1305272 w 4204984"/>
              <a:gd name="connsiteY18" fmla="*/ 4193100 h 4193763"/>
              <a:gd name="connsiteX19" fmla="*/ 1302808 w 4204984"/>
              <a:gd name="connsiteY19" fmla="*/ 3627382 h 4193763"/>
              <a:gd name="connsiteX20" fmla="*/ 1868865 w 4204984"/>
              <a:gd name="connsiteY20" fmla="*/ 2986031 h 4193763"/>
              <a:gd name="connsiteX21" fmla="*/ 4164843 w 4204984"/>
              <a:gd name="connsiteY21" fmla="*/ 2992382 h 4193763"/>
              <a:gd name="connsiteX22" fmla="*/ 4166658 w 4204984"/>
              <a:gd name="connsiteY22" fmla="*/ 1890203 h 4193763"/>
              <a:gd name="connsiteX0" fmla="*/ 4166658 w 4204984"/>
              <a:gd name="connsiteY0" fmla="*/ 1890203 h 4519557"/>
              <a:gd name="connsiteX1" fmla="*/ 4134908 w 4204984"/>
              <a:gd name="connsiteY1" fmla="*/ 1890203 h 4519557"/>
              <a:gd name="connsiteX2" fmla="*/ 2840528 w 4204984"/>
              <a:gd name="connsiteY2" fmla="*/ 1875689 h 4519557"/>
              <a:gd name="connsiteX3" fmla="*/ 2854022 w 4204984"/>
              <a:gd name="connsiteY3" fmla="*/ 1182632 h 4519557"/>
              <a:gd name="connsiteX4" fmla="*/ 2487423 w 4204984"/>
              <a:gd name="connsiteY4" fmla="*/ 1178777 h 4519557"/>
              <a:gd name="connsiteX5" fmla="*/ 2494794 w 4204984"/>
              <a:gd name="connsiteY5" fmla="*/ 714546 h 4519557"/>
              <a:gd name="connsiteX6" fmla="*/ 2585734 w 4204984"/>
              <a:gd name="connsiteY6" fmla="*/ 584258 h 4519557"/>
              <a:gd name="connsiteX7" fmla="*/ 4154184 w 4204984"/>
              <a:gd name="connsiteY7" fmla="*/ 443311 h 4519557"/>
              <a:gd name="connsiteX8" fmla="*/ 2588796 w 4204984"/>
              <a:gd name="connsiteY8" fmla="*/ 330258 h 4519557"/>
              <a:gd name="connsiteX9" fmla="*/ 2059591 w 4204984"/>
              <a:gd name="connsiteY9" fmla="*/ 312907 h 4519557"/>
              <a:gd name="connsiteX10" fmla="*/ 523572 w 4204984"/>
              <a:gd name="connsiteY10" fmla="*/ 455103 h 4519557"/>
              <a:gd name="connsiteX11" fmla="*/ 2053922 w 4204984"/>
              <a:gd name="connsiteY11" fmla="*/ 595483 h 4519557"/>
              <a:gd name="connsiteX12" fmla="*/ 2196547 w 4204984"/>
              <a:gd name="connsiteY12" fmla="*/ 720906 h 4519557"/>
              <a:gd name="connsiteX13" fmla="*/ 2189533 w 4204984"/>
              <a:gd name="connsiteY13" fmla="*/ 1182038 h 4519557"/>
              <a:gd name="connsiteX14" fmla="*/ 1852131 w 4204984"/>
              <a:gd name="connsiteY14" fmla="*/ 1183294 h 4519557"/>
              <a:gd name="connsiteX15" fmla="*/ 1836587 w 4204984"/>
              <a:gd name="connsiteY15" fmla="*/ 1893642 h 4519557"/>
              <a:gd name="connsiteX16" fmla="*/ 179806 w 4204984"/>
              <a:gd name="connsiteY16" fmla="*/ 4193763 h 4519557"/>
              <a:gd name="connsiteX17" fmla="*/ 727339 w 4204984"/>
              <a:gd name="connsiteY17" fmla="*/ 4190945 h 4519557"/>
              <a:gd name="connsiteX18" fmla="*/ 503502 w 4204984"/>
              <a:gd name="connsiteY18" fmla="*/ 4519557 h 4519557"/>
              <a:gd name="connsiteX19" fmla="*/ 1305272 w 4204984"/>
              <a:gd name="connsiteY19" fmla="*/ 4193100 h 4519557"/>
              <a:gd name="connsiteX20" fmla="*/ 1302808 w 4204984"/>
              <a:gd name="connsiteY20" fmla="*/ 3627382 h 4519557"/>
              <a:gd name="connsiteX21" fmla="*/ 1868865 w 4204984"/>
              <a:gd name="connsiteY21" fmla="*/ 2986031 h 4519557"/>
              <a:gd name="connsiteX22" fmla="*/ 4164843 w 4204984"/>
              <a:gd name="connsiteY22" fmla="*/ 2992382 h 4519557"/>
              <a:gd name="connsiteX23" fmla="*/ 4166658 w 4204984"/>
              <a:gd name="connsiteY23" fmla="*/ 1890203 h 4519557"/>
              <a:gd name="connsiteX0" fmla="*/ 4166658 w 4204984"/>
              <a:gd name="connsiteY0" fmla="*/ 1890203 h 4519557"/>
              <a:gd name="connsiteX1" fmla="*/ 4134908 w 4204984"/>
              <a:gd name="connsiteY1" fmla="*/ 1890203 h 4519557"/>
              <a:gd name="connsiteX2" fmla="*/ 2840528 w 4204984"/>
              <a:gd name="connsiteY2" fmla="*/ 1875689 h 4519557"/>
              <a:gd name="connsiteX3" fmla="*/ 2854022 w 4204984"/>
              <a:gd name="connsiteY3" fmla="*/ 1182632 h 4519557"/>
              <a:gd name="connsiteX4" fmla="*/ 2487423 w 4204984"/>
              <a:gd name="connsiteY4" fmla="*/ 1178777 h 4519557"/>
              <a:gd name="connsiteX5" fmla="*/ 2494794 w 4204984"/>
              <a:gd name="connsiteY5" fmla="*/ 714546 h 4519557"/>
              <a:gd name="connsiteX6" fmla="*/ 2585734 w 4204984"/>
              <a:gd name="connsiteY6" fmla="*/ 584258 h 4519557"/>
              <a:gd name="connsiteX7" fmla="*/ 4154184 w 4204984"/>
              <a:gd name="connsiteY7" fmla="*/ 443311 h 4519557"/>
              <a:gd name="connsiteX8" fmla="*/ 2588796 w 4204984"/>
              <a:gd name="connsiteY8" fmla="*/ 330258 h 4519557"/>
              <a:gd name="connsiteX9" fmla="*/ 2059591 w 4204984"/>
              <a:gd name="connsiteY9" fmla="*/ 312907 h 4519557"/>
              <a:gd name="connsiteX10" fmla="*/ 523572 w 4204984"/>
              <a:gd name="connsiteY10" fmla="*/ 455103 h 4519557"/>
              <a:gd name="connsiteX11" fmla="*/ 2053922 w 4204984"/>
              <a:gd name="connsiteY11" fmla="*/ 595483 h 4519557"/>
              <a:gd name="connsiteX12" fmla="*/ 2196547 w 4204984"/>
              <a:gd name="connsiteY12" fmla="*/ 720906 h 4519557"/>
              <a:gd name="connsiteX13" fmla="*/ 2189533 w 4204984"/>
              <a:gd name="connsiteY13" fmla="*/ 1182038 h 4519557"/>
              <a:gd name="connsiteX14" fmla="*/ 1852131 w 4204984"/>
              <a:gd name="connsiteY14" fmla="*/ 1183294 h 4519557"/>
              <a:gd name="connsiteX15" fmla="*/ 1836587 w 4204984"/>
              <a:gd name="connsiteY15" fmla="*/ 1893642 h 4519557"/>
              <a:gd name="connsiteX16" fmla="*/ 179806 w 4204984"/>
              <a:gd name="connsiteY16" fmla="*/ 4193763 h 4519557"/>
              <a:gd name="connsiteX17" fmla="*/ 727339 w 4204984"/>
              <a:gd name="connsiteY17" fmla="*/ 4190945 h 4519557"/>
              <a:gd name="connsiteX18" fmla="*/ 503502 w 4204984"/>
              <a:gd name="connsiteY18" fmla="*/ 4519557 h 4519557"/>
              <a:gd name="connsiteX19" fmla="*/ 748771 w 4204984"/>
              <a:gd name="connsiteY19" fmla="*/ 4188563 h 4519557"/>
              <a:gd name="connsiteX20" fmla="*/ 1305272 w 4204984"/>
              <a:gd name="connsiteY20" fmla="*/ 4193100 h 4519557"/>
              <a:gd name="connsiteX21" fmla="*/ 1302808 w 4204984"/>
              <a:gd name="connsiteY21" fmla="*/ 3627382 h 4519557"/>
              <a:gd name="connsiteX22" fmla="*/ 1868865 w 4204984"/>
              <a:gd name="connsiteY22" fmla="*/ 2986031 h 4519557"/>
              <a:gd name="connsiteX23" fmla="*/ 4164843 w 4204984"/>
              <a:gd name="connsiteY23" fmla="*/ 2992382 h 4519557"/>
              <a:gd name="connsiteX24" fmla="*/ 4166658 w 4204984"/>
              <a:gd name="connsiteY24" fmla="*/ 1890203 h 4519557"/>
              <a:gd name="connsiteX0" fmla="*/ 4166658 w 4204984"/>
              <a:gd name="connsiteY0" fmla="*/ 1890203 h 4660051"/>
              <a:gd name="connsiteX1" fmla="*/ 4134908 w 4204984"/>
              <a:gd name="connsiteY1" fmla="*/ 1890203 h 4660051"/>
              <a:gd name="connsiteX2" fmla="*/ 2840528 w 4204984"/>
              <a:gd name="connsiteY2" fmla="*/ 1875689 h 4660051"/>
              <a:gd name="connsiteX3" fmla="*/ 2854022 w 4204984"/>
              <a:gd name="connsiteY3" fmla="*/ 1182632 h 4660051"/>
              <a:gd name="connsiteX4" fmla="*/ 2487423 w 4204984"/>
              <a:gd name="connsiteY4" fmla="*/ 1178777 h 4660051"/>
              <a:gd name="connsiteX5" fmla="*/ 2494794 w 4204984"/>
              <a:gd name="connsiteY5" fmla="*/ 714546 h 4660051"/>
              <a:gd name="connsiteX6" fmla="*/ 2585734 w 4204984"/>
              <a:gd name="connsiteY6" fmla="*/ 584258 h 4660051"/>
              <a:gd name="connsiteX7" fmla="*/ 4154184 w 4204984"/>
              <a:gd name="connsiteY7" fmla="*/ 443311 h 4660051"/>
              <a:gd name="connsiteX8" fmla="*/ 2588796 w 4204984"/>
              <a:gd name="connsiteY8" fmla="*/ 330258 h 4660051"/>
              <a:gd name="connsiteX9" fmla="*/ 2059591 w 4204984"/>
              <a:gd name="connsiteY9" fmla="*/ 312907 h 4660051"/>
              <a:gd name="connsiteX10" fmla="*/ 523572 w 4204984"/>
              <a:gd name="connsiteY10" fmla="*/ 455103 h 4660051"/>
              <a:gd name="connsiteX11" fmla="*/ 2053922 w 4204984"/>
              <a:gd name="connsiteY11" fmla="*/ 595483 h 4660051"/>
              <a:gd name="connsiteX12" fmla="*/ 2196547 w 4204984"/>
              <a:gd name="connsiteY12" fmla="*/ 720906 h 4660051"/>
              <a:gd name="connsiteX13" fmla="*/ 2189533 w 4204984"/>
              <a:gd name="connsiteY13" fmla="*/ 1182038 h 4660051"/>
              <a:gd name="connsiteX14" fmla="*/ 1852131 w 4204984"/>
              <a:gd name="connsiteY14" fmla="*/ 1183294 h 4660051"/>
              <a:gd name="connsiteX15" fmla="*/ 1836587 w 4204984"/>
              <a:gd name="connsiteY15" fmla="*/ 1893642 h 4660051"/>
              <a:gd name="connsiteX16" fmla="*/ 179806 w 4204984"/>
              <a:gd name="connsiteY16" fmla="*/ 4193763 h 4660051"/>
              <a:gd name="connsiteX17" fmla="*/ 727339 w 4204984"/>
              <a:gd name="connsiteY17" fmla="*/ 4190945 h 4660051"/>
              <a:gd name="connsiteX18" fmla="*/ 503502 w 4204984"/>
              <a:gd name="connsiteY18" fmla="*/ 4519557 h 4660051"/>
              <a:gd name="connsiteX19" fmla="*/ 1065477 w 4204984"/>
              <a:gd name="connsiteY19" fmla="*/ 4660051 h 4660051"/>
              <a:gd name="connsiteX20" fmla="*/ 748771 w 4204984"/>
              <a:gd name="connsiteY20" fmla="*/ 4188563 h 4660051"/>
              <a:gd name="connsiteX21" fmla="*/ 1305272 w 4204984"/>
              <a:gd name="connsiteY21" fmla="*/ 4193100 h 4660051"/>
              <a:gd name="connsiteX22" fmla="*/ 1302808 w 4204984"/>
              <a:gd name="connsiteY22" fmla="*/ 3627382 h 4660051"/>
              <a:gd name="connsiteX23" fmla="*/ 1868865 w 4204984"/>
              <a:gd name="connsiteY23" fmla="*/ 2986031 h 4660051"/>
              <a:gd name="connsiteX24" fmla="*/ 4164843 w 4204984"/>
              <a:gd name="connsiteY24" fmla="*/ 2992382 h 4660051"/>
              <a:gd name="connsiteX25" fmla="*/ 4166658 w 4204984"/>
              <a:gd name="connsiteY25" fmla="*/ 1890203 h 4660051"/>
              <a:gd name="connsiteX0" fmla="*/ 4166658 w 4204984"/>
              <a:gd name="connsiteY0" fmla="*/ 1890203 h 4660051"/>
              <a:gd name="connsiteX1" fmla="*/ 4134908 w 4204984"/>
              <a:gd name="connsiteY1" fmla="*/ 1890203 h 4660051"/>
              <a:gd name="connsiteX2" fmla="*/ 2840528 w 4204984"/>
              <a:gd name="connsiteY2" fmla="*/ 1875689 h 4660051"/>
              <a:gd name="connsiteX3" fmla="*/ 2854022 w 4204984"/>
              <a:gd name="connsiteY3" fmla="*/ 1182632 h 4660051"/>
              <a:gd name="connsiteX4" fmla="*/ 2487423 w 4204984"/>
              <a:gd name="connsiteY4" fmla="*/ 1178777 h 4660051"/>
              <a:gd name="connsiteX5" fmla="*/ 2494794 w 4204984"/>
              <a:gd name="connsiteY5" fmla="*/ 714546 h 4660051"/>
              <a:gd name="connsiteX6" fmla="*/ 2585734 w 4204984"/>
              <a:gd name="connsiteY6" fmla="*/ 584258 h 4660051"/>
              <a:gd name="connsiteX7" fmla="*/ 4154184 w 4204984"/>
              <a:gd name="connsiteY7" fmla="*/ 443311 h 4660051"/>
              <a:gd name="connsiteX8" fmla="*/ 2588796 w 4204984"/>
              <a:gd name="connsiteY8" fmla="*/ 330258 h 4660051"/>
              <a:gd name="connsiteX9" fmla="*/ 2059591 w 4204984"/>
              <a:gd name="connsiteY9" fmla="*/ 312907 h 4660051"/>
              <a:gd name="connsiteX10" fmla="*/ 523572 w 4204984"/>
              <a:gd name="connsiteY10" fmla="*/ 455103 h 4660051"/>
              <a:gd name="connsiteX11" fmla="*/ 2053922 w 4204984"/>
              <a:gd name="connsiteY11" fmla="*/ 595483 h 4660051"/>
              <a:gd name="connsiteX12" fmla="*/ 2196547 w 4204984"/>
              <a:gd name="connsiteY12" fmla="*/ 720906 h 4660051"/>
              <a:gd name="connsiteX13" fmla="*/ 2189533 w 4204984"/>
              <a:gd name="connsiteY13" fmla="*/ 1182038 h 4660051"/>
              <a:gd name="connsiteX14" fmla="*/ 1852131 w 4204984"/>
              <a:gd name="connsiteY14" fmla="*/ 1183294 h 4660051"/>
              <a:gd name="connsiteX15" fmla="*/ 1836587 w 4204984"/>
              <a:gd name="connsiteY15" fmla="*/ 1893642 h 4660051"/>
              <a:gd name="connsiteX16" fmla="*/ 179806 w 4204984"/>
              <a:gd name="connsiteY16" fmla="*/ 4193763 h 4660051"/>
              <a:gd name="connsiteX17" fmla="*/ 727339 w 4204984"/>
              <a:gd name="connsiteY17" fmla="*/ 4190945 h 4660051"/>
              <a:gd name="connsiteX18" fmla="*/ 420158 w 4204984"/>
              <a:gd name="connsiteY18" fmla="*/ 4626713 h 4660051"/>
              <a:gd name="connsiteX19" fmla="*/ 1065477 w 4204984"/>
              <a:gd name="connsiteY19" fmla="*/ 4660051 h 4660051"/>
              <a:gd name="connsiteX20" fmla="*/ 748771 w 4204984"/>
              <a:gd name="connsiteY20" fmla="*/ 4188563 h 4660051"/>
              <a:gd name="connsiteX21" fmla="*/ 1305272 w 4204984"/>
              <a:gd name="connsiteY21" fmla="*/ 4193100 h 4660051"/>
              <a:gd name="connsiteX22" fmla="*/ 1302808 w 4204984"/>
              <a:gd name="connsiteY22" fmla="*/ 3627382 h 4660051"/>
              <a:gd name="connsiteX23" fmla="*/ 1868865 w 4204984"/>
              <a:gd name="connsiteY23" fmla="*/ 2986031 h 4660051"/>
              <a:gd name="connsiteX24" fmla="*/ 4164843 w 4204984"/>
              <a:gd name="connsiteY24" fmla="*/ 2992382 h 4660051"/>
              <a:gd name="connsiteX25" fmla="*/ 4166658 w 4204984"/>
              <a:gd name="connsiteY25" fmla="*/ 1890203 h 4660051"/>
              <a:gd name="connsiteX0" fmla="*/ 4166658 w 4204984"/>
              <a:gd name="connsiteY0" fmla="*/ 1890203 h 5619695"/>
              <a:gd name="connsiteX1" fmla="*/ 4134908 w 4204984"/>
              <a:gd name="connsiteY1" fmla="*/ 1890203 h 5619695"/>
              <a:gd name="connsiteX2" fmla="*/ 2840528 w 4204984"/>
              <a:gd name="connsiteY2" fmla="*/ 1875689 h 5619695"/>
              <a:gd name="connsiteX3" fmla="*/ 2854022 w 4204984"/>
              <a:gd name="connsiteY3" fmla="*/ 1182632 h 5619695"/>
              <a:gd name="connsiteX4" fmla="*/ 2487423 w 4204984"/>
              <a:gd name="connsiteY4" fmla="*/ 1178777 h 5619695"/>
              <a:gd name="connsiteX5" fmla="*/ 2494794 w 4204984"/>
              <a:gd name="connsiteY5" fmla="*/ 714546 h 5619695"/>
              <a:gd name="connsiteX6" fmla="*/ 2585734 w 4204984"/>
              <a:gd name="connsiteY6" fmla="*/ 584258 h 5619695"/>
              <a:gd name="connsiteX7" fmla="*/ 4154184 w 4204984"/>
              <a:gd name="connsiteY7" fmla="*/ 443311 h 5619695"/>
              <a:gd name="connsiteX8" fmla="*/ 2588796 w 4204984"/>
              <a:gd name="connsiteY8" fmla="*/ 330258 h 5619695"/>
              <a:gd name="connsiteX9" fmla="*/ 2059591 w 4204984"/>
              <a:gd name="connsiteY9" fmla="*/ 312907 h 5619695"/>
              <a:gd name="connsiteX10" fmla="*/ 523572 w 4204984"/>
              <a:gd name="connsiteY10" fmla="*/ 455103 h 5619695"/>
              <a:gd name="connsiteX11" fmla="*/ 2053922 w 4204984"/>
              <a:gd name="connsiteY11" fmla="*/ 595483 h 5619695"/>
              <a:gd name="connsiteX12" fmla="*/ 2196547 w 4204984"/>
              <a:gd name="connsiteY12" fmla="*/ 720906 h 5619695"/>
              <a:gd name="connsiteX13" fmla="*/ 2189533 w 4204984"/>
              <a:gd name="connsiteY13" fmla="*/ 1182038 h 5619695"/>
              <a:gd name="connsiteX14" fmla="*/ 1852131 w 4204984"/>
              <a:gd name="connsiteY14" fmla="*/ 1183294 h 5619695"/>
              <a:gd name="connsiteX15" fmla="*/ 1836587 w 4204984"/>
              <a:gd name="connsiteY15" fmla="*/ 1893642 h 5619695"/>
              <a:gd name="connsiteX16" fmla="*/ 179806 w 4204984"/>
              <a:gd name="connsiteY16" fmla="*/ 4193763 h 5619695"/>
              <a:gd name="connsiteX17" fmla="*/ 727339 w 4204984"/>
              <a:gd name="connsiteY17" fmla="*/ 4190945 h 5619695"/>
              <a:gd name="connsiteX18" fmla="*/ 420158 w 4204984"/>
              <a:gd name="connsiteY18" fmla="*/ 4626713 h 5619695"/>
              <a:gd name="connsiteX19" fmla="*/ 751152 w 4204984"/>
              <a:gd name="connsiteY19" fmla="*/ 5619695 h 5619695"/>
              <a:gd name="connsiteX20" fmla="*/ 1065477 w 4204984"/>
              <a:gd name="connsiteY20" fmla="*/ 4660051 h 5619695"/>
              <a:gd name="connsiteX21" fmla="*/ 748771 w 4204984"/>
              <a:gd name="connsiteY21" fmla="*/ 4188563 h 5619695"/>
              <a:gd name="connsiteX22" fmla="*/ 1305272 w 4204984"/>
              <a:gd name="connsiteY22" fmla="*/ 4193100 h 5619695"/>
              <a:gd name="connsiteX23" fmla="*/ 1302808 w 4204984"/>
              <a:gd name="connsiteY23" fmla="*/ 3627382 h 5619695"/>
              <a:gd name="connsiteX24" fmla="*/ 1868865 w 4204984"/>
              <a:gd name="connsiteY24" fmla="*/ 2986031 h 5619695"/>
              <a:gd name="connsiteX25" fmla="*/ 4164843 w 4204984"/>
              <a:gd name="connsiteY25" fmla="*/ 2992382 h 5619695"/>
              <a:gd name="connsiteX26" fmla="*/ 4166658 w 4204984"/>
              <a:gd name="connsiteY26" fmla="*/ 1890203 h 5619695"/>
              <a:gd name="connsiteX0" fmla="*/ 4166658 w 4204984"/>
              <a:gd name="connsiteY0" fmla="*/ 1890203 h 6141188"/>
              <a:gd name="connsiteX1" fmla="*/ 4134908 w 4204984"/>
              <a:gd name="connsiteY1" fmla="*/ 1890203 h 6141188"/>
              <a:gd name="connsiteX2" fmla="*/ 2840528 w 4204984"/>
              <a:gd name="connsiteY2" fmla="*/ 1875689 h 6141188"/>
              <a:gd name="connsiteX3" fmla="*/ 2854022 w 4204984"/>
              <a:gd name="connsiteY3" fmla="*/ 1182632 h 6141188"/>
              <a:gd name="connsiteX4" fmla="*/ 2487423 w 4204984"/>
              <a:gd name="connsiteY4" fmla="*/ 1178777 h 6141188"/>
              <a:gd name="connsiteX5" fmla="*/ 2494794 w 4204984"/>
              <a:gd name="connsiteY5" fmla="*/ 714546 h 6141188"/>
              <a:gd name="connsiteX6" fmla="*/ 2585734 w 4204984"/>
              <a:gd name="connsiteY6" fmla="*/ 584258 h 6141188"/>
              <a:gd name="connsiteX7" fmla="*/ 4154184 w 4204984"/>
              <a:gd name="connsiteY7" fmla="*/ 443311 h 6141188"/>
              <a:gd name="connsiteX8" fmla="*/ 2588796 w 4204984"/>
              <a:gd name="connsiteY8" fmla="*/ 330258 h 6141188"/>
              <a:gd name="connsiteX9" fmla="*/ 2059591 w 4204984"/>
              <a:gd name="connsiteY9" fmla="*/ 312907 h 6141188"/>
              <a:gd name="connsiteX10" fmla="*/ 523572 w 4204984"/>
              <a:gd name="connsiteY10" fmla="*/ 455103 h 6141188"/>
              <a:gd name="connsiteX11" fmla="*/ 2053922 w 4204984"/>
              <a:gd name="connsiteY11" fmla="*/ 595483 h 6141188"/>
              <a:gd name="connsiteX12" fmla="*/ 2196547 w 4204984"/>
              <a:gd name="connsiteY12" fmla="*/ 720906 h 6141188"/>
              <a:gd name="connsiteX13" fmla="*/ 2189533 w 4204984"/>
              <a:gd name="connsiteY13" fmla="*/ 1182038 h 6141188"/>
              <a:gd name="connsiteX14" fmla="*/ 1852131 w 4204984"/>
              <a:gd name="connsiteY14" fmla="*/ 1183294 h 6141188"/>
              <a:gd name="connsiteX15" fmla="*/ 1836587 w 4204984"/>
              <a:gd name="connsiteY15" fmla="*/ 1893642 h 6141188"/>
              <a:gd name="connsiteX16" fmla="*/ 179806 w 4204984"/>
              <a:gd name="connsiteY16" fmla="*/ 4193763 h 6141188"/>
              <a:gd name="connsiteX17" fmla="*/ 727339 w 4204984"/>
              <a:gd name="connsiteY17" fmla="*/ 4190945 h 6141188"/>
              <a:gd name="connsiteX18" fmla="*/ 420158 w 4204984"/>
              <a:gd name="connsiteY18" fmla="*/ 4626713 h 6141188"/>
              <a:gd name="connsiteX19" fmla="*/ 755914 w 4204984"/>
              <a:gd name="connsiteY19" fmla="*/ 6141188 h 6141188"/>
              <a:gd name="connsiteX20" fmla="*/ 1065477 w 4204984"/>
              <a:gd name="connsiteY20" fmla="*/ 4660051 h 6141188"/>
              <a:gd name="connsiteX21" fmla="*/ 748771 w 4204984"/>
              <a:gd name="connsiteY21" fmla="*/ 4188563 h 6141188"/>
              <a:gd name="connsiteX22" fmla="*/ 1305272 w 4204984"/>
              <a:gd name="connsiteY22" fmla="*/ 4193100 h 6141188"/>
              <a:gd name="connsiteX23" fmla="*/ 1302808 w 4204984"/>
              <a:gd name="connsiteY23" fmla="*/ 3627382 h 6141188"/>
              <a:gd name="connsiteX24" fmla="*/ 1868865 w 4204984"/>
              <a:gd name="connsiteY24" fmla="*/ 2986031 h 6141188"/>
              <a:gd name="connsiteX25" fmla="*/ 4164843 w 4204984"/>
              <a:gd name="connsiteY25" fmla="*/ 2992382 h 6141188"/>
              <a:gd name="connsiteX26" fmla="*/ 4166658 w 4204984"/>
              <a:gd name="connsiteY26" fmla="*/ 1890203 h 6141188"/>
              <a:gd name="connsiteX0" fmla="*/ 4166658 w 4204984"/>
              <a:gd name="connsiteY0" fmla="*/ 1890203 h 6166588"/>
              <a:gd name="connsiteX1" fmla="*/ 4134908 w 4204984"/>
              <a:gd name="connsiteY1" fmla="*/ 1890203 h 6166588"/>
              <a:gd name="connsiteX2" fmla="*/ 2840528 w 4204984"/>
              <a:gd name="connsiteY2" fmla="*/ 1875689 h 6166588"/>
              <a:gd name="connsiteX3" fmla="*/ 2854022 w 4204984"/>
              <a:gd name="connsiteY3" fmla="*/ 1182632 h 6166588"/>
              <a:gd name="connsiteX4" fmla="*/ 2487423 w 4204984"/>
              <a:gd name="connsiteY4" fmla="*/ 1178777 h 6166588"/>
              <a:gd name="connsiteX5" fmla="*/ 2494794 w 4204984"/>
              <a:gd name="connsiteY5" fmla="*/ 714546 h 6166588"/>
              <a:gd name="connsiteX6" fmla="*/ 2585734 w 4204984"/>
              <a:gd name="connsiteY6" fmla="*/ 584258 h 6166588"/>
              <a:gd name="connsiteX7" fmla="*/ 4154184 w 4204984"/>
              <a:gd name="connsiteY7" fmla="*/ 443311 h 6166588"/>
              <a:gd name="connsiteX8" fmla="*/ 2588796 w 4204984"/>
              <a:gd name="connsiteY8" fmla="*/ 330258 h 6166588"/>
              <a:gd name="connsiteX9" fmla="*/ 2059591 w 4204984"/>
              <a:gd name="connsiteY9" fmla="*/ 312907 h 6166588"/>
              <a:gd name="connsiteX10" fmla="*/ 523572 w 4204984"/>
              <a:gd name="connsiteY10" fmla="*/ 455103 h 6166588"/>
              <a:gd name="connsiteX11" fmla="*/ 2053922 w 4204984"/>
              <a:gd name="connsiteY11" fmla="*/ 595483 h 6166588"/>
              <a:gd name="connsiteX12" fmla="*/ 2196547 w 4204984"/>
              <a:gd name="connsiteY12" fmla="*/ 720906 h 6166588"/>
              <a:gd name="connsiteX13" fmla="*/ 2189533 w 4204984"/>
              <a:gd name="connsiteY13" fmla="*/ 1182038 h 6166588"/>
              <a:gd name="connsiteX14" fmla="*/ 1852131 w 4204984"/>
              <a:gd name="connsiteY14" fmla="*/ 1183294 h 6166588"/>
              <a:gd name="connsiteX15" fmla="*/ 1836587 w 4204984"/>
              <a:gd name="connsiteY15" fmla="*/ 1893642 h 6166588"/>
              <a:gd name="connsiteX16" fmla="*/ 179806 w 4204984"/>
              <a:gd name="connsiteY16" fmla="*/ 4193763 h 6166588"/>
              <a:gd name="connsiteX17" fmla="*/ 727339 w 4204984"/>
              <a:gd name="connsiteY17" fmla="*/ 4190945 h 6166588"/>
              <a:gd name="connsiteX18" fmla="*/ 420158 w 4204984"/>
              <a:gd name="connsiteY18" fmla="*/ 4626713 h 6166588"/>
              <a:gd name="connsiteX19" fmla="*/ 755914 w 4204984"/>
              <a:gd name="connsiteY19" fmla="*/ 6141188 h 6166588"/>
              <a:gd name="connsiteX20" fmla="*/ 1065477 w 4204984"/>
              <a:gd name="connsiteY20" fmla="*/ 4660051 h 6166588"/>
              <a:gd name="connsiteX21" fmla="*/ 748771 w 4204984"/>
              <a:gd name="connsiteY21" fmla="*/ 4188563 h 6166588"/>
              <a:gd name="connsiteX22" fmla="*/ 1305272 w 4204984"/>
              <a:gd name="connsiteY22" fmla="*/ 4193100 h 6166588"/>
              <a:gd name="connsiteX23" fmla="*/ 1302808 w 4204984"/>
              <a:gd name="connsiteY23" fmla="*/ 3627382 h 6166588"/>
              <a:gd name="connsiteX24" fmla="*/ 1868865 w 4204984"/>
              <a:gd name="connsiteY24" fmla="*/ 2986031 h 6166588"/>
              <a:gd name="connsiteX25" fmla="*/ 4164843 w 4204984"/>
              <a:gd name="connsiteY25" fmla="*/ 2992382 h 6166588"/>
              <a:gd name="connsiteX26" fmla="*/ 4166658 w 4204984"/>
              <a:gd name="connsiteY26" fmla="*/ 1890203 h 6166588"/>
              <a:gd name="connsiteX0" fmla="*/ 4166658 w 4204984"/>
              <a:gd name="connsiteY0" fmla="*/ 1890203 h 6166588"/>
              <a:gd name="connsiteX1" fmla="*/ 4134908 w 4204984"/>
              <a:gd name="connsiteY1" fmla="*/ 1890203 h 6166588"/>
              <a:gd name="connsiteX2" fmla="*/ 2840528 w 4204984"/>
              <a:gd name="connsiteY2" fmla="*/ 1875689 h 6166588"/>
              <a:gd name="connsiteX3" fmla="*/ 2854022 w 4204984"/>
              <a:gd name="connsiteY3" fmla="*/ 1182632 h 6166588"/>
              <a:gd name="connsiteX4" fmla="*/ 2487423 w 4204984"/>
              <a:gd name="connsiteY4" fmla="*/ 1178777 h 6166588"/>
              <a:gd name="connsiteX5" fmla="*/ 2494794 w 4204984"/>
              <a:gd name="connsiteY5" fmla="*/ 714546 h 6166588"/>
              <a:gd name="connsiteX6" fmla="*/ 2585734 w 4204984"/>
              <a:gd name="connsiteY6" fmla="*/ 584258 h 6166588"/>
              <a:gd name="connsiteX7" fmla="*/ 4154184 w 4204984"/>
              <a:gd name="connsiteY7" fmla="*/ 443311 h 6166588"/>
              <a:gd name="connsiteX8" fmla="*/ 2588796 w 4204984"/>
              <a:gd name="connsiteY8" fmla="*/ 330258 h 6166588"/>
              <a:gd name="connsiteX9" fmla="*/ 2059591 w 4204984"/>
              <a:gd name="connsiteY9" fmla="*/ 312907 h 6166588"/>
              <a:gd name="connsiteX10" fmla="*/ 523572 w 4204984"/>
              <a:gd name="connsiteY10" fmla="*/ 455103 h 6166588"/>
              <a:gd name="connsiteX11" fmla="*/ 2053922 w 4204984"/>
              <a:gd name="connsiteY11" fmla="*/ 595483 h 6166588"/>
              <a:gd name="connsiteX12" fmla="*/ 2196547 w 4204984"/>
              <a:gd name="connsiteY12" fmla="*/ 720906 h 6166588"/>
              <a:gd name="connsiteX13" fmla="*/ 2189533 w 4204984"/>
              <a:gd name="connsiteY13" fmla="*/ 1182038 h 6166588"/>
              <a:gd name="connsiteX14" fmla="*/ 1852131 w 4204984"/>
              <a:gd name="connsiteY14" fmla="*/ 1183294 h 6166588"/>
              <a:gd name="connsiteX15" fmla="*/ 1836587 w 4204984"/>
              <a:gd name="connsiteY15" fmla="*/ 1893642 h 6166588"/>
              <a:gd name="connsiteX16" fmla="*/ 179806 w 4204984"/>
              <a:gd name="connsiteY16" fmla="*/ 4193763 h 6166588"/>
              <a:gd name="connsiteX17" fmla="*/ 727339 w 4204984"/>
              <a:gd name="connsiteY17" fmla="*/ 4190945 h 6166588"/>
              <a:gd name="connsiteX18" fmla="*/ 420158 w 4204984"/>
              <a:gd name="connsiteY18" fmla="*/ 4626713 h 6166588"/>
              <a:gd name="connsiteX19" fmla="*/ 755914 w 4204984"/>
              <a:gd name="connsiteY19" fmla="*/ 6141188 h 6166588"/>
              <a:gd name="connsiteX20" fmla="*/ 1065477 w 4204984"/>
              <a:gd name="connsiteY20" fmla="*/ 4660051 h 6166588"/>
              <a:gd name="connsiteX21" fmla="*/ 748771 w 4204984"/>
              <a:gd name="connsiteY21" fmla="*/ 4188563 h 6166588"/>
              <a:gd name="connsiteX22" fmla="*/ 1305272 w 4204984"/>
              <a:gd name="connsiteY22" fmla="*/ 4193100 h 6166588"/>
              <a:gd name="connsiteX23" fmla="*/ 1302808 w 4204984"/>
              <a:gd name="connsiteY23" fmla="*/ 3627382 h 6166588"/>
              <a:gd name="connsiteX24" fmla="*/ 1868865 w 4204984"/>
              <a:gd name="connsiteY24" fmla="*/ 2986031 h 6166588"/>
              <a:gd name="connsiteX25" fmla="*/ 4164843 w 4204984"/>
              <a:gd name="connsiteY25" fmla="*/ 2992382 h 6166588"/>
              <a:gd name="connsiteX26" fmla="*/ 4166658 w 4204984"/>
              <a:gd name="connsiteY26" fmla="*/ 1890203 h 6166588"/>
              <a:gd name="connsiteX0" fmla="*/ 4325143 w 4363469"/>
              <a:gd name="connsiteY0" fmla="*/ 1890203 h 6166588"/>
              <a:gd name="connsiteX1" fmla="*/ 4293393 w 4363469"/>
              <a:gd name="connsiteY1" fmla="*/ 1890203 h 6166588"/>
              <a:gd name="connsiteX2" fmla="*/ 2999013 w 4363469"/>
              <a:gd name="connsiteY2" fmla="*/ 1875689 h 6166588"/>
              <a:gd name="connsiteX3" fmla="*/ 3012507 w 4363469"/>
              <a:gd name="connsiteY3" fmla="*/ 1182632 h 6166588"/>
              <a:gd name="connsiteX4" fmla="*/ 2645908 w 4363469"/>
              <a:gd name="connsiteY4" fmla="*/ 1178777 h 6166588"/>
              <a:gd name="connsiteX5" fmla="*/ 2653279 w 4363469"/>
              <a:gd name="connsiteY5" fmla="*/ 714546 h 6166588"/>
              <a:gd name="connsiteX6" fmla="*/ 2744219 w 4363469"/>
              <a:gd name="connsiteY6" fmla="*/ 584258 h 6166588"/>
              <a:gd name="connsiteX7" fmla="*/ 4312669 w 4363469"/>
              <a:gd name="connsiteY7" fmla="*/ 443311 h 6166588"/>
              <a:gd name="connsiteX8" fmla="*/ 2747281 w 4363469"/>
              <a:gd name="connsiteY8" fmla="*/ 330258 h 6166588"/>
              <a:gd name="connsiteX9" fmla="*/ 2218076 w 4363469"/>
              <a:gd name="connsiteY9" fmla="*/ 312907 h 6166588"/>
              <a:gd name="connsiteX10" fmla="*/ 682057 w 4363469"/>
              <a:gd name="connsiteY10" fmla="*/ 455103 h 6166588"/>
              <a:gd name="connsiteX11" fmla="*/ 2212407 w 4363469"/>
              <a:gd name="connsiteY11" fmla="*/ 595483 h 6166588"/>
              <a:gd name="connsiteX12" fmla="*/ 2355032 w 4363469"/>
              <a:gd name="connsiteY12" fmla="*/ 720906 h 6166588"/>
              <a:gd name="connsiteX13" fmla="*/ 2348018 w 4363469"/>
              <a:gd name="connsiteY13" fmla="*/ 1182038 h 6166588"/>
              <a:gd name="connsiteX14" fmla="*/ 2010616 w 4363469"/>
              <a:gd name="connsiteY14" fmla="*/ 1183294 h 6166588"/>
              <a:gd name="connsiteX15" fmla="*/ 1995072 w 4363469"/>
              <a:gd name="connsiteY15" fmla="*/ 1893642 h 6166588"/>
              <a:gd name="connsiteX16" fmla="*/ 338291 w 4363469"/>
              <a:gd name="connsiteY16" fmla="*/ 4193763 h 6166588"/>
              <a:gd name="connsiteX17" fmla="*/ 885824 w 4363469"/>
              <a:gd name="connsiteY17" fmla="*/ 4190945 h 6166588"/>
              <a:gd name="connsiteX18" fmla="*/ 578643 w 4363469"/>
              <a:gd name="connsiteY18" fmla="*/ 4626713 h 6166588"/>
              <a:gd name="connsiteX19" fmla="*/ 914399 w 4363469"/>
              <a:gd name="connsiteY19" fmla="*/ 6141188 h 6166588"/>
              <a:gd name="connsiteX20" fmla="*/ 1223962 w 4363469"/>
              <a:gd name="connsiteY20" fmla="*/ 4660051 h 6166588"/>
              <a:gd name="connsiteX21" fmla="*/ 907256 w 4363469"/>
              <a:gd name="connsiteY21" fmla="*/ 4188563 h 6166588"/>
              <a:gd name="connsiteX22" fmla="*/ 1463757 w 4363469"/>
              <a:gd name="connsiteY22" fmla="*/ 4193100 h 6166588"/>
              <a:gd name="connsiteX23" fmla="*/ 1461293 w 4363469"/>
              <a:gd name="connsiteY23" fmla="*/ 3627382 h 6166588"/>
              <a:gd name="connsiteX24" fmla="*/ 2027350 w 4363469"/>
              <a:gd name="connsiteY24" fmla="*/ 2986031 h 6166588"/>
              <a:gd name="connsiteX25" fmla="*/ 4323328 w 4363469"/>
              <a:gd name="connsiteY25" fmla="*/ 2992382 h 6166588"/>
              <a:gd name="connsiteX26" fmla="*/ 4325143 w 4363469"/>
              <a:gd name="connsiteY26" fmla="*/ 1890203 h 6166588"/>
              <a:gd name="connsiteX0" fmla="*/ 4325143 w 4363469"/>
              <a:gd name="connsiteY0" fmla="*/ 1890203 h 6166588"/>
              <a:gd name="connsiteX1" fmla="*/ 4293393 w 4363469"/>
              <a:gd name="connsiteY1" fmla="*/ 1890203 h 6166588"/>
              <a:gd name="connsiteX2" fmla="*/ 2999013 w 4363469"/>
              <a:gd name="connsiteY2" fmla="*/ 1875689 h 6166588"/>
              <a:gd name="connsiteX3" fmla="*/ 3012507 w 4363469"/>
              <a:gd name="connsiteY3" fmla="*/ 1182632 h 6166588"/>
              <a:gd name="connsiteX4" fmla="*/ 2645908 w 4363469"/>
              <a:gd name="connsiteY4" fmla="*/ 1178777 h 6166588"/>
              <a:gd name="connsiteX5" fmla="*/ 2653279 w 4363469"/>
              <a:gd name="connsiteY5" fmla="*/ 714546 h 6166588"/>
              <a:gd name="connsiteX6" fmla="*/ 2744219 w 4363469"/>
              <a:gd name="connsiteY6" fmla="*/ 584258 h 6166588"/>
              <a:gd name="connsiteX7" fmla="*/ 4312669 w 4363469"/>
              <a:gd name="connsiteY7" fmla="*/ 443311 h 6166588"/>
              <a:gd name="connsiteX8" fmla="*/ 2747281 w 4363469"/>
              <a:gd name="connsiteY8" fmla="*/ 330258 h 6166588"/>
              <a:gd name="connsiteX9" fmla="*/ 2218076 w 4363469"/>
              <a:gd name="connsiteY9" fmla="*/ 312907 h 6166588"/>
              <a:gd name="connsiteX10" fmla="*/ 682057 w 4363469"/>
              <a:gd name="connsiteY10" fmla="*/ 455103 h 6166588"/>
              <a:gd name="connsiteX11" fmla="*/ 2212407 w 4363469"/>
              <a:gd name="connsiteY11" fmla="*/ 595483 h 6166588"/>
              <a:gd name="connsiteX12" fmla="*/ 2355032 w 4363469"/>
              <a:gd name="connsiteY12" fmla="*/ 720906 h 6166588"/>
              <a:gd name="connsiteX13" fmla="*/ 2348018 w 4363469"/>
              <a:gd name="connsiteY13" fmla="*/ 1182038 h 6166588"/>
              <a:gd name="connsiteX14" fmla="*/ 2010616 w 4363469"/>
              <a:gd name="connsiteY14" fmla="*/ 1183294 h 6166588"/>
              <a:gd name="connsiteX15" fmla="*/ 1995072 w 4363469"/>
              <a:gd name="connsiteY15" fmla="*/ 1893642 h 6166588"/>
              <a:gd name="connsiteX16" fmla="*/ 338291 w 4363469"/>
              <a:gd name="connsiteY16" fmla="*/ 4193763 h 6166588"/>
              <a:gd name="connsiteX17" fmla="*/ 885824 w 4363469"/>
              <a:gd name="connsiteY17" fmla="*/ 4190945 h 6166588"/>
              <a:gd name="connsiteX18" fmla="*/ 578643 w 4363469"/>
              <a:gd name="connsiteY18" fmla="*/ 4626713 h 6166588"/>
              <a:gd name="connsiteX19" fmla="*/ 914399 w 4363469"/>
              <a:gd name="connsiteY19" fmla="*/ 6141188 h 6166588"/>
              <a:gd name="connsiteX20" fmla="*/ 1223962 w 4363469"/>
              <a:gd name="connsiteY20" fmla="*/ 4660051 h 6166588"/>
              <a:gd name="connsiteX21" fmla="*/ 907256 w 4363469"/>
              <a:gd name="connsiteY21" fmla="*/ 4188563 h 6166588"/>
              <a:gd name="connsiteX22" fmla="*/ 1463757 w 4363469"/>
              <a:gd name="connsiteY22" fmla="*/ 4193100 h 6166588"/>
              <a:gd name="connsiteX23" fmla="*/ 1461293 w 4363469"/>
              <a:gd name="connsiteY23" fmla="*/ 3627382 h 6166588"/>
              <a:gd name="connsiteX24" fmla="*/ 2027350 w 4363469"/>
              <a:gd name="connsiteY24" fmla="*/ 2986031 h 6166588"/>
              <a:gd name="connsiteX25" fmla="*/ 4323328 w 4363469"/>
              <a:gd name="connsiteY25" fmla="*/ 2992382 h 6166588"/>
              <a:gd name="connsiteX26" fmla="*/ 4325143 w 4363469"/>
              <a:gd name="connsiteY26" fmla="*/ 1890203 h 6166588"/>
              <a:gd name="connsiteX0" fmla="*/ 4325143 w 4363469"/>
              <a:gd name="connsiteY0" fmla="*/ 1890203 h 6141188"/>
              <a:gd name="connsiteX1" fmla="*/ 4293393 w 4363469"/>
              <a:gd name="connsiteY1" fmla="*/ 1890203 h 6141188"/>
              <a:gd name="connsiteX2" fmla="*/ 2999013 w 4363469"/>
              <a:gd name="connsiteY2" fmla="*/ 1875689 h 6141188"/>
              <a:gd name="connsiteX3" fmla="*/ 3012507 w 4363469"/>
              <a:gd name="connsiteY3" fmla="*/ 1182632 h 6141188"/>
              <a:gd name="connsiteX4" fmla="*/ 2645908 w 4363469"/>
              <a:gd name="connsiteY4" fmla="*/ 1178777 h 6141188"/>
              <a:gd name="connsiteX5" fmla="*/ 2653279 w 4363469"/>
              <a:gd name="connsiteY5" fmla="*/ 714546 h 6141188"/>
              <a:gd name="connsiteX6" fmla="*/ 2744219 w 4363469"/>
              <a:gd name="connsiteY6" fmla="*/ 584258 h 6141188"/>
              <a:gd name="connsiteX7" fmla="*/ 4312669 w 4363469"/>
              <a:gd name="connsiteY7" fmla="*/ 443311 h 6141188"/>
              <a:gd name="connsiteX8" fmla="*/ 2747281 w 4363469"/>
              <a:gd name="connsiteY8" fmla="*/ 330258 h 6141188"/>
              <a:gd name="connsiteX9" fmla="*/ 2218076 w 4363469"/>
              <a:gd name="connsiteY9" fmla="*/ 312907 h 6141188"/>
              <a:gd name="connsiteX10" fmla="*/ 682057 w 4363469"/>
              <a:gd name="connsiteY10" fmla="*/ 455103 h 6141188"/>
              <a:gd name="connsiteX11" fmla="*/ 2212407 w 4363469"/>
              <a:gd name="connsiteY11" fmla="*/ 595483 h 6141188"/>
              <a:gd name="connsiteX12" fmla="*/ 2355032 w 4363469"/>
              <a:gd name="connsiteY12" fmla="*/ 720906 h 6141188"/>
              <a:gd name="connsiteX13" fmla="*/ 2348018 w 4363469"/>
              <a:gd name="connsiteY13" fmla="*/ 1182038 h 6141188"/>
              <a:gd name="connsiteX14" fmla="*/ 2010616 w 4363469"/>
              <a:gd name="connsiteY14" fmla="*/ 1183294 h 6141188"/>
              <a:gd name="connsiteX15" fmla="*/ 1995072 w 4363469"/>
              <a:gd name="connsiteY15" fmla="*/ 1893642 h 6141188"/>
              <a:gd name="connsiteX16" fmla="*/ 338291 w 4363469"/>
              <a:gd name="connsiteY16" fmla="*/ 4193763 h 6141188"/>
              <a:gd name="connsiteX17" fmla="*/ 885824 w 4363469"/>
              <a:gd name="connsiteY17" fmla="*/ 4190945 h 6141188"/>
              <a:gd name="connsiteX18" fmla="*/ 578643 w 4363469"/>
              <a:gd name="connsiteY18" fmla="*/ 4626713 h 6141188"/>
              <a:gd name="connsiteX19" fmla="*/ 914399 w 4363469"/>
              <a:gd name="connsiteY19" fmla="*/ 6141188 h 6141188"/>
              <a:gd name="connsiteX20" fmla="*/ 1223962 w 4363469"/>
              <a:gd name="connsiteY20" fmla="*/ 4660051 h 6141188"/>
              <a:gd name="connsiteX21" fmla="*/ 907256 w 4363469"/>
              <a:gd name="connsiteY21" fmla="*/ 4188563 h 6141188"/>
              <a:gd name="connsiteX22" fmla="*/ 1463757 w 4363469"/>
              <a:gd name="connsiteY22" fmla="*/ 4193100 h 6141188"/>
              <a:gd name="connsiteX23" fmla="*/ 1461293 w 4363469"/>
              <a:gd name="connsiteY23" fmla="*/ 3627382 h 6141188"/>
              <a:gd name="connsiteX24" fmla="*/ 2027350 w 4363469"/>
              <a:gd name="connsiteY24" fmla="*/ 2986031 h 6141188"/>
              <a:gd name="connsiteX25" fmla="*/ 4323328 w 4363469"/>
              <a:gd name="connsiteY25" fmla="*/ 2992382 h 6141188"/>
              <a:gd name="connsiteX26" fmla="*/ 4325143 w 4363469"/>
              <a:gd name="connsiteY26" fmla="*/ 1890203 h 6141188"/>
              <a:gd name="connsiteX0" fmla="*/ 4325143 w 4363469"/>
              <a:gd name="connsiteY0" fmla="*/ 1890203 h 6141188"/>
              <a:gd name="connsiteX1" fmla="*/ 4293393 w 4363469"/>
              <a:gd name="connsiteY1" fmla="*/ 1890203 h 6141188"/>
              <a:gd name="connsiteX2" fmla="*/ 2999013 w 4363469"/>
              <a:gd name="connsiteY2" fmla="*/ 1875689 h 6141188"/>
              <a:gd name="connsiteX3" fmla="*/ 3012507 w 4363469"/>
              <a:gd name="connsiteY3" fmla="*/ 1182632 h 6141188"/>
              <a:gd name="connsiteX4" fmla="*/ 2645908 w 4363469"/>
              <a:gd name="connsiteY4" fmla="*/ 1178777 h 6141188"/>
              <a:gd name="connsiteX5" fmla="*/ 2653279 w 4363469"/>
              <a:gd name="connsiteY5" fmla="*/ 714546 h 6141188"/>
              <a:gd name="connsiteX6" fmla="*/ 2744219 w 4363469"/>
              <a:gd name="connsiteY6" fmla="*/ 584258 h 6141188"/>
              <a:gd name="connsiteX7" fmla="*/ 4312669 w 4363469"/>
              <a:gd name="connsiteY7" fmla="*/ 443311 h 6141188"/>
              <a:gd name="connsiteX8" fmla="*/ 2747281 w 4363469"/>
              <a:gd name="connsiteY8" fmla="*/ 330258 h 6141188"/>
              <a:gd name="connsiteX9" fmla="*/ 2218076 w 4363469"/>
              <a:gd name="connsiteY9" fmla="*/ 312907 h 6141188"/>
              <a:gd name="connsiteX10" fmla="*/ 682057 w 4363469"/>
              <a:gd name="connsiteY10" fmla="*/ 455103 h 6141188"/>
              <a:gd name="connsiteX11" fmla="*/ 2212407 w 4363469"/>
              <a:gd name="connsiteY11" fmla="*/ 595483 h 6141188"/>
              <a:gd name="connsiteX12" fmla="*/ 2355032 w 4363469"/>
              <a:gd name="connsiteY12" fmla="*/ 720906 h 6141188"/>
              <a:gd name="connsiteX13" fmla="*/ 2348018 w 4363469"/>
              <a:gd name="connsiteY13" fmla="*/ 1182038 h 6141188"/>
              <a:gd name="connsiteX14" fmla="*/ 2010616 w 4363469"/>
              <a:gd name="connsiteY14" fmla="*/ 1183294 h 6141188"/>
              <a:gd name="connsiteX15" fmla="*/ 1995072 w 4363469"/>
              <a:gd name="connsiteY15" fmla="*/ 1893642 h 6141188"/>
              <a:gd name="connsiteX16" fmla="*/ 338291 w 4363469"/>
              <a:gd name="connsiteY16" fmla="*/ 4193763 h 6141188"/>
              <a:gd name="connsiteX17" fmla="*/ 885824 w 4363469"/>
              <a:gd name="connsiteY17" fmla="*/ 4190945 h 6141188"/>
              <a:gd name="connsiteX18" fmla="*/ 578643 w 4363469"/>
              <a:gd name="connsiteY18" fmla="*/ 4626713 h 6141188"/>
              <a:gd name="connsiteX19" fmla="*/ 914399 w 4363469"/>
              <a:gd name="connsiteY19" fmla="*/ 6141188 h 6141188"/>
              <a:gd name="connsiteX20" fmla="*/ 1176337 w 4363469"/>
              <a:gd name="connsiteY20" fmla="*/ 4600520 h 6141188"/>
              <a:gd name="connsiteX21" fmla="*/ 907256 w 4363469"/>
              <a:gd name="connsiteY21" fmla="*/ 4188563 h 6141188"/>
              <a:gd name="connsiteX22" fmla="*/ 1463757 w 4363469"/>
              <a:gd name="connsiteY22" fmla="*/ 4193100 h 6141188"/>
              <a:gd name="connsiteX23" fmla="*/ 1461293 w 4363469"/>
              <a:gd name="connsiteY23" fmla="*/ 3627382 h 6141188"/>
              <a:gd name="connsiteX24" fmla="*/ 2027350 w 4363469"/>
              <a:gd name="connsiteY24" fmla="*/ 2986031 h 6141188"/>
              <a:gd name="connsiteX25" fmla="*/ 4323328 w 4363469"/>
              <a:gd name="connsiteY25" fmla="*/ 2992382 h 6141188"/>
              <a:gd name="connsiteX26" fmla="*/ 4325143 w 4363469"/>
              <a:gd name="connsiteY26" fmla="*/ 1890203 h 6141188"/>
              <a:gd name="connsiteX0" fmla="*/ 4325143 w 4363469"/>
              <a:gd name="connsiteY0" fmla="*/ 1890203 h 6141188"/>
              <a:gd name="connsiteX1" fmla="*/ 4293393 w 4363469"/>
              <a:gd name="connsiteY1" fmla="*/ 1890203 h 6141188"/>
              <a:gd name="connsiteX2" fmla="*/ 2999013 w 4363469"/>
              <a:gd name="connsiteY2" fmla="*/ 1875689 h 6141188"/>
              <a:gd name="connsiteX3" fmla="*/ 3012507 w 4363469"/>
              <a:gd name="connsiteY3" fmla="*/ 1182632 h 6141188"/>
              <a:gd name="connsiteX4" fmla="*/ 2645908 w 4363469"/>
              <a:gd name="connsiteY4" fmla="*/ 1178777 h 6141188"/>
              <a:gd name="connsiteX5" fmla="*/ 2653279 w 4363469"/>
              <a:gd name="connsiteY5" fmla="*/ 714546 h 6141188"/>
              <a:gd name="connsiteX6" fmla="*/ 2744219 w 4363469"/>
              <a:gd name="connsiteY6" fmla="*/ 584258 h 6141188"/>
              <a:gd name="connsiteX7" fmla="*/ 4312669 w 4363469"/>
              <a:gd name="connsiteY7" fmla="*/ 443311 h 6141188"/>
              <a:gd name="connsiteX8" fmla="*/ 2747281 w 4363469"/>
              <a:gd name="connsiteY8" fmla="*/ 330258 h 6141188"/>
              <a:gd name="connsiteX9" fmla="*/ 2218076 w 4363469"/>
              <a:gd name="connsiteY9" fmla="*/ 312907 h 6141188"/>
              <a:gd name="connsiteX10" fmla="*/ 682057 w 4363469"/>
              <a:gd name="connsiteY10" fmla="*/ 455103 h 6141188"/>
              <a:gd name="connsiteX11" fmla="*/ 2212407 w 4363469"/>
              <a:gd name="connsiteY11" fmla="*/ 595483 h 6141188"/>
              <a:gd name="connsiteX12" fmla="*/ 2355032 w 4363469"/>
              <a:gd name="connsiteY12" fmla="*/ 720906 h 6141188"/>
              <a:gd name="connsiteX13" fmla="*/ 2348018 w 4363469"/>
              <a:gd name="connsiteY13" fmla="*/ 1182038 h 6141188"/>
              <a:gd name="connsiteX14" fmla="*/ 2010616 w 4363469"/>
              <a:gd name="connsiteY14" fmla="*/ 1183294 h 6141188"/>
              <a:gd name="connsiteX15" fmla="*/ 1995072 w 4363469"/>
              <a:gd name="connsiteY15" fmla="*/ 1893642 h 6141188"/>
              <a:gd name="connsiteX16" fmla="*/ 338291 w 4363469"/>
              <a:gd name="connsiteY16" fmla="*/ 4193763 h 6141188"/>
              <a:gd name="connsiteX17" fmla="*/ 885824 w 4363469"/>
              <a:gd name="connsiteY17" fmla="*/ 4190945 h 6141188"/>
              <a:gd name="connsiteX18" fmla="*/ 578643 w 4363469"/>
              <a:gd name="connsiteY18" fmla="*/ 4626713 h 6141188"/>
              <a:gd name="connsiteX19" fmla="*/ 914399 w 4363469"/>
              <a:gd name="connsiteY19" fmla="*/ 6141188 h 6141188"/>
              <a:gd name="connsiteX20" fmla="*/ 1176337 w 4363469"/>
              <a:gd name="connsiteY20" fmla="*/ 4600520 h 6141188"/>
              <a:gd name="connsiteX21" fmla="*/ 907256 w 4363469"/>
              <a:gd name="connsiteY21" fmla="*/ 4188563 h 6141188"/>
              <a:gd name="connsiteX22" fmla="*/ 1463757 w 4363469"/>
              <a:gd name="connsiteY22" fmla="*/ 4193100 h 6141188"/>
              <a:gd name="connsiteX23" fmla="*/ 1461293 w 4363469"/>
              <a:gd name="connsiteY23" fmla="*/ 3627382 h 6141188"/>
              <a:gd name="connsiteX24" fmla="*/ 2027350 w 4363469"/>
              <a:gd name="connsiteY24" fmla="*/ 2986031 h 6141188"/>
              <a:gd name="connsiteX25" fmla="*/ 4323328 w 4363469"/>
              <a:gd name="connsiteY25" fmla="*/ 2992382 h 6141188"/>
              <a:gd name="connsiteX26" fmla="*/ 4325143 w 4363469"/>
              <a:gd name="connsiteY26" fmla="*/ 1890203 h 6141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363469" h="6141188">
                <a:moveTo>
                  <a:pt x="4325143" y="1890203"/>
                </a:moveTo>
                <a:lnTo>
                  <a:pt x="4293393" y="1890203"/>
                </a:lnTo>
                <a:lnTo>
                  <a:pt x="2999013" y="1875689"/>
                </a:lnTo>
                <a:lnTo>
                  <a:pt x="3012507" y="1182632"/>
                </a:lnTo>
                <a:lnTo>
                  <a:pt x="2645908" y="1178777"/>
                </a:lnTo>
                <a:lnTo>
                  <a:pt x="2653279" y="714546"/>
                </a:lnTo>
                <a:cubicBezTo>
                  <a:pt x="2707764" y="663481"/>
                  <a:pt x="2716099" y="654070"/>
                  <a:pt x="2744219" y="584258"/>
                </a:cubicBezTo>
                <a:cubicBezTo>
                  <a:pt x="3010919" y="674065"/>
                  <a:pt x="4363469" y="884523"/>
                  <a:pt x="4312669" y="443311"/>
                </a:cubicBezTo>
                <a:cubicBezTo>
                  <a:pt x="4268710" y="11927"/>
                  <a:pt x="2884109" y="287773"/>
                  <a:pt x="2747281" y="330258"/>
                </a:cubicBezTo>
                <a:cubicBezTo>
                  <a:pt x="2681551" y="232192"/>
                  <a:pt x="2479730" y="0"/>
                  <a:pt x="2218076" y="312907"/>
                </a:cubicBezTo>
                <a:cubicBezTo>
                  <a:pt x="1820370" y="267437"/>
                  <a:pt x="705113" y="5273"/>
                  <a:pt x="682057" y="455103"/>
                </a:cubicBezTo>
                <a:cubicBezTo>
                  <a:pt x="665124" y="643184"/>
                  <a:pt x="979977" y="875714"/>
                  <a:pt x="2212407" y="595483"/>
                </a:cubicBezTo>
                <a:cubicBezTo>
                  <a:pt x="2235032" y="644893"/>
                  <a:pt x="2253047" y="666234"/>
                  <a:pt x="2355032" y="720906"/>
                </a:cubicBezTo>
                <a:lnTo>
                  <a:pt x="2348018" y="1182038"/>
                </a:lnTo>
                <a:lnTo>
                  <a:pt x="2010616" y="1183294"/>
                </a:lnTo>
                <a:lnTo>
                  <a:pt x="1995072" y="1893642"/>
                </a:lnTo>
                <a:cubicBezTo>
                  <a:pt x="158485" y="1962528"/>
                  <a:pt x="329477" y="3630603"/>
                  <a:pt x="338291" y="4193763"/>
                </a:cubicBezTo>
                <a:lnTo>
                  <a:pt x="885824" y="4190945"/>
                </a:lnTo>
                <a:lnTo>
                  <a:pt x="578643" y="4626713"/>
                </a:lnTo>
                <a:cubicBezTo>
                  <a:pt x="0" y="5374425"/>
                  <a:pt x="219073" y="6095944"/>
                  <a:pt x="914399" y="6141188"/>
                </a:cubicBezTo>
                <a:cubicBezTo>
                  <a:pt x="1574799" y="6114201"/>
                  <a:pt x="1804193" y="5332358"/>
                  <a:pt x="1176337" y="4600520"/>
                </a:cubicBezTo>
                <a:lnTo>
                  <a:pt x="907256" y="4188563"/>
                </a:lnTo>
                <a:lnTo>
                  <a:pt x="1463757" y="4193100"/>
                </a:lnTo>
                <a:cubicBezTo>
                  <a:pt x="1462936" y="4004527"/>
                  <a:pt x="1462114" y="3815955"/>
                  <a:pt x="1461293" y="3627382"/>
                </a:cubicBezTo>
                <a:cubicBezTo>
                  <a:pt x="1444100" y="3178554"/>
                  <a:pt x="1576803" y="3000848"/>
                  <a:pt x="2027350" y="2986031"/>
                </a:cubicBezTo>
                <a:lnTo>
                  <a:pt x="4323328" y="2992382"/>
                </a:lnTo>
                <a:lnTo>
                  <a:pt x="4325143" y="1890203"/>
                </a:lnTo>
                <a:close/>
              </a:path>
            </a:pathLst>
          </a:custGeom>
          <a:solidFill>
            <a:schemeClr val="tx2"/>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93" name="TextBox 98"/>
          <p:cNvSpPr txBox="1"/>
          <p:nvPr/>
        </p:nvSpPr>
        <p:spPr>
          <a:xfrm>
            <a:off x="2652822" y="1742436"/>
            <a:ext cx="1448388" cy="185177"/>
          </a:xfrm>
          <a:prstGeom prst="rect">
            <a:avLst/>
          </a:prstGeom>
          <a:noFill/>
          <a:ln>
            <a:noFill/>
          </a:ln>
          <a:effectLst/>
        </p:spPr>
        <p:txBody>
          <a:bodyPr wrap="square" rtlCol="0">
            <a:noAutofit/>
          </a:bodyPr>
          <a:lstStyle/>
          <a:p>
            <a:pPr>
              <a:lnSpc>
                <a:spcPct val="80000"/>
              </a:lnSpc>
              <a:spcBef>
                <a:spcPct val="20000"/>
              </a:spcBef>
            </a:pPr>
            <a:r>
              <a:rPr lang="en-GB" sz="900" b="1" dirty="0" smtClean="0">
                <a:solidFill>
                  <a:schemeClr val="tx2"/>
                </a:solidFill>
                <a:latin typeface="Telefonica Text" pitchFamily="50" charset="0"/>
                <a:cs typeface="Arial" pitchFamily="34" charset="0"/>
              </a:rPr>
              <a:t>Traffic management</a:t>
            </a:r>
            <a:endParaRPr lang="en-GB" sz="900" b="1" dirty="0">
              <a:solidFill>
                <a:schemeClr val="tx2"/>
              </a:solidFill>
              <a:latin typeface="Telefonica Text" pitchFamily="50" charset="0"/>
              <a:cs typeface="Arial" pitchFamily="34" charset="0"/>
            </a:endParaRPr>
          </a:p>
        </p:txBody>
      </p:sp>
      <p:sp>
        <p:nvSpPr>
          <p:cNvPr id="195" name="TextBox 100"/>
          <p:cNvSpPr txBox="1"/>
          <p:nvPr/>
        </p:nvSpPr>
        <p:spPr>
          <a:xfrm>
            <a:off x="2845604" y="1556893"/>
            <a:ext cx="1448388" cy="185177"/>
          </a:xfrm>
          <a:prstGeom prst="rect">
            <a:avLst/>
          </a:prstGeom>
          <a:noFill/>
          <a:ln>
            <a:noFill/>
          </a:ln>
          <a:effectLst/>
        </p:spPr>
        <p:txBody>
          <a:bodyPr wrap="square" rtlCol="0">
            <a:noAutofit/>
          </a:bodyPr>
          <a:lstStyle/>
          <a:p>
            <a:pPr>
              <a:lnSpc>
                <a:spcPct val="80000"/>
              </a:lnSpc>
              <a:spcBef>
                <a:spcPct val="20000"/>
              </a:spcBef>
            </a:pPr>
            <a:r>
              <a:rPr lang="en-GB" sz="900" b="1" dirty="0" smtClean="0">
                <a:solidFill>
                  <a:schemeClr val="tx2"/>
                </a:solidFill>
                <a:latin typeface="Telefonica Text" pitchFamily="50" charset="0"/>
                <a:cs typeface="Arial" pitchFamily="34" charset="0"/>
              </a:rPr>
              <a:t>Smart Parking</a:t>
            </a:r>
            <a:endParaRPr lang="en-GB" sz="900" b="1" dirty="0">
              <a:solidFill>
                <a:schemeClr val="tx2"/>
              </a:solidFill>
              <a:latin typeface="Telefonica Text" pitchFamily="50" charset="0"/>
              <a:cs typeface="Arial" pitchFamily="34" charset="0"/>
            </a:endParaRPr>
          </a:p>
        </p:txBody>
      </p:sp>
      <p:sp>
        <p:nvSpPr>
          <p:cNvPr id="196" name="TextBox 101"/>
          <p:cNvSpPr txBox="1"/>
          <p:nvPr/>
        </p:nvSpPr>
        <p:spPr>
          <a:xfrm>
            <a:off x="2681666" y="2160458"/>
            <a:ext cx="1152128" cy="185177"/>
          </a:xfrm>
          <a:prstGeom prst="rect">
            <a:avLst/>
          </a:prstGeom>
          <a:noFill/>
          <a:ln>
            <a:noFill/>
          </a:ln>
          <a:effectLst/>
        </p:spPr>
        <p:txBody>
          <a:bodyPr wrap="square" rtlCol="0" anchor="ctr">
            <a:noAutofit/>
          </a:bodyPr>
          <a:lstStyle/>
          <a:p>
            <a:pPr>
              <a:lnSpc>
                <a:spcPct val="80000"/>
              </a:lnSpc>
              <a:spcBef>
                <a:spcPct val="20000"/>
              </a:spcBef>
            </a:pPr>
            <a:r>
              <a:rPr lang="en-GB" sz="900" b="1" dirty="0" smtClean="0">
                <a:solidFill>
                  <a:schemeClr val="tx2"/>
                </a:solidFill>
                <a:latin typeface="Telefonica Text" pitchFamily="50" charset="0"/>
                <a:cs typeface="Arial" pitchFamily="34" charset="0"/>
              </a:rPr>
              <a:t>Community biking</a:t>
            </a:r>
            <a:endParaRPr lang="en-GB" sz="900" b="1" dirty="0">
              <a:solidFill>
                <a:schemeClr val="tx2"/>
              </a:solidFill>
              <a:latin typeface="Telefonica Text" pitchFamily="50" charset="0"/>
              <a:cs typeface="Arial" pitchFamily="34" charset="0"/>
            </a:endParaRPr>
          </a:p>
        </p:txBody>
      </p:sp>
      <p:sp>
        <p:nvSpPr>
          <p:cNvPr id="197" name="TextBox 98"/>
          <p:cNvSpPr txBox="1"/>
          <p:nvPr/>
        </p:nvSpPr>
        <p:spPr>
          <a:xfrm>
            <a:off x="2736384" y="1944996"/>
            <a:ext cx="1312376" cy="180985"/>
          </a:xfrm>
          <a:prstGeom prst="rect">
            <a:avLst/>
          </a:prstGeom>
          <a:noFill/>
          <a:ln>
            <a:noFill/>
          </a:ln>
          <a:effectLst/>
        </p:spPr>
        <p:txBody>
          <a:bodyPr wrap="square" rtlCol="0">
            <a:noAutofit/>
          </a:bodyPr>
          <a:lstStyle/>
          <a:p>
            <a:pPr>
              <a:lnSpc>
                <a:spcPct val="80000"/>
              </a:lnSpc>
              <a:spcBef>
                <a:spcPct val="20000"/>
              </a:spcBef>
            </a:pPr>
            <a:r>
              <a:rPr lang="en-GB" sz="900" b="1" dirty="0" smtClean="0">
                <a:solidFill>
                  <a:schemeClr val="tx2"/>
                </a:solidFill>
                <a:latin typeface="Telefonica Text" pitchFamily="50" charset="0"/>
                <a:cs typeface="Arial" pitchFamily="34" charset="0"/>
              </a:rPr>
              <a:t>Intelligent Transport</a:t>
            </a:r>
            <a:endParaRPr lang="en-GB" sz="900" b="1" dirty="0">
              <a:solidFill>
                <a:schemeClr val="tx2"/>
              </a:solidFill>
              <a:latin typeface="Telefonica Text" pitchFamily="50" charset="0"/>
              <a:cs typeface="Arial" pitchFamily="34" charset="0"/>
            </a:endParaRPr>
          </a:p>
        </p:txBody>
      </p:sp>
      <p:sp>
        <p:nvSpPr>
          <p:cNvPr id="198" name="TextBox 101"/>
          <p:cNvSpPr txBox="1"/>
          <p:nvPr/>
        </p:nvSpPr>
        <p:spPr>
          <a:xfrm>
            <a:off x="2673390" y="1095397"/>
            <a:ext cx="1448388" cy="185177"/>
          </a:xfrm>
          <a:prstGeom prst="rect">
            <a:avLst/>
          </a:prstGeom>
          <a:noFill/>
          <a:ln>
            <a:noFill/>
          </a:ln>
          <a:effectLst/>
        </p:spPr>
        <p:txBody>
          <a:bodyPr wrap="square" rtlCol="0" anchor="ctr">
            <a:noAutofit/>
          </a:bodyPr>
          <a:lstStyle/>
          <a:p>
            <a:pPr algn="r">
              <a:lnSpc>
                <a:spcPct val="80000"/>
              </a:lnSpc>
              <a:spcBef>
                <a:spcPct val="20000"/>
              </a:spcBef>
            </a:pPr>
            <a:r>
              <a:rPr lang="en-GB" sz="900" b="1" smtClean="0">
                <a:solidFill>
                  <a:schemeClr val="tx2"/>
                </a:solidFill>
                <a:latin typeface="Telefonica Text" pitchFamily="50" charset="0"/>
                <a:cs typeface="Arial" pitchFamily="34" charset="0"/>
              </a:rPr>
              <a:t>Fleet Management</a:t>
            </a:r>
            <a:endParaRPr lang="en-GB" sz="900" b="1">
              <a:solidFill>
                <a:schemeClr val="tx2"/>
              </a:solidFill>
              <a:latin typeface="Telefonica Text" pitchFamily="50" charset="0"/>
              <a:cs typeface="Arial" pitchFamily="34" charset="0"/>
            </a:endParaRPr>
          </a:p>
        </p:txBody>
      </p:sp>
      <p:grpSp>
        <p:nvGrpSpPr>
          <p:cNvPr id="184" name="Group 183"/>
          <p:cNvGrpSpPr>
            <a:grpSpLocks noChangeAspect="1"/>
          </p:cNvGrpSpPr>
          <p:nvPr/>
        </p:nvGrpSpPr>
        <p:grpSpPr>
          <a:xfrm>
            <a:off x="2828449" y="1117541"/>
            <a:ext cx="234971" cy="159759"/>
            <a:chOff x="2250281" y="2352674"/>
            <a:chExt cx="959645" cy="652471"/>
          </a:xfrm>
          <a:solidFill>
            <a:schemeClr val="tx2">
              <a:lumMod val="75000"/>
            </a:schemeClr>
          </a:solidFill>
        </p:grpSpPr>
        <p:sp>
          <p:nvSpPr>
            <p:cNvPr id="185" name="Rectangle 184"/>
            <p:cNvSpPr/>
            <p:nvPr/>
          </p:nvSpPr>
          <p:spPr>
            <a:xfrm>
              <a:off x="2685082" y="2352676"/>
              <a:ext cx="524844" cy="531018"/>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6" name="Rectangle 185"/>
            <p:cNvSpPr/>
            <p:nvPr/>
          </p:nvSpPr>
          <p:spPr>
            <a:xfrm>
              <a:off x="2620788" y="2412207"/>
              <a:ext cx="498650" cy="471486"/>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7" name="Rectangle 186"/>
            <p:cNvSpPr/>
            <p:nvPr/>
          </p:nvSpPr>
          <p:spPr>
            <a:xfrm>
              <a:off x="2381249" y="2595563"/>
              <a:ext cx="802481" cy="292893"/>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8" name="Rectangle 187"/>
            <p:cNvSpPr/>
            <p:nvPr/>
          </p:nvSpPr>
          <p:spPr>
            <a:xfrm>
              <a:off x="2264123" y="2683387"/>
              <a:ext cx="405258" cy="162206"/>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9" name="Donut 188"/>
            <p:cNvSpPr>
              <a:spLocks noChangeAspect="1"/>
            </p:cNvSpPr>
            <p:nvPr/>
          </p:nvSpPr>
          <p:spPr>
            <a:xfrm>
              <a:off x="2343154" y="2828933"/>
              <a:ext cx="173831" cy="173831"/>
            </a:xfrm>
            <a:prstGeom prst="donut">
              <a:avLst>
                <a:gd name="adj" fmla="val 31849"/>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0" name="Donut 189"/>
            <p:cNvSpPr>
              <a:spLocks noChangeAspect="1"/>
            </p:cNvSpPr>
            <p:nvPr/>
          </p:nvSpPr>
          <p:spPr>
            <a:xfrm>
              <a:off x="2976566" y="2831314"/>
              <a:ext cx="173831" cy="173831"/>
            </a:xfrm>
            <a:prstGeom prst="donut">
              <a:avLst>
                <a:gd name="adj" fmla="val 31849"/>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1" name="Freeform 190"/>
            <p:cNvSpPr/>
            <p:nvPr/>
          </p:nvSpPr>
          <p:spPr>
            <a:xfrm>
              <a:off x="2250281" y="2352674"/>
              <a:ext cx="488157" cy="535781"/>
            </a:xfrm>
            <a:custGeom>
              <a:avLst/>
              <a:gdLst>
                <a:gd name="connsiteX0" fmla="*/ 390525 w 390525"/>
                <a:gd name="connsiteY0" fmla="*/ 28575 h 476250"/>
                <a:gd name="connsiteX1" fmla="*/ 264319 w 390525"/>
                <a:gd name="connsiteY1" fmla="*/ 28575 h 476250"/>
                <a:gd name="connsiteX2" fmla="*/ 159544 w 390525"/>
                <a:gd name="connsiteY2" fmla="*/ 188119 h 476250"/>
                <a:gd name="connsiteX3" fmla="*/ 111919 w 390525"/>
                <a:gd name="connsiteY3" fmla="*/ 473869 h 476250"/>
                <a:gd name="connsiteX4" fmla="*/ 80963 w 390525"/>
                <a:gd name="connsiteY4" fmla="*/ 476250 h 476250"/>
                <a:gd name="connsiteX5" fmla="*/ 47625 w 390525"/>
                <a:gd name="connsiteY5" fmla="*/ 471487 h 476250"/>
                <a:gd name="connsiteX6" fmla="*/ 26194 w 390525"/>
                <a:gd name="connsiteY6" fmla="*/ 457200 h 476250"/>
                <a:gd name="connsiteX7" fmla="*/ 16669 w 390525"/>
                <a:gd name="connsiteY7" fmla="*/ 438150 h 476250"/>
                <a:gd name="connsiteX8" fmla="*/ 4763 w 390525"/>
                <a:gd name="connsiteY8" fmla="*/ 431006 h 476250"/>
                <a:gd name="connsiteX9" fmla="*/ 0 w 390525"/>
                <a:gd name="connsiteY9" fmla="*/ 383381 h 476250"/>
                <a:gd name="connsiteX10" fmla="*/ 14288 w 390525"/>
                <a:gd name="connsiteY10" fmla="*/ 373856 h 476250"/>
                <a:gd name="connsiteX11" fmla="*/ 14288 w 390525"/>
                <a:gd name="connsiteY11" fmla="*/ 273844 h 476250"/>
                <a:gd name="connsiteX12" fmla="*/ 40482 w 390525"/>
                <a:gd name="connsiteY12" fmla="*/ 245269 h 476250"/>
                <a:gd name="connsiteX13" fmla="*/ 78582 w 390525"/>
                <a:gd name="connsiteY13" fmla="*/ 209550 h 476250"/>
                <a:gd name="connsiteX14" fmla="*/ 135732 w 390525"/>
                <a:gd name="connsiteY14" fmla="*/ 176212 h 476250"/>
                <a:gd name="connsiteX15" fmla="*/ 252413 w 390525"/>
                <a:gd name="connsiteY15" fmla="*/ 0 h 476250"/>
                <a:gd name="connsiteX16" fmla="*/ 390525 w 390525"/>
                <a:gd name="connsiteY16" fmla="*/ 28575 h 476250"/>
                <a:gd name="connsiteX0" fmla="*/ 390525 w 431007"/>
                <a:gd name="connsiteY0" fmla="*/ 88106 h 535781"/>
                <a:gd name="connsiteX1" fmla="*/ 264319 w 431007"/>
                <a:gd name="connsiteY1" fmla="*/ 88106 h 535781"/>
                <a:gd name="connsiteX2" fmla="*/ 159544 w 431007"/>
                <a:gd name="connsiteY2" fmla="*/ 247650 h 535781"/>
                <a:gd name="connsiteX3" fmla="*/ 111919 w 431007"/>
                <a:gd name="connsiteY3" fmla="*/ 533400 h 535781"/>
                <a:gd name="connsiteX4" fmla="*/ 80963 w 431007"/>
                <a:gd name="connsiteY4" fmla="*/ 535781 h 535781"/>
                <a:gd name="connsiteX5" fmla="*/ 47625 w 431007"/>
                <a:gd name="connsiteY5" fmla="*/ 531018 h 535781"/>
                <a:gd name="connsiteX6" fmla="*/ 26194 w 431007"/>
                <a:gd name="connsiteY6" fmla="*/ 516731 h 535781"/>
                <a:gd name="connsiteX7" fmla="*/ 16669 w 431007"/>
                <a:gd name="connsiteY7" fmla="*/ 497681 h 535781"/>
                <a:gd name="connsiteX8" fmla="*/ 4763 w 431007"/>
                <a:gd name="connsiteY8" fmla="*/ 490537 h 535781"/>
                <a:gd name="connsiteX9" fmla="*/ 0 w 431007"/>
                <a:gd name="connsiteY9" fmla="*/ 442912 h 535781"/>
                <a:gd name="connsiteX10" fmla="*/ 14288 w 431007"/>
                <a:gd name="connsiteY10" fmla="*/ 433387 h 535781"/>
                <a:gd name="connsiteX11" fmla="*/ 14288 w 431007"/>
                <a:gd name="connsiteY11" fmla="*/ 333375 h 535781"/>
                <a:gd name="connsiteX12" fmla="*/ 40482 w 431007"/>
                <a:gd name="connsiteY12" fmla="*/ 304800 h 535781"/>
                <a:gd name="connsiteX13" fmla="*/ 78582 w 431007"/>
                <a:gd name="connsiteY13" fmla="*/ 269081 h 535781"/>
                <a:gd name="connsiteX14" fmla="*/ 135732 w 431007"/>
                <a:gd name="connsiteY14" fmla="*/ 235743 h 535781"/>
                <a:gd name="connsiteX15" fmla="*/ 252413 w 431007"/>
                <a:gd name="connsiteY15" fmla="*/ 59531 h 535781"/>
                <a:gd name="connsiteX16" fmla="*/ 431007 w 431007"/>
                <a:gd name="connsiteY16" fmla="*/ 0 h 535781"/>
                <a:gd name="connsiteX17" fmla="*/ 390525 w 431007"/>
                <a:gd name="connsiteY17" fmla="*/ 88106 h 535781"/>
                <a:gd name="connsiteX0" fmla="*/ 390525 w 431007"/>
                <a:gd name="connsiteY0" fmla="*/ 88106 h 535781"/>
                <a:gd name="connsiteX1" fmla="*/ 264319 w 431007"/>
                <a:gd name="connsiteY1" fmla="*/ 88106 h 535781"/>
                <a:gd name="connsiteX2" fmla="*/ 159544 w 431007"/>
                <a:gd name="connsiteY2" fmla="*/ 247650 h 535781"/>
                <a:gd name="connsiteX3" fmla="*/ 111919 w 431007"/>
                <a:gd name="connsiteY3" fmla="*/ 533400 h 535781"/>
                <a:gd name="connsiteX4" fmla="*/ 80963 w 431007"/>
                <a:gd name="connsiteY4" fmla="*/ 535781 h 535781"/>
                <a:gd name="connsiteX5" fmla="*/ 47625 w 431007"/>
                <a:gd name="connsiteY5" fmla="*/ 531018 h 535781"/>
                <a:gd name="connsiteX6" fmla="*/ 26194 w 431007"/>
                <a:gd name="connsiteY6" fmla="*/ 516731 h 535781"/>
                <a:gd name="connsiteX7" fmla="*/ 16669 w 431007"/>
                <a:gd name="connsiteY7" fmla="*/ 497681 h 535781"/>
                <a:gd name="connsiteX8" fmla="*/ 4763 w 431007"/>
                <a:gd name="connsiteY8" fmla="*/ 490537 h 535781"/>
                <a:gd name="connsiteX9" fmla="*/ 0 w 431007"/>
                <a:gd name="connsiteY9" fmla="*/ 442912 h 535781"/>
                <a:gd name="connsiteX10" fmla="*/ 14288 w 431007"/>
                <a:gd name="connsiteY10" fmla="*/ 433387 h 535781"/>
                <a:gd name="connsiteX11" fmla="*/ 14288 w 431007"/>
                <a:gd name="connsiteY11" fmla="*/ 333375 h 535781"/>
                <a:gd name="connsiteX12" fmla="*/ 40482 w 431007"/>
                <a:gd name="connsiteY12" fmla="*/ 304800 h 535781"/>
                <a:gd name="connsiteX13" fmla="*/ 78582 w 431007"/>
                <a:gd name="connsiteY13" fmla="*/ 269081 h 535781"/>
                <a:gd name="connsiteX14" fmla="*/ 135732 w 431007"/>
                <a:gd name="connsiteY14" fmla="*/ 235743 h 535781"/>
                <a:gd name="connsiteX15" fmla="*/ 252413 w 431007"/>
                <a:gd name="connsiteY15" fmla="*/ 59531 h 535781"/>
                <a:gd name="connsiteX16" fmla="*/ 369094 w 431007"/>
                <a:gd name="connsiteY16" fmla="*/ 61913 h 535781"/>
                <a:gd name="connsiteX17" fmla="*/ 431007 w 431007"/>
                <a:gd name="connsiteY17" fmla="*/ 0 h 535781"/>
                <a:gd name="connsiteX18" fmla="*/ 390525 w 431007"/>
                <a:gd name="connsiteY18" fmla="*/ 88106 h 535781"/>
                <a:gd name="connsiteX0" fmla="*/ 390525 w 431007"/>
                <a:gd name="connsiteY0" fmla="*/ 88106 h 535781"/>
                <a:gd name="connsiteX1" fmla="*/ 264319 w 431007"/>
                <a:gd name="connsiteY1" fmla="*/ 88106 h 535781"/>
                <a:gd name="connsiteX2" fmla="*/ 159544 w 431007"/>
                <a:gd name="connsiteY2" fmla="*/ 247650 h 535781"/>
                <a:gd name="connsiteX3" fmla="*/ 197644 w 431007"/>
                <a:gd name="connsiteY3" fmla="*/ 438151 h 535781"/>
                <a:gd name="connsiteX4" fmla="*/ 111919 w 431007"/>
                <a:gd name="connsiteY4" fmla="*/ 533400 h 535781"/>
                <a:gd name="connsiteX5" fmla="*/ 80963 w 431007"/>
                <a:gd name="connsiteY5" fmla="*/ 535781 h 535781"/>
                <a:gd name="connsiteX6" fmla="*/ 47625 w 431007"/>
                <a:gd name="connsiteY6" fmla="*/ 531018 h 535781"/>
                <a:gd name="connsiteX7" fmla="*/ 26194 w 431007"/>
                <a:gd name="connsiteY7" fmla="*/ 516731 h 535781"/>
                <a:gd name="connsiteX8" fmla="*/ 16669 w 431007"/>
                <a:gd name="connsiteY8" fmla="*/ 497681 h 535781"/>
                <a:gd name="connsiteX9" fmla="*/ 4763 w 431007"/>
                <a:gd name="connsiteY9" fmla="*/ 490537 h 535781"/>
                <a:gd name="connsiteX10" fmla="*/ 0 w 431007"/>
                <a:gd name="connsiteY10" fmla="*/ 442912 h 535781"/>
                <a:gd name="connsiteX11" fmla="*/ 14288 w 431007"/>
                <a:gd name="connsiteY11" fmla="*/ 433387 h 535781"/>
                <a:gd name="connsiteX12" fmla="*/ 14288 w 431007"/>
                <a:gd name="connsiteY12" fmla="*/ 333375 h 535781"/>
                <a:gd name="connsiteX13" fmla="*/ 40482 w 431007"/>
                <a:gd name="connsiteY13" fmla="*/ 304800 h 535781"/>
                <a:gd name="connsiteX14" fmla="*/ 78582 w 431007"/>
                <a:gd name="connsiteY14" fmla="*/ 269081 h 535781"/>
                <a:gd name="connsiteX15" fmla="*/ 135732 w 431007"/>
                <a:gd name="connsiteY15" fmla="*/ 235743 h 535781"/>
                <a:gd name="connsiteX16" fmla="*/ 252413 w 431007"/>
                <a:gd name="connsiteY16" fmla="*/ 59531 h 535781"/>
                <a:gd name="connsiteX17" fmla="*/ 369094 w 431007"/>
                <a:gd name="connsiteY17" fmla="*/ 61913 h 535781"/>
                <a:gd name="connsiteX18" fmla="*/ 431007 w 431007"/>
                <a:gd name="connsiteY18" fmla="*/ 0 h 535781"/>
                <a:gd name="connsiteX19" fmla="*/ 390525 w 431007"/>
                <a:gd name="connsiteY19" fmla="*/ 88106 h 535781"/>
                <a:gd name="connsiteX0" fmla="*/ 390525 w 488157"/>
                <a:gd name="connsiteY0" fmla="*/ 88106 h 535781"/>
                <a:gd name="connsiteX1" fmla="*/ 264319 w 488157"/>
                <a:gd name="connsiteY1" fmla="*/ 88106 h 535781"/>
                <a:gd name="connsiteX2" fmla="*/ 159544 w 488157"/>
                <a:gd name="connsiteY2" fmla="*/ 247650 h 535781"/>
                <a:gd name="connsiteX3" fmla="*/ 197644 w 488157"/>
                <a:gd name="connsiteY3" fmla="*/ 438151 h 535781"/>
                <a:gd name="connsiteX4" fmla="*/ 111919 w 488157"/>
                <a:gd name="connsiteY4" fmla="*/ 533400 h 535781"/>
                <a:gd name="connsiteX5" fmla="*/ 80963 w 488157"/>
                <a:gd name="connsiteY5" fmla="*/ 535781 h 535781"/>
                <a:gd name="connsiteX6" fmla="*/ 47625 w 488157"/>
                <a:gd name="connsiteY6" fmla="*/ 531018 h 535781"/>
                <a:gd name="connsiteX7" fmla="*/ 26194 w 488157"/>
                <a:gd name="connsiteY7" fmla="*/ 516731 h 535781"/>
                <a:gd name="connsiteX8" fmla="*/ 16669 w 488157"/>
                <a:gd name="connsiteY8" fmla="*/ 497681 h 535781"/>
                <a:gd name="connsiteX9" fmla="*/ 4763 w 488157"/>
                <a:gd name="connsiteY9" fmla="*/ 490537 h 535781"/>
                <a:gd name="connsiteX10" fmla="*/ 0 w 488157"/>
                <a:gd name="connsiteY10" fmla="*/ 442912 h 535781"/>
                <a:gd name="connsiteX11" fmla="*/ 14288 w 488157"/>
                <a:gd name="connsiteY11" fmla="*/ 433387 h 535781"/>
                <a:gd name="connsiteX12" fmla="*/ 14288 w 488157"/>
                <a:gd name="connsiteY12" fmla="*/ 333375 h 535781"/>
                <a:gd name="connsiteX13" fmla="*/ 40482 w 488157"/>
                <a:gd name="connsiteY13" fmla="*/ 304800 h 535781"/>
                <a:gd name="connsiteX14" fmla="*/ 78582 w 488157"/>
                <a:gd name="connsiteY14" fmla="*/ 269081 h 535781"/>
                <a:gd name="connsiteX15" fmla="*/ 135732 w 488157"/>
                <a:gd name="connsiteY15" fmla="*/ 235743 h 535781"/>
                <a:gd name="connsiteX16" fmla="*/ 252413 w 488157"/>
                <a:gd name="connsiteY16" fmla="*/ 59531 h 535781"/>
                <a:gd name="connsiteX17" fmla="*/ 369094 w 488157"/>
                <a:gd name="connsiteY17" fmla="*/ 61913 h 535781"/>
                <a:gd name="connsiteX18" fmla="*/ 431007 w 488157"/>
                <a:gd name="connsiteY18" fmla="*/ 0 h 535781"/>
                <a:gd name="connsiteX19" fmla="*/ 488157 w 488157"/>
                <a:gd name="connsiteY19" fmla="*/ 76201 h 535781"/>
                <a:gd name="connsiteX20" fmla="*/ 390525 w 488157"/>
                <a:gd name="connsiteY20" fmla="*/ 88106 h 535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88157" h="535781">
                  <a:moveTo>
                    <a:pt x="390525" y="88106"/>
                  </a:moveTo>
                  <a:lnTo>
                    <a:pt x="264319" y="88106"/>
                  </a:lnTo>
                  <a:lnTo>
                    <a:pt x="159544" y="247650"/>
                  </a:lnTo>
                  <a:lnTo>
                    <a:pt x="197644" y="438151"/>
                  </a:lnTo>
                  <a:lnTo>
                    <a:pt x="111919" y="533400"/>
                  </a:lnTo>
                  <a:lnTo>
                    <a:pt x="80963" y="535781"/>
                  </a:lnTo>
                  <a:lnTo>
                    <a:pt x="47625" y="531018"/>
                  </a:lnTo>
                  <a:lnTo>
                    <a:pt x="26194" y="516731"/>
                  </a:lnTo>
                  <a:lnTo>
                    <a:pt x="16669" y="497681"/>
                  </a:lnTo>
                  <a:lnTo>
                    <a:pt x="4763" y="490537"/>
                  </a:lnTo>
                  <a:lnTo>
                    <a:pt x="0" y="442912"/>
                  </a:lnTo>
                  <a:lnTo>
                    <a:pt x="14288" y="433387"/>
                  </a:lnTo>
                  <a:lnTo>
                    <a:pt x="14288" y="333375"/>
                  </a:lnTo>
                  <a:lnTo>
                    <a:pt x="40482" y="304800"/>
                  </a:lnTo>
                  <a:lnTo>
                    <a:pt x="78582" y="269081"/>
                  </a:lnTo>
                  <a:lnTo>
                    <a:pt x="135732" y="235743"/>
                  </a:lnTo>
                  <a:lnTo>
                    <a:pt x="252413" y="59531"/>
                  </a:lnTo>
                  <a:lnTo>
                    <a:pt x="369094" y="61913"/>
                  </a:lnTo>
                  <a:lnTo>
                    <a:pt x="431007" y="0"/>
                  </a:lnTo>
                  <a:lnTo>
                    <a:pt x="488157" y="76201"/>
                  </a:lnTo>
                  <a:lnTo>
                    <a:pt x="390525" y="88106"/>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99" name="Group 198"/>
          <p:cNvGrpSpPr>
            <a:grpSpLocks noChangeAspect="1"/>
          </p:cNvGrpSpPr>
          <p:nvPr/>
        </p:nvGrpSpPr>
        <p:grpSpPr>
          <a:xfrm>
            <a:off x="2716368" y="1261112"/>
            <a:ext cx="265593" cy="244299"/>
            <a:chOff x="-298341" y="-191282"/>
            <a:chExt cx="5926777" cy="5451580"/>
          </a:xfrm>
          <a:solidFill>
            <a:schemeClr val="tx2">
              <a:lumMod val="75000"/>
            </a:schemeClr>
          </a:solidFill>
        </p:grpSpPr>
        <p:grpSp>
          <p:nvGrpSpPr>
            <p:cNvPr id="200" name="Group 113"/>
            <p:cNvGrpSpPr>
              <a:grpSpLocks noChangeAspect="1"/>
            </p:cNvGrpSpPr>
            <p:nvPr/>
          </p:nvGrpSpPr>
          <p:grpSpPr>
            <a:xfrm>
              <a:off x="840284" y="1844824"/>
              <a:ext cx="4788152" cy="3415475"/>
              <a:chOff x="712928" y="720724"/>
              <a:chExt cx="7583430" cy="5409394"/>
            </a:xfrm>
            <a:grpFill/>
          </p:grpSpPr>
          <p:sp>
            <p:nvSpPr>
              <p:cNvPr id="202" name="Freeform 201"/>
              <p:cNvSpPr/>
              <p:nvPr/>
            </p:nvSpPr>
            <p:spPr>
              <a:xfrm>
                <a:off x="1610869" y="720724"/>
                <a:ext cx="5680213" cy="2283733"/>
              </a:xfrm>
              <a:custGeom>
                <a:avLst/>
                <a:gdLst>
                  <a:gd name="connsiteX0" fmla="*/ 377371 w 5558971"/>
                  <a:gd name="connsiteY0" fmla="*/ 1988457 h 2293257"/>
                  <a:gd name="connsiteX1" fmla="*/ 2017486 w 5558971"/>
                  <a:gd name="connsiteY1" fmla="*/ 275771 h 2293257"/>
                  <a:gd name="connsiteX2" fmla="*/ 3657600 w 5558971"/>
                  <a:gd name="connsiteY2" fmla="*/ 275771 h 2293257"/>
                  <a:gd name="connsiteX3" fmla="*/ 5254171 w 5558971"/>
                  <a:gd name="connsiteY3" fmla="*/ 2017486 h 2293257"/>
                  <a:gd name="connsiteX4" fmla="*/ 5283200 w 5558971"/>
                  <a:gd name="connsiteY4" fmla="*/ 2235200 h 2293257"/>
                  <a:gd name="connsiteX5" fmla="*/ 5544457 w 5558971"/>
                  <a:gd name="connsiteY5" fmla="*/ 2220686 h 2293257"/>
                  <a:gd name="connsiteX6" fmla="*/ 5558971 w 5558971"/>
                  <a:gd name="connsiteY6" fmla="*/ 2061029 h 2293257"/>
                  <a:gd name="connsiteX7" fmla="*/ 3976914 w 5558971"/>
                  <a:gd name="connsiteY7" fmla="*/ 14514 h 2293257"/>
                  <a:gd name="connsiteX8" fmla="*/ 1698171 w 5558971"/>
                  <a:gd name="connsiteY8" fmla="*/ 0 h 2293257"/>
                  <a:gd name="connsiteX9" fmla="*/ 0 w 5558971"/>
                  <a:gd name="connsiteY9" fmla="*/ 2090057 h 2293257"/>
                  <a:gd name="connsiteX10" fmla="*/ 246743 w 5558971"/>
                  <a:gd name="connsiteY10" fmla="*/ 2293257 h 2293257"/>
                  <a:gd name="connsiteX11" fmla="*/ 377371 w 5558971"/>
                  <a:gd name="connsiteY11" fmla="*/ 1988457 h 2293257"/>
                  <a:gd name="connsiteX0" fmla="*/ 377371 w 5558971"/>
                  <a:gd name="connsiteY0" fmla="*/ 1988457 h 2293257"/>
                  <a:gd name="connsiteX1" fmla="*/ 2017486 w 5558971"/>
                  <a:gd name="connsiteY1" fmla="*/ 275771 h 2293257"/>
                  <a:gd name="connsiteX2" fmla="*/ 3657600 w 5558971"/>
                  <a:gd name="connsiteY2" fmla="*/ 275771 h 2293257"/>
                  <a:gd name="connsiteX3" fmla="*/ 5254171 w 5558971"/>
                  <a:gd name="connsiteY3" fmla="*/ 2017486 h 2293257"/>
                  <a:gd name="connsiteX4" fmla="*/ 5283200 w 5558971"/>
                  <a:gd name="connsiteY4" fmla="*/ 2235200 h 2293257"/>
                  <a:gd name="connsiteX5" fmla="*/ 5544457 w 5558971"/>
                  <a:gd name="connsiteY5" fmla="*/ 2220686 h 2293257"/>
                  <a:gd name="connsiteX6" fmla="*/ 5558971 w 5558971"/>
                  <a:gd name="connsiteY6" fmla="*/ 2061029 h 2293257"/>
                  <a:gd name="connsiteX7" fmla="*/ 3976914 w 5558971"/>
                  <a:gd name="connsiteY7" fmla="*/ 14514 h 2293257"/>
                  <a:gd name="connsiteX8" fmla="*/ 1698171 w 5558971"/>
                  <a:gd name="connsiteY8" fmla="*/ 0 h 2293257"/>
                  <a:gd name="connsiteX9" fmla="*/ 0 w 5558971"/>
                  <a:gd name="connsiteY9" fmla="*/ 2090057 h 2293257"/>
                  <a:gd name="connsiteX10" fmla="*/ 246743 w 5558971"/>
                  <a:gd name="connsiteY10" fmla="*/ 2293257 h 2293257"/>
                  <a:gd name="connsiteX11" fmla="*/ 377371 w 5558971"/>
                  <a:gd name="connsiteY11" fmla="*/ 1988457 h 2293257"/>
                  <a:gd name="connsiteX0" fmla="*/ 377371 w 5563882"/>
                  <a:gd name="connsiteY0" fmla="*/ 1988457 h 2293257"/>
                  <a:gd name="connsiteX1" fmla="*/ 2017486 w 5563882"/>
                  <a:gd name="connsiteY1" fmla="*/ 275771 h 2293257"/>
                  <a:gd name="connsiteX2" fmla="*/ 3657600 w 5563882"/>
                  <a:gd name="connsiteY2" fmla="*/ 275771 h 2293257"/>
                  <a:gd name="connsiteX3" fmla="*/ 5254171 w 5563882"/>
                  <a:gd name="connsiteY3" fmla="*/ 2017486 h 2293257"/>
                  <a:gd name="connsiteX4" fmla="*/ 5283200 w 5563882"/>
                  <a:gd name="connsiteY4" fmla="*/ 2235200 h 2293257"/>
                  <a:gd name="connsiteX5" fmla="*/ 5544457 w 5563882"/>
                  <a:gd name="connsiteY5" fmla="*/ 2220686 h 2293257"/>
                  <a:gd name="connsiteX6" fmla="*/ 5558971 w 5563882"/>
                  <a:gd name="connsiteY6" fmla="*/ 2061029 h 2293257"/>
                  <a:gd name="connsiteX7" fmla="*/ 3976914 w 5563882"/>
                  <a:gd name="connsiteY7" fmla="*/ 14514 h 2293257"/>
                  <a:gd name="connsiteX8" fmla="*/ 1698171 w 5563882"/>
                  <a:gd name="connsiteY8" fmla="*/ 0 h 2293257"/>
                  <a:gd name="connsiteX9" fmla="*/ 0 w 5563882"/>
                  <a:gd name="connsiteY9" fmla="*/ 2090057 h 2293257"/>
                  <a:gd name="connsiteX10" fmla="*/ 246743 w 5563882"/>
                  <a:gd name="connsiteY10" fmla="*/ 2293257 h 2293257"/>
                  <a:gd name="connsiteX11" fmla="*/ 377371 w 5563882"/>
                  <a:gd name="connsiteY11" fmla="*/ 1988457 h 2293257"/>
                  <a:gd name="connsiteX0" fmla="*/ 377371 w 5563882"/>
                  <a:gd name="connsiteY0" fmla="*/ 1988457 h 2293257"/>
                  <a:gd name="connsiteX1" fmla="*/ 2017486 w 5563882"/>
                  <a:gd name="connsiteY1" fmla="*/ 275771 h 2293257"/>
                  <a:gd name="connsiteX2" fmla="*/ 3657600 w 5563882"/>
                  <a:gd name="connsiteY2" fmla="*/ 275771 h 2293257"/>
                  <a:gd name="connsiteX3" fmla="*/ 5254171 w 5563882"/>
                  <a:gd name="connsiteY3" fmla="*/ 2017486 h 2293257"/>
                  <a:gd name="connsiteX4" fmla="*/ 5283200 w 5563882"/>
                  <a:gd name="connsiteY4" fmla="*/ 2235200 h 2293257"/>
                  <a:gd name="connsiteX5" fmla="*/ 5544457 w 5563882"/>
                  <a:gd name="connsiteY5" fmla="*/ 2220686 h 2293257"/>
                  <a:gd name="connsiteX6" fmla="*/ 5558971 w 5563882"/>
                  <a:gd name="connsiteY6" fmla="*/ 2061029 h 2293257"/>
                  <a:gd name="connsiteX7" fmla="*/ 3976914 w 5563882"/>
                  <a:gd name="connsiteY7" fmla="*/ 14514 h 2293257"/>
                  <a:gd name="connsiteX8" fmla="*/ 1698171 w 5563882"/>
                  <a:gd name="connsiteY8" fmla="*/ 0 h 2293257"/>
                  <a:gd name="connsiteX9" fmla="*/ 0 w 5563882"/>
                  <a:gd name="connsiteY9" fmla="*/ 2090057 h 2293257"/>
                  <a:gd name="connsiteX10" fmla="*/ 246743 w 5563882"/>
                  <a:gd name="connsiteY10" fmla="*/ 2293257 h 2293257"/>
                  <a:gd name="connsiteX11" fmla="*/ 377371 w 5563882"/>
                  <a:gd name="connsiteY11" fmla="*/ 1988457 h 2293257"/>
                  <a:gd name="connsiteX0" fmla="*/ 377371 w 5563882"/>
                  <a:gd name="connsiteY0" fmla="*/ 1988457 h 2293257"/>
                  <a:gd name="connsiteX1" fmla="*/ 2017486 w 5563882"/>
                  <a:gd name="connsiteY1" fmla="*/ 275771 h 2293257"/>
                  <a:gd name="connsiteX2" fmla="*/ 3657600 w 5563882"/>
                  <a:gd name="connsiteY2" fmla="*/ 275771 h 2293257"/>
                  <a:gd name="connsiteX3" fmla="*/ 5254171 w 5563882"/>
                  <a:gd name="connsiteY3" fmla="*/ 2017486 h 2293257"/>
                  <a:gd name="connsiteX4" fmla="*/ 5283200 w 5563882"/>
                  <a:gd name="connsiteY4" fmla="*/ 2235200 h 2293257"/>
                  <a:gd name="connsiteX5" fmla="*/ 5544457 w 5563882"/>
                  <a:gd name="connsiteY5" fmla="*/ 2220686 h 2293257"/>
                  <a:gd name="connsiteX6" fmla="*/ 5558971 w 5563882"/>
                  <a:gd name="connsiteY6" fmla="*/ 2061029 h 2293257"/>
                  <a:gd name="connsiteX7" fmla="*/ 3976914 w 5563882"/>
                  <a:gd name="connsiteY7" fmla="*/ 14514 h 2293257"/>
                  <a:gd name="connsiteX8" fmla="*/ 1698171 w 5563882"/>
                  <a:gd name="connsiteY8" fmla="*/ 0 h 2293257"/>
                  <a:gd name="connsiteX9" fmla="*/ 0 w 5563882"/>
                  <a:gd name="connsiteY9" fmla="*/ 2090057 h 2293257"/>
                  <a:gd name="connsiteX10" fmla="*/ 246743 w 5563882"/>
                  <a:gd name="connsiteY10" fmla="*/ 2293257 h 2293257"/>
                  <a:gd name="connsiteX11" fmla="*/ 377371 w 5563882"/>
                  <a:gd name="connsiteY11" fmla="*/ 1988457 h 2293257"/>
                  <a:gd name="connsiteX0" fmla="*/ 377371 w 5563882"/>
                  <a:gd name="connsiteY0" fmla="*/ 2001455 h 2306255"/>
                  <a:gd name="connsiteX1" fmla="*/ 2017486 w 5563882"/>
                  <a:gd name="connsiteY1" fmla="*/ 288769 h 2306255"/>
                  <a:gd name="connsiteX2" fmla="*/ 3657600 w 5563882"/>
                  <a:gd name="connsiteY2" fmla="*/ 288769 h 2306255"/>
                  <a:gd name="connsiteX3" fmla="*/ 5254171 w 5563882"/>
                  <a:gd name="connsiteY3" fmla="*/ 2030484 h 2306255"/>
                  <a:gd name="connsiteX4" fmla="*/ 5283200 w 5563882"/>
                  <a:gd name="connsiteY4" fmla="*/ 2248198 h 2306255"/>
                  <a:gd name="connsiteX5" fmla="*/ 5544457 w 5563882"/>
                  <a:gd name="connsiteY5" fmla="*/ 2233684 h 2306255"/>
                  <a:gd name="connsiteX6" fmla="*/ 5558971 w 5563882"/>
                  <a:gd name="connsiteY6" fmla="*/ 2074027 h 2306255"/>
                  <a:gd name="connsiteX7" fmla="*/ 3976914 w 5563882"/>
                  <a:gd name="connsiteY7" fmla="*/ 27512 h 2306255"/>
                  <a:gd name="connsiteX8" fmla="*/ 1698171 w 5563882"/>
                  <a:gd name="connsiteY8" fmla="*/ 12998 h 2306255"/>
                  <a:gd name="connsiteX9" fmla="*/ 0 w 5563882"/>
                  <a:gd name="connsiteY9" fmla="*/ 2103055 h 2306255"/>
                  <a:gd name="connsiteX10" fmla="*/ 246743 w 5563882"/>
                  <a:gd name="connsiteY10" fmla="*/ 2306255 h 2306255"/>
                  <a:gd name="connsiteX11" fmla="*/ 377371 w 5563882"/>
                  <a:gd name="connsiteY11" fmla="*/ 2001455 h 2306255"/>
                  <a:gd name="connsiteX0" fmla="*/ 493702 w 5680213"/>
                  <a:gd name="connsiteY0" fmla="*/ 2001455 h 2306255"/>
                  <a:gd name="connsiteX1" fmla="*/ 2133817 w 5680213"/>
                  <a:gd name="connsiteY1" fmla="*/ 288769 h 2306255"/>
                  <a:gd name="connsiteX2" fmla="*/ 3773931 w 5680213"/>
                  <a:gd name="connsiteY2" fmla="*/ 288769 h 2306255"/>
                  <a:gd name="connsiteX3" fmla="*/ 5370502 w 5680213"/>
                  <a:gd name="connsiteY3" fmla="*/ 2030484 h 2306255"/>
                  <a:gd name="connsiteX4" fmla="*/ 5399531 w 5680213"/>
                  <a:gd name="connsiteY4" fmla="*/ 2248198 h 2306255"/>
                  <a:gd name="connsiteX5" fmla="*/ 5660788 w 5680213"/>
                  <a:gd name="connsiteY5" fmla="*/ 2233684 h 2306255"/>
                  <a:gd name="connsiteX6" fmla="*/ 5675302 w 5680213"/>
                  <a:gd name="connsiteY6" fmla="*/ 2074027 h 2306255"/>
                  <a:gd name="connsiteX7" fmla="*/ 4093245 w 5680213"/>
                  <a:gd name="connsiteY7" fmla="*/ 27512 h 2306255"/>
                  <a:gd name="connsiteX8" fmla="*/ 1814502 w 5680213"/>
                  <a:gd name="connsiteY8" fmla="*/ 12998 h 2306255"/>
                  <a:gd name="connsiteX9" fmla="*/ 116331 w 5680213"/>
                  <a:gd name="connsiteY9" fmla="*/ 2103055 h 2306255"/>
                  <a:gd name="connsiteX10" fmla="*/ 363074 w 5680213"/>
                  <a:gd name="connsiteY10" fmla="*/ 2306255 h 2306255"/>
                  <a:gd name="connsiteX11" fmla="*/ 493702 w 5680213"/>
                  <a:gd name="connsiteY11" fmla="*/ 2001455 h 2306255"/>
                  <a:gd name="connsiteX0" fmla="*/ 493702 w 5680213"/>
                  <a:gd name="connsiteY0" fmla="*/ 1988457 h 2293257"/>
                  <a:gd name="connsiteX1" fmla="*/ 2133817 w 5680213"/>
                  <a:gd name="connsiteY1" fmla="*/ 275771 h 2293257"/>
                  <a:gd name="connsiteX2" fmla="*/ 3773931 w 5680213"/>
                  <a:gd name="connsiteY2" fmla="*/ 275771 h 2293257"/>
                  <a:gd name="connsiteX3" fmla="*/ 5370502 w 5680213"/>
                  <a:gd name="connsiteY3" fmla="*/ 2017486 h 2293257"/>
                  <a:gd name="connsiteX4" fmla="*/ 5399531 w 5680213"/>
                  <a:gd name="connsiteY4" fmla="*/ 2235200 h 2293257"/>
                  <a:gd name="connsiteX5" fmla="*/ 5660788 w 5680213"/>
                  <a:gd name="connsiteY5" fmla="*/ 2220686 h 2293257"/>
                  <a:gd name="connsiteX6" fmla="*/ 5675302 w 5680213"/>
                  <a:gd name="connsiteY6" fmla="*/ 2061029 h 2293257"/>
                  <a:gd name="connsiteX7" fmla="*/ 4093245 w 5680213"/>
                  <a:gd name="connsiteY7" fmla="*/ 14514 h 2293257"/>
                  <a:gd name="connsiteX8" fmla="*/ 1814502 w 5680213"/>
                  <a:gd name="connsiteY8" fmla="*/ 0 h 2293257"/>
                  <a:gd name="connsiteX9" fmla="*/ 116331 w 5680213"/>
                  <a:gd name="connsiteY9" fmla="*/ 2090057 h 2293257"/>
                  <a:gd name="connsiteX10" fmla="*/ 363074 w 5680213"/>
                  <a:gd name="connsiteY10" fmla="*/ 2293257 h 2293257"/>
                  <a:gd name="connsiteX11" fmla="*/ 493702 w 5680213"/>
                  <a:gd name="connsiteY11" fmla="*/ 1988457 h 2293257"/>
                  <a:gd name="connsiteX0" fmla="*/ 493702 w 5680213"/>
                  <a:gd name="connsiteY0" fmla="*/ 1988457 h 2293257"/>
                  <a:gd name="connsiteX1" fmla="*/ 2133817 w 5680213"/>
                  <a:gd name="connsiteY1" fmla="*/ 275771 h 2293257"/>
                  <a:gd name="connsiteX2" fmla="*/ 3773931 w 5680213"/>
                  <a:gd name="connsiteY2" fmla="*/ 275771 h 2293257"/>
                  <a:gd name="connsiteX3" fmla="*/ 5370502 w 5680213"/>
                  <a:gd name="connsiteY3" fmla="*/ 2017486 h 2293257"/>
                  <a:gd name="connsiteX4" fmla="*/ 5399531 w 5680213"/>
                  <a:gd name="connsiteY4" fmla="*/ 2235200 h 2293257"/>
                  <a:gd name="connsiteX5" fmla="*/ 5660788 w 5680213"/>
                  <a:gd name="connsiteY5" fmla="*/ 2220686 h 2293257"/>
                  <a:gd name="connsiteX6" fmla="*/ 5675302 w 5680213"/>
                  <a:gd name="connsiteY6" fmla="*/ 2061029 h 2293257"/>
                  <a:gd name="connsiteX7" fmla="*/ 4093245 w 5680213"/>
                  <a:gd name="connsiteY7" fmla="*/ 14514 h 2293257"/>
                  <a:gd name="connsiteX8" fmla="*/ 1814502 w 5680213"/>
                  <a:gd name="connsiteY8" fmla="*/ 0 h 2293257"/>
                  <a:gd name="connsiteX9" fmla="*/ 116331 w 5680213"/>
                  <a:gd name="connsiteY9" fmla="*/ 2090057 h 2293257"/>
                  <a:gd name="connsiteX10" fmla="*/ 363074 w 5680213"/>
                  <a:gd name="connsiteY10" fmla="*/ 2293257 h 2293257"/>
                  <a:gd name="connsiteX11" fmla="*/ 493702 w 5680213"/>
                  <a:gd name="connsiteY11" fmla="*/ 1988457 h 2293257"/>
                  <a:gd name="connsiteX0" fmla="*/ 493702 w 5680213"/>
                  <a:gd name="connsiteY0" fmla="*/ 1988457 h 2293257"/>
                  <a:gd name="connsiteX1" fmla="*/ 2133817 w 5680213"/>
                  <a:gd name="connsiteY1" fmla="*/ 275771 h 2293257"/>
                  <a:gd name="connsiteX2" fmla="*/ 3773931 w 5680213"/>
                  <a:gd name="connsiteY2" fmla="*/ 275771 h 2293257"/>
                  <a:gd name="connsiteX3" fmla="*/ 5370502 w 5680213"/>
                  <a:gd name="connsiteY3" fmla="*/ 2017486 h 2293257"/>
                  <a:gd name="connsiteX4" fmla="*/ 5399531 w 5680213"/>
                  <a:gd name="connsiteY4" fmla="*/ 2235200 h 2293257"/>
                  <a:gd name="connsiteX5" fmla="*/ 5660788 w 5680213"/>
                  <a:gd name="connsiteY5" fmla="*/ 2220686 h 2293257"/>
                  <a:gd name="connsiteX6" fmla="*/ 5675302 w 5680213"/>
                  <a:gd name="connsiteY6" fmla="*/ 2061029 h 2293257"/>
                  <a:gd name="connsiteX7" fmla="*/ 4093245 w 5680213"/>
                  <a:gd name="connsiteY7" fmla="*/ 14514 h 2293257"/>
                  <a:gd name="connsiteX8" fmla="*/ 1814502 w 5680213"/>
                  <a:gd name="connsiteY8" fmla="*/ 0 h 2293257"/>
                  <a:gd name="connsiteX9" fmla="*/ 116331 w 5680213"/>
                  <a:gd name="connsiteY9" fmla="*/ 2090057 h 2293257"/>
                  <a:gd name="connsiteX10" fmla="*/ 363074 w 5680213"/>
                  <a:gd name="connsiteY10" fmla="*/ 2293257 h 2293257"/>
                  <a:gd name="connsiteX11" fmla="*/ 493702 w 5680213"/>
                  <a:gd name="connsiteY11" fmla="*/ 1988457 h 2293257"/>
                  <a:gd name="connsiteX0" fmla="*/ 493702 w 5680213"/>
                  <a:gd name="connsiteY0" fmla="*/ 1978932 h 2283732"/>
                  <a:gd name="connsiteX1" fmla="*/ 2133817 w 5680213"/>
                  <a:gd name="connsiteY1" fmla="*/ 266246 h 2283732"/>
                  <a:gd name="connsiteX2" fmla="*/ 3773931 w 5680213"/>
                  <a:gd name="connsiteY2" fmla="*/ 266246 h 2283732"/>
                  <a:gd name="connsiteX3" fmla="*/ 5370502 w 5680213"/>
                  <a:gd name="connsiteY3" fmla="*/ 2007961 h 2283732"/>
                  <a:gd name="connsiteX4" fmla="*/ 5399531 w 5680213"/>
                  <a:gd name="connsiteY4" fmla="*/ 2225675 h 2283732"/>
                  <a:gd name="connsiteX5" fmla="*/ 5660788 w 5680213"/>
                  <a:gd name="connsiteY5" fmla="*/ 2211161 h 2283732"/>
                  <a:gd name="connsiteX6" fmla="*/ 5675302 w 5680213"/>
                  <a:gd name="connsiteY6" fmla="*/ 2051504 h 2283732"/>
                  <a:gd name="connsiteX7" fmla="*/ 4093245 w 5680213"/>
                  <a:gd name="connsiteY7" fmla="*/ 4989 h 2283732"/>
                  <a:gd name="connsiteX8" fmla="*/ 1814502 w 5680213"/>
                  <a:gd name="connsiteY8" fmla="*/ 0 h 2283732"/>
                  <a:gd name="connsiteX9" fmla="*/ 116331 w 5680213"/>
                  <a:gd name="connsiteY9" fmla="*/ 2080532 h 2283732"/>
                  <a:gd name="connsiteX10" fmla="*/ 363074 w 5680213"/>
                  <a:gd name="connsiteY10" fmla="*/ 2283732 h 2283732"/>
                  <a:gd name="connsiteX11" fmla="*/ 493702 w 5680213"/>
                  <a:gd name="connsiteY11" fmla="*/ 1978932 h 2283732"/>
                  <a:gd name="connsiteX0" fmla="*/ 493702 w 5680213"/>
                  <a:gd name="connsiteY0" fmla="*/ 1978933 h 2283733"/>
                  <a:gd name="connsiteX1" fmla="*/ 2133817 w 5680213"/>
                  <a:gd name="connsiteY1" fmla="*/ 266247 h 2283733"/>
                  <a:gd name="connsiteX2" fmla="*/ 3773931 w 5680213"/>
                  <a:gd name="connsiteY2" fmla="*/ 266247 h 2283733"/>
                  <a:gd name="connsiteX3" fmla="*/ 5370502 w 5680213"/>
                  <a:gd name="connsiteY3" fmla="*/ 2007962 h 2283733"/>
                  <a:gd name="connsiteX4" fmla="*/ 5399531 w 5680213"/>
                  <a:gd name="connsiteY4" fmla="*/ 2225676 h 2283733"/>
                  <a:gd name="connsiteX5" fmla="*/ 5660788 w 5680213"/>
                  <a:gd name="connsiteY5" fmla="*/ 2211162 h 2283733"/>
                  <a:gd name="connsiteX6" fmla="*/ 5675302 w 5680213"/>
                  <a:gd name="connsiteY6" fmla="*/ 2051505 h 2283733"/>
                  <a:gd name="connsiteX7" fmla="*/ 4065949 w 5680213"/>
                  <a:gd name="connsiteY7" fmla="*/ 0 h 2283733"/>
                  <a:gd name="connsiteX8" fmla="*/ 1814502 w 5680213"/>
                  <a:gd name="connsiteY8" fmla="*/ 1 h 2283733"/>
                  <a:gd name="connsiteX9" fmla="*/ 116331 w 5680213"/>
                  <a:gd name="connsiteY9" fmla="*/ 2080533 h 2283733"/>
                  <a:gd name="connsiteX10" fmla="*/ 363074 w 5680213"/>
                  <a:gd name="connsiteY10" fmla="*/ 2283733 h 2283733"/>
                  <a:gd name="connsiteX11" fmla="*/ 493702 w 5680213"/>
                  <a:gd name="connsiteY11" fmla="*/ 1978933 h 228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80213" h="2283733">
                    <a:moveTo>
                      <a:pt x="493702" y="1978933"/>
                    </a:moveTo>
                    <a:cubicBezTo>
                      <a:pt x="570056" y="520934"/>
                      <a:pt x="1887363" y="263936"/>
                      <a:pt x="2133817" y="266247"/>
                    </a:cubicBezTo>
                    <a:lnTo>
                      <a:pt x="3773931" y="266247"/>
                    </a:lnTo>
                    <a:cubicBezTo>
                      <a:pt x="4333416" y="273613"/>
                      <a:pt x="5336597" y="854184"/>
                      <a:pt x="5370502" y="2007962"/>
                    </a:cubicBezTo>
                    <a:lnTo>
                      <a:pt x="5399531" y="2225676"/>
                    </a:lnTo>
                    <a:lnTo>
                      <a:pt x="5660788" y="2211162"/>
                    </a:lnTo>
                    <a:lnTo>
                      <a:pt x="5675302" y="2051505"/>
                    </a:lnTo>
                    <a:cubicBezTo>
                      <a:pt x="5680213" y="1533107"/>
                      <a:pt x="5534996" y="300034"/>
                      <a:pt x="4065949" y="0"/>
                    </a:cubicBezTo>
                    <a:lnTo>
                      <a:pt x="1814502" y="1"/>
                    </a:lnTo>
                    <a:cubicBezTo>
                      <a:pt x="448250" y="55241"/>
                      <a:pt x="0" y="1452086"/>
                      <a:pt x="116331" y="2080533"/>
                    </a:cubicBezTo>
                    <a:lnTo>
                      <a:pt x="363074" y="2283733"/>
                    </a:lnTo>
                    <a:lnTo>
                      <a:pt x="493702" y="1978933"/>
                    </a:lnTo>
                    <a:close/>
                  </a:path>
                </a:pathLst>
              </a:custGeom>
              <a:grpFill/>
              <a:ln w="6350" algn="ctr">
                <a:noFill/>
                <a:miter lim="800000"/>
                <a:headEnd/>
                <a:tailEnd/>
              </a:ln>
            </p:spPr>
            <p:txBody>
              <a:bodyPr lIns="36000" tIns="72009" rIns="360000" bIns="72009" anchor="ctr"/>
              <a:lstStyle/>
              <a:p>
                <a:pPr algn="ctr" fontAlgn="auto">
                  <a:spcBef>
                    <a:spcPts val="0"/>
                  </a:spcBef>
                  <a:spcAft>
                    <a:spcPts val="0"/>
                  </a:spcAft>
                  <a:tabLst>
                    <a:tab pos="812800" algn="l"/>
                  </a:tabLst>
                  <a:defRPr/>
                </a:pPr>
                <a:endParaRPr lang="en-GB" sz="1000" b="1" u="none" kern="0">
                  <a:solidFill>
                    <a:schemeClr val="bg1"/>
                  </a:solidFill>
                  <a:latin typeface="+mn-lt"/>
                  <a:ea typeface="ヒラギノ角ゴ ProN W3"/>
                  <a:cs typeface="ヒラギノ角ゴ ProN W3"/>
                </a:endParaRPr>
              </a:p>
            </p:txBody>
          </p:sp>
          <p:sp>
            <p:nvSpPr>
              <p:cNvPr id="203" name="Freeform 202"/>
              <p:cNvSpPr/>
              <p:nvPr/>
            </p:nvSpPr>
            <p:spPr>
              <a:xfrm>
                <a:off x="712928" y="2686012"/>
                <a:ext cx="7583430" cy="2292181"/>
              </a:xfrm>
              <a:custGeom>
                <a:avLst/>
                <a:gdLst>
                  <a:gd name="connsiteX0" fmla="*/ 0 w 6473371"/>
                  <a:gd name="connsiteY0" fmla="*/ 1132115 h 2264229"/>
                  <a:gd name="connsiteX1" fmla="*/ 2168058 w 6473371"/>
                  <a:gd name="connsiteY1" fmla="*/ 63488 h 2264229"/>
                  <a:gd name="connsiteX2" fmla="*/ 3236688 w 6473371"/>
                  <a:gd name="connsiteY2" fmla="*/ 4 h 2264229"/>
                  <a:gd name="connsiteX3" fmla="*/ 4305320 w 6473371"/>
                  <a:gd name="connsiteY3" fmla="*/ 63489 h 2264229"/>
                  <a:gd name="connsiteX4" fmla="*/ 6473372 w 6473371"/>
                  <a:gd name="connsiteY4" fmla="*/ 1132125 h 2264229"/>
                  <a:gd name="connsiteX5" fmla="*/ 4305316 w 6473371"/>
                  <a:gd name="connsiteY5" fmla="*/ 2200756 h 2264229"/>
                  <a:gd name="connsiteX6" fmla="*/ 3236685 w 6473371"/>
                  <a:gd name="connsiteY6" fmla="*/ 2264240 h 2264229"/>
                  <a:gd name="connsiteX7" fmla="*/ 2168053 w 6473371"/>
                  <a:gd name="connsiteY7" fmla="*/ 2200756 h 2264229"/>
                  <a:gd name="connsiteX8" fmla="*/ -1 w 6473371"/>
                  <a:gd name="connsiteY8" fmla="*/ 1132122 h 2264229"/>
                  <a:gd name="connsiteX9" fmla="*/ 0 w 6473371"/>
                  <a:gd name="connsiteY9" fmla="*/ 1132115 h 2264229"/>
                  <a:gd name="connsiteX10" fmla="*/ 5360223 w 6473371"/>
                  <a:gd name="connsiteY10" fmla="*/ 1595979 h 2264229"/>
                  <a:gd name="connsiteX11" fmla="*/ 3483222 w 6473371"/>
                  <a:gd name="connsiteY11" fmla="*/ 427266 h 2264229"/>
                  <a:gd name="connsiteX12" fmla="*/ 1957946 w 6473371"/>
                  <a:gd name="connsiteY12" fmla="*/ 501926 h 2264229"/>
                  <a:gd name="connsiteX13" fmla="*/ 5360223 w 6473371"/>
                  <a:gd name="connsiteY13" fmla="*/ 1595979 h 2264229"/>
                  <a:gd name="connsiteX14" fmla="*/ 1113148 w 6473371"/>
                  <a:gd name="connsiteY14" fmla="*/ 668250 h 2264229"/>
                  <a:gd name="connsiteX15" fmla="*/ 2990155 w 6473371"/>
                  <a:gd name="connsiteY15" fmla="*/ 1836961 h 2264229"/>
                  <a:gd name="connsiteX16" fmla="*/ 4515433 w 6473371"/>
                  <a:gd name="connsiteY16" fmla="*/ 1762301 h 2264229"/>
                  <a:gd name="connsiteX17" fmla="*/ 1113148 w 6473371"/>
                  <a:gd name="connsiteY17" fmla="*/ 668250 h 2264229"/>
                  <a:gd name="connsiteX0" fmla="*/ 822769 w 7688330"/>
                  <a:gd name="connsiteY0" fmla="*/ 1141209 h 2273334"/>
                  <a:gd name="connsiteX1" fmla="*/ 1298504 w 7688330"/>
                  <a:gd name="connsiteY1" fmla="*/ 127173 h 2273334"/>
                  <a:gd name="connsiteX2" fmla="*/ 4059457 w 7688330"/>
                  <a:gd name="connsiteY2" fmla="*/ 9098 h 2273334"/>
                  <a:gd name="connsiteX3" fmla="*/ 5128089 w 7688330"/>
                  <a:gd name="connsiteY3" fmla="*/ 72583 h 2273334"/>
                  <a:gd name="connsiteX4" fmla="*/ 7296141 w 7688330"/>
                  <a:gd name="connsiteY4" fmla="*/ 1141219 h 2273334"/>
                  <a:gd name="connsiteX5" fmla="*/ 5128085 w 7688330"/>
                  <a:gd name="connsiteY5" fmla="*/ 2209850 h 2273334"/>
                  <a:gd name="connsiteX6" fmla="*/ 4059454 w 7688330"/>
                  <a:gd name="connsiteY6" fmla="*/ 2273334 h 2273334"/>
                  <a:gd name="connsiteX7" fmla="*/ 2990822 w 7688330"/>
                  <a:gd name="connsiteY7" fmla="*/ 2209850 h 2273334"/>
                  <a:gd name="connsiteX8" fmla="*/ 822768 w 7688330"/>
                  <a:gd name="connsiteY8" fmla="*/ 1141216 h 2273334"/>
                  <a:gd name="connsiteX9" fmla="*/ 822769 w 7688330"/>
                  <a:gd name="connsiteY9" fmla="*/ 1141209 h 2273334"/>
                  <a:gd name="connsiteX10" fmla="*/ 6182992 w 7688330"/>
                  <a:gd name="connsiteY10" fmla="*/ 1605073 h 2273334"/>
                  <a:gd name="connsiteX11" fmla="*/ 4305991 w 7688330"/>
                  <a:gd name="connsiteY11" fmla="*/ 436360 h 2273334"/>
                  <a:gd name="connsiteX12" fmla="*/ 2780715 w 7688330"/>
                  <a:gd name="connsiteY12" fmla="*/ 511020 h 2273334"/>
                  <a:gd name="connsiteX13" fmla="*/ 6182992 w 7688330"/>
                  <a:gd name="connsiteY13" fmla="*/ 1605073 h 2273334"/>
                  <a:gd name="connsiteX14" fmla="*/ 1935917 w 7688330"/>
                  <a:gd name="connsiteY14" fmla="*/ 677344 h 2273334"/>
                  <a:gd name="connsiteX15" fmla="*/ 3812924 w 7688330"/>
                  <a:gd name="connsiteY15" fmla="*/ 1846055 h 2273334"/>
                  <a:gd name="connsiteX16" fmla="*/ 5338202 w 7688330"/>
                  <a:gd name="connsiteY16" fmla="*/ 1771395 h 2273334"/>
                  <a:gd name="connsiteX17" fmla="*/ 1935917 w 7688330"/>
                  <a:gd name="connsiteY17" fmla="*/ 677344 h 2273334"/>
                  <a:gd name="connsiteX0" fmla="*/ 1464213 w 7688330"/>
                  <a:gd name="connsiteY0" fmla="*/ 2260325 h 2273334"/>
                  <a:gd name="connsiteX1" fmla="*/ 1298504 w 7688330"/>
                  <a:gd name="connsiteY1" fmla="*/ 127173 h 2273334"/>
                  <a:gd name="connsiteX2" fmla="*/ 4059457 w 7688330"/>
                  <a:gd name="connsiteY2" fmla="*/ 9098 h 2273334"/>
                  <a:gd name="connsiteX3" fmla="*/ 5128089 w 7688330"/>
                  <a:gd name="connsiteY3" fmla="*/ 72583 h 2273334"/>
                  <a:gd name="connsiteX4" fmla="*/ 7296141 w 7688330"/>
                  <a:gd name="connsiteY4" fmla="*/ 1141219 h 2273334"/>
                  <a:gd name="connsiteX5" fmla="*/ 5128085 w 7688330"/>
                  <a:gd name="connsiteY5" fmla="*/ 2209850 h 2273334"/>
                  <a:gd name="connsiteX6" fmla="*/ 4059454 w 7688330"/>
                  <a:gd name="connsiteY6" fmla="*/ 2273334 h 2273334"/>
                  <a:gd name="connsiteX7" fmla="*/ 2990822 w 7688330"/>
                  <a:gd name="connsiteY7" fmla="*/ 2209850 h 2273334"/>
                  <a:gd name="connsiteX8" fmla="*/ 822768 w 7688330"/>
                  <a:gd name="connsiteY8" fmla="*/ 1141216 h 2273334"/>
                  <a:gd name="connsiteX9" fmla="*/ 1464213 w 7688330"/>
                  <a:gd name="connsiteY9" fmla="*/ 2260325 h 2273334"/>
                  <a:gd name="connsiteX10" fmla="*/ 6182992 w 7688330"/>
                  <a:gd name="connsiteY10" fmla="*/ 1605073 h 2273334"/>
                  <a:gd name="connsiteX11" fmla="*/ 4305991 w 7688330"/>
                  <a:gd name="connsiteY11" fmla="*/ 436360 h 2273334"/>
                  <a:gd name="connsiteX12" fmla="*/ 2780715 w 7688330"/>
                  <a:gd name="connsiteY12" fmla="*/ 511020 h 2273334"/>
                  <a:gd name="connsiteX13" fmla="*/ 6182992 w 7688330"/>
                  <a:gd name="connsiteY13" fmla="*/ 1605073 h 2273334"/>
                  <a:gd name="connsiteX14" fmla="*/ 1935917 w 7688330"/>
                  <a:gd name="connsiteY14" fmla="*/ 677344 h 2273334"/>
                  <a:gd name="connsiteX15" fmla="*/ 3812924 w 7688330"/>
                  <a:gd name="connsiteY15" fmla="*/ 1846055 h 2273334"/>
                  <a:gd name="connsiteX16" fmla="*/ 5338202 w 7688330"/>
                  <a:gd name="connsiteY16" fmla="*/ 1771395 h 2273334"/>
                  <a:gd name="connsiteX17" fmla="*/ 1935917 w 7688330"/>
                  <a:gd name="connsiteY17" fmla="*/ 677344 h 2273334"/>
                  <a:gd name="connsiteX0" fmla="*/ 1464213 w 7688330"/>
                  <a:gd name="connsiteY0" fmla="*/ 2260325 h 2607438"/>
                  <a:gd name="connsiteX1" fmla="*/ 1298504 w 7688330"/>
                  <a:gd name="connsiteY1" fmla="*/ 127173 h 2607438"/>
                  <a:gd name="connsiteX2" fmla="*/ 4059457 w 7688330"/>
                  <a:gd name="connsiteY2" fmla="*/ 9098 h 2607438"/>
                  <a:gd name="connsiteX3" fmla="*/ 5128089 w 7688330"/>
                  <a:gd name="connsiteY3" fmla="*/ 72583 h 2607438"/>
                  <a:gd name="connsiteX4" fmla="*/ 7296141 w 7688330"/>
                  <a:gd name="connsiteY4" fmla="*/ 1141219 h 2607438"/>
                  <a:gd name="connsiteX5" fmla="*/ 5128085 w 7688330"/>
                  <a:gd name="connsiteY5" fmla="*/ 2209850 h 2607438"/>
                  <a:gd name="connsiteX6" fmla="*/ 4059454 w 7688330"/>
                  <a:gd name="connsiteY6" fmla="*/ 2273334 h 2607438"/>
                  <a:gd name="connsiteX7" fmla="*/ 2990822 w 7688330"/>
                  <a:gd name="connsiteY7" fmla="*/ 2209850 h 2607438"/>
                  <a:gd name="connsiteX8" fmla="*/ 1464213 w 7688330"/>
                  <a:gd name="connsiteY8" fmla="*/ 2260325 h 2607438"/>
                  <a:gd name="connsiteX9" fmla="*/ 6182992 w 7688330"/>
                  <a:gd name="connsiteY9" fmla="*/ 1605073 h 2607438"/>
                  <a:gd name="connsiteX10" fmla="*/ 4305991 w 7688330"/>
                  <a:gd name="connsiteY10" fmla="*/ 436360 h 2607438"/>
                  <a:gd name="connsiteX11" fmla="*/ 2780715 w 7688330"/>
                  <a:gd name="connsiteY11" fmla="*/ 511020 h 2607438"/>
                  <a:gd name="connsiteX12" fmla="*/ 6182992 w 7688330"/>
                  <a:gd name="connsiteY12" fmla="*/ 1605073 h 2607438"/>
                  <a:gd name="connsiteX13" fmla="*/ 1935917 w 7688330"/>
                  <a:gd name="connsiteY13" fmla="*/ 677344 h 2607438"/>
                  <a:gd name="connsiteX14" fmla="*/ 3812924 w 7688330"/>
                  <a:gd name="connsiteY14" fmla="*/ 1846055 h 2607438"/>
                  <a:gd name="connsiteX15" fmla="*/ 5338202 w 7688330"/>
                  <a:gd name="connsiteY15" fmla="*/ 1771395 h 2607438"/>
                  <a:gd name="connsiteX16" fmla="*/ 1935917 w 7688330"/>
                  <a:gd name="connsiteY16" fmla="*/ 677344 h 2607438"/>
                  <a:gd name="connsiteX0" fmla="*/ 1464213 w 7688330"/>
                  <a:gd name="connsiteY0" fmla="*/ 2260325 h 2607438"/>
                  <a:gd name="connsiteX1" fmla="*/ 1298504 w 7688330"/>
                  <a:gd name="connsiteY1" fmla="*/ 127173 h 2607438"/>
                  <a:gd name="connsiteX2" fmla="*/ 4059457 w 7688330"/>
                  <a:gd name="connsiteY2" fmla="*/ 9098 h 2607438"/>
                  <a:gd name="connsiteX3" fmla="*/ 5128089 w 7688330"/>
                  <a:gd name="connsiteY3" fmla="*/ 72583 h 2607438"/>
                  <a:gd name="connsiteX4" fmla="*/ 7296141 w 7688330"/>
                  <a:gd name="connsiteY4" fmla="*/ 1141219 h 2607438"/>
                  <a:gd name="connsiteX5" fmla="*/ 5128085 w 7688330"/>
                  <a:gd name="connsiteY5" fmla="*/ 2209850 h 2607438"/>
                  <a:gd name="connsiteX6" fmla="*/ 2990822 w 7688330"/>
                  <a:gd name="connsiteY6" fmla="*/ 2209850 h 2607438"/>
                  <a:gd name="connsiteX7" fmla="*/ 1464213 w 7688330"/>
                  <a:gd name="connsiteY7" fmla="*/ 2260325 h 2607438"/>
                  <a:gd name="connsiteX8" fmla="*/ 6182992 w 7688330"/>
                  <a:gd name="connsiteY8" fmla="*/ 1605073 h 2607438"/>
                  <a:gd name="connsiteX9" fmla="*/ 4305991 w 7688330"/>
                  <a:gd name="connsiteY9" fmla="*/ 436360 h 2607438"/>
                  <a:gd name="connsiteX10" fmla="*/ 2780715 w 7688330"/>
                  <a:gd name="connsiteY10" fmla="*/ 511020 h 2607438"/>
                  <a:gd name="connsiteX11" fmla="*/ 6182992 w 7688330"/>
                  <a:gd name="connsiteY11" fmla="*/ 1605073 h 2607438"/>
                  <a:gd name="connsiteX12" fmla="*/ 1935917 w 7688330"/>
                  <a:gd name="connsiteY12" fmla="*/ 677344 h 2607438"/>
                  <a:gd name="connsiteX13" fmla="*/ 3812924 w 7688330"/>
                  <a:gd name="connsiteY13" fmla="*/ 1846055 h 2607438"/>
                  <a:gd name="connsiteX14" fmla="*/ 5338202 w 7688330"/>
                  <a:gd name="connsiteY14" fmla="*/ 1771395 h 2607438"/>
                  <a:gd name="connsiteX15" fmla="*/ 1935917 w 7688330"/>
                  <a:gd name="connsiteY15" fmla="*/ 677344 h 2607438"/>
                  <a:gd name="connsiteX0" fmla="*/ 1464213 w 7688330"/>
                  <a:gd name="connsiteY0" fmla="*/ 2260325 h 2607438"/>
                  <a:gd name="connsiteX1" fmla="*/ 1298504 w 7688330"/>
                  <a:gd name="connsiteY1" fmla="*/ 127173 h 2607438"/>
                  <a:gd name="connsiteX2" fmla="*/ 4059457 w 7688330"/>
                  <a:gd name="connsiteY2" fmla="*/ 9098 h 2607438"/>
                  <a:gd name="connsiteX3" fmla="*/ 5128089 w 7688330"/>
                  <a:gd name="connsiteY3" fmla="*/ 72583 h 2607438"/>
                  <a:gd name="connsiteX4" fmla="*/ 7296141 w 7688330"/>
                  <a:gd name="connsiteY4" fmla="*/ 1141219 h 2607438"/>
                  <a:gd name="connsiteX5" fmla="*/ 2990822 w 7688330"/>
                  <a:gd name="connsiteY5" fmla="*/ 2209850 h 2607438"/>
                  <a:gd name="connsiteX6" fmla="*/ 1464213 w 7688330"/>
                  <a:gd name="connsiteY6" fmla="*/ 2260325 h 2607438"/>
                  <a:gd name="connsiteX7" fmla="*/ 6182992 w 7688330"/>
                  <a:gd name="connsiteY7" fmla="*/ 1605073 h 2607438"/>
                  <a:gd name="connsiteX8" fmla="*/ 4305991 w 7688330"/>
                  <a:gd name="connsiteY8" fmla="*/ 436360 h 2607438"/>
                  <a:gd name="connsiteX9" fmla="*/ 2780715 w 7688330"/>
                  <a:gd name="connsiteY9" fmla="*/ 511020 h 2607438"/>
                  <a:gd name="connsiteX10" fmla="*/ 6182992 w 7688330"/>
                  <a:gd name="connsiteY10" fmla="*/ 1605073 h 2607438"/>
                  <a:gd name="connsiteX11" fmla="*/ 1935917 w 7688330"/>
                  <a:gd name="connsiteY11" fmla="*/ 677344 h 2607438"/>
                  <a:gd name="connsiteX12" fmla="*/ 3812924 w 7688330"/>
                  <a:gd name="connsiteY12" fmla="*/ 1846055 h 2607438"/>
                  <a:gd name="connsiteX13" fmla="*/ 5338202 w 7688330"/>
                  <a:gd name="connsiteY13" fmla="*/ 1771395 h 2607438"/>
                  <a:gd name="connsiteX14" fmla="*/ 1935917 w 7688330"/>
                  <a:gd name="connsiteY14" fmla="*/ 677344 h 2607438"/>
                  <a:gd name="connsiteX0" fmla="*/ 1464213 w 7688330"/>
                  <a:gd name="connsiteY0" fmla="*/ 2260325 h 2643842"/>
                  <a:gd name="connsiteX1" fmla="*/ 1298504 w 7688330"/>
                  <a:gd name="connsiteY1" fmla="*/ 127173 h 2643842"/>
                  <a:gd name="connsiteX2" fmla="*/ 4059457 w 7688330"/>
                  <a:gd name="connsiteY2" fmla="*/ 9098 h 2643842"/>
                  <a:gd name="connsiteX3" fmla="*/ 5128089 w 7688330"/>
                  <a:gd name="connsiteY3" fmla="*/ 72583 h 2643842"/>
                  <a:gd name="connsiteX4" fmla="*/ 6695640 w 7688330"/>
                  <a:gd name="connsiteY4" fmla="*/ 2287631 h 2643842"/>
                  <a:gd name="connsiteX5" fmla="*/ 2990822 w 7688330"/>
                  <a:gd name="connsiteY5" fmla="*/ 2209850 h 2643842"/>
                  <a:gd name="connsiteX6" fmla="*/ 1464213 w 7688330"/>
                  <a:gd name="connsiteY6" fmla="*/ 2260325 h 2643842"/>
                  <a:gd name="connsiteX7" fmla="*/ 6182992 w 7688330"/>
                  <a:gd name="connsiteY7" fmla="*/ 1605073 h 2643842"/>
                  <a:gd name="connsiteX8" fmla="*/ 4305991 w 7688330"/>
                  <a:gd name="connsiteY8" fmla="*/ 436360 h 2643842"/>
                  <a:gd name="connsiteX9" fmla="*/ 2780715 w 7688330"/>
                  <a:gd name="connsiteY9" fmla="*/ 511020 h 2643842"/>
                  <a:gd name="connsiteX10" fmla="*/ 6182992 w 7688330"/>
                  <a:gd name="connsiteY10" fmla="*/ 1605073 h 2643842"/>
                  <a:gd name="connsiteX11" fmla="*/ 1935917 w 7688330"/>
                  <a:gd name="connsiteY11" fmla="*/ 677344 h 2643842"/>
                  <a:gd name="connsiteX12" fmla="*/ 3812924 w 7688330"/>
                  <a:gd name="connsiteY12" fmla="*/ 1846055 h 2643842"/>
                  <a:gd name="connsiteX13" fmla="*/ 5338202 w 7688330"/>
                  <a:gd name="connsiteY13" fmla="*/ 1771395 h 2643842"/>
                  <a:gd name="connsiteX14" fmla="*/ 1935917 w 7688330"/>
                  <a:gd name="connsiteY14" fmla="*/ 677344 h 2643842"/>
                  <a:gd name="connsiteX0" fmla="*/ 1464213 w 7688330"/>
                  <a:gd name="connsiteY0" fmla="*/ 2611303 h 2994820"/>
                  <a:gd name="connsiteX1" fmla="*/ 1298504 w 7688330"/>
                  <a:gd name="connsiteY1" fmla="*/ 478151 h 2994820"/>
                  <a:gd name="connsiteX2" fmla="*/ 4059457 w 7688330"/>
                  <a:gd name="connsiteY2" fmla="*/ 360076 h 2994820"/>
                  <a:gd name="connsiteX3" fmla="*/ 6695640 w 7688330"/>
                  <a:gd name="connsiteY3" fmla="*/ 2638609 h 2994820"/>
                  <a:gd name="connsiteX4" fmla="*/ 2990822 w 7688330"/>
                  <a:gd name="connsiteY4" fmla="*/ 2560828 h 2994820"/>
                  <a:gd name="connsiteX5" fmla="*/ 1464213 w 7688330"/>
                  <a:gd name="connsiteY5" fmla="*/ 2611303 h 2994820"/>
                  <a:gd name="connsiteX6" fmla="*/ 6182992 w 7688330"/>
                  <a:gd name="connsiteY6" fmla="*/ 1956051 h 2994820"/>
                  <a:gd name="connsiteX7" fmla="*/ 4305991 w 7688330"/>
                  <a:gd name="connsiteY7" fmla="*/ 787338 h 2994820"/>
                  <a:gd name="connsiteX8" fmla="*/ 2780715 w 7688330"/>
                  <a:gd name="connsiteY8" fmla="*/ 861998 h 2994820"/>
                  <a:gd name="connsiteX9" fmla="*/ 6182992 w 7688330"/>
                  <a:gd name="connsiteY9" fmla="*/ 1956051 h 2994820"/>
                  <a:gd name="connsiteX10" fmla="*/ 1935917 w 7688330"/>
                  <a:gd name="connsiteY10" fmla="*/ 1028322 h 2994820"/>
                  <a:gd name="connsiteX11" fmla="*/ 3812924 w 7688330"/>
                  <a:gd name="connsiteY11" fmla="*/ 2197033 h 2994820"/>
                  <a:gd name="connsiteX12" fmla="*/ 5338202 w 7688330"/>
                  <a:gd name="connsiteY12" fmla="*/ 2122373 h 2994820"/>
                  <a:gd name="connsiteX13" fmla="*/ 1935917 w 7688330"/>
                  <a:gd name="connsiteY13" fmla="*/ 1028322 h 2994820"/>
                  <a:gd name="connsiteX0" fmla="*/ 1464213 w 7688330"/>
                  <a:gd name="connsiteY0" fmla="*/ 2597656 h 2981173"/>
                  <a:gd name="connsiteX1" fmla="*/ 1298504 w 7688330"/>
                  <a:gd name="connsiteY1" fmla="*/ 464504 h 2981173"/>
                  <a:gd name="connsiteX2" fmla="*/ 6638884 w 7688330"/>
                  <a:gd name="connsiteY2" fmla="*/ 360076 h 2981173"/>
                  <a:gd name="connsiteX3" fmla="*/ 6695640 w 7688330"/>
                  <a:gd name="connsiteY3" fmla="*/ 2624962 h 2981173"/>
                  <a:gd name="connsiteX4" fmla="*/ 2990822 w 7688330"/>
                  <a:gd name="connsiteY4" fmla="*/ 2547181 h 2981173"/>
                  <a:gd name="connsiteX5" fmla="*/ 1464213 w 7688330"/>
                  <a:gd name="connsiteY5" fmla="*/ 2597656 h 2981173"/>
                  <a:gd name="connsiteX6" fmla="*/ 6182992 w 7688330"/>
                  <a:gd name="connsiteY6" fmla="*/ 1942404 h 2981173"/>
                  <a:gd name="connsiteX7" fmla="*/ 4305991 w 7688330"/>
                  <a:gd name="connsiteY7" fmla="*/ 773691 h 2981173"/>
                  <a:gd name="connsiteX8" fmla="*/ 2780715 w 7688330"/>
                  <a:gd name="connsiteY8" fmla="*/ 848351 h 2981173"/>
                  <a:gd name="connsiteX9" fmla="*/ 6182992 w 7688330"/>
                  <a:gd name="connsiteY9" fmla="*/ 1942404 h 2981173"/>
                  <a:gd name="connsiteX10" fmla="*/ 1935917 w 7688330"/>
                  <a:gd name="connsiteY10" fmla="*/ 1014675 h 2981173"/>
                  <a:gd name="connsiteX11" fmla="*/ 3812924 w 7688330"/>
                  <a:gd name="connsiteY11" fmla="*/ 2183386 h 2981173"/>
                  <a:gd name="connsiteX12" fmla="*/ 5338202 w 7688330"/>
                  <a:gd name="connsiteY12" fmla="*/ 2108726 h 2981173"/>
                  <a:gd name="connsiteX13" fmla="*/ 1935917 w 7688330"/>
                  <a:gd name="connsiteY13" fmla="*/ 1014675 h 2981173"/>
                  <a:gd name="connsiteX0" fmla="*/ 1464213 w 8913486"/>
                  <a:gd name="connsiteY0" fmla="*/ 2597656 h 2981173"/>
                  <a:gd name="connsiteX1" fmla="*/ 1298504 w 8913486"/>
                  <a:gd name="connsiteY1" fmla="*/ 464504 h 2981173"/>
                  <a:gd name="connsiteX2" fmla="*/ 6638884 w 8913486"/>
                  <a:gd name="connsiteY2" fmla="*/ 360076 h 2981173"/>
                  <a:gd name="connsiteX3" fmla="*/ 6695640 w 8913486"/>
                  <a:gd name="connsiteY3" fmla="*/ 2624962 h 2981173"/>
                  <a:gd name="connsiteX4" fmla="*/ 2990822 w 8913486"/>
                  <a:gd name="connsiteY4" fmla="*/ 2547181 h 2981173"/>
                  <a:gd name="connsiteX5" fmla="*/ 1464213 w 8913486"/>
                  <a:gd name="connsiteY5" fmla="*/ 2597656 h 2981173"/>
                  <a:gd name="connsiteX6" fmla="*/ 6182992 w 8913486"/>
                  <a:gd name="connsiteY6" fmla="*/ 1942404 h 2981173"/>
                  <a:gd name="connsiteX7" fmla="*/ 6626110 w 8913486"/>
                  <a:gd name="connsiteY7" fmla="*/ 1019350 h 2981173"/>
                  <a:gd name="connsiteX8" fmla="*/ 2780715 w 8913486"/>
                  <a:gd name="connsiteY8" fmla="*/ 848351 h 2981173"/>
                  <a:gd name="connsiteX9" fmla="*/ 6182992 w 8913486"/>
                  <a:gd name="connsiteY9" fmla="*/ 1942404 h 2981173"/>
                  <a:gd name="connsiteX10" fmla="*/ 1935917 w 8913486"/>
                  <a:gd name="connsiteY10" fmla="*/ 1014675 h 2981173"/>
                  <a:gd name="connsiteX11" fmla="*/ 3812924 w 8913486"/>
                  <a:gd name="connsiteY11" fmla="*/ 2183386 h 2981173"/>
                  <a:gd name="connsiteX12" fmla="*/ 5338202 w 8913486"/>
                  <a:gd name="connsiteY12" fmla="*/ 2108726 h 2981173"/>
                  <a:gd name="connsiteX13" fmla="*/ 1935917 w 8913486"/>
                  <a:gd name="connsiteY13" fmla="*/ 1014675 h 2981173"/>
                  <a:gd name="connsiteX0" fmla="*/ 1464213 w 8913486"/>
                  <a:gd name="connsiteY0" fmla="*/ 2597656 h 2981173"/>
                  <a:gd name="connsiteX1" fmla="*/ 1298504 w 8913486"/>
                  <a:gd name="connsiteY1" fmla="*/ 464504 h 2981173"/>
                  <a:gd name="connsiteX2" fmla="*/ 6638884 w 8913486"/>
                  <a:gd name="connsiteY2" fmla="*/ 360076 h 2981173"/>
                  <a:gd name="connsiteX3" fmla="*/ 6695640 w 8913486"/>
                  <a:gd name="connsiteY3" fmla="*/ 2624962 h 2981173"/>
                  <a:gd name="connsiteX4" fmla="*/ 2990822 w 8913486"/>
                  <a:gd name="connsiteY4" fmla="*/ 2547181 h 2981173"/>
                  <a:gd name="connsiteX5" fmla="*/ 1464213 w 8913486"/>
                  <a:gd name="connsiteY5" fmla="*/ 2597656 h 2981173"/>
                  <a:gd name="connsiteX6" fmla="*/ 6660664 w 8913486"/>
                  <a:gd name="connsiteY6" fmla="*/ 1683097 h 2981173"/>
                  <a:gd name="connsiteX7" fmla="*/ 6626110 w 8913486"/>
                  <a:gd name="connsiteY7" fmla="*/ 1019350 h 2981173"/>
                  <a:gd name="connsiteX8" fmla="*/ 2780715 w 8913486"/>
                  <a:gd name="connsiteY8" fmla="*/ 848351 h 2981173"/>
                  <a:gd name="connsiteX9" fmla="*/ 6660664 w 8913486"/>
                  <a:gd name="connsiteY9" fmla="*/ 1683097 h 2981173"/>
                  <a:gd name="connsiteX10" fmla="*/ 1935917 w 8913486"/>
                  <a:gd name="connsiteY10" fmla="*/ 1014675 h 2981173"/>
                  <a:gd name="connsiteX11" fmla="*/ 3812924 w 8913486"/>
                  <a:gd name="connsiteY11" fmla="*/ 2183386 h 2981173"/>
                  <a:gd name="connsiteX12" fmla="*/ 5338202 w 8913486"/>
                  <a:gd name="connsiteY12" fmla="*/ 2108726 h 2981173"/>
                  <a:gd name="connsiteX13" fmla="*/ 1935917 w 8913486"/>
                  <a:gd name="connsiteY13" fmla="*/ 1014675 h 2981173"/>
                  <a:gd name="connsiteX0" fmla="*/ 1464213 w 8913486"/>
                  <a:gd name="connsiteY0" fmla="*/ 2597656 h 2981173"/>
                  <a:gd name="connsiteX1" fmla="*/ 1298504 w 8913486"/>
                  <a:gd name="connsiteY1" fmla="*/ 464504 h 2981173"/>
                  <a:gd name="connsiteX2" fmla="*/ 6638884 w 8913486"/>
                  <a:gd name="connsiteY2" fmla="*/ 360076 h 2981173"/>
                  <a:gd name="connsiteX3" fmla="*/ 6695640 w 8913486"/>
                  <a:gd name="connsiteY3" fmla="*/ 2624962 h 2981173"/>
                  <a:gd name="connsiteX4" fmla="*/ 2990822 w 8913486"/>
                  <a:gd name="connsiteY4" fmla="*/ 2547181 h 2981173"/>
                  <a:gd name="connsiteX5" fmla="*/ 1464213 w 8913486"/>
                  <a:gd name="connsiteY5" fmla="*/ 2597656 h 2981173"/>
                  <a:gd name="connsiteX6" fmla="*/ 6660664 w 8913486"/>
                  <a:gd name="connsiteY6" fmla="*/ 1683097 h 2981173"/>
                  <a:gd name="connsiteX7" fmla="*/ 6626110 w 8913486"/>
                  <a:gd name="connsiteY7" fmla="*/ 1019350 h 2981173"/>
                  <a:gd name="connsiteX8" fmla="*/ 5933348 w 8913486"/>
                  <a:gd name="connsiteY8" fmla="*/ 1012124 h 2981173"/>
                  <a:gd name="connsiteX9" fmla="*/ 6660664 w 8913486"/>
                  <a:gd name="connsiteY9" fmla="*/ 1683097 h 2981173"/>
                  <a:gd name="connsiteX10" fmla="*/ 1935917 w 8913486"/>
                  <a:gd name="connsiteY10" fmla="*/ 1014675 h 2981173"/>
                  <a:gd name="connsiteX11" fmla="*/ 3812924 w 8913486"/>
                  <a:gd name="connsiteY11" fmla="*/ 2183386 h 2981173"/>
                  <a:gd name="connsiteX12" fmla="*/ 5338202 w 8913486"/>
                  <a:gd name="connsiteY12" fmla="*/ 2108726 h 2981173"/>
                  <a:gd name="connsiteX13" fmla="*/ 1935917 w 8913486"/>
                  <a:gd name="connsiteY13" fmla="*/ 1014675 h 2981173"/>
                  <a:gd name="connsiteX0" fmla="*/ 1464213 w 8913486"/>
                  <a:gd name="connsiteY0" fmla="*/ 2597656 h 2981173"/>
                  <a:gd name="connsiteX1" fmla="*/ 1298504 w 8913486"/>
                  <a:gd name="connsiteY1" fmla="*/ 464504 h 2981173"/>
                  <a:gd name="connsiteX2" fmla="*/ 6638884 w 8913486"/>
                  <a:gd name="connsiteY2" fmla="*/ 360076 h 2981173"/>
                  <a:gd name="connsiteX3" fmla="*/ 6695640 w 8913486"/>
                  <a:gd name="connsiteY3" fmla="*/ 2624962 h 2981173"/>
                  <a:gd name="connsiteX4" fmla="*/ 2990822 w 8913486"/>
                  <a:gd name="connsiteY4" fmla="*/ 2547181 h 2981173"/>
                  <a:gd name="connsiteX5" fmla="*/ 1464213 w 8913486"/>
                  <a:gd name="connsiteY5" fmla="*/ 2597656 h 2981173"/>
                  <a:gd name="connsiteX6" fmla="*/ 6660664 w 8913486"/>
                  <a:gd name="connsiteY6" fmla="*/ 1683097 h 2981173"/>
                  <a:gd name="connsiteX7" fmla="*/ 6626110 w 8913486"/>
                  <a:gd name="connsiteY7" fmla="*/ 1019350 h 2981173"/>
                  <a:gd name="connsiteX8" fmla="*/ 5933348 w 8913486"/>
                  <a:gd name="connsiteY8" fmla="*/ 1012124 h 2981173"/>
                  <a:gd name="connsiteX9" fmla="*/ 5919884 w 8913486"/>
                  <a:gd name="connsiteY9" fmla="*/ 1672858 h 2981173"/>
                  <a:gd name="connsiteX10" fmla="*/ 6660664 w 8913486"/>
                  <a:gd name="connsiteY10" fmla="*/ 1683097 h 2981173"/>
                  <a:gd name="connsiteX11" fmla="*/ 1935917 w 8913486"/>
                  <a:gd name="connsiteY11" fmla="*/ 1014675 h 2981173"/>
                  <a:gd name="connsiteX12" fmla="*/ 3812924 w 8913486"/>
                  <a:gd name="connsiteY12" fmla="*/ 2183386 h 2981173"/>
                  <a:gd name="connsiteX13" fmla="*/ 5338202 w 8913486"/>
                  <a:gd name="connsiteY13" fmla="*/ 2108726 h 2981173"/>
                  <a:gd name="connsiteX14" fmla="*/ 1935917 w 8913486"/>
                  <a:gd name="connsiteY14" fmla="*/ 1014675 h 2981173"/>
                  <a:gd name="connsiteX0" fmla="*/ 1464213 w 8913486"/>
                  <a:gd name="connsiteY0" fmla="*/ 2597656 h 2981173"/>
                  <a:gd name="connsiteX1" fmla="*/ 1298504 w 8913486"/>
                  <a:gd name="connsiteY1" fmla="*/ 464504 h 2981173"/>
                  <a:gd name="connsiteX2" fmla="*/ 6638884 w 8913486"/>
                  <a:gd name="connsiteY2" fmla="*/ 360076 h 2981173"/>
                  <a:gd name="connsiteX3" fmla="*/ 6695640 w 8913486"/>
                  <a:gd name="connsiteY3" fmla="*/ 2624962 h 2981173"/>
                  <a:gd name="connsiteX4" fmla="*/ 2990822 w 8913486"/>
                  <a:gd name="connsiteY4" fmla="*/ 2547181 h 2981173"/>
                  <a:gd name="connsiteX5" fmla="*/ 1464213 w 8913486"/>
                  <a:gd name="connsiteY5" fmla="*/ 2597656 h 2981173"/>
                  <a:gd name="connsiteX6" fmla="*/ 6660664 w 8913486"/>
                  <a:gd name="connsiteY6" fmla="*/ 1683097 h 2981173"/>
                  <a:gd name="connsiteX7" fmla="*/ 6626110 w 8913486"/>
                  <a:gd name="connsiteY7" fmla="*/ 1019350 h 2981173"/>
                  <a:gd name="connsiteX8" fmla="*/ 5933348 w 8913486"/>
                  <a:gd name="connsiteY8" fmla="*/ 1012124 h 2981173"/>
                  <a:gd name="connsiteX9" fmla="*/ 5919884 w 8913486"/>
                  <a:gd name="connsiteY9" fmla="*/ 1672858 h 2981173"/>
                  <a:gd name="connsiteX10" fmla="*/ 6660664 w 8913486"/>
                  <a:gd name="connsiteY10" fmla="*/ 1683097 h 2981173"/>
                  <a:gd name="connsiteX11" fmla="*/ 1567428 w 8913486"/>
                  <a:gd name="connsiteY11" fmla="*/ 1028323 h 2981173"/>
                  <a:gd name="connsiteX12" fmla="*/ 3812924 w 8913486"/>
                  <a:gd name="connsiteY12" fmla="*/ 2183386 h 2981173"/>
                  <a:gd name="connsiteX13" fmla="*/ 5338202 w 8913486"/>
                  <a:gd name="connsiteY13" fmla="*/ 2108726 h 2981173"/>
                  <a:gd name="connsiteX14" fmla="*/ 1567428 w 8913486"/>
                  <a:gd name="connsiteY14" fmla="*/ 1028323 h 2981173"/>
                  <a:gd name="connsiteX0" fmla="*/ 1464213 w 8913486"/>
                  <a:gd name="connsiteY0" fmla="*/ 2597656 h 2981173"/>
                  <a:gd name="connsiteX1" fmla="*/ 1298504 w 8913486"/>
                  <a:gd name="connsiteY1" fmla="*/ 464504 h 2981173"/>
                  <a:gd name="connsiteX2" fmla="*/ 6638884 w 8913486"/>
                  <a:gd name="connsiteY2" fmla="*/ 360076 h 2981173"/>
                  <a:gd name="connsiteX3" fmla="*/ 6695640 w 8913486"/>
                  <a:gd name="connsiteY3" fmla="*/ 2624962 h 2981173"/>
                  <a:gd name="connsiteX4" fmla="*/ 2990822 w 8913486"/>
                  <a:gd name="connsiteY4" fmla="*/ 2547181 h 2981173"/>
                  <a:gd name="connsiteX5" fmla="*/ 1464213 w 8913486"/>
                  <a:gd name="connsiteY5" fmla="*/ 2597656 h 2981173"/>
                  <a:gd name="connsiteX6" fmla="*/ 6660664 w 8913486"/>
                  <a:gd name="connsiteY6" fmla="*/ 1683097 h 2981173"/>
                  <a:gd name="connsiteX7" fmla="*/ 6626110 w 8913486"/>
                  <a:gd name="connsiteY7" fmla="*/ 1019350 h 2981173"/>
                  <a:gd name="connsiteX8" fmla="*/ 5933348 w 8913486"/>
                  <a:gd name="connsiteY8" fmla="*/ 1012124 h 2981173"/>
                  <a:gd name="connsiteX9" fmla="*/ 5919884 w 8913486"/>
                  <a:gd name="connsiteY9" fmla="*/ 1672858 h 2981173"/>
                  <a:gd name="connsiteX10" fmla="*/ 6660664 w 8913486"/>
                  <a:gd name="connsiteY10" fmla="*/ 1683097 h 2981173"/>
                  <a:gd name="connsiteX11" fmla="*/ 1567428 w 8913486"/>
                  <a:gd name="connsiteY11" fmla="*/ 1028323 h 2981173"/>
                  <a:gd name="connsiteX12" fmla="*/ 3812924 w 8913486"/>
                  <a:gd name="connsiteY12" fmla="*/ 2183386 h 2981173"/>
                  <a:gd name="connsiteX13" fmla="*/ 2185569 w 8913486"/>
                  <a:gd name="connsiteY13" fmla="*/ 1016905 h 2981173"/>
                  <a:gd name="connsiteX14" fmla="*/ 1567428 w 8913486"/>
                  <a:gd name="connsiteY14" fmla="*/ 1028323 h 2981173"/>
                  <a:gd name="connsiteX0" fmla="*/ 1508155 w 8957428"/>
                  <a:gd name="connsiteY0" fmla="*/ 2597656 h 2981173"/>
                  <a:gd name="connsiteX1" fmla="*/ 1342446 w 8957428"/>
                  <a:gd name="connsiteY1" fmla="*/ 464504 h 2981173"/>
                  <a:gd name="connsiteX2" fmla="*/ 6682826 w 8957428"/>
                  <a:gd name="connsiteY2" fmla="*/ 360076 h 2981173"/>
                  <a:gd name="connsiteX3" fmla="*/ 6739582 w 8957428"/>
                  <a:gd name="connsiteY3" fmla="*/ 2624962 h 2981173"/>
                  <a:gd name="connsiteX4" fmla="*/ 3034764 w 8957428"/>
                  <a:gd name="connsiteY4" fmla="*/ 2547181 h 2981173"/>
                  <a:gd name="connsiteX5" fmla="*/ 1508155 w 8957428"/>
                  <a:gd name="connsiteY5" fmla="*/ 2597656 h 2981173"/>
                  <a:gd name="connsiteX6" fmla="*/ 6704606 w 8957428"/>
                  <a:gd name="connsiteY6" fmla="*/ 1683097 h 2981173"/>
                  <a:gd name="connsiteX7" fmla="*/ 6670052 w 8957428"/>
                  <a:gd name="connsiteY7" fmla="*/ 1019350 h 2981173"/>
                  <a:gd name="connsiteX8" fmla="*/ 5977290 w 8957428"/>
                  <a:gd name="connsiteY8" fmla="*/ 1012124 h 2981173"/>
                  <a:gd name="connsiteX9" fmla="*/ 5963826 w 8957428"/>
                  <a:gd name="connsiteY9" fmla="*/ 1672858 h 2981173"/>
                  <a:gd name="connsiteX10" fmla="*/ 6704606 w 8957428"/>
                  <a:gd name="connsiteY10" fmla="*/ 1683097 h 2981173"/>
                  <a:gd name="connsiteX11" fmla="*/ 1611370 w 8957428"/>
                  <a:gd name="connsiteY11" fmla="*/ 1028323 h 2981173"/>
                  <a:gd name="connsiteX12" fmla="*/ 2287373 w 8957428"/>
                  <a:gd name="connsiteY12" fmla="*/ 1719362 h 2981173"/>
                  <a:gd name="connsiteX13" fmla="*/ 2229511 w 8957428"/>
                  <a:gd name="connsiteY13" fmla="*/ 1016905 h 2981173"/>
                  <a:gd name="connsiteX14" fmla="*/ 1611370 w 8957428"/>
                  <a:gd name="connsiteY14" fmla="*/ 1028323 h 2981173"/>
                  <a:gd name="connsiteX0" fmla="*/ 1464213 w 8913486"/>
                  <a:gd name="connsiteY0" fmla="*/ 2597656 h 2981173"/>
                  <a:gd name="connsiteX1" fmla="*/ 1298504 w 8913486"/>
                  <a:gd name="connsiteY1" fmla="*/ 464504 h 2981173"/>
                  <a:gd name="connsiteX2" fmla="*/ 6638884 w 8913486"/>
                  <a:gd name="connsiteY2" fmla="*/ 360076 h 2981173"/>
                  <a:gd name="connsiteX3" fmla="*/ 6695640 w 8913486"/>
                  <a:gd name="connsiteY3" fmla="*/ 2624962 h 2981173"/>
                  <a:gd name="connsiteX4" fmla="*/ 2990822 w 8913486"/>
                  <a:gd name="connsiteY4" fmla="*/ 2547181 h 2981173"/>
                  <a:gd name="connsiteX5" fmla="*/ 1464213 w 8913486"/>
                  <a:gd name="connsiteY5" fmla="*/ 2597656 h 2981173"/>
                  <a:gd name="connsiteX6" fmla="*/ 6660664 w 8913486"/>
                  <a:gd name="connsiteY6" fmla="*/ 1683097 h 2981173"/>
                  <a:gd name="connsiteX7" fmla="*/ 6626110 w 8913486"/>
                  <a:gd name="connsiteY7" fmla="*/ 1019350 h 2981173"/>
                  <a:gd name="connsiteX8" fmla="*/ 5933348 w 8913486"/>
                  <a:gd name="connsiteY8" fmla="*/ 1012124 h 2981173"/>
                  <a:gd name="connsiteX9" fmla="*/ 5919884 w 8913486"/>
                  <a:gd name="connsiteY9" fmla="*/ 1672858 h 2981173"/>
                  <a:gd name="connsiteX10" fmla="*/ 6660664 w 8913486"/>
                  <a:gd name="connsiteY10" fmla="*/ 1683097 h 2981173"/>
                  <a:gd name="connsiteX11" fmla="*/ 1567428 w 8913486"/>
                  <a:gd name="connsiteY11" fmla="*/ 1028323 h 2981173"/>
                  <a:gd name="connsiteX12" fmla="*/ 1498009 w 8913486"/>
                  <a:gd name="connsiteY12" fmla="*/ 1686505 h 2981173"/>
                  <a:gd name="connsiteX13" fmla="*/ 2243431 w 8913486"/>
                  <a:gd name="connsiteY13" fmla="*/ 1719362 h 2981173"/>
                  <a:gd name="connsiteX14" fmla="*/ 2185569 w 8913486"/>
                  <a:gd name="connsiteY14" fmla="*/ 1016905 h 2981173"/>
                  <a:gd name="connsiteX15" fmla="*/ 1567428 w 8913486"/>
                  <a:gd name="connsiteY15" fmla="*/ 1028323 h 2981173"/>
                  <a:gd name="connsiteX0" fmla="*/ 1464213 w 8913486"/>
                  <a:gd name="connsiteY0" fmla="*/ 2597656 h 2981173"/>
                  <a:gd name="connsiteX1" fmla="*/ 1298504 w 8913486"/>
                  <a:gd name="connsiteY1" fmla="*/ 464504 h 2981173"/>
                  <a:gd name="connsiteX2" fmla="*/ 6638884 w 8913486"/>
                  <a:gd name="connsiteY2" fmla="*/ 360076 h 2981173"/>
                  <a:gd name="connsiteX3" fmla="*/ 6695640 w 8913486"/>
                  <a:gd name="connsiteY3" fmla="*/ 2624962 h 2981173"/>
                  <a:gd name="connsiteX4" fmla="*/ 2990822 w 8913486"/>
                  <a:gd name="connsiteY4" fmla="*/ 2547181 h 2981173"/>
                  <a:gd name="connsiteX5" fmla="*/ 1464213 w 8913486"/>
                  <a:gd name="connsiteY5" fmla="*/ 2597656 h 2981173"/>
                  <a:gd name="connsiteX6" fmla="*/ 6660664 w 8913486"/>
                  <a:gd name="connsiteY6" fmla="*/ 1683097 h 2981173"/>
                  <a:gd name="connsiteX7" fmla="*/ 6626110 w 8913486"/>
                  <a:gd name="connsiteY7" fmla="*/ 1019350 h 2981173"/>
                  <a:gd name="connsiteX8" fmla="*/ 5933348 w 8913486"/>
                  <a:gd name="connsiteY8" fmla="*/ 1012124 h 2981173"/>
                  <a:gd name="connsiteX9" fmla="*/ 5919884 w 8913486"/>
                  <a:gd name="connsiteY9" fmla="*/ 1672858 h 2981173"/>
                  <a:gd name="connsiteX10" fmla="*/ 6660664 w 8913486"/>
                  <a:gd name="connsiteY10" fmla="*/ 1683097 h 2981173"/>
                  <a:gd name="connsiteX11" fmla="*/ 1567428 w 8913486"/>
                  <a:gd name="connsiteY11" fmla="*/ 1028323 h 2981173"/>
                  <a:gd name="connsiteX12" fmla="*/ 1498009 w 8913486"/>
                  <a:gd name="connsiteY12" fmla="*/ 1686505 h 2981173"/>
                  <a:gd name="connsiteX13" fmla="*/ 2243431 w 8913486"/>
                  <a:gd name="connsiteY13" fmla="*/ 1719362 h 2981173"/>
                  <a:gd name="connsiteX14" fmla="*/ 2185569 w 8913486"/>
                  <a:gd name="connsiteY14" fmla="*/ 1016905 h 2981173"/>
                  <a:gd name="connsiteX15" fmla="*/ 1567428 w 8913486"/>
                  <a:gd name="connsiteY15" fmla="*/ 1028323 h 2981173"/>
                  <a:gd name="connsiteX0" fmla="*/ 1464213 w 8913486"/>
                  <a:gd name="connsiteY0" fmla="*/ 2237580 h 2621097"/>
                  <a:gd name="connsiteX1" fmla="*/ 1298504 w 8913486"/>
                  <a:gd name="connsiteY1" fmla="*/ 104428 h 2621097"/>
                  <a:gd name="connsiteX2" fmla="*/ 6638884 w 8913486"/>
                  <a:gd name="connsiteY2" fmla="*/ 0 h 2621097"/>
                  <a:gd name="connsiteX3" fmla="*/ 6695640 w 8913486"/>
                  <a:gd name="connsiteY3" fmla="*/ 2264886 h 2621097"/>
                  <a:gd name="connsiteX4" fmla="*/ 2990822 w 8913486"/>
                  <a:gd name="connsiteY4" fmla="*/ 2187105 h 2621097"/>
                  <a:gd name="connsiteX5" fmla="*/ 1464213 w 8913486"/>
                  <a:gd name="connsiteY5" fmla="*/ 2237580 h 2621097"/>
                  <a:gd name="connsiteX6" fmla="*/ 6660664 w 8913486"/>
                  <a:gd name="connsiteY6" fmla="*/ 1323021 h 2621097"/>
                  <a:gd name="connsiteX7" fmla="*/ 6626110 w 8913486"/>
                  <a:gd name="connsiteY7" fmla="*/ 659274 h 2621097"/>
                  <a:gd name="connsiteX8" fmla="*/ 5933348 w 8913486"/>
                  <a:gd name="connsiteY8" fmla="*/ 652048 h 2621097"/>
                  <a:gd name="connsiteX9" fmla="*/ 5919884 w 8913486"/>
                  <a:gd name="connsiteY9" fmla="*/ 1312782 h 2621097"/>
                  <a:gd name="connsiteX10" fmla="*/ 6660664 w 8913486"/>
                  <a:gd name="connsiteY10" fmla="*/ 1323021 h 2621097"/>
                  <a:gd name="connsiteX11" fmla="*/ 1567428 w 8913486"/>
                  <a:gd name="connsiteY11" fmla="*/ 668247 h 2621097"/>
                  <a:gd name="connsiteX12" fmla="*/ 1498009 w 8913486"/>
                  <a:gd name="connsiteY12" fmla="*/ 1326429 h 2621097"/>
                  <a:gd name="connsiteX13" fmla="*/ 2243431 w 8913486"/>
                  <a:gd name="connsiteY13" fmla="*/ 1359286 h 2621097"/>
                  <a:gd name="connsiteX14" fmla="*/ 2185569 w 8913486"/>
                  <a:gd name="connsiteY14" fmla="*/ 656829 h 2621097"/>
                  <a:gd name="connsiteX15" fmla="*/ 1567428 w 8913486"/>
                  <a:gd name="connsiteY15" fmla="*/ 668247 h 2621097"/>
                  <a:gd name="connsiteX0" fmla="*/ 1491509 w 8940782"/>
                  <a:gd name="connsiteY0" fmla="*/ 2237580 h 2621097"/>
                  <a:gd name="connsiteX1" fmla="*/ 1298504 w 8940782"/>
                  <a:gd name="connsiteY1" fmla="*/ 118076 h 2621097"/>
                  <a:gd name="connsiteX2" fmla="*/ 6666180 w 8940782"/>
                  <a:gd name="connsiteY2" fmla="*/ 0 h 2621097"/>
                  <a:gd name="connsiteX3" fmla="*/ 6722936 w 8940782"/>
                  <a:gd name="connsiteY3" fmla="*/ 2264886 h 2621097"/>
                  <a:gd name="connsiteX4" fmla="*/ 3018118 w 8940782"/>
                  <a:gd name="connsiteY4" fmla="*/ 2187105 h 2621097"/>
                  <a:gd name="connsiteX5" fmla="*/ 1491509 w 8940782"/>
                  <a:gd name="connsiteY5" fmla="*/ 2237580 h 2621097"/>
                  <a:gd name="connsiteX6" fmla="*/ 6687960 w 8940782"/>
                  <a:gd name="connsiteY6" fmla="*/ 1323021 h 2621097"/>
                  <a:gd name="connsiteX7" fmla="*/ 6653406 w 8940782"/>
                  <a:gd name="connsiteY7" fmla="*/ 659274 h 2621097"/>
                  <a:gd name="connsiteX8" fmla="*/ 5960644 w 8940782"/>
                  <a:gd name="connsiteY8" fmla="*/ 652048 h 2621097"/>
                  <a:gd name="connsiteX9" fmla="*/ 5947180 w 8940782"/>
                  <a:gd name="connsiteY9" fmla="*/ 1312782 h 2621097"/>
                  <a:gd name="connsiteX10" fmla="*/ 6687960 w 8940782"/>
                  <a:gd name="connsiteY10" fmla="*/ 1323021 h 2621097"/>
                  <a:gd name="connsiteX11" fmla="*/ 1594724 w 8940782"/>
                  <a:gd name="connsiteY11" fmla="*/ 668247 h 2621097"/>
                  <a:gd name="connsiteX12" fmla="*/ 1525305 w 8940782"/>
                  <a:gd name="connsiteY12" fmla="*/ 1326429 h 2621097"/>
                  <a:gd name="connsiteX13" fmla="*/ 2270727 w 8940782"/>
                  <a:gd name="connsiteY13" fmla="*/ 1359286 h 2621097"/>
                  <a:gd name="connsiteX14" fmla="*/ 2212865 w 8940782"/>
                  <a:gd name="connsiteY14" fmla="*/ 656829 h 2621097"/>
                  <a:gd name="connsiteX15" fmla="*/ 1594724 w 8940782"/>
                  <a:gd name="connsiteY15" fmla="*/ 668247 h 2621097"/>
                  <a:gd name="connsiteX0" fmla="*/ 1491509 w 8940782"/>
                  <a:gd name="connsiteY0" fmla="*/ 2275927 h 2659444"/>
                  <a:gd name="connsiteX1" fmla="*/ 1298504 w 8940782"/>
                  <a:gd name="connsiteY1" fmla="*/ 156423 h 2659444"/>
                  <a:gd name="connsiteX2" fmla="*/ 1689078 w 8940782"/>
                  <a:gd name="connsiteY2" fmla="*/ 0 h 2659444"/>
                  <a:gd name="connsiteX3" fmla="*/ 6666180 w 8940782"/>
                  <a:gd name="connsiteY3" fmla="*/ 38347 h 2659444"/>
                  <a:gd name="connsiteX4" fmla="*/ 6722936 w 8940782"/>
                  <a:gd name="connsiteY4" fmla="*/ 2303233 h 2659444"/>
                  <a:gd name="connsiteX5" fmla="*/ 3018118 w 8940782"/>
                  <a:gd name="connsiteY5" fmla="*/ 2225452 h 2659444"/>
                  <a:gd name="connsiteX6" fmla="*/ 1491509 w 8940782"/>
                  <a:gd name="connsiteY6" fmla="*/ 2275927 h 2659444"/>
                  <a:gd name="connsiteX7" fmla="*/ 6687960 w 8940782"/>
                  <a:gd name="connsiteY7" fmla="*/ 1361368 h 2659444"/>
                  <a:gd name="connsiteX8" fmla="*/ 6653406 w 8940782"/>
                  <a:gd name="connsiteY8" fmla="*/ 697621 h 2659444"/>
                  <a:gd name="connsiteX9" fmla="*/ 5960644 w 8940782"/>
                  <a:gd name="connsiteY9" fmla="*/ 690395 h 2659444"/>
                  <a:gd name="connsiteX10" fmla="*/ 5947180 w 8940782"/>
                  <a:gd name="connsiteY10" fmla="*/ 1351129 h 2659444"/>
                  <a:gd name="connsiteX11" fmla="*/ 6687960 w 8940782"/>
                  <a:gd name="connsiteY11" fmla="*/ 1361368 h 2659444"/>
                  <a:gd name="connsiteX12" fmla="*/ 1594724 w 8940782"/>
                  <a:gd name="connsiteY12" fmla="*/ 706594 h 2659444"/>
                  <a:gd name="connsiteX13" fmla="*/ 1525305 w 8940782"/>
                  <a:gd name="connsiteY13" fmla="*/ 1364776 h 2659444"/>
                  <a:gd name="connsiteX14" fmla="*/ 2270727 w 8940782"/>
                  <a:gd name="connsiteY14" fmla="*/ 1397633 h 2659444"/>
                  <a:gd name="connsiteX15" fmla="*/ 2212865 w 8940782"/>
                  <a:gd name="connsiteY15" fmla="*/ 695176 h 2659444"/>
                  <a:gd name="connsiteX16" fmla="*/ 1594724 w 8940782"/>
                  <a:gd name="connsiteY16" fmla="*/ 706594 h 2659444"/>
                  <a:gd name="connsiteX0" fmla="*/ 1491509 w 8940782"/>
                  <a:gd name="connsiteY0" fmla="*/ 2237580 h 2621097"/>
                  <a:gd name="connsiteX1" fmla="*/ 1298504 w 8940782"/>
                  <a:gd name="connsiteY1" fmla="*/ 118076 h 2621097"/>
                  <a:gd name="connsiteX2" fmla="*/ 6666180 w 8940782"/>
                  <a:gd name="connsiteY2" fmla="*/ 0 h 2621097"/>
                  <a:gd name="connsiteX3" fmla="*/ 6722936 w 8940782"/>
                  <a:gd name="connsiteY3" fmla="*/ 2264886 h 2621097"/>
                  <a:gd name="connsiteX4" fmla="*/ 3018118 w 8940782"/>
                  <a:gd name="connsiteY4" fmla="*/ 2187105 h 2621097"/>
                  <a:gd name="connsiteX5" fmla="*/ 1491509 w 8940782"/>
                  <a:gd name="connsiteY5" fmla="*/ 2237580 h 2621097"/>
                  <a:gd name="connsiteX6" fmla="*/ 6687960 w 8940782"/>
                  <a:gd name="connsiteY6" fmla="*/ 1323021 h 2621097"/>
                  <a:gd name="connsiteX7" fmla="*/ 6653406 w 8940782"/>
                  <a:gd name="connsiteY7" fmla="*/ 659274 h 2621097"/>
                  <a:gd name="connsiteX8" fmla="*/ 5960644 w 8940782"/>
                  <a:gd name="connsiteY8" fmla="*/ 652048 h 2621097"/>
                  <a:gd name="connsiteX9" fmla="*/ 5947180 w 8940782"/>
                  <a:gd name="connsiteY9" fmla="*/ 1312782 h 2621097"/>
                  <a:gd name="connsiteX10" fmla="*/ 6687960 w 8940782"/>
                  <a:gd name="connsiteY10" fmla="*/ 1323021 h 2621097"/>
                  <a:gd name="connsiteX11" fmla="*/ 1594724 w 8940782"/>
                  <a:gd name="connsiteY11" fmla="*/ 668247 h 2621097"/>
                  <a:gd name="connsiteX12" fmla="*/ 1525305 w 8940782"/>
                  <a:gd name="connsiteY12" fmla="*/ 1326429 h 2621097"/>
                  <a:gd name="connsiteX13" fmla="*/ 2270727 w 8940782"/>
                  <a:gd name="connsiteY13" fmla="*/ 1359286 h 2621097"/>
                  <a:gd name="connsiteX14" fmla="*/ 2212865 w 8940782"/>
                  <a:gd name="connsiteY14" fmla="*/ 656829 h 2621097"/>
                  <a:gd name="connsiteX15" fmla="*/ 1594724 w 8940782"/>
                  <a:gd name="connsiteY15" fmla="*/ 668247 h 2621097"/>
                  <a:gd name="connsiteX0" fmla="*/ 1191258 w 8640531"/>
                  <a:gd name="connsiteY0" fmla="*/ 2255982 h 2639499"/>
                  <a:gd name="connsiteX1" fmla="*/ 1298504 w 8640531"/>
                  <a:gd name="connsiteY1" fmla="*/ 0 h 2639499"/>
                  <a:gd name="connsiteX2" fmla="*/ 6365929 w 8640531"/>
                  <a:gd name="connsiteY2" fmla="*/ 18402 h 2639499"/>
                  <a:gd name="connsiteX3" fmla="*/ 6422685 w 8640531"/>
                  <a:gd name="connsiteY3" fmla="*/ 2283288 h 2639499"/>
                  <a:gd name="connsiteX4" fmla="*/ 2717867 w 8640531"/>
                  <a:gd name="connsiteY4" fmla="*/ 2205507 h 2639499"/>
                  <a:gd name="connsiteX5" fmla="*/ 1191258 w 8640531"/>
                  <a:gd name="connsiteY5" fmla="*/ 2255982 h 2639499"/>
                  <a:gd name="connsiteX6" fmla="*/ 6387709 w 8640531"/>
                  <a:gd name="connsiteY6" fmla="*/ 1341423 h 2639499"/>
                  <a:gd name="connsiteX7" fmla="*/ 6353155 w 8640531"/>
                  <a:gd name="connsiteY7" fmla="*/ 677676 h 2639499"/>
                  <a:gd name="connsiteX8" fmla="*/ 5660393 w 8640531"/>
                  <a:gd name="connsiteY8" fmla="*/ 670450 h 2639499"/>
                  <a:gd name="connsiteX9" fmla="*/ 5646929 w 8640531"/>
                  <a:gd name="connsiteY9" fmla="*/ 1331184 h 2639499"/>
                  <a:gd name="connsiteX10" fmla="*/ 6387709 w 8640531"/>
                  <a:gd name="connsiteY10" fmla="*/ 1341423 h 2639499"/>
                  <a:gd name="connsiteX11" fmla="*/ 1294473 w 8640531"/>
                  <a:gd name="connsiteY11" fmla="*/ 686649 h 2639499"/>
                  <a:gd name="connsiteX12" fmla="*/ 1225054 w 8640531"/>
                  <a:gd name="connsiteY12" fmla="*/ 1344831 h 2639499"/>
                  <a:gd name="connsiteX13" fmla="*/ 1970476 w 8640531"/>
                  <a:gd name="connsiteY13" fmla="*/ 1377688 h 2639499"/>
                  <a:gd name="connsiteX14" fmla="*/ 1912614 w 8640531"/>
                  <a:gd name="connsiteY14" fmla="*/ 675231 h 2639499"/>
                  <a:gd name="connsiteX15" fmla="*/ 1294473 w 8640531"/>
                  <a:gd name="connsiteY15" fmla="*/ 686649 h 2639499"/>
                  <a:gd name="connsiteX0" fmla="*/ 1191258 w 8640531"/>
                  <a:gd name="connsiteY0" fmla="*/ 2264875 h 2648392"/>
                  <a:gd name="connsiteX1" fmla="*/ 1298504 w 8640531"/>
                  <a:gd name="connsiteY1" fmla="*/ 8893 h 2648392"/>
                  <a:gd name="connsiteX2" fmla="*/ 6324986 w 8640531"/>
                  <a:gd name="connsiteY2" fmla="*/ 0 h 2648392"/>
                  <a:gd name="connsiteX3" fmla="*/ 6422685 w 8640531"/>
                  <a:gd name="connsiteY3" fmla="*/ 2292181 h 2648392"/>
                  <a:gd name="connsiteX4" fmla="*/ 2717867 w 8640531"/>
                  <a:gd name="connsiteY4" fmla="*/ 2214400 h 2648392"/>
                  <a:gd name="connsiteX5" fmla="*/ 1191258 w 8640531"/>
                  <a:gd name="connsiteY5" fmla="*/ 2264875 h 2648392"/>
                  <a:gd name="connsiteX6" fmla="*/ 6387709 w 8640531"/>
                  <a:gd name="connsiteY6" fmla="*/ 1350316 h 2648392"/>
                  <a:gd name="connsiteX7" fmla="*/ 6353155 w 8640531"/>
                  <a:gd name="connsiteY7" fmla="*/ 686569 h 2648392"/>
                  <a:gd name="connsiteX8" fmla="*/ 5660393 w 8640531"/>
                  <a:gd name="connsiteY8" fmla="*/ 679343 h 2648392"/>
                  <a:gd name="connsiteX9" fmla="*/ 5646929 w 8640531"/>
                  <a:gd name="connsiteY9" fmla="*/ 1340077 h 2648392"/>
                  <a:gd name="connsiteX10" fmla="*/ 6387709 w 8640531"/>
                  <a:gd name="connsiteY10" fmla="*/ 1350316 h 2648392"/>
                  <a:gd name="connsiteX11" fmla="*/ 1294473 w 8640531"/>
                  <a:gd name="connsiteY11" fmla="*/ 695542 h 2648392"/>
                  <a:gd name="connsiteX12" fmla="*/ 1225054 w 8640531"/>
                  <a:gd name="connsiteY12" fmla="*/ 1353724 h 2648392"/>
                  <a:gd name="connsiteX13" fmla="*/ 1970476 w 8640531"/>
                  <a:gd name="connsiteY13" fmla="*/ 1386581 h 2648392"/>
                  <a:gd name="connsiteX14" fmla="*/ 1912614 w 8640531"/>
                  <a:gd name="connsiteY14" fmla="*/ 684124 h 2648392"/>
                  <a:gd name="connsiteX15" fmla="*/ 1294473 w 8640531"/>
                  <a:gd name="connsiteY15" fmla="*/ 695542 h 2648392"/>
                  <a:gd name="connsiteX0" fmla="*/ 1191258 w 8640531"/>
                  <a:gd name="connsiteY0" fmla="*/ 2264875 h 2669660"/>
                  <a:gd name="connsiteX1" fmla="*/ 1298504 w 8640531"/>
                  <a:gd name="connsiteY1" fmla="*/ 8893 h 2669660"/>
                  <a:gd name="connsiteX2" fmla="*/ 6324986 w 8640531"/>
                  <a:gd name="connsiteY2" fmla="*/ 0 h 2669660"/>
                  <a:gd name="connsiteX3" fmla="*/ 6422685 w 8640531"/>
                  <a:gd name="connsiteY3" fmla="*/ 2292181 h 2669660"/>
                  <a:gd name="connsiteX4" fmla="*/ 1191258 w 8640531"/>
                  <a:gd name="connsiteY4" fmla="*/ 2264875 h 2669660"/>
                  <a:gd name="connsiteX5" fmla="*/ 6387709 w 8640531"/>
                  <a:gd name="connsiteY5" fmla="*/ 1350316 h 2669660"/>
                  <a:gd name="connsiteX6" fmla="*/ 6353155 w 8640531"/>
                  <a:gd name="connsiteY6" fmla="*/ 686569 h 2669660"/>
                  <a:gd name="connsiteX7" fmla="*/ 5660393 w 8640531"/>
                  <a:gd name="connsiteY7" fmla="*/ 679343 h 2669660"/>
                  <a:gd name="connsiteX8" fmla="*/ 5646929 w 8640531"/>
                  <a:gd name="connsiteY8" fmla="*/ 1340077 h 2669660"/>
                  <a:gd name="connsiteX9" fmla="*/ 6387709 w 8640531"/>
                  <a:gd name="connsiteY9" fmla="*/ 1350316 h 2669660"/>
                  <a:gd name="connsiteX10" fmla="*/ 1294473 w 8640531"/>
                  <a:gd name="connsiteY10" fmla="*/ 695542 h 2669660"/>
                  <a:gd name="connsiteX11" fmla="*/ 1225054 w 8640531"/>
                  <a:gd name="connsiteY11" fmla="*/ 1353724 h 2669660"/>
                  <a:gd name="connsiteX12" fmla="*/ 1970476 w 8640531"/>
                  <a:gd name="connsiteY12" fmla="*/ 1386581 h 2669660"/>
                  <a:gd name="connsiteX13" fmla="*/ 1912614 w 8640531"/>
                  <a:gd name="connsiteY13" fmla="*/ 684124 h 2669660"/>
                  <a:gd name="connsiteX14" fmla="*/ 1294473 w 8640531"/>
                  <a:gd name="connsiteY14" fmla="*/ 695542 h 2669660"/>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86581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86581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86581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701336 w 8640531"/>
                  <a:gd name="connsiteY7" fmla="*/ 720287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701336 w 8640531"/>
                  <a:gd name="connsiteY7" fmla="*/ 720287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87709 w 7583430"/>
                  <a:gd name="connsiteY5" fmla="*/ 1350316 h 2292181"/>
                  <a:gd name="connsiteX6" fmla="*/ 6353155 w 7583430"/>
                  <a:gd name="connsiteY6" fmla="*/ 686569 h 2292181"/>
                  <a:gd name="connsiteX7" fmla="*/ 5701336 w 7583430"/>
                  <a:gd name="connsiteY7" fmla="*/ 720287 h 2292181"/>
                  <a:gd name="connsiteX8" fmla="*/ 5646929 w 7583430"/>
                  <a:gd name="connsiteY8" fmla="*/ 1340077 h 2292181"/>
                  <a:gd name="connsiteX9" fmla="*/ 6387709 w 7583430"/>
                  <a:gd name="connsiteY9" fmla="*/ 1350316 h 2292181"/>
                  <a:gd name="connsiteX10" fmla="*/ 1294473 w 7583430"/>
                  <a:gd name="connsiteY10" fmla="*/ 695542 h 2292181"/>
                  <a:gd name="connsiteX11" fmla="*/ 1225054 w 7583430"/>
                  <a:gd name="connsiteY11" fmla="*/ 1353724 h 2292181"/>
                  <a:gd name="connsiteX12" fmla="*/ 1970476 w 7583430"/>
                  <a:gd name="connsiteY12" fmla="*/ 1372933 h 2292181"/>
                  <a:gd name="connsiteX13" fmla="*/ 1912614 w 7583430"/>
                  <a:gd name="connsiteY13" fmla="*/ 684124 h 2292181"/>
                  <a:gd name="connsiteX14" fmla="*/ 1294473 w 7583430"/>
                  <a:gd name="connsiteY14" fmla="*/ 695542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87709 w 7583430"/>
                  <a:gd name="connsiteY5" fmla="*/ 1350316 h 2292181"/>
                  <a:gd name="connsiteX6" fmla="*/ 6353155 w 7583430"/>
                  <a:gd name="connsiteY6" fmla="*/ 686569 h 2292181"/>
                  <a:gd name="connsiteX7" fmla="*/ 5735497 w 7583430"/>
                  <a:gd name="connsiteY7" fmla="*/ 696951 h 2292181"/>
                  <a:gd name="connsiteX8" fmla="*/ 5646929 w 7583430"/>
                  <a:gd name="connsiteY8" fmla="*/ 1340077 h 2292181"/>
                  <a:gd name="connsiteX9" fmla="*/ 6387709 w 7583430"/>
                  <a:gd name="connsiteY9" fmla="*/ 1350316 h 2292181"/>
                  <a:gd name="connsiteX10" fmla="*/ 1294473 w 7583430"/>
                  <a:gd name="connsiteY10" fmla="*/ 695542 h 2292181"/>
                  <a:gd name="connsiteX11" fmla="*/ 1225054 w 7583430"/>
                  <a:gd name="connsiteY11" fmla="*/ 1353724 h 2292181"/>
                  <a:gd name="connsiteX12" fmla="*/ 1970476 w 7583430"/>
                  <a:gd name="connsiteY12" fmla="*/ 1372933 h 2292181"/>
                  <a:gd name="connsiteX13" fmla="*/ 1912614 w 7583430"/>
                  <a:gd name="connsiteY13" fmla="*/ 684124 h 2292181"/>
                  <a:gd name="connsiteX14" fmla="*/ 1294473 w 7583430"/>
                  <a:gd name="connsiteY14" fmla="*/ 695542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87709 w 7583430"/>
                  <a:gd name="connsiteY5" fmla="*/ 1350316 h 2292181"/>
                  <a:gd name="connsiteX6" fmla="*/ 6376847 w 7583430"/>
                  <a:gd name="connsiteY6" fmla="*/ 696951 h 2292181"/>
                  <a:gd name="connsiteX7" fmla="*/ 5735497 w 7583430"/>
                  <a:gd name="connsiteY7" fmla="*/ 696951 h 2292181"/>
                  <a:gd name="connsiteX8" fmla="*/ 5646929 w 7583430"/>
                  <a:gd name="connsiteY8" fmla="*/ 1340077 h 2292181"/>
                  <a:gd name="connsiteX9" fmla="*/ 6387709 w 7583430"/>
                  <a:gd name="connsiteY9" fmla="*/ 1350316 h 2292181"/>
                  <a:gd name="connsiteX10" fmla="*/ 1294473 w 7583430"/>
                  <a:gd name="connsiteY10" fmla="*/ 695542 h 2292181"/>
                  <a:gd name="connsiteX11" fmla="*/ 1225054 w 7583430"/>
                  <a:gd name="connsiteY11" fmla="*/ 1353724 h 2292181"/>
                  <a:gd name="connsiteX12" fmla="*/ 1970476 w 7583430"/>
                  <a:gd name="connsiteY12" fmla="*/ 1372933 h 2292181"/>
                  <a:gd name="connsiteX13" fmla="*/ 1912614 w 7583430"/>
                  <a:gd name="connsiteY13" fmla="*/ 684124 h 2292181"/>
                  <a:gd name="connsiteX14" fmla="*/ 1294473 w 7583430"/>
                  <a:gd name="connsiteY14" fmla="*/ 695542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76847 w 7583430"/>
                  <a:gd name="connsiteY5" fmla="*/ 1389101 h 2292181"/>
                  <a:gd name="connsiteX6" fmla="*/ 6376847 w 7583430"/>
                  <a:gd name="connsiteY6" fmla="*/ 696951 h 2292181"/>
                  <a:gd name="connsiteX7" fmla="*/ 5735497 w 7583430"/>
                  <a:gd name="connsiteY7" fmla="*/ 696951 h 2292181"/>
                  <a:gd name="connsiteX8" fmla="*/ 5646929 w 7583430"/>
                  <a:gd name="connsiteY8" fmla="*/ 1340077 h 2292181"/>
                  <a:gd name="connsiteX9" fmla="*/ 6376847 w 7583430"/>
                  <a:gd name="connsiteY9" fmla="*/ 1389101 h 2292181"/>
                  <a:gd name="connsiteX10" fmla="*/ 1294473 w 7583430"/>
                  <a:gd name="connsiteY10" fmla="*/ 695542 h 2292181"/>
                  <a:gd name="connsiteX11" fmla="*/ 1225054 w 7583430"/>
                  <a:gd name="connsiteY11" fmla="*/ 1353724 h 2292181"/>
                  <a:gd name="connsiteX12" fmla="*/ 1970476 w 7583430"/>
                  <a:gd name="connsiteY12" fmla="*/ 1372933 h 2292181"/>
                  <a:gd name="connsiteX13" fmla="*/ 1912614 w 7583430"/>
                  <a:gd name="connsiteY13" fmla="*/ 684124 h 2292181"/>
                  <a:gd name="connsiteX14" fmla="*/ 1294473 w 7583430"/>
                  <a:gd name="connsiteY14" fmla="*/ 695542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76847 w 7583430"/>
                  <a:gd name="connsiteY5" fmla="*/ 1389101 h 2292181"/>
                  <a:gd name="connsiteX6" fmla="*/ 6376847 w 7583430"/>
                  <a:gd name="connsiteY6" fmla="*/ 696951 h 2292181"/>
                  <a:gd name="connsiteX7" fmla="*/ 5735497 w 7583430"/>
                  <a:gd name="connsiteY7" fmla="*/ 696951 h 2292181"/>
                  <a:gd name="connsiteX8" fmla="*/ 5735497 w 7583430"/>
                  <a:gd name="connsiteY8" fmla="*/ 1389101 h 2292181"/>
                  <a:gd name="connsiteX9" fmla="*/ 6376847 w 7583430"/>
                  <a:gd name="connsiteY9" fmla="*/ 1389101 h 2292181"/>
                  <a:gd name="connsiteX10" fmla="*/ 1294473 w 7583430"/>
                  <a:gd name="connsiteY10" fmla="*/ 695542 h 2292181"/>
                  <a:gd name="connsiteX11" fmla="*/ 1225054 w 7583430"/>
                  <a:gd name="connsiteY11" fmla="*/ 1353724 h 2292181"/>
                  <a:gd name="connsiteX12" fmla="*/ 1970476 w 7583430"/>
                  <a:gd name="connsiteY12" fmla="*/ 1372933 h 2292181"/>
                  <a:gd name="connsiteX13" fmla="*/ 1912614 w 7583430"/>
                  <a:gd name="connsiteY13" fmla="*/ 684124 h 2292181"/>
                  <a:gd name="connsiteX14" fmla="*/ 1294473 w 7583430"/>
                  <a:gd name="connsiteY14" fmla="*/ 695542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76847 w 7583430"/>
                  <a:gd name="connsiteY5" fmla="*/ 1389101 h 2292181"/>
                  <a:gd name="connsiteX6" fmla="*/ 6376847 w 7583430"/>
                  <a:gd name="connsiteY6" fmla="*/ 696951 h 2292181"/>
                  <a:gd name="connsiteX7" fmla="*/ 5735497 w 7583430"/>
                  <a:gd name="connsiteY7" fmla="*/ 696951 h 2292181"/>
                  <a:gd name="connsiteX8" fmla="*/ 5735497 w 7583430"/>
                  <a:gd name="connsiteY8" fmla="*/ 1389101 h 2292181"/>
                  <a:gd name="connsiteX9" fmla="*/ 6376847 w 7583430"/>
                  <a:gd name="connsiteY9" fmla="*/ 1389101 h 2292181"/>
                  <a:gd name="connsiteX10" fmla="*/ 1294473 w 7583430"/>
                  <a:gd name="connsiteY10" fmla="*/ 695542 h 2292181"/>
                  <a:gd name="connsiteX11" fmla="*/ 1225054 w 7583430"/>
                  <a:gd name="connsiteY11" fmla="*/ 1353724 h 2292181"/>
                  <a:gd name="connsiteX12" fmla="*/ 1970476 w 7583430"/>
                  <a:gd name="connsiteY12" fmla="*/ 1372933 h 2292181"/>
                  <a:gd name="connsiteX13" fmla="*/ 1968360 w 7583430"/>
                  <a:gd name="connsiteY13" fmla="*/ 696951 h 2292181"/>
                  <a:gd name="connsiteX14" fmla="*/ 1294473 w 7583430"/>
                  <a:gd name="connsiteY14" fmla="*/ 695542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76847 w 7583430"/>
                  <a:gd name="connsiteY5" fmla="*/ 1389101 h 2292181"/>
                  <a:gd name="connsiteX6" fmla="*/ 6376847 w 7583430"/>
                  <a:gd name="connsiteY6" fmla="*/ 696951 h 2292181"/>
                  <a:gd name="connsiteX7" fmla="*/ 5735497 w 7583430"/>
                  <a:gd name="connsiteY7" fmla="*/ 696951 h 2292181"/>
                  <a:gd name="connsiteX8" fmla="*/ 5735497 w 7583430"/>
                  <a:gd name="connsiteY8" fmla="*/ 1389101 h 2292181"/>
                  <a:gd name="connsiteX9" fmla="*/ 6376847 w 7583430"/>
                  <a:gd name="connsiteY9" fmla="*/ 1389101 h 2292181"/>
                  <a:gd name="connsiteX10" fmla="*/ 1294473 w 7583430"/>
                  <a:gd name="connsiteY10" fmla="*/ 695542 h 2292181"/>
                  <a:gd name="connsiteX11" fmla="*/ 1225054 w 7583430"/>
                  <a:gd name="connsiteY11" fmla="*/ 1353724 h 2292181"/>
                  <a:gd name="connsiteX12" fmla="*/ 1968360 w 7583430"/>
                  <a:gd name="connsiteY12" fmla="*/ 1389101 h 2292181"/>
                  <a:gd name="connsiteX13" fmla="*/ 1968360 w 7583430"/>
                  <a:gd name="connsiteY13" fmla="*/ 696951 h 2292181"/>
                  <a:gd name="connsiteX14" fmla="*/ 1294473 w 7583430"/>
                  <a:gd name="connsiteY14" fmla="*/ 695542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76847 w 7583430"/>
                  <a:gd name="connsiteY5" fmla="*/ 1389101 h 2292181"/>
                  <a:gd name="connsiteX6" fmla="*/ 6376847 w 7583430"/>
                  <a:gd name="connsiteY6" fmla="*/ 696951 h 2292181"/>
                  <a:gd name="connsiteX7" fmla="*/ 5735497 w 7583430"/>
                  <a:gd name="connsiteY7" fmla="*/ 696951 h 2292181"/>
                  <a:gd name="connsiteX8" fmla="*/ 5735497 w 7583430"/>
                  <a:gd name="connsiteY8" fmla="*/ 1389101 h 2292181"/>
                  <a:gd name="connsiteX9" fmla="*/ 6376847 w 7583430"/>
                  <a:gd name="connsiteY9" fmla="*/ 1389101 h 2292181"/>
                  <a:gd name="connsiteX10" fmla="*/ 1294473 w 7583430"/>
                  <a:gd name="connsiteY10" fmla="*/ 695542 h 2292181"/>
                  <a:gd name="connsiteX11" fmla="*/ 1274622 w 7583430"/>
                  <a:gd name="connsiteY11" fmla="*/ 1389101 h 2292181"/>
                  <a:gd name="connsiteX12" fmla="*/ 1968360 w 7583430"/>
                  <a:gd name="connsiteY12" fmla="*/ 1389101 h 2292181"/>
                  <a:gd name="connsiteX13" fmla="*/ 1968360 w 7583430"/>
                  <a:gd name="connsiteY13" fmla="*/ 696951 h 2292181"/>
                  <a:gd name="connsiteX14" fmla="*/ 1294473 w 7583430"/>
                  <a:gd name="connsiteY14" fmla="*/ 695542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76847 w 7583430"/>
                  <a:gd name="connsiteY5" fmla="*/ 1389101 h 2292181"/>
                  <a:gd name="connsiteX6" fmla="*/ 6376847 w 7583430"/>
                  <a:gd name="connsiteY6" fmla="*/ 696951 h 2292181"/>
                  <a:gd name="connsiteX7" fmla="*/ 5735497 w 7583430"/>
                  <a:gd name="connsiteY7" fmla="*/ 696951 h 2292181"/>
                  <a:gd name="connsiteX8" fmla="*/ 5735497 w 7583430"/>
                  <a:gd name="connsiteY8" fmla="*/ 1389101 h 2292181"/>
                  <a:gd name="connsiteX9" fmla="*/ 6376847 w 7583430"/>
                  <a:gd name="connsiteY9" fmla="*/ 1389101 h 2292181"/>
                  <a:gd name="connsiteX10" fmla="*/ 1274622 w 7583430"/>
                  <a:gd name="connsiteY10" fmla="*/ 696951 h 2292181"/>
                  <a:gd name="connsiteX11" fmla="*/ 1274622 w 7583430"/>
                  <a:gd name="connsiteY11" fmla="*/ 1389101 h 2292181"/>
                  <a:gd name="connsiteX12" fmla="*/ 1968360 w 7583430"/>
                  <a:gd name="connsiteY12" fmla="*/ 1389101 h 2292181"/>
                  <a:gd name="connsiteX13" fmla="*/ 1968360 w 7583430"/>
                  <a:gd name="connsiteY13" fmla="*/ 696951 h 2292181"/>
                  <a:gd name="connsiteX14" fmla="*/ 1274622 w 7583430"/>
                  <a:gd name="connsiteY14" fmla="*/ 696951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76847 w 7583430"/>
                  <a:gd name="connsiteY5" fmla="*/ 1389101 h 2292181"/>
                  <a:gd name="connsiteX6" fmla="*/ 6376847 w 7583430"/>
                  <a:gd name="connsiteY6" fmla="*/ 696951 h 2292181"/>
                  <a:gd name="connsiteX7" fmla="*/ 5735497 w 7583430"/>
                  <a:gd name="connsiteY7" fmla="*/ 696951 h 2292181"/>
                  <a:gd name="connsiteX8" fmla="*/ 5735497 w 7583430"/>
                  <a:gd name="connsiteY8" fmla="*/ 1389101 h 2292181"/>
                  <a:gd name="connsiteX9" fmla="*/ 6376847 w 7583430"/>
                  <a:gd name="connsiteY9" fmla="*/ 1389101 h 2292181"/>
                  <a:gd name="connsiteX10" fmla="*/ 1274622 w 7583430"/>
                  <a:gd name="connsiteY10" fmla="*/ 696951 h 2292181"/>
                  <a:gd name="connsiteX11" fmla="*/ 1274622 w 7583430"/>
                  <a:gd name="connsiteY11" fmla="*/ 1389101 h 2292181"/>
                  <a:gd name="connsiteX12" fmla="*/ 1968360 w 7583430"/>
                  <a:gd name="connsiteY12" fmla="*/ 1389101 h 2292181"/>
                  <a:gd name="connsiteX13" fmla="*/ 1968360 w 7583430"/>
                  <a:gd name="connsiteY13" fmla="*/ 696951 h 2292181"/>
                  <a:gd name="connsiteX14" fmla="*/ 1274622 w 7583430"/>
                  <a:gd name="connsiteY14" fmla="*/ 696951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76847 w 7583430"/>
                  <a:gd name="connsiteY5" fmla="*/ 1389101 h 2292181"/>
                  <a:gd name="connsiteX6" fmla="*/ 6376847 w 7583430"/>
                  <a:gd name="connsiteY6" fmla="*/ 696951 h 2292181"/>
                  <a:gd name="connsiteX7" fmla="*/ 5735497 w 7583430"/>
                  <a:gd name="connsiteY7" fmla="*/ 696951 h 2292181"/>
                  <a:gd name="connsiteX8" fmla="*/ 5735497 w 7583430"/>
                  <a:gd name="connsiteY8" fmla="*/ 1389101 h 2292181"/>
                  <a:gd name="connsiteX9" fmla="*/ 6376847 w 7583430"/>
                  <a:gd name="connsiteY9" fmla="*/ 1389101 h 2292181"/>
                  <a:gd name="connsiteX10" fmla="*/ 1274622 w 7583430"/>
                  <a:gd name="connsiteY10" fmla="*/ 696951 h 2292181"/>
                  <a:gd name="connsiteX11" fmla="*/ 1274622 w 7583430"/>
                  <a:gd name="connsiteY11" fmla="*/ 1389101 h 2292181"/>
                  <a:gd name="connsiteX12" fmla="*/ 1968360 w 7583430"/>
                  <a:gd name="connsiteY12" fmla="*/ 1389101 h 2292181"/>
                  <a:gd name="connsiteX13" fmla="*/ 1968360 w 7583430"/>
                  <a:gd name="connsiteY13" fmla="*/ 696951 h 2292181"/>
                  <a:gd name="connsiteX14" fmla="*/ 1274622 w 7583430"/>
                  <a:gd name="connsiteY14" fmla="*/ 696951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76847 w 7583430"/>
                  <a:gd name="connsiteY5" fmla="*/ 1389101 h 2292181"/>
                  <a:gd name="connsiteX6" fmla="*/ 6376847 w 7583430"/>
                  <a:gd name="connsiteY6" fmla="*/ 696951 h 2292181"/>
                  <a:gd name="connsiteX7" fmla="*/ 5735497 w 7583430"/>
                  <a:gd name="connsiteY7" fmla="*/ 696951 h 2292181"/>
                  <a:gd name="connsiteX8" fmla="*/ 5735497 w 7583430"/>
                  <a:gd name="connsiteY8" fmla="*/ 1389101 h 2292181"/>
                  <a:gd name="connsiteX9" fmla="*/ 6376847 w 7583430"/>
                  <a:gd name="connsiteY9" fmla="*/ 1389101 h 2292181"/>
                  <a:gd name="connsiteX10" fmla="*/ 1274622 w 7583430"/>
                  <a:gd name="connsiteY10" fmla="*/ 696951 h 2292181"/>
                  <a:gd name="connsiteX11" fmla="*/ 1274622 w 7583430"/>
                  <a:gd name="connsiteY11" fmla="*/ 1389101 h 2292181"/>
                  <a:gd name="connsiteX12" fmla="*/ 1968360 w 7583430"/>
                  <a:gd name="connsiteY12" fmla="*/ 1389101 h 2292181"/>
                  <a:gd name="connsiteX13" fmla="*/ 1968360 w 7583430"/>
                  <a:gd name="connsiteY13" fmla="*/ 696951 h 2292181"/>
                  <a:gd name="connsiteX14" fmla="*/ 1274622 w 7583430"/>
                  <a:gd name="connsiteY14" fmla="*/ 696951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76847 w 7583430"/>
                  <a:gd name="connsiteY5" fmla="*/ 1389101 h 2292181"/>
                  <a:gd name="connsiteX6" fmla="*/ 6376847 w 7583430"/>
                  <a:gd name="connsiteY6" fmla="*/ 696951 h 2292181"/>
                  <a:gd name="connsiteX7" fmla="*/ 5735497 w 7583430"/>
                  <a:gd name="connsiteY7" fmla="*/ 696951 h 2292181"/>
                  <a:gd name="connsiteX8" fmla="*/ 5735497 w 7583430"/>
                  <a:gd name="connsiteY8" fmla="*/ 1389101 h 2292181"/>
                  <a:gd name="connsiteX9" fmla="*/ 6376847 w 7583430"/>
                  <a:gd name="connsiteY9" fmla="*/ 1389101 h 2292181"/>
                  <a:gd name="connsiteX10" fmla="*/ 1274622 w 7583430"/>
                  <a:gd name="connsiteY10" fmla="*/ 696951 h 2292181"/>
                  <a:gd name="connsiteX11" fmla="*/ 1274622 w 7583430"/>
                  <a:gd name="connsiteY11" fmla="*/ 1389101 h 2292181"/>
                  <a:gd name="connsiteX12" fmla="*/ 1968360 w 7583430"/>
                  <a:gd name="connsiteY12" fmla="*/ 1389101 h 2292181"/>
                  <a:gd name="connsiteX13" fmla="*/ 1968360 w 7583430"/>
                  <a:gd name="connsiteY13" fmla="*/ 696951 h 2292181"/>
                  <a:gd name="connsiteX14" fmla="*/ 1274622 w 7583430"/>
                  <a:gd name="connsiteY14" fmla="*/ 696951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76847 w 7583430"/>
                  <a:gd name="connsiteY5" fmla="*/ 1389101 h 2292181"/>
                  <a:gd name="connsiteX6" fmla="*/ 6376847 w 7583430"/>
                  <a:gd name="connsiteY6" fmla="*/ 696951 h 2292181"/>
                  <a:gd name="connsiteX7" fmla="*/ 5735497 w 7583430"/>
                  <a:gd name="connsiteY7" fmla="*/ 696951 h 2292181"/>
                  <a:gd name="connsiteX8" fmla="*/ 5735497 w 7583430"/>
                  <a:gd name="connsiteY8" fmla="*/ 1389101 h 2292181"/>
                  <a:gd name="connsiteX9" fmla="*/ 6376847 w 7583430"/>
                  <a:gd name="connsiteY9" fmla="*/ 1389101 h 2292181"/>
                  <a:gd name="connsiteX10" fmla="*/ 1274622 w 7583430"/>
                  <a:gd name="connsiteY10" fmla="*/ 696951 h 2292181"/>
                  <a:gd name="connsiteX11" fmla="*/ 1274622 w 7583430"/>
                  <a:gd name="connsiteY11" fmla="*/ 1389101 h 2292181"/>
                  <a:gd name="connsiteX12" fmla="*/ 1968360 w 7583430"/>
                  <a:gd name="connsiteY12" fmla="*/ 1389101 h 2292181"/>
                  <a:gd name="connsiteX13" fmla="*/ 1968360 w 7583430"/>
                  <a:gd name="connsiteY13" fmla="*/ 696951 h 2292181"/>
                  <a:gd name="connsiteX14" fmla="*/ 1274622 w 7583430"/>
                  <a:gd name="connsiteY14" fmla="*/ 696951 h 2292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83430" h="2292181">
                    <a:moveTo>
                      <a:pt x="1191258" y="2264875"/>
                    </a:moveTo>
                    <a:cubicBezTo>
                      <a:pt x="276863" y="2288675"/>
                      <a:pt x="0" y="167755"/>
                      <a:pt x="1298504" y="8893"/>
                    </a:cubicBezTo>
                    <a:lnTo>
                      <a:pt x="6324986" y="0"/>
                    </a:lnTo>
                    <a:cubicBezTo>
                      <a:pt x="7306395" y="114416"/>
                      <a:pt x="7583430" y="1898094"/>
                      <a:pt x="6422685" y="2292181"/>
                    </a:cubicBezTo>
                    <a:lnTo>
                      <a:pt x="1191258" y="2264875"/>
                    </a:lnTo>
                    <a:close/>
                    <a:moveTo>
                      <a:pt x="6376847" y="1389101"/>
                    </a:moveTo>
                    <a:cubicBezTo>
                      <a:pt x="6694830" y="1313227"/>
                      <a:pt x="6712593" y="747603"/>
                      <a:pt x="6376847" y="696951"/>
                    </a:cubicBezTo>
                    <a:lnTo>
                      <a:pt x="5735497" y="696951"/>
                    </a:lnTo>
                    <a:cubicBezTo>
                      <a:pt x="5539941" y="714162"/>
                      <a:pt x="5207722" y="1092537"/>
                      <a:pt x="5735497" y="1389101"/>
                    </a:cubicBezTo>
                    <a:lnTo>
                      <a:pt x="6376847" y="1389101"/>
                    </a:lnTo>
                    <a:close/>
                    <a:moveTo>
                      <a:pt x="1274622" y="696951"/>
                    </a:moveTo>
                    <a:cubicBezTo>
                      <a:pt x="983429" y="691433"/>
                      <a:pt x="848056" y="1342167"/>
                      <a:pt x="1274622" y="1389101"/>
                    </a:cubicBezTo>
                    <a:lnTo>
                      <a:pt x="1968360" y="1389101"/>
                    </a:lnTo>
                    <a:cubicBezTo>
                      <a:pt x="2371734" y="1277923"/>
                      <a:pt x="2275816" y="689150"/>
                      <a:pt x="1968360" y="696951"/>
                    </a:cubicBezTo>
                    <a:lnTo>
                      <a:pt x="1274622" y="696951"/>
                    </a:lnTo>
                    <a:close/>
                  </a:path>
                </a:pathLst>
              </a:custGeom>
              <a:grpFill/>
              <a:ln w="6350" algn="ctr">
                <a:noFill/>
                <a:miter lim="800000"/>
                <a:headEnd/>
                <a:tailEnd/>
              </a:ln>
            </p:spPr>
            <p:txBody>
              <a:bodyPr lIns="36000" tIns="72009" rIns="360000" bIns="72009" anchor="ctr"/>
              <a:lstStyle/>
              <a:p>
                <a:pPr algn="ctr" fontAlgn="auto">
                  <a:spcBef>
                    <a:spcPts val="0"/>
                  </a:spcBef>
                  <a:spcAft>
                    <a:spcPts val="0"/>
                  </a:spcAft>
                  <a:tabLst>
                    <a:tab pos="812800" algn="l"/>
                  </a:tabLst>
                  <a:defRPr/>
                </a:pPr>
                <a:endParaRPr lang="en-GB" sz="1000" b="1" u="none" kern="0">
                  <a:solidFill>
                    <a:schemeClr val="bg1"/>
                  </a:solidFill>
                  <a:latin typeface="+mn-lt"/>
                  <a:ea typeface="ヒラギノ角ゴ ProN W3"/>
                  <a:cs typeface="ヒラギノ角ゴ ProN W3"/>
                </a:endParaRPr>
              </a:p>
            </p:txBody>
          </p:sp>
          <p:sp>
            <p:nvSpPr>
              <p:cNvPr id="204" name="Round Same Side Corner Rectangle 203"/>
              <p:cNvSpPr/>
              <p:nvPr/>
            </p:nvSpPr>
            <p:spPr>
              <a:xfrm rot="10800000">
                <a:off x="1780534" y="5213444"/>
                <a:ext cx="1099143" cy="900752"/>
              </a:xfrm>
              <a:prstGeom prst="round2SameRect">
                <a:avLst>
                  <a:gd name="adj1" fmla="val 39618"/>
                  <a:gd name="adj2" fmla="val 0"/>
                </a:avLst>
              </a:prstGeom>
              <a:grpFill/>
              <a:ln w="6350" algn="ctr">
                <a:noFill/>
                <a:miter lim="800000"/>
                <a:headEnd/>
                <a:tailEnd/>
              </a:ln>
            </p:spPr>
            <p:txBody>
              <a:bodyPr lIns="36000" tIns="72009" rIns="360000" bIns="72009" anchor="ctr"/>
              <a:lstStyle/>
              <a:p>
                <a:pPr algn="ctr" fontAlgn="auto">
                  <a:spcBef>
                    <a:spcPts val="0"/>
                  </a:spcBef>
                  <a:spcAft>
                    <a:spcPts val="0"/>
                  </a:spcAft>
                  <a:tabLst>
                    <a:tab pos="812800" algn="l"/>
                  </a:tabLst>
                  <a:defRPr/>
                </a:pPr>
                <a:endParaRPr lang="en-GB" sz="1000" b="1" u="none" kern="0">
                  <a:solidFill>
                    <a:schemeClr val="bg1"/>
                  </a:solidFill>
                  <a:latin typeface="+mn-lt"/>
                  <a:ea typeface="ヒラギノ角ゴ ProN W3"/>
                  <a:cs typeface="ヒラギノ角ゴ ProN W3"/>
                </a:endParaRPr>
              </a:p>
            </p:txBody>
          </p:sp>
          <p:sp>
            <p:nvSpPr>
              <p:cNvPr id="205" name="Round Same Side Corner Rectangle 204"/>
              <p:cNvSpPr/>
              <p:nvPr/>
            </p:nvSpPr>
            <p:spPr>
              <a:xfrm rot="10800000">
                <a:off x="6239300" y="5229366"/>
                <a:ext cx="1099143" cy="900752"/>
              </a:xfrm>
              <a:prstGeom prst="round2SameRect">
                <a:avLst>
                  <a:gd name="adj1" fmla="val 39618"/>
                  <a:gd name="adj2" fmla="val 0"/>
                </a:avLst>
              </a:prstGeom>
              <a:grpFill/>
              <a:ln w="6350" algn="ctr">
                <a:noFill/>
                <a:miter lim="800000"/>
                <a:headEnd/>
                <a:tailEnd/>
              </a:ln>
            </p:spPr>
            <p:txBody>
              <a:bodyPr lIns="36000" tIns="72009" rIns="360000" bIns="72009" anchor="ctr"/>
              <a:lstStyle/>
              <a:p>
                <a:pPr algn="ctr" fontAlgn="auto">
                  <a:spcBef>
                    <a:spcPts val="0"/>
                  </a:spcBef>
                  <a:spcAft>
                    <a:spcPts val="0"/>
                  </a:spcAft>
                  <a:tabLst>
                    <a:tab pos="812800" algn="l"/>
                  </a:tabLst>
                  <a:defRPr/>
                </a:pPr>
                <a:endParaRPr lang="en-GB" sz="1000" b="1" u="none" kern="0">
                  <a:solidFill>
                    <a:schemeClr val="bg1"/>
                  </a:solidFill>
                  <a:latin typeface="+mn-lt"/>
                  <a:ea typeface="ヒラギノ角ゴ ProN W3"/>
                  <a:cs typeface="ヒラギノ角ゴ ProN W3"/>
                </a:endParaRPr>
              </a:p>
            </p:txBody>
          </p:sp>
        </p:grpSp>
        <p:sp>
          <p:nvSpPr>
            <p:cNvPr id="201" name="Freeform 200"/>
            <p:cNvSpPr/>
            <p:nvPr/>
          </p:nvSpPr>
          <p:spPr>
            <a:xfrm>
              <a:off x="-298341" y="-191282"/>
              <a:ext cx="2687491" cy="3848882"/>
            </a:xfrm>
            <a:custGeom>
              <a:avLst/>
              <a:gdLst>
                <a:gd name="connsiteX0" fmla="*/ 70338 w 1181686"/>
                <a:gd name="connsiteY0" fmla="*/ 3756074 h 3756074"/>
                <a:gd name="connsiteX1" fmla="*/ 126609 w 1181686"/>
                <a:gd name="connsiteY1" fmla="*/ 1252025 h 3756074"/>
                <a:gd name="connsiteX2" fmla="*/ 0 w 1181686"/>
                <a:gd name="connsiteY2" fmla="*/ 844062 h 3756074"/>
                <a:gd name="connsiteX3" fmla="*/ 323557 w 1181686"/>
                <a:gd name="connsiteY3" fmla="*/ 379828 h 3756074"/>
                <a:gd name="connsiteX4" fmla="*/ 492369 w 1181686"/>
                <a:gd name="connsiteY4" fmla="*/ 520505 h 3756074"/>
                <a:gd name="connsiteX5" fmla="*/ 829994 w 1181686"/>
                <a:gd name="connsiteY5" fmla="*/ 0 h 3756074"/>
                <a:gd name="connsiteX6" fmla="*/ 956603 w 1181686"/>
                <a:gd name="connsiteY6" fmla="*/ 140677 h 3756074"/>
                <a:gd name="connsiteX7" fmla="*/ 633046 w 1181686"/>
                <a:gd name="connsiteY7" fmla="*/ 576776 h 3756074"/>
                <a:gd name="connsiteX8" fmla="*/ 731520 w 1181686"/>
                <a:gd name="connsiteY8" fmla="*/ 689317 h 3756074"/>
                <a:gd name="connsiteX9" fmla="*/ 1041009 w 1181686"/>
                <a:gd name="connsiteY9" fmla="*/ 196948 h 3756074"/>
                <a:gd name="connsiteX10" fmla="*/ 1181686 w 1181686"/>
                <a:gd name="connsiteY10" fmla="*/ 323557 h 3756074"/>
                <a:gd name="connsiteX11" fmla="*/ 858129 w 1181686"/>
                <a:gd name="connsiteY11" fmla="*/ 759656 h 3756074"/>
                <a:gd name="connsiteX12" fmla="*/ 984738 w 1181686"/>
                <a:gd name="connsiteY12" fmla="*/ 844062 h 3756074"/>
                <a:gd name="connsiteX13" fmla="*/ 759655 w 1181686"/>
                <a:gd name="connsiteY13" fmla="*/ 1181686 h 3756074"/>
                <a:gd name="connsiteX14" fmla="*/ 323557 w 1181686"/>
                <a:gd name="connsiteY14" fmla="*/ 1308296 h 3756074"/>
                <a:gd name="connsiteX15" fmla="*/ 211015 w 1181686"/>
                <a:gd name="connsiteY15" fmla="*/ 3657600 h 3756074"/>
                <a:gd name="connsiteX16" fmla="*/ 70338 w 1181686"/>
                <a:gd name="connsiteY16" fmla="*/ 3756074 h 3756074"/>
                <a:gd name="connsiteX0" fmla="*/ 1522229 w 2633577"/>
                <a:gd name="connsiteY0" fmla="*/ 3756074 h 3756074"/>
                <a:gd name="connsiteX1" fmla="*/ 1578500 w 2633577"/>
                <a:gd name="connsiteY1" fmla="*/ 1252025 h 3756074"/>
                <a:gd name="connsiteX2" fmla="*/ 1451891 w 2633577"/>
                <a:gd name="connsiteY2" fmla="*/ 844062 h 3756074"/>
                <a:gd name="connsiteX3" fmla="*/ 1775448 w 2633577"/>
                <a:gd name="connsiteY3" fmla="*/ 379828 h 3756074"/>
                <a:gd name="connsiteX4" fmla="*/ 1944260 w 2633577"/>
                <a:gd name="connsiteY4" fmla="*/ 520505 h 3756074"/>
                <a:gd name="connsiteX5" fmla="*/ 2281885 w 2633577"/>
                <a:gd name="connsiteY5" fmla="*/ 0 h 3756074"/>
                <a:gd name="connsiteX6" fmla="*/ 2408494 w 2633577"/>
                <a:gd name="connsiteY6" fmla="*/ 140677 h 3756074"/>
                <a:gd name="connsiteX7" fmla="*/ 2084937 w 2633577"/>
                <a:gd name="connsiteY7" fmla="*/ 576776 h 3756074"/>
                <a:gd name="connsiteX8" fmla="*/ 2183411 w 2633577"/>
                <a:gd name="connsiteY8" fmla="*/ 689317 h 3756074"/>
                <a:gd name="connsiteX9" fmla="*/ 2492900 w 2633577"/>
                <a:gd name="connsiteY9" fmla="*/ 196948 h 3756074"/>
                <a:gd name="connsiteX10" fmla="*/ 2633577 w 2633577"/>
                <a:gd name="connsiteY10" fmla="*/ 323557 h 3756074"/>
                <a:gd name="connsiteX11" fmla="*/ 2310020 w 2633577"/>
                <a:gd name="connsiteY11" fmla="*/ 759656 h 3756074"/>
                <a:gd name="connsiteX12" fmla="*/ 2436629 w 2633577"/>
                <a:gd name="connsiteY12" fmla="*/ 844062 h 3756074"/>
                <a:gd name="connsiteX13" fmla="*/ 2211546 w 2633577"/>
                <a:gd name="connsiteY13" fmla="*/ 1181686 h 3756074"/>
                <a:gd name="connsiteX14" fmla="*/ 1775448 w 2633577"/>
                <a:gd name="connsiteY14" fmla="*/ 1308296 h 3756074"/>
                <a:gd name="connsiteX15" fmla="*/ 1662906 w 2633577"/>
                <a:gd name="connsiteY15" fmla="*/ 3657600 h 3756074"/>
                <a:gd name="connsiteX16" fmla="*/ 1522229 w 2633577"/>
                <a:gd name="connsiteY16" fmla="*/ 3756074 h 3756074"/>
                <a:gd name="connsiteX0" fmla="*/ 1522229 w 2633577"/>
                <a:gd name="connsiteY0" fmla="*/ 3756074 h 3756074"/>
                <a:gd name="connsiteX1" fmla="*/ 1578500 w 2633577"/>
                <a:gd name="connsiteY1" fmla="*/ 1252025 h 3756074"/>
                <a:gd name="connsiteX2" fmla="*/ 1451891 w 2633577"/>
                <a:gd name="connsiteY2" fmla="*/ 844062 h 3756074"/>
                <a:gd name="connsiteX3" fmla="*/ 1775448 w 2633577"/>
                <a:gd name="connsiteY3" fmla="*/ 379828 h 3756074"/>
                <a:gd name="connsiteX4" fmla="*/ 1944260 w 2633577"/>
                <a:gd name="connsiteY4" fmla="*/ 520505 h 3756074"/>
                <a:gd name="connsiteX5" fmla="*/ 2281885 w 2633577"/>
                <a:gd name="connsiteY5" fmla="*/ 0 h 3756074"/>
                <a:gd name="connsiteX6" fmla="*/ 2408494 w 2633577"/>
                <a:gd name="connsiteY6" fmla="*/ 140677 h 3756074"/>
                <a:gd name="connsiteX7" fmla="*/ 2084937 w 2633577"/>
                <a:gd name="connsiteY7" fmla="*/ 576776 h 3756074"/>
                <a:gd name="connsiteX8" fmla="*/ 2183411 w 2633577"/>
                <a:gd name="connsiteY8" fmla="*/ 689317 h 3756074"/>
                <a:gd name="connsiteX9" fmla="*/ 2492900 w 2633577"/>
                <a:gd name="connsiteY9" fmla="*/ 196948 h 3756074"/>
                <a:gd name="connsiteX10" fmla="*/ 2633577 w 2633577"/>
                <a:gd name="connsiteY10" fmla="*/ 323557 h 3756074"/>
                <a:gd name="connsiteX11" fmla="*/ 2310020 w 2633577"/>
                <a:gd name="connsiteY11" fmla="*/ 759656 h 3756074"/>
                <a:gd name="connsiteX12" fmla="*/ 2436629 w 2633577"/>
                <a:gd name="connsiteY12" fmla="*/ 844062 h 3756074"/>
                <a:gd name="connsiteX13" fmla="*/ 2211546 w 2633577"/>
                <a:gd name="connsiteY13" fmla="*/ 1181686 h 3756074"/>
                <a:gd name="connsiteX14" fmla="*/ 1775448 w 2633577"/>
                <a:gd name="connsiteY14" fmla="*/ 1308296 h 3756074"/>
                <a:gd name="connsiteX15" fmla="*/ 1662906 w 2633577"/>
                <a:gd name="connsiteY15" fmla="*/ 3657600 h 3756074"/>
                <a:gd name="connsiteX16" fmla="*/ 1522229 w 2633577"/>
                <a:gd name="connsiteY16" fmla="*/ 3756074 h 3756074"/>
                <a:gd name="connsiteX0" fmla="*/ 1522229 w 2633577"/>
                <a:gd name="connsiteY0" fmla="*/ 3756074 h 3756074"/>
                <a:gd name="connsiteX1" fmla="*/ 1578500 w 2633577"/>
                <a:gd name="connsiteY1" fmla="*/ 1252025 h 3756074"/>
                <a:gd name="connsiteX2" fmla="*/ 1451891 w 2633577"/>
                <a:gd name="connsiteY2" fmla="*/ 844062 h 3756074"/>
                <a:gd name="connsiteX3" fmla="*/ 1775448 w 2633577"/>
                <a:gd name="connsiteY3" fmla="*/ 379828 h 3756074"/>
                <a:gd name="connsiteX4" fmla="*/ 1944260 w 2633577"/>
                <a:gd name="connsiteY4" fmla="*/ 520505 h 3756074"/>
                <a:gd name="connsiteX5" fmla="*/ 2281885 w 2633577"/>
                <a:gd name="connsiteY5" fmla="*/ 0 h 3756074"/>
                <a:gd name="connsiteX6" fmla="*/ 2408494 w 2633577"/>
                <a:gd name="connsiteY6" fmla="*/ 140677 h 3756074"/>
                <a:gd name="connsiteX7" fmla="*/ 2084937 w 2633577"/>
                <a:gd name="connsiteY7" fmla="*/ 576776 h 3756074"/>
                <a:gd name="connsiteX8" fmla="*/ 2183411 w 2633577"/>
                <a:gd name="connsiteY8" fmla="*/ 689317 h 3756074"/>
                <a:gd name="connsiteX9" fmla="*/ 2492900 w 2633577"/>
                <a:gd name="connsiteY9" fmla="*/ 196948 h 3756074"/>
                <a:gd name="connsiteX10" fmla="*/ 2633577 w 2633577"/>
                <a:gd name="connsiteY10" fmla="*/ 323557 h 3756074"/>
                <a:gd name="connsiteX11" fmla="*/ 2310020 w 2633577"/>
                <a:gd name="connsiteY11" fmla="*/ 759656 h 3756074"/>
                <a:gd name="connsiteX12" fmla="*/ 2436629 w 2633577"/>
                <a:gd name="connsiteY12" fmla="*/ 844062 h 3756074"/>
                <a:gd name="connsiteX13" fmla="*/ 2211546 w 2633577"/>
                <a:gd name="connsiteY13" fmla="*/ 1181686 h 3756074"/>
                <a:gd name="connsiteX14" fmla="*/ 1775448 w 2633577"/>
                <a:gd name="connsiteY14" fmla="*/ 1308296 h 3756074"/>
                <a:gd name="connsiteX15" fmla="*/ 1662906 w 2633577"/>
                <a:gd name="connsiteY15" fmla="*/ 3657600 h 3756074"/>
                <a:gd name="connsiteX16" fmla="*/ 1522229 w 2633577"/>
                <a:gd name="connsiteY16" fmla="*/ 3756074 h 3756074"/>
                <a:gd name="connsiteX0" fmla="*/ 1522229 w 2633577"/>
                <a:gd name="connsiteY0" fmla="*/ 3756074 h 3756074"/>
                <a:gd name="connsiteX1" fmla="*/ 1578500 w 2633577"/>
                <a:gd name="connsiteY1" fmla="*/ 1252025 h 3756074"/>
                <a:gd name="connsiteX2" fmla="*/ 1451891 w 2633577"/>
                <a:gd name="connsiteY2" fmla="*/ 844062 h 3756074"/>
                <a:gd name="connsiteX3" fmla="*/ 1775448 w 2633577"/>
                <a:gd name="connsiteY3" fmla="*/ 379828 h 3756074"/>
                <a:gd name="connsiteX4" fmla="*/ 1944260 w 2633577"/>
                <a:gd name="connsiteY4" fmla="*/ 520505 h 3756074"/>
                <a:gd name="connsiteX5" fmla="*/ 2281885 w 2633577"/>
                <a:gd name="connsiteY5" fmla="*/ 0 h 3756074"/>
                <a:gd name="connsiteX6" fmla="*/ 2408494 w 2633577"/>
                <a:gd name="connsiteY6" fmla="*/ 140677 h 3756074"/>
                <a:gd name="connsiteX7" fmla="*/ 2084937 w 2633577"/>
                <a:gd name="connsiteY7" fmla="*/ 576776 h 3756074"/>
                <a:gd name="connsiteX8" fmla="*/ 2183411 w 2633577"/>
                <a:gd name="connsiteY8" fmla="*/ 689317 h 3756074"/>
                <a:gd name="connsiteX9" fmla="*/ 2492900 w 2633577"/>
                <a:gd name="connsiteY9" fmla="*/ 196948 h 3756074"/>
                <a:gd name="connsiteX10" fmla="*/ 2633577 w 2633577"/>
                <a:gd name="connsiteY10" fmla="*/ 323557 h 3756074"/>
                <a:gd name="connsiteX11" fmla="*/ 2310020 w 2633577"/>
                <a:gd name="connsiteY11" fmla="*/ 759656 h 3756074"/>
                <a:gd name="connsiteX12" fmla="*/ 2436629 w 2633577"/>
                <a:gd name="connsiteY12" fmla="*/ 844062 h 3756074"/>
                <a:gd name="connsiteX13" fmla="*/ 2211546 w 2633577"/>
                <a:gd name="connsiteY13" fmla="*/ 1181686 h 3756074"/>
                <a:gd name="connsiteX14" fmla="*/ 1773997 w 2633577"/>
                <a:gd name="connsiteY14" fmla="*/ 1367234 h 3756074"/>
                <a:gd name="connsiteX15" fmla="*/ 1662906 w 2633577"/>
                <a:gd name="connsiteY15" fmla="*/ 3657600 h 3756074"/>
                <a:gd name="connsiteX16" fmla="*/ 1522229 w 2633577"/>
                <a:gd name="connsiteY16" fmla="*/ 3756074 h 3756074"/>
                <a:gd name="connsiteX0" fmla="*/ 1522229 w 2633577"/>
                <a:gd name="connsiteY0" fmla="*/ 3756074 h 3756074"/>
                <a:gd name="connsiteX1" fmla="*/ 1578500 w 2633577"/>
                <a:gd name="connsiteY1" fmla="*/ 1252025 h 3756074"/>
                <a:gd name="connsiteX2" fmla="*/ 1451891 w 2633577"/>
                <a:gd name="connsiteY2" fmla="*/ 844062 h 3756074"/>
                <a:gd name="connsiteX3" fmla="*/ 1775448 w 2633577"/>
                <a:gd name="connsiteY3" fmla="*/ 379828 h 3756074"/>
                <a:gd name="connsiteX4" fmla="*/ 1944260 w 2633577"/>
                <a:gd name="connsiteY4" fmla="*/ 520505 h 3756074"/>
                <a:gd name="connsiteX5" fmla="*/ 2281885 w 2633577"/>
                <a:gd name="connsiteY5" fmla="*/ 0 h 3756074"/>
                <a:gd name="connsiteX6" fmla="*/ 2408494 w 2633577"/>
                <a:gd name="connsiteY6" fmla="*/ 140677 h 3756074"/>
                <a:gd name="connsiteX7" fmla="*/ 2084937 w 2633577"/>
                <a:gd name="connsiteY7" fmla="*/ 576776 h 3756074"/>
                <a:gd name="connsiteX8" fmla="*/ 2183411 w 2633577"/>
                <a:gd name="connsiteY8" fmla="*/ 689317 h 3756074"/>
                <a:gd name="connsiteX9" fmla="*/ 2492900 w 2633577"/>
                <a:gd name="connsiteY9" fmla="*/ 196948 h 3756074"/>
                <a:gd name="connsiteX10" fmla="*/ 2633577 w 2633577"/>
                <a:gd name="connsiteY10" fmla="*/ 323557 h 3756074"/>
                <a:gd name="connsiteX11" fmla="*/ 2310020 w 2633577"/>
                <a:gd name="connsiteY11" fmla="*/ 759656 h 3756074"/>
                <a:gd name="connsiteX12" fmla="*/ 2436629 w 2633577"/>
                <a:gd name="connsiteY12" fmla="*/ 844062 h 3756074"/>
                <a:gd name="connsiteX13" fmla="*/ 2211546 w 2633577"/>
                <a:gd name="connsiteY13" fmla="*/ 1181686 h 3756074"/>
                <a:gd name="connsiteX14" fmla="*/ 1773997 w 2633577"/>
                <a:gd name="connsiteY14" fmla="*/ 1367234 h 3756074"/>
                <a:gd name="connsiteX15" fmla="*/ 1662906 w 2633577"/>
                <a:gd name="connsiteY15" fmla="*/ 3657600 h 3756074"/>
                <a:gd name="connsiteX16" fmla="*/ 1522229 w 2633577"/>
                <a:gd name="connsiteY16" fmla="*/ 3756074 h 3756074"/>
                <a:gd name="connsiteX0" fmla="*/ 1522229 w 2633577"/>
                <a:gd name="connsiteY0" fmla="*/ 3756074 h 3756074"/>
                <a:gd name="connsiteX1" fmla="*/ 1578500 w 2633577"/>
                <a:gd name="connsiteY1" fmla="*/ 1252025 h 3756074"/>
                <a:gd name="connsiteX2" fmla="*/ 1451891 w 2633577"/>
                <a:gd name="connsiteY2" fmla="*/ 844062 h 3756074"/>
                <a:gd name="connsiteX3" fmla="*/ 1775448 w 2633577"/>
                <a:gd name="connsiteY3" fmla="*/ 379828 h 3756074"/>
                <a:gd name="connsiteX4" fmla="*/ 1944260 w 2633577"/>
                <a:gd name="connsiteY4" fmla="*/ 520505 h 3756074"/>
                <a:gd name="connsiteX5" fmla="*/ 2281885 w 2633577"/>
                <a:gd name="connsiteY5" fmla="*/ 0 h 3756074"/>
                <a:gd name="connsiteX6" fmla="*/ 2408494 w 2633577"/>
                <a:gd name="connsiteY6" fmla="*/ 140677 h 3756074"/>
                <a:gd name="connsiteX7" fmla="*/ 2084937 w 2633577"/>
                <a:gd name="connsiteY7" fmla="*/ 576776 h 3756074"/>
                <a:gd name="connsiteX8" fmla="*/ 2183411 w 2633577"/>
                <a:gd name="connsiteY8" fmla="*/ 689317 h 3756074"/>
                <a:gd name="connsiteX9" fmla="*/ 2492900 w 2633577"/>
                <a:gd name="connsiteY9" fmla="*/ 196948 h 3756074"/>
                <a:gd name="connsiteX10" fmla="*/ 2633577 w 2633577"/>
                <a:gd name="connsiteY10" fmla="*/ 323557 h 3756074"/>
                <a:gd name="connsiteX11" fmla="*/ 2310020 w 2633577"/>
                <a:gd name="connsiteY11" fmla="*/ 759656 h 3756074"/>
                <a:gd name="connsiteX12" fmla="*/ 2436629 w 2633577"/>
                <a:gd name="connsiteY12" fmla="*/ 844062 h 3756074"/>
                <a:gd name="connsiteX13" fmla="*/ 2062029 w 2633577"/>
                <a:gd name="connsiteY13" fmla="*/ 1295226 h 3756074"/>
                <a:gd name="connsiteX14" fmla="*/ 1773997 w 2633577"/>
                <a:gd name="connsiteY14" fmla="*/ 1367234 h 3756074"/>
                <a:gd name="connsiteX15" fmla="*/ 1662906 w 2633577"/>
                <a:gd name="connsiteY15" fmla="*/ 3657600 h 3756074"/>
                <a:gd name="connsiteX16" fmla="*/ 1522229 w 2633577"/>
                <a:gd name="connsiteY16" fmla="*/ 3756074 h 3756074"/>
                <a:gd name="connsiteX0" fmla="*/ 1522229 w 2633577"/>
                <a:gd name="connsiteY0" fmla="*/ 3756074 h 3756074"/>
                <a:gd name="connsiteX1" fmla="*/ 1578500 w 2633577"/>
                <a:gd name="connsiteY1" fmla="*/ 1252025 h 3756074"/>
                <a:gd name="connsiteX2" fmla="*/ 1451891 w 2633577"/>
                <a:gd name="connsiteY2" fmla="*/ 844062 h 3756074"/>
                <a:gd name="connsiteX3" fmla="*/ 1775448 w 2633577"/>
                <a:gd name="connsiteY3" fmla="*/ 379828 h 3756074"/>
                <a:gd name="connsiteX4" fmla="*/ 1944260 w 2633577"/>
                <a:gd name="connsiteY4" fmla="*/ 520505 h 3756074"/>
                <a:gd name="connsiteX5" fmla="*/ 2281885 w 2633577"/>
                <a:gd name="connsiteY5" fmla="*/ 0 h 3756074"/>
                <a:gd name="connsiteX6" fmla="*/ 2408494 w 2633577"/>
                <a:gd name="connsiteY6" fmla="*/ 140677 h 3756074"/>
                <a:gd name="connsiteX7" fmla="*/ 2084937 w 2633577"/>
                <a:gd name="connsiteY7" fmla="*/ 576776 h 3756074"/>
                <a:gd name="connsiteX8" fmla="*/ 2183411 w 2633577"/>
                <a:gd name="connsiteY8" fmla="*/ 689317 h 3756074"/>
                <a:gd name="connsiteX9" fmla="*/ 2492900 w 2633577"/>
                <a:gd name="connsiteY9" fmla="*/ 196948 h 3756074"/>
                <a:gd name="connsiteX10" fmla="*/ 2633577 w 2633577"/>
                <a:gd name="connsiteY10" fmla="*/ 323557 h 3756074"/>
                <a:gd name="connsiteX11" fmla="*/ 2310020 w 2633577"/>
                <a:gd name="connsiteY11" fmla="*/ 759656 h 3756074"/>
                <a:gd name="connsiteX12" fmla="*/ 2436629 w 2633577"/>
                <a:gd name="connsiteY12" fmla="*/ 844062 h 3756074"/>
                <a:gd name="connsiteX13" fmla="*/ 2062029 w 2633577"/>
                <a:gd name="connsiteY13" fmla="*/ 1295226 h 3756074"/>
                <a:gd name="connsiteX14" fmla="*/ 1773997 w 2633577"/>
                <a:gd name="connsiteY14" fmla="*/ 1367234 h 3756074"/>
                <a:gd name="connsiteX15" fmla="*/ 1662906 w 2633577"/>
                <a:gd name="connsiteY15" fmla="*/ 3657600 h 3756074"/>
                <a:gd name="connsiteX16" fmla="*/ 1522229 w 2633577"/>
                <a:gd name="connsiteY16" fmla="*/ 3756074 h 3756074"/>
                <a:gd name="connsiteX0" fmla="*/ 1522229 w 2633577"/>
                <a:gd name="connsiteY0" fmla="*/ 3756074 h 3756074"/>
                <a:gd name="connsiteX1" fmla="*/ 1578500 w 2633577"/>
                <a:gd name="connsiteY1" fmla="*/ 1252025 h 3756074"/>
                <a:gd name="connsiteX2" fmla="*/ 1451891 w 2633577"/>
                <a:gd name="connsiteY2" fmla="*/ 844062 h 3756074"/>
                <a:gd name="connsiteX3" fmla="*/ 1775448 w 2633577"/>
                <a:gd name="connsiteY3" fmla="*/ 379828 h 3756074"/>
                <a:gd name="connsiteX4" fmla="*/ 1944260 w 2633577"/>
                <a:gd name="connsiteY4" fmla="*/ 520505 h 3756074"/>
                <a:gd name="connsiteX5" fmla="*/ 2281885 w 2633577"/>
                <a:gd name="connsiteY5" fmla="*/ 0 h 3756074"/>
                <a:gd name="connsiteX6" fmla="*/ 2408494 w 2633577"/>
                <a:gd name="connsiteY6" fmla="*/ 140677 h 3756074"/>
                <a:gd name="connsiteX7" fmla="*/ 2084937 w 2633577"/>
                <a:gd name="connsiteY7" fmla="*/ 576776 h 3756074"/>
                <a:gd name="connsiteX8" fmla="*/ 2183411 w 2633577"/>
                <a:gd name="connsiteY8" fmla="*/ 689317 h 3756074"/>
                <a:gd name="connsiteX9" fmla="*/ 2492900 w 2633577"/>
                <a:gd name="connsiteY9" fmla="*/ 196948 h 3756074"/>
                <a:gd name="connsiteX10" fmla="*/ 2633577 w 2633577"/>
                <a:gd name="connsiteY10" fmla="*/ 323557 h 3756074"/>
                <a:gd name="connsiteX11" fmla="*/ 2310020 w 2633577"/>
                <a:gd name="connsiteY11" fmla="*/ 759656 h 3756074"/>
                <a:gd name="connsiteX12" fmla="*/ 2436629 w 2633577"/>
                <a:gd name="connsiteY12" fmla="*/ 844062 h 3756074"/>
                <a:gd name="connsiteX13" fmla="*/ 2062029 w 2633577"/>
                <a:gd name="connsiteY13" fmla="*/ 1295226 h 3756074"/>
                <a:gd name="connsiteX14" fmla="*/ 1773997 w 2633577"/>
                <a:gd name="connsiteY14" fmla="*/ 1367234 h 3756074"/>
                <a:gd name="connsiteX15" fmla="*/ 1662906 w 2633577"/>
                <a:gd name="connsiteY15" fmla="*/ 3657600 h 3756074"/>
                <a:gd name="connsiteX16" fmla="*/ 1522229 w 2633577"/>
                <a:gd name="connsiteY16" fmla="*/ 3756074 h 3756074"/>
                <a:gd name="connsiteX0" fmla="*/ 1522229 w 2633577"/>
                <a:gd name="connsiteY0" fmla="*/ 3756074 h 3756074"/>
                <a:gd name="connsiteX1" fmla="*/ 1578500 w 2633577"/>
                <a:gd name="connsiteY1" fmla="*/ 1252025 h 3756074"/>
                <a:gd name="connsiteX2" fmla="*/ 1451891 w 2633577"/>
                <a:gd name="connsiteY2" fmla="*/ 844062 h 3756074"/>
                <a:gd name="connsiteX3" fmla="*/ 1775448 w 2633577"/>
                <a:gd name="connsiteY3" fmla="*/ 379828 h 3756074"/>
                <a:gd name="connsiteX4" fmla="*/ 1944260 w 2633577"/>
                <a:gd name="connsiteY4" fmla="*/ 520505 h 3756074"/>
                <a:gd name="connsiteX5" fmla="*/ 2281885 w 2633577"/>
                <a:gd name="connsiteY5" fmla="*/ 0 h 3756074"/>
                <a:gd name="connsiteX6" fmla="*/ 2408494 w 2633577"/>
                <a:gd name="connsiteY6" fmla="*/ 140677 h 3756074"/>
                <a:gd name="connsiteX7" fmla="*/ 2084937 w 2633577"/>
                <a:gd name="connsiteY7" fmla="*/ 576776 h 3756074"/>
                <a:gd name="connsiteX8" fmla="*/ 2183411 w 2633577"/>
                <a:gd name="connsiteY8" fmla="*/ 689317 h 3756074"/>
                <a:gd name="connsiteX9" fmla="*/ 2492900 w 2633577"/>
                <a:gd name="connsiteY9" fmla="*/ 196948 h 3756074"/>
                <a:gd name="connsiteX10" fmla="*/ 2633577 w 2633577"/>
                <a:gd name="connsiteY10" fmla="*/ 323557 h 3756074"/>
                <a:gd name="connsiteX11" fmla="*/ 2310020 w 2633577"/>
                <a:gd name="connsiteY11" fmla="*/ 759656 h 3756074"/>
                <a:gd name="connsiteX12" fmla="*/ 2436629 w 2633577"/>
                <a:gd name="connsiteY12" fmla="*/ 844062 h 3756074"/>
                <a:gd name="connsiteX13" fmla="*/ 2062029 w 2633577"/>
                <a:gd name="connsiteY13" fmla="*/ 1295226 h 3756074"/>
                <a:gd name="connsiteX14" fmla="*/ 1773997 w 2633577"/>
                <a:gd name="connsiteY14" fmla="*/ 1367234 h 3756074"/>
                <a:gd name="connsiteX15" fmla="*/ 1662906 w 2633577"/>
                <a:gd name="connsiteY15" fmla="*/ 3657600 h 3756074"/>
                <a:gd name="connsiteX16" fmla="*/ 1522229 w 2633577"/>
                <a:gd name="connsiteY16" fmla="*/ 3756074 h 3756074"/>
                <a:gd name="connsiteX0" fmla="*/ 1522229 w 2633577"/>
                <a:gd name="connsiteY0" fmla="*/ 3756074 h 3756074"/>
                <a:gd name="connsiteX1" fmla="*/ 1578500 w 2633577"/>
                <a:gd name="connsiteY1" fmla="*/ 1252025 h 3756074"/>
                <a:gd name="connsiteX2" fmla="*/ 1451891 w 2633577"/>
                <a:gd name="connsiteY2" fmla="*/ 844062 h 3756074"/>
                <a:gd name="connsiteX3" fmla="*/ 1775448 w 2633577"/>
                <a:gd name="connsiteY3" fmla="*/ 379828 h 3756074"/>
                <a:gd name="connsiteX4" fmla="*/ 1944260 w 2633577"/>
                <a:gd name="connsiteY4" fmla="*/ 520505 h 3756074"/>
                <a:gd name="connsiteX5" fmla="*/ 2281885 w 2633577"/>
                <a:gd name="connsiteY5" fmla="*/ 0 h 3756074"/>
                <a:gd name="connsiteX6" fmla="*/ 2408494 w 2633577"/>
                <a:gd name="connsiteY6" fmla="*/ 140677 h 3756074"/>
                <a:gd name="connsiteX7" fmla="*/ 2084937 w 2633577"/>
                <a:gd name="connsiteY7" fmla="*/ 576776 h 3756074"/>
                <a:gd name="connsiteX8" fmla="*/ 2183411 w 2633577"/>
                <a:gd name="connsiteY8" fmla="*/ 689317 h 3756074"/>
                <a:gd name="connsiteX9" fmla="*/ 2492900 w 2633577"/>
                <a:gd name="connsiteY9" fmla="*/ 196948 h 3756074"/>
                <a:gd name="connsiteX10" fmla="*/ 2633577 w 2633577"/>
                <a:gd name="connsiteY10" fmla="*/ 323557 h 3756074"/>
                <a:gd name="connsiteX11" fmla="*/ 2310020 w 2633577"/>
                <a:gd name="connsiteY11" fmla="*/ 759656 h 3756074"/>
                <a:gd name="connsiteX12" fmla="*/ 2436629 w 2633577"/>
                <a:gd name="connsiteY12" fmla="*/ 844062 h 3756074"/>
                <a:gd name="connsiteX13" fmla="*/ 2062029 w 2633577"/>
                <a:gd name="connsiteY13" fmla="*/ 1295226 h 3756074"/>
                <a:gd name="connsiteX14" fmla="*/ 1773997 w 2633577"/>
                <a:gd name="connsiteY14" fmla="*/ 1367234 h 3756074"/>
                <a:gd name="connsiteX15" fmla="*/ 1662906 w 2633577"/>
                <a:gd name="connsiteY15" fmla="*/ 3657600 h 3756074"/>
                <a:gd name="connsiteX16" fmla="*/ 1522229 w 2633577"/>
                <a:gd name="connsiteY16" fmla="*/ 3756074 h 3756074"/>
                <a:gd name="connsiteX0" fmla="*/ 1522229 w 2633577"/>
                <a:gd name="connsiteY0" fmla="*/ 3756074 h 3756074"/>
                <a:gd name="connsiteX1" fmla="*/ 1578500 w 2633577"/>
                <a:gd name="connsiteY1" fmla="*/ 1252025 h 3756074"/>
                <a:gd name="connsiteX2" fmla="*/ 1451891 w 2633577"/>
                <a:gd name="connsiteY2" fmla="*/ 844062 h 3756074"/>
                <a:gd name="connsiteX3" fmla="*/ 1775448 w 2633577"/>
                <a:gd name="connsiteY3" fmla="*/ 379828 h 3756074"/>
                <a:gd name="connsiteX4" fmla="*/ 1944260 w 2633577"/>
                <a:gd name="connsiteY4" fmla="*/ 520505 h 3756074"/>
                <a:gd name="connsiteX5" fmla="*/ 2281885 w 2633577"/>
                <a:gd name="connsiteY5" fmla="*/ 0 h 3756074"/>
                <a:gd name="connsiteX6" fmla="*/ 2408494 w 2633577"/>
                <a:gd name="connsiteY6" fmla="*/ 140677 h 3756074"/>
                <a:gd name="connsiteX7" fmla="*/ 2062029 w 2633577"/>
                <a:gd name="connsiteY7" fmla="*/ 575146 h 3756074"/>
                <a:gd name="connsiteX8" fmla="*/ 2183411 w 2633577"/>
                <a:gd name="connsiteY8" fmla="*/ 689317 h 3756074"/>
                <a:gd name="connsiteX9" fmla="*/ 2492900 w 2633577"/>
                <a:gd name="connsiteY9" fmla="*/ 196948 h 3756074"/>
                <a:gd name="connsiteX10" fmla="*/ 2633577 w 2633577"/>
                <a:gd name="connsiteY10" fmla="*/ 323557 h 3756074"/>
                <a:gd name="connsiteX11" fmla="*/ 2310020 w 2633577"/>
                <a:gd name="connsiteY11" fmla="*/ 759656 h 3756074"/>
                <a:gd name="connsiteX12" fmla="*/ 2436629 w 2633577"/>
                <a:gd name="connsiteY12" fmla="*/ 844062 h 3756074"/>
                <a:gd name="connsiteX13" fmla="*/ 2062029 w 2633577"/>
                <a:gd name="connsiteY13" fmla="*/ 1295226 h 3756074"/>
                <a:gd name="connsiteX14" fmla="*/ 1773997 w 2633577"/>
                <a:gd name="connsiteY14" fmla="*/ 1367234 h 3756074"/>
                <a:gd name="connsiteX15" fmla="*/ 1662906 w 2633577"/>
                <a:gd name="connsiteY15" fmla="*/ 3657600 h 3756074"/>
                <a:gd name="connsiteX16" fmla="*/ 1522229 w 2633577"/>
                <a:gd name="connsiteY16" fmla="*/ 3756074 h 3756074"/>
                <a:gd name="connsiteX0" fmla="*/ 1522229 w 2633577"/>
                <a:gd name="connsiteY0" fmla="*/ 3756074 h 3756074"/>
                <a:gd name="connsiteX1" fmla="*/ 1578500 w 2633577"/>
                <a:gd name="connsiteY1" fmla="*/ 1252025 h 3756074"/>
                <a:gd name="connsiteX2" fmla="*/ 1451891 w 2633577"/>
                <a:gd name="connsiteY2" fmla="*/ 844062 h 3756074"/>
                <a:gd name="connsiteX3" fmla="*/ 1775448 w 2633577"/>
                <a:gd name="connsiteY3" fmla="*/ 379828 h 3756074"/>
                <a:gd name="connsiteX4" fmla="*/ 1918013 w 2633577"/>
                <a:gd name="connsiteY4" fmla="*/ 503138 h 3756074"/>
                <a:gd name="connsiteX5" fmla="*/ 2281885 w 2633577"/>
                <a:gd name="connsiteY5" fmla="*/ 0 h 3756074"/>
                <a:gd name="connsiteX6" fmla="*/ 2408494 w 2633577"/>
                <a:gd name="connsiteY6" fmla="*/ 140677 h 3756074"/>
                <a:gd name="connsiteX7" fmla="*/ 2062029 w 2633577"/>
                <a:gd name="connsiteY7" fmla="*/ 575146 h 3756074"/>
                <a:gd name="connsiteX8" fmla="*/ 2183411 w 2633577"/>
                <a:gd name="connsiteY8" fmla="*/ 689317 h 3756074"/>
                <a:gd name="connsiteX9" fmla="*/ 2492900 w 2633577"/>
                <a:gd name="connsiteY9" fmla="*/ 196948 h 3756074"/>
                <a:gd name="connsiteX10" fmla="*/ 2633577 w 2633577"/>
                <a:gd name="connsiteY10" fmla="*/ 323557 h 3756074"/>
                <a:gd name="connsiteX11" fmla="*/ 2310020 w 2633577"/>
                <a:gd name="connsiteY11" fmla="*/ 759656 h 3756074"/>
                <a:gd name="connsiteX12" fmla="*/ 2436629 w 2633577"/>
                <a:gd name="connsiteY12" fmla="*/ 844062 h 3756074"/>
                <a:gd name="connsiteX13" fmla="*/ 2062029 w 2633577"/>
                <a:gd name="connsiteY13" fmla="*/ 1295226 h 3756074"/>
                <a:gd name="connsiteX14" fmla="*/ 1773997 w 2633577"/>
                <a:gd name="connsiteY14" fmla="*/ 1367234 h 3756074"/>
                <a:gd name="connsiteX15" fmla="*/ 1662906 w 2633577"/>
                <a:gd name="connsiteY15" fmla="*/ 3657600 h 3756074"/>
                <a:gd name="connsiteX16" fmla="*/ 1522229 w 2633577"/>
                <a:gd name="connsiteY16" fmla="*/ 3756074 h 3756074"/>
                <a:gd name="connsiteX0" fmla="*/ 1522229 w 2633577"/>
                <a:gd name="connsiteY0" fmla="*/ 3756074 h 3756074"/>
                <a:gd name="connsiteX1" fmla="*/ 1557973 w 2633577"/>
                <a:gd name="connsiteY1" fmla="*/ 1223218 h 3756074"/>
                <a:gd name="connsiteX2" fmla="*/ 1451891 w 2633577"/>
                <a:gd name="connsiteY2" fmla="*/ 844062 h 3756074"/>
                <a:gd name="connsiteX3" fmla="*/ 1775448 w 2633577"/>
                <a:gd name="connsiteY3" fmla="*/ 379828 h 3756074"/>
                <a:gd name="connsiteX4" fmla="*/ 1918013 w 2633577"/>
                <a:gd name="connsiteY4" fmla="*/ 503138 h 3756074"/>
                <a:gd name="connsiteX5" fmla="*/ 2281885 w 2633577"/>
                <a:gd name="connsiteY5" fmla="*/ 0 h 3756074"/>
                <a:gd name="connsiteX6" fmla="*/ 2408494 w 2633577"/>
                <a:gd name="connsiteY6" fmla="*/ 140677 h 3756074"/>
                <a:gd name="connsiteX7" fmla="*/ 2062029 w 2633577"/>
                <a:gd name="connsiteY7" fmla="*/ 575146 h 3756074"/>
                <a:gd name="connsiteX8" fmla="*/ 2183411 w 2633577"/>
                <a:gd name="connsiteY8" fmla="*/ 689317 h 3756074"/>
                <a:gd name="connsiteX9" fmla="*/ 2492900 w 2633577"/>
                <a:gd name="connsiteY9" fmla="*/ 196948 h 3756074"/>
                <a:gd name="connsiteX10" fmla="*/ 2633577 w 2633577"/>
                <a:gd name="connsiteY10" fmla="*/ 323557 h 3756074"/>
                <a:gd name="connsiteX11" fmla="*/ 2310020 w 2633577"/>
                <a:gd name="connsiteY11" fmla="*/ 759656 h 3756074"/>
                <a:gd name="connsiteX12" fmla="*/ 2436629 w 2633577"/>
                <a:gd name="connsiteY12" fmla="*/ 844062 h 3756074"/>
                <a:gd name="connsiteX13" fmla="*/ 2062029 w 2633577"/>
                <a:gd name="connsiteY13" fmla="*/ 1295226 h 3756074"/>
                <a:gd name="connsiteX14" fmla="*/ 1773997 w 2633577"/>
                <a:gd name="connsiteY14" fmla="*/ 1367234 h 3756074"/>
                <a:gd name="connsiteX15" fmla="*/ 1662906 w 2633577"/>
                <a:gd name="connsiteY15" fmla="*/ 3657600 h 3756074"/>
                <a:gd name="connsiteX16" fmla="*/ 1522229 w 2633577"/>
                <a:gd name="connsiteY16" fmla="*/ 3756074 h 3756074"/>
                <a:gd name="connsiteX0" fmla="*/ 1522229 w 2633577"/>
                <a:gd name="connsiteY0" fmla="*/ 3756074 h 3756074"/>
                <a:gd name="connsiteX1" fmla="*/ 1557973 w 2633577"/>
                <a:gd name="connsiteY1" fmla="*/ 1223218 h 3756074"/>
                <a:gd name="connsiteX2" fmla="*/ 1451891 w 2633577"/>
                <a:gd name="connsiteY2" fmla="*/ 844062 h 3756074"/>
                <a:gd name="connsiteX3" fmla="*/ 1775448 w 2633577"/>
                <a:gd name="connsiteY3" fmla="*/ 379828 h 3756074"/>
                <a:gd name="connsiteX4" fmla="*/ 1918013 w 2633577"/>
                <a:gd name="connsiteY4" fmla="*/ 503138 h 3756074"/>
                <a:gd name="connsiteX5" fmla="*/ 2281885 w 2633577"/>
                <a:gd name="connsiteY5" fmla="*/ 0 h 3756074"/>
                <a:gd name="connsiteX6" fmla="*/ 2408494 w 2633577"/>
                <a:gd name="connsiteY6" fmla="*/ 140677 h 3756074"/>
                <a:gd name="connsiteX7" fmla="*/ 2062029 w 2633577"/>
                <a:gd name="connsiteY7" fmla="*/ 575146 h 3756074"/>
                <a:gd name="connsiteX8" fmla="*/ 2183411 w 2633577"/>
                <a:gd name="connsiteY8" fmla="*/ 689317 h 3756074"/>
                <a:gd name="connsiteX9" fmla="*/ 2492900 w 2633577"/>
                <a:gd name="connsiteY9" fmla="*/ 196948 h 3756074"/>
                <a:gd name="connsiteX10" fmla="*/ 2633577 w 2633577"/>
                <a:gd name="connsiteY10" fmla="*/ 323557 h 3756074"/>
                <a:gd name="connsiteX11" fmla="*/ 2310020 w 2633577"/>
                <a:gd name="connsiteY11" fmla="*/ 759656 h 3756074"/>
                <a:gd name="connsiteX12" fmla="*/ 2436629 w 2633577"/>
                <a:gd name="connsiteY12" fmla="*/ 844062 h 3756074"/>
                <a:gd name="connsiteX13" fmla="*/ 2062029 w 2633577"/>
                <a:gd name="connsiteY13" fmla="*/ 1295226 h 3756074"/>
                <a:gd name="connsiteX14" fmla="*/ 1701989 w 2633577"/>
                <a:gd name="connsiteY14" fmla="*/ 1367234 h 3756074"/>
                <a:gd name="connsiteX15" fmla="*/ 1662906 w 2633577"/>
                <a:gd name="connsiteY15" fmla="*/ 3657600 h 3756074"/>
                <a:gd name="connsiteX16" fmla="*/ 1522229 w 2633577"/>
                <a:gd name="connsiteY16" fmla="*/ 3756074 h 3756074"/>
                <a:gd name="connsiteX0" fmla="*/ 1522229 w 2633577"/>
                <a:gd name="connsiteY0" fmla="*/ 3848882 h 3848882"/>
                <a:gd name="connsiteX1" fmla="*/ 1557973 w 2633577"/>
                <a:gd name="connsiteY1" fmla="*/ 1316026 h 3848882"/>
                <a:gd name="connsiteX2" fmla="*/ 1451891 w 2633577"/>
                <a:gd name="connsiteY2" fmla="*/ 936870 h 3848882"/>
                <a:gd name="connsiteX3" fmla="*/ 1775448 w 2633577"/>
                <a:gd name="connsiteY3" fmla="*/ 472636 h 3848882"/>
                <a:gd name="connsiteX4" fmla="*/ 1918013 w 2633577"/>
                <a:gd name="connsiteY4" fmla="*/ 595946 h 3848882"/>
                <a:gd name="connsiteX5" fmla="*/ 2281885 w 2633577"/>
                <a:gd name="connsiteY5" fmla="*/ 92808 h 3848882"/>
                <a:gd name="connsiteX6" fmla="*/ 2408494 w 2633577"/>
                <a:gd name="connsiteY6" fmla="*/ 233485 h 3848882"/>
                <a:gd name="connsiteX7" fmla="*/ 2062029 w 2633577"/>
                <a:gd name="connsiteY7" fmla="*/ 667954 h 3848882"/>
                <a:gd name="connsiteX8" fmla="*/ 2183411 w 2633577"/>
                <a:gd name="connsiteY8" fmla="*/ 782125 h 3848882"/>
                <a:gd name="connsiteX9" fmla="*/ 2492900 w 2633577"/>
                <a:gd name="connsiteY9" fmla="*/ 289756 h 3848882"/>
                <a:gd name="connsiteX10" fmla="*/ 2633577 w 2633577"/>
                <a:gd name="connsiteY10" fmla="*/ 416365 h 3848882"/>
                <a:gd name="connsiteX11" fmla="*/ 2310020 w 2633577"/>
                <a:gd name="connsiteY11" fmla="*/ 852464 h 3848882"/>
                <a:gd name="connsiteX12" fmla="*/ 2436629 w 2633577"/>
                <a:gd name="connsiteY12" fmla="*/ 936870 h 3848882"/>
                <a:gd name="connsiteX13" fmla="*/ 2062029 w 2633577"/>
                <a:gd name="connsiteY13" fmla="*/ 1388034 h 3848882"/>
                <a:gd name="connsiteX14" fmla="*/ 1701989 w 2633577"/>
                <a:gd name="connsiteY14" fmla="*/ 1460042 h 3848882"/>
                <a:gd name="connsiteX15" fmla="*/ 1662906 w 2633577"/>
                <a:gd name="connsiteY15" fmla="*/ 3750408 h 3848882"/>
                <a:gd name="connsiteX16" fmla="*/ 1522229 w 2633577"/>
                <a:gd name="connsiteY16" fmla="*/ 3848882 h 3848882"/>
                <a:gd name="connsiteX0" fmla="*/ 1522229 w 2633577"/>
                <a:gd name="connsiteY0" fmla="*/ 3848882 h 3848882"/>
                <a:gd name="connsiteX1" fmla="*/ 1557973 w 2633577"/>
                <a:gd name="connsiteY1" fmla="*/ 1316026 h 3848882"/>
                <a:gd name="connsiteX2" fmla="*/ 1451891 w 2633577"/>
                <a:gd name="connsiteY2" fmla="*/ 936870 h 3848882"/>
                <a:gd name="connsiteX3" fmla="*/ 1775448 w 2633577"/>
                <a:gd name="connsiteY3" fmla="*/ 472636 h 3848882"/>
                <a:gd name="connsiteX4" fmla="*/ 1918013 w 2633577"/>
                <a:gd name="connsiteY4" fmla="*/ 595946 h 3848882"/>
                <a:gd name="connsiteX5" fmla="*/ 2281885 w 2633577"/>
                <a:gd name="connsiteY5" fmla="*/ 92808 h 3848882"/>
                <a:gd name="connsiteX6" fmla="*/ 2408494 w 2633577"/>
                <a:gd name="connsiteY6" fmla="*/ 233485 h 3848882"/>
                <a:gd name="connsiteX7" fmla="*/ 2062029 w 2633577"/>
                <a:gd name="connsiteY7" fmla="*/ 667954 h 3848882"/>
                <a:gd name="connsiteX8" fmla="*/ 2183411 w 2633577"/>
                <a:gd name="connsiteY8" fmla="*/ 782125 h 3848882"/>
                <a:gd name="connsiteX9" fmla="*/ 2492900 w 2633577"/>
                <a:gd name="connsiteY9" fmla="*/ 289756 h 3848882"/>
                <a:gd name="connsiteX10" fmla="*/ 2633577 w 2633577"/>
                <a:gd name="connsiteY10" fmla="*/ 416365 h 3848882"/>
                <a:gd name="connsiteX11" fmla="*/ 2310020 w 2633577"/>
                <a:gd name="connsiteY11" fmla="*/ 852464 h 3848882"/>
                <a:gd name="connsiteX12" fmla="*/ 2436629 w 2633577"/>
                <a:gd name="connsiteY12" fmla="*/ 936870 h 3848882"/>
                <a:gd name="connsiteX13" fmla="*/ 2062029 w 2633577"/>
                <a:gd name="connsiteY13" fmla="*/ 1388034 h 3848882"/>
                <a:gd name="connsiteX14" fmla="*/ 1701989 w 2633577"/>
                <a:gd name="connsiteY14" fmla="*/ 1460042 h 3848882"/>
                <a:gd name="connsiteX15" fmla="*/ 1662906 w 2633577"/>
                <a:gd name="connsiteY15" fmla="*/ 3750408 h 3848882"/>
                <a:gd name="connsiteX16" fmla="*/ 1522229 w 2633577"/>
                <a:gd name="connsiteY16" fmla="*/ 3848882 h 3848882"/>
                <a:gd name="connsiteX0" fmla="*/ 1522229 w 2633577"/>
                <a:gd name="connsiteY0" fmla="*/ 3848882 h 3848882"/>
                <a:gd name="connsiteX1" fmla="*/ 1557973 w 2633577"/>
                <a:gd name="connsiteY1" fmla="*/ 1316026 h 3848882"/>
                <a:gd name="connsiteX2" fmla="*/ 1451891 w 2633577"/>
                <a:gd name="connsiteY2" fmla="*/ 936870 h 3848882"/>
                <a:gd name="connsiteX3" fmla="*/ 1775448 w 2633577"/>
                <a:gd name="connsiteY3" fmla="*/ 472636 h 3848882"/>
                <a:gd name="connsiteX4" fmla="*/ 1918013 w 2633577"/>
                <a:gd name="connsiteY4" fmla="*/ 595946 h 3848882"/>
                <a:gd name="connsiteX5" fmla="*/ 2281885 w 2633577"/>
                <a:gd name="connsiteY5" fmla="*/ 92808 h 3848882"/>
                <a:gd name="connsiteX6" fmla="*/ 2408494 w 2633577"/>
                <a:gd name="connsiteY6" fmla="*/ 233485 h 3848882"/>
                <a:gd name="connsiteX7" fmla="*/ 2062029 w 2633577"/>
                <a:gd name="connsiteY7" fmla="*/ 667954 h 3848882"/>
                <a:gd name="connsiteX8" fmla="*/ 2183411 w 2633577"/>
                <a:gd name="connsiteY8" fmla="*/ 782125 h 3848882"/>
                <a:gd name="connsiteX9" fmla="*/ 2492900 w 2633577"/>
                <a:gd name="connsiteY9" fmla="*/ 289756 h 3848882"/>
                <a:gd name="connsiteX10" fmla="*/ 2633577 w 2633577"/>
                <a:gd name="connsiteY10" fmla="*/ 416365 h 3848882"/>
                <a:gd name="connsiteX11" fmla="*/ 2310020 w 2633577"/>
                <a:gd name="connsiteY11" fmla="*/ 852464 h 3848882"/>
                <a:gd name="connsiteX12" fmla="*/ 2436629 w 2633577"/>
                <a:gd name="connsiteY12" fmla="*/ 936870 h 3848882"/>
                <a:gd name="connsiteX13" fmla="*/ 2062029 w 2633577"/>
                <a:gd name="connsiteY13" fmla="*/ 1388034 h 3848882"/>
                <a:gd name="connsiteX14" fmla="*/ 1701989 w 2633577"/>
                <a:gd name="connsiteY14" fmla="*/ 1460042 h 3848882"/>
                <a:gd name="connsiteX15" fmla="*/ 1662906 w 2633577"/>
                <a:gd name="connsiteY15" fmla="*/ 3750408 h 3848882"/>
                <a:gd name="connsiteX16" fmla="*/ 1522229 w 2633577"/>
                <a:gd name="connsiteY16" fmla="*/ 3848882 h 3848882"/>
                <a:gd name="connsiteX0" fmla="*/ 1522229 w 2687491"/>
                <a:gd name="connsiteY0" fmla="*/ 3848882 h 3848882"/>
                <a:gd name="connsiteX1" fmla="*/ 1557973 w 2687491"/>
                <a:gd name="connsiteY1" fmla="*/ 1316026 h 3848882"/>
                <a:gd name="connsiteX2" fmla="*/ 1451891 w 2687491"/>
                <a:gd name="connsiteY2" fmla="*/ 936870 h 3848882"/>
                <a:gd name="connsiteX3" fmla="*/ 1775448 w 2687491"/>
                <a:gd name="connsiteY3" fmla="*/ 472636 h 3848882"/>
                <a:gd name="connsiteX4" fmla="*/ 1918013 w 2687491"/>
                <a:gd name="connsiteY4" fmla="*/ 595946 h 3848882"/>
                <a:gd name="connsiteX5" fmla="*/ 2281885 w 2687491"/>
                <a:gd name="connsiteY5" fmla="*/ 92808 h 3848882"/>
                <a:gd name="connsiteX6" fmla="*/ 2408494 w 2687491"/>
                <a:gd name="connsiteY6" fmla="*/ 233485 h 3848882"/>
                <a:gd name="connsiteX7" fmla="*/ 2062029 w 2687491"/>
                <a:gd name="connsiteY7" fmla="*/ 667954 h 3848882"/>
                <a:gd name="connsiteX8" fmla="*/ 2183411 w 2687491"/>
                <a:gd name="connsiteY8" fmla="*/ 782125 h 3848882"/>
                <a:gd name="connsiteX9" fmla="*/ 2492900 w 2687491"/>
                <a:gd name="connsiteY9" fmla="*/ 289756 h 3848882"/>
                <a:gd name="connsiteX10" fmla="*/ 2633577 w 2687491"/>
                <a:gd name="connsiteY10" fmla="*/ 416365 h 3848882"/>
                <a:gd name="connsiteX11" fmla="*/ 2310020 w 2687491"/>
                <a:gd name="connsiteY11" fmla="*/ 852464 h 3848882"/>
                <a:gd name="connsiteX12" fmla="*/ 2436629 w 2687491"/>
                <a:gd name="connsiteY12" fmla="*/ 936870 h 3848882"/>
                <a:gd name="connsiteX13" fmla="*/ 2062029 w 2687491"/>
                <a:gd name="connsiteY13" fmla="*/ 1388034 h 3848882"/>
                <a:gd name="connsiteX14" fmla="*/ 1701989 w 2687491"/>
                <a:gd name="connsiteY14" fmla="*/ 1460042 h 3848882"/>
                <a:gd name="connsiteX15" fmla="*/ 1662906 w 2687491"/>
                <a:gd name="connsiteY15" fmla="*/ 3750408 h 3848882"/>
                <a:gd name="connsiteX16" fmla="*/ 1522229 w 2687491"/>
                <a:gd name="connsiteY16" fmla="*/ 3848882 h 3848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87491" h="3848882">
                  <a:moveTo>
                    <a:pt x="1522229" y="3848882"/>
                  </a:moveTo>
                  <a:cubicBezTo>
                    <a:pt x="0" y="2512237"/>
                    <a:pt x="1025172" y="1806119"/>
                    <a:pt x="1557973" y="1316026"/>
                  </a:cubicBezTo>
                  <a:cubicBezTo>
                    <a:pt x="1399138" y="1126410"/>
                    <a:pt x="1385970" y="1110288"/>
                    <a:pt x="1451891" y="936870"/>
                  </a:cubicBezTo>
                  <a:lnTo>
                    <a:pt x="1775448" y="472636"/>
                  </a:lnTo>
                  <a:lnTo>
                    <a:pt x="1918013" y="595946"/>
                  </a:lnTo>
                  <a:lnTo>
                    <a:pt x="2281885" y="92808"/>
                  </a:lnTo>
                  <a:cubicBezTo>
                    <a:pt x="2418668" y="0"/>
                    <a:pt x="2486271" y="135793"/>
                    <a:pt x="2408494" y="233485"/>
                  </a:cubicBezTo>
                  <a:lnTo>
                    <a:pt x="2062029" y="667954"/>
                  </a:lnTo>
                  <a:lnTo>
                    <a:pt x="2183411" y="782125"/>
                  </a:lnTo>
                  <a:lnTo>
                    <a:pt x="2492900" y="289756"/>
                  </a:lnTo>
                  <a:cubicBezTo>
                    <a:pt x="2627898" y="177227"/>
                    <a:pt x="2687491" y="274422"/>
                    <a:pt x="2633577" y="416365"/>
                  </a:cubicBezTo>
                  <a:lnTo>
                    <a:pt x="2310020" y="852464"/>
                  </a:lnTo>
                  <a:lnTo>
                    <a:pt x="2436629" y="936870"/>
                  </a:lnTo>
                  <a:lnTo>
                    <a:pt x="2062029" y="1388034"/>
                  </a:lnTo>
                  <a:cubicBezTo>
                    <a:pt x="1925338" y="1561485"/>
                    <a:pt x="1780686" y="1500779"/>
                    <a:pt x="1701989" y="1460042"/>
                  </a:cubicBezTo>
                  <a:cubicBezTo>
                    <a:pt x="598452" y="2193975"/>
                    <a:pt x="676600" y="2706165"/>
                    <a:pt x="1662906" y="3750408"/>
                  </a:cubicBezTo>
                  <a:lnTo>
                    <a:pt x="1522229" y="3848882"/>
                  </a:lnTo>
                  <a:close/>
                </a:path>
              </a:pathLst>
            </a:custGeom>
            <a:grpFill/>
            <a:ln w="6350" algn="ctr">
              <a:noFill/>
              <a:miter lim="800000"/>
              <a:headEnd/>
              <a:tailEnd/>
            </a:ln>
          </p:spPr>
          <p:txBody>
            <a:bodyPr lIns="36000" tIns="72009" rIns="360000" bIns="72009" anchor="ctr"/>
            <a:lstStyle/>
            <a:p>
              <a:pPr algn="ctr" fontAlgn="auto">
                <a:spcBef>
                  <a:spcPts val="0"/>
                </a:spcBef>
                <a:spcAft>
                  <a:spcPts val="0"/>
                </a:spcAft>
                <a:tabLst>
                  <a:tab pos="812800" algn="l"/>
                </a:tabLst>
                <a:defRPr/>
              </a:pPr>
              <a:endParaRPr lang="en-GB" sz="1000" b="1" kern="0">
                <a:solidFill>
                  <a:schemeClr val="bg1"/>
                </a:solidFill>
                <a:ea typeface="ヒラギノ角ゴ ProN W3"/>
                <a:cs typeface="ヒラギノ角ゴ ProN W3"/>
              </a:endParaRPr>
            </a:p>
          </p:txBody>
        </p:sp>
      </p:grpSp>
      <p:sp>
        <p:nvSpPr>
          <p:cNvPr id="206" name="TextBox 99"/>
          <p:cNvSpPr txBox="1"/>
          <p:nvPr/>
        </p:nvSpPr>
        <p:spPr>
          <a:xfrm>
            <a:off x="2920938" y="1337074"/>
            <a:ext cx="1448388" cy="185177"/>
          </a:xfrm>
          <a:prstGeom prst="rect">
            <a:avLst/>
          </a:prstGeom>
          <a:noFill/>
          <a:ln>
            <a:noFill/>
          </a:ln>
          <a:effectLst/>
        </p:spPr>
        <p:txBody>
          <a:bodyPr wrap="square" rtlCol="0">
            <a:noAutofit/>
          </a:bodyPr>
          <a:lstStyle/>
          <a:p>
            <a:pPr>
              <a:lnSpc>
                <a:spcPct val="80000"/>
              </a:lnSpc>
              <a:spcBef>
                <a:spcPct val="20000"/>
              </a:spcBef>
            </a:pPr>
            <a:r>
              <a:rPr lang="en-GB" sz="900" b="1" dirty="0" smtClean="0">
                <a:solidFill>
                  <a:schemeClr val="tx2"/>
                </a:solidFill>
                <a:latin typeface="Telefonica Text" pitchFamily="50" charset="0"/>
                <a:cs typeface="Arial" pitchFamily="34" charset="0"/>
              </a:rPr>
              <a:t>EV Infrastructure</a:t>
            </a:r>
            <a:endParaRPr lang="en-GB" sz="900" b="1" dirty="0">
              <a:solidFill>
                <a:schemeClr val="tx2"/>
              </a:solidFill>
              <a:latin typeface="Telefonica Text" pitchFamily="50" charset="0"/>
              <a:cs typeface="Arial" pitchFamily="34" charset="0"/>
            </a:endParaRPr>
          </a:p>
        </p:txBody>
      </p:sp>
      <p:pic>
        <p:nvPicPr>
          <p:cNvPr id="207" name="Picture 14" descr="Parking Available Sign Clip Art"/>
          <p:cNvPicPr>
            <a:picLocks noChangeArrowheads="1"/>
          </p:cNvPicPr>
          <p:nvPr/>
        </p:nvPicPr>
        <p:blipFill>
          <a:blip r:embed="rId8" cstate="print"/>
          <a:srcRect/>
          <a:stretch>
            <a:fillRect/>
          </a:stretch>
        </p:blipFill>
        <p:spPr bwMode="auto">
          <a:xfrm>
            <a:off x="2715176" y="1540014"/>
            <a:ext cx="198204" cy="198204"/>
          </a:xfrm>
          <a:prstGeom prst="rect">
            <a:avLst/>
          </a:prstGeom>
          <a:noFill/>
        </p:spPr>
      </p:pic>
      <p:pic>
        <p:nvPicPr>
          <p:cNvPr id="208" name="Picture 2" descr="http://yoursourceisopen.com/wp-content/uploads/2011/05/0eed41cblights-sign.jpg"/>
          <p:cNvPicPr>
            <a:picLocks noChangeArrowheads="1"/>
          </p:cNvPicPr>
          <p:nvPr/>
        </p:nvPicPr>
        <p:blipFill>
          <a:blip r:embed="rId9" cstate="print"/>
          <a:srcRect l="35437" t="7997" r="35623" b="7840"/>
          <a:stretch>
            <a:fillRect/>
          </a:stretch>
        </p:blipFill>
        <p:spPr bwMode="auto">
          <a:xfrm>
            <a:off x="2629198" y="1744227"/>
            <a:ext cx="69028" cy="185177"/>
          </a:xfrm>
          <a:prstGeom prst="roundRect">
            <a:avLst>
              <a:gd name="adj" fmla="val 36104"/>
            </a:avLst>
          </a:prstGeom>
          <a:noFill/>
        </p:spPr>
      </p:pic>
      <p:pic>
        <p:nvPicPr>
          <p:cNvPr id="177156" name="Picture 4" descr="http://www.freeclipartnow.com/d/42309-1/bicycle-icon.jpg"/>
          <p:cNvPicPr>
            <a:picLocks noChangeAspect="1" noChangeArrowheads="1"/>
          </p:cNvPicPr>
          <p:nvPr/>
        </p:nvPicPr>
        <p:blipFill>
          <a:blip r:embed="rId10" cstate="print">
            <a:clrChange>
              <a:clrFrom>
                <a:srgbClr val="FCFFFD"/>
              </a:clrFrom>
              <a:clrTo>
                <a:srgbClr val="FCFFFD">
                  <a:alpha val="0"/>
                </a:srgbClr>
              </a:clrTo>
            </a:clrChange>
            <a:lum bright="-40000"/>
          </a:blip>
          <a:srcRect/>
          <a:stretch>
            <a:fillRect/>
          </a:stretch>
        </p:blipFill>
        <p:spPr bwMode="auto">
          <a:xfrm>
            <a:off x="2468052" y="2184231"/>
            <a:ext cx="256490" cy="142352"/>
          </a:xfrm>
          <a:prstGeom prst="rect">
            <a:avLst/>
          </a:prstGeom>
          <a:noFill/>
        </p:spPr>
      </p:pic>
      <p:sp>
        <p:nvSpPr>
          <p:cNvPr id="211" name="TextBox 101"/>
          <p:cNvSpPr txBox="1"/>
          <p:nvPr/>
        </p:nvSpPr>
        <p:spPr>
          <a:xfrm>
            <a:off x="2375447" y="3116066"/>
            <a:ext cx="839713" cy="185177"/>
          </a:xfrm>
          <a:prstGeom prst="rect">
            <a:avLst/>
          </a:prstGeom>
          <a:noFill/>
          <a:ln>
            <a:noFill/>
          </a:ln>
          <a:effectLst/>
        </p:spPr>
        <p:txBody>
          <a:bodyPr wrap="square" rtlCol="0" anchor="ctr">
            <a:noAutofit/>
          </a:bodyPr>
          <a:lstStyle/>
          <a:p>
            <a:pPr>
              <a:lnSpc>
                <a:spcPct val="80000"/>
              </a:lnSpc>
              <a:spcBef>
                <a:spcPct val="20000"/>
              </a:spcBef>
            </a:pPr>
            <a:r>
              <a:rPr lang="en-GB" sz="900" b="1" smtClean="0">
                <a:solidFill>
                  <a:schemeClr val="tx2"/>
                </a:solidFill>
                <a:latin typeface="Telefonica Text" pitchFamily="50" charset="0"/>
                <a:cs typeface="Arial" pitchFamily="34" charset="0"/>
              </a:rPr>
              <a:t>NFC Services</a:t>
            </a:r>
            <a:endParaRPr lang="en-GB" sz="900" b="1">
              <a:solidFill>
                <a:schemeClr val="tx2"/>
              </a:solidFill>
              <a:latin typeface="Telefonica Text" pitchFamily="50" charset="0"/>
              <a:cs typeface="Arial" pitchFamily="34" charset="0"/>
            </a:endParaRPr>
          </a:p>
        </p:txBody>
      </p:sp>
      <p:sp>
        <p:nvSpPr>
          <p:cNvPr id="212" name="TextBox 211"/>
          <p:cNvSpPr txBox="1"/>
          <p:nvPr/>
        </p:nvSpPr>
        <p:spPr>
          <a:xfrm>
            <a:off x="2286423" y="3560812"/>
            <a:ext cx="1040978" cy="185688"/>
          </a:xfrm>
          <a:prstGeom prst="rect">
            <a:avLst/>
          </a:prstGeom>
          <a:noFill/>
          <a:ln>
            <a:noFill/>
          </a:ln>
          <a:effectLst/>
        </p:spPr>
        <p:txBody>
          <a:bodyPr wrap="square" rtlCol="0" anchor="ctr">
            <a:noAutofit/>
          </a:bodyPr>
          <a:lstStyle/>
          <a:p>
            <a:pPr>
              <a:lnSpc>
                <a:spcPct val="80000"/>
              </a:lnSpc>
              <a:spcBef>
                <a:spcPct val="20000"/>
              </a:spcBef>
            </a:pPr>
            <a:r>
              <a:rPr lang="en-GB" sz="900" b="1" smtClean="0">
                <a:solidFill>
                  <a:schemeClr val="tx2"/>
                </a:solidFill>
                <a:latin typeface="Telefonica Text" pitchFamily="50" charset="0"/>
                <a:cs typeface="Arial" pitchFamily="34" charset="0"/>
              </a:rPr>
              <a:t>Digital Signage</a:t>
            </a:r>
            <a:endParaRPr lang="en-GB" sz="900" b="1">
              <a:solidFill>
                <a:schemeClr val="tx2"/>
              </a:solidFill>
              <a:latin typeface="Telefonica Text" pitchFamily="50" charset="0"/>
              <a:cs typeface="Arial" pitchFamily="34" charset="0"/>
            </a:endParaRPr>
          </a:p>
        </p:txBody>
      </p:sp>
      <p:sp>
        <p:nvSpPr>
          <p:cNvPr id="213" name="TextBox 212"/>
          <p:cNvSpPr txBox="1"/>
          <p:nvPr/>
        </p:nvSpPr>
        <p:spPr>
          <a:xfrm>
            <a:off x="2185964" y="4017627"/>
            <a:ext cx="839713" cy="185177"/>
          </a:xfrm>
          <a:prstGeom prst="rect">
            <a:avLst/>
          </a:prstGeom>
          <a:noFill/>
          <a:ln>
            <a:noFill/>
          </a:ln>
          <a:effectLst/>
        </p:spPr>
        <p:txBody>
          <a:bodyPr wrap="square" rtlCol="0" anchor="ctr">
            <a:noAutofit/>
          </a:bodyPr>
          <a:lstStyle/>
          <a:p>
            <a:pPr>
              <a:lnSpc>
                <a:spcPct val="80000"/>
              </a:lnSpc>
              <a:spcBef>
                <a:spcPct val="20000"/>
              </a:spcBef>
            </a:pPr>
            <a:r>
              <a:rPr lang="en-GB" sz="900" b="1" smtClean="0">
                <a:solidFill>
                  <a:schemeClr val="tx2"/>
                </a:solidFill>
                <a:latin typeface="Telefonica Text" pitchFamily="50" charset="0"/>
                <a:cs typeface="Arial" pitchFamily="34" charset="0"/>
              </a:rPr>
              <a:t>e-Tourism</a:t>
            </a:r>
            <a:endParaRPr lang="en-GB" sz="900" b="1">
              <a:solidFill>
                <a:schemeClr val="tx2"/>
              </a:solidFill>
              <a:latin typeface="Telefonica Text" pitchFamily="50" charset="0"/>
              <a:cs typeface="Arial" pitchFamily="34" charset="0"/>
            </a:endParaRPr>
          </a:p>
        </p:txBody>
      </p:sp>
      <p:sp>
        <p:nvSpPr>
          <p:cNvPr id="214" name="TextBox 213"/>
          <p:cNvSpPr txBox="1"/>
          <p:nvPr/>
        </p:nvSpPr>
        <p:spPr>
          <a:xfrm>
            <a:off x="2596298" y="4380460"/>
            <a:ext cx="839713" cy="185177"/>
          </a:xfrm>
          <a:prstGeom prst="rect">
            <a:avLst/>
          </a:prstGeom>
          <a:noFill/>
          <a:ln>
            <a:noFill/>
          </a:ln>
          <a:effectLst/>
        </p:spPr>
        <p:txBody>
          <a:bodyPr wrap="square" rtlCol="0" anchor="ctr">
            <a:noAutofit/>
          </a:bodyPr>
          <a:lstStyle/>
          <a:p>
            <a:pPr>
              <a:lnSpc>
                <a:spcPct val="80000"/>
              </a:lnSpc>
              <a:spcBef>
                <a:spcPct val="20000"/>
              </a:spcBef>
            </a:pPr>
            <a:r>
              <a:rPr lang="en-GB" sz="900" b="1" smtClean="0">
                <a:solidFill>
                  <a:schemeClr val="tx2"/>
                </a:solidFill>
                <a:latin typeface="Telefonica Text" pitchFamily="50" charset="0"/>
                <a:cs typeface="Arial" pitchFamily="34" charset="0"/>
              </a:rPr>
              <a:t>Connected Retailer</a:t>
            </a:r>
            <a:endParaRPr lang="en-GB" sz="900" b="1">
              <a:solidFill>
                <a:schemeClr val="tx2"/>
              </a:solidFill>
              <a:latin typeface="Telefonica Text" pitchFamily="50" charset="0"/>
              <a:cs typeface="Arial" pitchFamily="34" charset="0"/>
            </a:endParaRPr>
          </a:p>
        </p:txBody>
      </p:sp>
      <p:pic>
        <p:nvPicPr>
          <p:cNvPr id="215" name="Picture 7" descr="http://www.goverticalcreative.com/images/services-signage-icon.png"/>
          <p:cNvPicPr>
            <a:picLocks noChangeArrowheads="1"/>
          </p:cNvPicPr>
          <p:nvPr/>
        </p:nvPicPr>
        <p:blipFill>
          <a:blip r:embed="rId11" cstate="print">
            <a:lum bright="-20000"/>
          </a:blip>
          <a:srcRect/>
          <a:stretch>
            <a:fillRect/>
          </a:stretch>
        </p:blipFill>
        <p:spPr bwMode="auto">
          <a:xfrm>
            <a:off x="2081446" y="3545574"/>
            <a:ext cx="268054" cy="242789"/>
          </a:xfrm>
          <a:prstGeom prst="rect">
            <a:avLst/>
          </a:prstGeom>
          <a:noFill/>
        </p:spPr>
      </p:pic>
      <p:pic>
        <p:nvPicPr>
          <p:cNvPr id="216" name="Picture 8"/>
          <p:cNvPicPr>
            <a:picLocks noChangeArrowheads="1"/>
          </p:cNvPicPr>
          <p:nvPr/>
        </p:nvPicPr>
        <p:blipFill>
          <a:blip r:embed="rId12" cstate="print">
            <a:clrChange>
              <a:clrFrom>
                <a:srgbClr val="FFFFFF"/>
              </a:clrFrom>
              <a:clrTo>
                <a:srgbClr val="FFFFFF">
                  <a:alpha val="0"/>
                </a:srgbClr>
              </a:clrTo>
            </a:clrChange>
            <a:lum bright="-30000"/>
          </a:blip>
          <a:srcRect/>
          <a:stretch>
            <a:fillRect/>
          </a:stretch>
        </p:blipFill>
        <p:spPr bwMode="auto">
          <a:xfrm>
            <a:off x="2031534" y="3971272"/>
            <a:ext cx="196046" cy="242229"/>
          </a:xfrm>
          <a:prstGeom prst="rect">
            <a:avLst/>
          </a:prstGeom>
          <a:noFill/>
          <a:ln w="9525">
            <a:noFill/>
            <a:miter lim="800000"/>
            <a:headEnd/>
            <a:tailEnd/>
          </a:ln>
          <a:effectLst/>
        </p:spPr>
      </p:pic>
      <p:pic>
        <p:nvPicPr>
          <p:cNvPr id="217" name="Picture 10" descr="http://cdn1.iconfinder.com/data/icons/finance_icons/PNG/png256/coins.png"/>
          <p:cNvPicPr>
            <a:picLocks noChangeArrowheads="1"/>
          </p:cNvPicPr>
          <p:nvPr/>
        </p:nvPicPr>
        <p:blipFill>
          <a:blip r:embed="rId13" cstate="print"/>
          <a:srcRect/>
          <a:stretch>
            <a:fillRect/>
          </a:stretch>
        </p:blipFill>
        <p:spPr bwMode="auto">
          <a:xfrm flipH="1">
            <a:off x="2206030" y="3103364"/>
            <a:ext cx="204430" cy="223238"/>
          </a:xfrm>
          <a:prstGeom prst="rect">
            <a:avLst/>
          </a:prstGeom>
          <a:noFill/>
        </p:spPr>
      </p:pic>
      <p:pic>
        <p:nvPicPr>
          <p:cNvPr id="177158" name="Picture 6" descr="http://aux.iconpedia.net/uploads/19653391091296664915.png"/>
          <p:cNvPicPr>
            <a:picLocks noChangeAspect="1" noChangeArrowheads="1"/>
          </p:cNvPicPr>
          <p:nvPr/>
        </p:nvPicPr>
        <p:blipFill>
          <a:blip r:embed="rId14" cstate="print">
            <a:duotone>
              <a:schemeClr val="accent1">
                <a:shade val="45000"/>
                <a:satMod val="135000"/>
              </a:schemeClr>
              <a:prstClr val="white"/>
            </a:duotone>
            <a:lum bright="-20000"/>
          </a:blip>
          <a:srcRect/>
          <a:stretch>
            <a:fillRect/>
          </a:stretch>
        </p:blipFill>
        <p:spPr bwMode="auto">
          <a:xfrm>
            <a:off x="2395220" y="4345941"/>
            <a:ext cx="269874" cy="269874"/>
          </a:xfrm>
          <a:prstGeom prst="rect">
            <a:avLst/>
          </a:prstGeom>
          <a:noFill/>
        </p:spPr>
      </p:pic>
      <p:grpSp>
        <p:nvGrpSpPr>
          <p:cNvPr id="223" name="Group 137"/>
          <p:cNvGrpSpPr>
            <a:grpSpLocks/>
          </p:cNvGrpSpPr>
          <p:nvPr/>
        </p:nvGrpSpPr>
        <p:grpSpPr>
          <a:xfrm>
            <a:off x="3533101" y="5072532"/>
            <a:ext cx="169576" cy="185177"/>
            <a:chOff x="7236296" y="0"/>
            <a:chExt cx="1008000" cy="1008000"/>
          </a:xfrm>
          <a:solidFill>
            <a:srgbClr val="FF0000"/>
          </a:solidFill>
        </p:grpSpPr>
        <p:sp>
          <p:nvSpPr>
            <p:cNvPr id="224" name="Rectangle 135"/>
            <p:cNvSpPr/>
            <p:nvPr/>
          </p:nvSpPr>
          <p:spPr bwMode="auto">
            <a:xfrm>
              <a:off x="7596280" y="0"/>
              <a:ext cx="288032" cy="1008000"/>
            </a:xfrm>
            <a:prstGeom prst="rect">
              <a:avLst/>
            </a:prstGeom>
            <a:grpFill/>
            <a:ln w="9525"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marL="0" marR="0" indent="0" algn="ctr" defTabSz="914400" rtl="0" eaLnBrk="1" fontAlgn="base" latinLnBrk="0" hangingPunct="1">
                <a:lnSpc>
                  <a:spcPct val="105000"/>
                </a:lnSpc>
                <a:spcBef>
                  <a:spcPct val="30000"/>
                </a:spcBef>
                <a:spcAft>
                  <a:spcPct val="0"/>
                </a:spcAft>
                <a:buClrTx/>
                <a:buSzTx/>
                <a:buFontTx/>
                <a:buNone/>
                <a:tabLst/>
              </a:pPr>
              <a:endParaRPr kumimoji="0" lang="en-GB" sz="1300" b="0" i="0" u="none" strike="noStrike" cap="none" normalizeH="0" baseline="0" smtClean="0">
                <a:ln>
                  <a:noFill/>
                </a:ln>
                <a:solidFill>
                  <a:schemeClr val="tx1"/>
                </a:solidFill>
                <a:effectLst/>
                <a:latin typeface="Arial" pitchFamily="34" charset="0"/>
                <a:ea typeface="ＭＳ Ｐゴシック" pitchFamily="34" charset="-128"/>
                <a:cs typeface="Arial" pitchFamily="34" charset="0"/>
              </a:endParaRPr>
            </a:p>
          </p:txBody>
        </p:sp>
        <p:sp>
          <p:nvSpPr>
            <p:cNvPr id="225" name="Rectangle 136"/>
            <p:cNvSpPr/>
            <p:nvPr/>
          </p:nvSpPr>
          <p:spPr bwMode="auto">
            <a:xfrm>
              <a:off x="7236296" y="374133"/>
              <a:ext cx="1008000" cy="288002"/>
            </a:xfrm>
            <a:prstGeom prst="rect">
              <a:avLst/>
            </a:prstGeom>
            <a:grpFill/>
            <a:ln w="9525"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marL="0" marR="0" indent="0" algn="ctr" defTabSz="914400" rtl="0" eaLnBrk="1" fontAlgn="base" latinLnBrk="0" hangingPunct="1">
                <a:lnSpc>
                  <a:spcPct val="105000"/>
                </a:lnSpc>
                <a:spcBef>
                  <a:spcPct val="30000"/>
                </a:spcBef>
                <a:spcAft>
                  <a:spcPct val="0"/>
                </a:spcAft>
                <a:buClrTx/>
                <a:buSzTx/>
                <a:buFontTx/>
                <a:buNone/>
                <a:tabLst/>
              </a:pPr>
              <a:endParaRPr kumimoji="0" lang="en-GB" sz="1300" b="0" i="0" u="none" strike="noStrike" cap="none" normalizeH="0" baseline="0" smtClean="0">
                <a:ln>
                  <a:noFill/>
                </a:ln>
                <a:solidFill>
                  <a:schemeClr val="tx1"/>
                </a:solidFill>
                <a:effectLst/>
                <a:latin typeface="Arial" pitchFamily="34" charset="0"/>
                <a:ea typeface="ＭＳ Ｐゴシック" pitchFamily="34" charset="-128"/>
                <a:cs typeface="Arial" pitchFamily="34" charset="0"/>
              </a:endParaRPr>
            </a:p>
          </p:txBody>
        </p:sp>
      </p:grpSp>
      <p:pic>
        <p:nvPicPr>
          <p:cNvPr id="227" name="Picture 4"/>
          <p:cNvPicPr>
            <a:picLocks noChangeArrowheads="1"/>
          </p:cNvPicPr>
          <p:nvPr/>
        </p:nvPicPr>
        <p:blipFill>
          <a:blip r:embed="rId15" cstate="print">
            <a:extLst>
              <a:ext uri="{28A0092B-C50C-407E-A947-70E740481C1C}">
                <a14:useLocalDpi xmlns:a14="http://schemas.microsoft.com/office/drawing/2010/main" xmlns="" val="0"/>
              </a:ext>
            </a:extLst>
          </a:blip>
          <a:srcRect/>
          <a:stretch>
            <a:fillRect/>
          </a:stretch>
        </p:blipFill>
        <p:spPr bwMode="auto">
          <a:xfrm>
            <a:off x="5461658" y="2419033"/>
            <a:ext cx="169576" cy="18517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28" name="TextBox 101"/>
          <p:cNvSpPr txBox="1"/>
          <p:nvPr/>
        </p:nvSpPr>
        <p:spPr>
          <a:xfrm>
            <a:off x="3850909" y="4616678"/>
            <a:ext cx="1182738" cy="210592"/>
          </a:xfrm>
          <a:prstGeom prst="rect">
            <a:avLst/>
          </a:prstGeom>
          <a:noFill/>
          <a:ln>
            <a:noFill/>
          </a:ln>
          <a:effectLst/>
        </p:spPr>
        <p:txBody>
          <a:bodyPr wrap="square" rtlCol="0" anchor="ctr">
            <a:noAutofit/>
          </a:bodyPr>
          <a:lstStyle/>
          <a:p>
            <a:pPr>
              <a:lnSpc>
                <a:spcPct val="80000"/>
              </a:lnSpc>
              <a:spcBef>
                <a:spcPct val="20000"/>
              </a:spcBef>
            </a:pPr>
            <a:r>
              <a:rPr lang="en-GB" sz="900" b="1" smtClean="0">
                <a:solidFill>
                  <a:schemeClr val="tx2"/>
                </a:solidFill>
                <a:latin typeface="Telefonica Text" pitchFamily="50" charset="0"/>
                <a:cs typeface="Arial" pitchFamily="34" charset="0"/>
              </a:rPr>
              <a:t>Video surveillance</a:t>
            </a:r>
            <a:endParaRPr lang="en-GB" sz="900" b="1">
              <a:solidFill>
                <a:schemeClr val="tx2"/>
              </a:solidFill>
              <a:latin typeface="Telefonica Text" pitchFamily="50" charset="0"/>
              <a:cs typeface="Arial" pitchFamily="34" charset="0"/>
            </a:endParaRPr>
          </a:p>
        </p:txBody>
      </p:sp>
      <p:sp>
        <p:nvSpPr>
          <p:cNvPr id="229" name="TextBox 101"/>
          <p:cNvSpPr txBox="1"/>
          <p:nvPr/>
        </p:nvSpPr>
        <p:spPr>
          <a:xfrm>
            <a:off x="3720022" y="4878789"/>
            <a:ext cx="1708899" cy="167556"/>
          </a:xfrm>
          <a:prstGeom prst="rect">
            <a:avLst/>
          </a:prstGeom>
          <a:noFill/>
          <a:ln>
            <a:noFill/>
          </a:ln>
          <a:effectLst/>
        </p:spPr>
        <p:txBody>
          <a:bodyPr wrap="square" rtlCol="0" anchor="ctr">
            <a:noAutofit/>
          </a:bodyPr>
          <a:lstStyle/>
          <a:p>
            <a:pPr>
              <a:lnSpc>
                <a:spcPct val="80000"/>
              </a:lnSpc>
              <a:spcBef>
                <a:spcPct val="20000"/>
              </a:spcBef>
            </a:pPr>
            <a:r>
              <a:rPr lang="en-GB" sz="900" b="1" smtClean="0">
                <a:solidFill>
                  <a:schemeClr val="tx2"/>
                </a:solidFill>
                <a:latin typeface="Telefonica Text" pitchFamily="50" charset="0"/>
                <a:cs typeface="Arial" pitchFamily="34" charset="0"/>
              </a:rPr>
              <a:t>Tele-Health &amp; Tele.Care</a:t>
            </a:r>
            <a:endParaRPr lang="en-GB" sz="900" b="1">
              <a:solidFill>
                <a:schemeClr val="tx2"/>
              </a:solidFill>
              <a:latin typeface="Telefonica Text" pitchFamily="50" charset="0"/>
              <a:cs typeface="Arial" pitchFamily="34" charset="0"/>
            </a:endParaRPr>
          </a:p>
        </p:txBody>
      </p:sp>
      <p:sp>
        <p:nvSpPr>
          <p:cNvPr id="230" name="TextBox 101"/>
          <p:cNvSpPr txBox="1"/>
          <p:nvPr/>
        </p:nvSpPr>
        <p:spPr>
          <a:xfrm>
            <a:off x="3679872" y="5328501"/>
            <a:ext cx="1809069" cy="173141"/>
          </a:xfrm>
          <a:prstGeom prst="rect">
            <a:avLst/>
          </a:prstGeom>
          <a:noFill/>
          <a:ln>
            <a:noFill/>
          </a:ln>
          <a:effectLst/>
        </p:spPr>
        <p:txBody>
          <a:bodyPr wrap="square" rtlCol="0" anchor="ctr">
            <a:noAutofit/>
          </a:bodyPr>
          <a:lstStyle/>
          <a:p>
            <a:pPr>
              <a:lnSpc>
                <a:spcPct val="80000"/>
              </a:lnSpc>
              <a:spcBef>
                <a:spcPct val="20000"/>
              </a:spcBef>
            </a:pPr>
            <a:r>
              <a:rPr lang="en-GB" sz="900" b="1" smtClean="0">
                <a:solidFill>
                  <a:schemeClr val="tx2"/>
                </a:solidFill>
                <a:latin typeface="Telefonica Text" pitchFamily="50" charset="0"/>
                <a:cs typeface="Arial" pitchFamily="34" charset="0"/>
              </a:rPr>
              <a:t>Emergency Management</a:t>
            </a:r>
            <a:endParaRPr lang="en-GB" sz="900" b="1">
              <a:solidFill>
                <a:schemeClr val="tx2"/>
              </a:solidFill>
              <a:latin typeface="Telefonica Text" pitchFamily="50" charset="0"/>
              <a:cs typeface="Arial" pitchFamily="34" charset="0"/>
            </a:endParaRPr>
          </a:p>
        </p:txBody>
      </p:sp>
      <p:sp>
        <p:nvSpPr>
          <p:cNvPr id="231" name="TextBox 101"/>
          <p:cNvSpPr txBox="1"/>
          <p:nvPr/>
        </p:nvSpPr>
        <p:spPr>
          <a:xfrm>
            <a:off x="3647758" y="5062537"/>
            <a:ext cx="1827138" cy="234429"/>
          </a:xfrm>
          <a:prstGeom prst="rect">
            <a:avLst/>
          </a:prstGeom>
          <a:noFill/>
          <a:ln>
            <a:noFill/>
          </a:ln>
          <a:effectLst/>
        </p:spPr>
        <p:txBody>
          <a:bodyPr wrap="square" rtlCol="0" anchor="ctr">
            <a:noAutofit/>
          </a:bodyPr>
          <a:lstStyle/>
          <a:p>
            <a:pPr>
              <a:lnSpc>
                <a:spcPct val="80000"/>
              </a:lnSpc>
              <a:spcBef>
                <a:spcPct val="20000"/>
              </a:spcBef>
            </a:pPr>
            <a:r>
              <a:rPr lang="en-GB" sz="900" b="1" smtClean="0">
                <a:solidFill>
                  <a:schemeClr val="tx2"/>
                </a:solidFill>
                <a:latin typeface="Telefonica Text" pitchFamily="50" charset="0"/>
                <a:cs typeface="Arial" pitchFamily="34" charset="0"/>
              </a:rPr>
              <a:t>Hospital Capacity Tracking</a:t>
            </a:r>
            <a:endParaRPr lang="en-GB" sz="900" b="1">
              <a:solidFill>
                <a:schemeClr val="tx2"/>
              </a:solidFill>
              <a:latin typeface="Telefonica Text" pitchFamily="50" charset="0"/>
              <a:cs typeface="Arial" pitchFamily="34" charset="0"/>
            </a:endParaRPr>
          </a:p>
        </p:txBody>
      </p:sp>
      <p:sp>
        <p:nvSpPr>
          <p:cNvPr id="232" name="TextBox 101"/>
          <p:cNvSpPr txBox="1"/>
          <p:nvPr/>
        </p:nvSpPr>
        <p:spPr>
          <a:xfrm>
            <a:off x="3896360" y="5509262"/>
            <a:ext cx="1456427" cy="227945"/>
          </a:xfrm>
          <a:prstGeom prst="rect">
            <a:avLst/>
          </a:prstGeom>
          <a:noFill/>
          <a:ln>
            <a:noFill/>
          </a:ln>
          <a:effectLst/>
        </p:spPr>
        <p:txBody>
          <a:bodyPr wrap="square" rtlCol="0" anchor="ctr">
            <a:noAutofit/>
          </a:bodyPr>
          <a:lstStyle/>
          <a:p>
            <a:pPr>
              <a:lnSpc>
                <a:spcPct val="80000"/>
              </a:lnSpc>
              <a:spcBef>
                <a:spcPct val="20000"/>
              </a:spcBef>
            </a:pPr>
            <a:r>
              <a:rPr lang="en-GB" sz="900" b="1" smtClean="0">
                <a:solidFill>
                  <a:schemeClr val="tx2"/>
                </a:solidFill>
                <a:latin typeface="Telefonica Text" pitchFamily="50" charset="0"/>
                <a:cs typeface="Arial" pitchFamily="34" charset="0"/>
              </a:rPr>
              <a:t>Fire Detection</a:t>
            </a:r>
            <a:endParaRPr lang="en-GB" sz="900" b="1">
              <a:solidFill>
                <a:schemeClr val="tx2"/>
              </a:solidFill>
              <a:latin typeface="Telefonica Text" pitchFamily="50" charset="0"/>
              <a:cs typeface="Arial" pitchFamily="34" charset="0"/>
            </a:endParaRPr>
          </a:p>
        </p:txBody>
      </p:sp>
      <p:sp>
        <p:nvSpPr>
          <p:cNvPr id="233" name="TextBox 101"/>
          <p:cNvSpPr txBox="1"/>
          <p:nvPr/>
        </p:nvSpPr>
        <p:spPr>
          <a:xfrm>
            <a:off x="5566447" y="2416671"/>
            <a:ext cx="839713" cy="185177"/>
          </a:xfrm>
          <a:prstGeom prst="rect">
            <a:avLst/>
          </a:prstGeom>
          <a:noFill/>
          <a:ln>
            <a:noFill/>
          </a:ln>
          <a:effectLst/>
        </p:spPr>
        <p:txBody>
          <a:bodyPr wrap="square" rtlCol="0" anchor="ctr">
            <a:noAutofit/>
          </a:bodyPr>
          <a:lstStyle/>
          <a:p>
            <a:pPr>
              <a:lnSpc>
                <a:spcPct val="80000"/>
              </a:lnSpc>
              <a:spcBef>
                <a:spcPct val="20000"/>
              </a:spcBef>
            </a:pPr>
            <a:r>
              <a:rPr lang="en-GB" sz="900" b="1" dirty="0" smtClean="0">
                <a:solidFill>
                  <a:schemeClr val="tx2"/>
                </a:solidFill>
                <a:latin typeface="Telefonica Text" pitchFamily="50" charset="0"/>
                <a:cs typeface="Arial" pitchFamily="34" charset="0"/>
              </a:rPr>
              <a:t>Noise </a:t>
            </a:r>
          </a:p>
          <a:p>
            <a:pPr>
              <a:lnSpc>
                <a:spcPct val="80000"/>
              </a:lnSpc>
              <a:spcBef>
                <a:spcPct val="20000"/>
              </a:spcBef>
            </a:pPr>
            <a:r>
              <a:rPr lang="en-GB" sz="900" b="1" dirty="0" err="1" smtClean="0">
                <a:solidFill>
                  <a:schemeClr val="tx2"/>
                </a:solidFill>
                <a:latin typeface="Telefonica Text" pitchFamily="50" charset="0"/>
                <a:cs typeface="Arial" pitchFamily="34" charset="0"/>
              </a:rPr>
              <a:t>detec</a:t>
            </a:r>
            <a:r>
              <a:rPr lang="en-GB" sz="900" b="1" dirty="0" smtClean="0">
                <a:solidFill>
                  <a:schemeClr val="tx2"/>
                </a:solidFill>
                <a:latin typeface="Telefonica Text" pitchFamily="50" charset="0"/>
                <a:cs typeface="Arial" pitchFamily="34" charset="0"/>
              </a:rPr>
              <a:t>.</a:t>
            </a:r>
            <a:endParaRPr lang="en-GB" sz="900" b="1" dirty="0">
              <a:solidFill>
                <a:schemeClr val="tx2"/>
              </a:solidFill>
              <a:latin typeface="Telefonica Text" pitchFamily="50" charset="0"/>
              <a:cs typeface="Arial" pitchFamily="34" charset="0"/>
            </a:endParaRPr>
          </a:p>
        </p:txBody>
      </p:sp>
      <p:sp>
        <p:nvSpPr>
          <p:cNvPr id="234" name="TextBox 233"/>
          <p:cNvSpPr txBox="1"/>
          <p:nvPr/>
        </p:nvSpPr>
        <p:spPr>
          <a:xfrm>
            <a:off x="5737192" y="3490994"/>
            <a:ext cx="1152558" cy="230832"/>
          </a:xfrm>
          <a:prstGeom prst="rect">
            <a:avLst/>
          </a:prstGeom>
          <a:noFill/>
        </p:spPr>
        <p:txBody>
          <a:bodyPr wrap="square" rtlCol="0">
            <a:spAutoFit/>
          </a:bodyPr>
          <a:lstStyle/>
          <a:p>
            <a:r>
              <a:rPr lang="en-GB" sz="900" b="1" dirty="0" smtClean="0">
                <a:solidFill>
                  <a:schemeClr val="tx2"/>
                </a:solidFill>
                <a:latin typeface="Telefonica Text" pitchFamily="50" charset="0"/>
              </a:rPr>
              <a:t>City maintenance</a:t>
            </a:r>
            <a:endParaRPr lang="en-GB" sz="900" b="1" dirty="0">
              <a:solidFill>
                <a:schemeClr val="tx2"/>
              </a:solidFill>
              <a:latin typeface="Telefonica Text" pitchFamily="50" charset="0"/>
            </a:endParaRPr>
          </a:p>
        </p:txBody>
      </p:sp>
      <p:sp>
        <p:nvSpPr>
          <p:cNvPr id="235" name="TextBox 234"/>
          <p:cNvSpPr txBox="1"/>
          <p:nvPr/>
        </p:nvSpPr>
        <p:spPr>
          <a:xfrm>
            <a:off x="5988505" y="2944180"/>
            <a:ext cx="1619964" cy="369332"/>
          </a:xfrm>
          <a:prstGeom prst="rect">
            <a:avLst/>
          </a:prstGeom>
          <a:noFill/>
        </p:spPr>
        <p:txBody>
          <a:bodyPr wrap="square" rtlCol="0">
            <a:spAutoFit/>
          </a:bodyPr>
          <a:lstStyle/>
          <a:p>
            <a:r>
              <a:rPr lang="en-GB" sz="900" b="1" dirty="0" smtClean="0">
                <a:solidFill>
                  <a:schemeClr val="tx2"/>
                </a:solidFill>
                <a:latin typeface="Telefonica Text" pitchFamily="50" charset="0"/>
              </a:rPr>
              <a:t>SC</a:t>
            </a:r>
          </a:p>
          <a:p>
            <a:r>
              <a:rPr lang="en-GB" sz="900" b="1" dirty="0" smtClean="0">
                <a:solidFill>
                  <a:schemeClr val="tx2"/>
                </a:solidFill>
                <a:latin typeface="Telefonica Text" pitchFamily="50" charset="0"/>
              </a:rPr>
              <a:t>Dashboard</a:t>
            </a:r>
            <a:endParaRPr lang="en-GB" sz="900" b="1" dirty="0">
              <a:solidFill>
                <a:schemeClr val="tx2"/>
              </a:solidFill>
              <a:latin typeface="Telefonica Text" pitchFamily="50" charset="0"/>
            </a:endParaRPr>
          </a:p>
        </p:txBody>
      </p:sp>
      <p:sp>
        <p:nvSpPr>
          <p:cNvPr id="236" name="TextBox 235"/>
          <p:cNvSpPr txBox="1"/>
          <p:nvPr/>
        </p:nvSpPr>
        <p:spPr>
          <a:xfrm>
            <a:off x="5721657" y="3714106"/>
            <a:ext cx="1296144" cy="230832"/>
          </a:xfrm>
          <a:prstGeom prst="rect">
            <a:avLst/>
          </a:prstGeom>
          <a:noFill/>
        </p:spPr>
        <p:txBody>
          <a:bodyPr wrap="square" rtlCol="0">
            <a:spAutoFit/>
          </a:bodyPr>
          <a:lstStyle/>
          <a:p>
            <a:r>
              <a:rPr lang="en-GB" sz="900" b="1" smtClean="0">
                <a:solidFill>
                  <a:schemeClr val="tx2"/>
                </a:solidFill>
                <a:latin typeface="Telefonica Text" pitchFamily="50" charset="0"/>
              </a:rPr>
              <a:t>Open Data</a:t>
            </a:r>
            <a:endParaRPr lang="en-GB" sz="900" b="1">
              <a:solidFill>
                <a:schemeClr val="tx2"/>
              </a:solidFill>
              <a:latin typeface="Telefonica Text" pitchFamily="50" charset="0"/>
            </a:endParaRPr>
          </a:p>
        </p:txBody>
      </p:sp>
      <p:sp>
        <p:nvSpPr>
          <p:cNvPr id="237" name="TextBox 236"/>
          <p:cNvSpPr txBox="1"/>
          <p:nvPr/>
        </p:nvSpPr>
        <p:spPr>
          <a:xfrm>
            <a:off x="5620640" y="3930896"/>
            <a:ext cx="611902" cy="230832"/>
          </a:xfrm>
          <a:prstGeom prst="rect">
            <a:avLst/>
          </a:prstGeom>
          <a:noFill/>
        </p:spPr>
        <p:txBody>
          <a:bodyPr wrap="square" rtlCol="0">
            <a:spAutoFit/>
          </a:bodyPr>
          <a:lstStyle/>
          <a:p>
            <a:r>
              <a:rPr lang="en-GB" sz="900" b="1" smtClean="0">
                <a:solidFill>
                  <a:schemeClr val="tx2"/>
                </a:solidFill>
                <a:latin typeface="Telefonica Text" pitchFamily="50" charset="0"/>
              </a:rPr>
              <a:t>Others</a:t>
            </a:r>
            <a:endParaRPr lang="en-GB" sz="900" b="1">
              <a:solidFill>
                <a:schemeClr val="tx2"/>
              </a:solidFill>
              <a:latin typeface="Telefonica Text" pitchFamily="50" charset="0"/>
            </a:endParaRPr>
          </a:p>
        </p:txBody>
      </p:sp>
      <p:pic>
        <p:nvPicPr>
          <p:cNvPr id="177160" name="Picture 8" descr="http://www.cityheatingandair.com/userfiles/images/icon-software-development.jpg"/>
          <p:cNvPicPr>
            <a:picLocks noChangeAspect="1" noChangeArrowheads="1"/>
          </p:cNvPicPr>
          <p:nvPr/>
        </p:nvPicPr>
        <p:blipFill>
          <a:blip r:embed="rId16" cstate="print">
            <a:clrChange>
              <a:clrFrom>
                <a:srgbClr val="FFFFFF"/>
              </a:clrFrom>
              <a:clrTo>
                <a:srgbClr val="FFFFFF">
                  <a:alpha val="0"/>
                </a:srgbClr>
              </a:clrTo>
            </a:clrChange>
            <a:lum bright="-30000"/>
          </a:blip>
          <a:srcRect l="21222" r="22333" b="48599"/>
          <a:stretch>
            <a:fillRect/>
          </a:stretch>
        </p:blipFill>
        <p:spPr bwMode="auto">
          <a:xfrm>
            <a:off x="5614955" y="3505037"/>
            <a:ext cx="180000" cy="181949"/>
          </a:xfrm>
          <a:prstGeom prst="rect">
            <a:avLst/>
          </a:prstGeom>
          <a:noFill/>
        </p:spPr>
      </p:pic>
      <p:sp>
        <p:nvSpPr>
          <p:cNvPr id="240" name="TextBox 239"/>
          <p:cNvSpPr txBox="1"/>
          <p:nvPr/>
        </p:nvSpPr>
        <p:spPr>
          <a:xfrm>
            <a:off x="5339636" y="4064247"/>
            <a:ext cx="1619964" cy="584775"/>
          </a:xfrm>
          <a:prstGeom prst="rect">
            <a:avLst/>
          </a:prstGeom>
          <a:noFill/>
        </p:spPr>
        <p:txBody>
          <a:bodyPr wrap="square" rtlCol="0">
            <a:spAutoFit/>
          </a:bodyPr>
          <a:lstStyle/>
          <a:p>
            <a:pPr algn="ctr"/>
            <a:r>
              <a:rPr lang="en-GB" sz="800" i="1" smtClean="0">
                <a:solidFill>
                  <a:schemeClr val="tx2"/>
                </a:solidFill>
                <a:latin typeface="Telefonica Text" pitchFamily="50" charset="0"/>
              </a:rPr>
              <a:t>e-Government, e-Vote, e-Learning</a:t>
            </a:r>
          </a:p>
          <a:p>
            <a:pPr algn="ctr"/>
            <a:r>
              <a:rPr lang="en-GB" sz="800" i="1" smtClean="0">
                <a:solidFill>
                  <a:schemeClr val="tx2"/>
                </a:solidFill>
                <a:latin typeface="Telefonica Text" pitchFamily="50" charset="0"/>
              </a:rPr>
              <a:t>connected universities, cloud,</a:t>
            </a:r>
          </a:p>
          <a:p>
            <a:pPr algn="ctr"/>
            <a:r>
              <a:rPr lang="en-GB" sz="800" i="1" smtClean="0">
                <a:solidFill>
                  <a:schemeClr val="tx2"/>
                </a:solidFill>
                <a:latin typeface="Telefonica Text" pitchFamily="50" charset="0"/>
              </a:rPr>
              <a:t>Virtual hosting, smart </a:t>
            </a:r>
          </a:p>
          <a:p>
            <a:pPr algn="ctr"/>
            <a:r>
              <a:rPr lang="en-GB" sz="800" i="1" smtClean="0">
                <a:solidFill>
                  <a:schemeClr val="tx2"/>
                </a:solidFill>
                <a:latin typeface="Telefonica Text" pitchFamily="50" charset="0"/>
              </a:rPr>
              <a:t>computing</a:t>
            </a:r>
            <a:endParaRPr lang="en-GB" sz="800" i="1">
              <a:solidFill>
                <a:schemeClr val="tx2"/>
              </a:solidFill>
              <a:latin typeface="Telefonica Text" pitchFamily="50" charset="0"/>
            </a:endParaRPr>
          </a:p>
        </p:txBody>
      </p:sp>
      <p:grpSp>
        <p:nvGrpSpPr>
          <p:cNvPr id="246" name="Group 245"/>
          <p:cNvGrpSpPr/>
          <p:nvPr/>
        </p:nvGrpSpPr>
        <p:grpSpPr>
          <a:xfrm>
            <a:off x="5708234" y="3019646"/>
            <a:ext cx="346815" cy="260838"/>
            <a:chOff x="4941888" y="3375025"/>
            <a:chExt cx="1017587" cy="765322"/>
          </a:xfrm>
        </p:grpSpPr>
        <p:pic>
          <p:nvPicPr>
            <p:cNvPr id="248" name="Picture 7" descr="http://www.vision-works.com/img/features/reporting.png"/>
            <p:cNvPicPr>
              <a:picLocks noChangeAspect="1" noChangeArrowheads="1"/>
            </p:cNvPicPr>
            <p:nvPr/>
          </p:nvPicPr>
          <p:blipFill>
            <a:blip r:embed="rId17" cstate="print"/>
            <a:srcRect/>
            <a:stretch>
              <a:fillRect/>
            </a:stretch>
          </p:blipFill>
          <p:spPr bwMode="auto">
            <a:xfrm>
              <a:off x="4941888" y="3375025"/>
              <a:ext cx="725487" cy="531813"/>
            </a:xfrm>
            <a:prstGeom prst="rect">
              <a:avLst/>
            </a:prstGeom>
            <a:noFill/>
            <a:ln w="9525">
              <a:noFill/>
              <a:miter lim="800000"/>
              <a:headEnd/>
              <a:tailEnd/>
            </a:ln>
          </p:spPr>
        </p:pic>
        <p:pic>
          <p:nvPicPr>
            <p:cNvPr id="249" name="Picture 9" descr="http://www.mselement.com/resources/images/icons/Column-Chart-icon.png"/>
            <p:cNvPicPr>
              <a:picLocks noChangeAspect="1" noChangeArrowheads="1"/>
            </p:cNvPicPr>
            <p:nvPr/>
          </p:nvPicPr>
          <p:blipFill>
            <a:blip r:embed="rId18" cstate="print"/>
            <a:srcRect/>
            <a:stretch>
              <a:fillRect/>
            </a:stretch>
          </p:blipFill>
          <p:spPr bwMode="auto">
            <a:xfrm>
              <a:off x="5297488" y="3411538"/>
              <a:ext cx="661987" cy="652462"/>
            </a:xfrm>
            <a:prstGeom prst="rect">
              <a:avLst/>
            </a:prstGeom>
            <a:noFill/>
            <a:ln w="9525">
              <a:noFill/>
              <a:miter lim="800000"/>
              <a:headEnd/>
              <a:tailEnd/>
            </a:ln>
          </p:spPr>
        </p:pic>
        <p:pic>
          <p:nvPicPr>
            <p:cNvPr id="247" name="Picture 15" descr="http://findicons.com/files/icons/1681/siena/128/pie_chart_blue.png"/>
            <p:cNvPicPr>
              <a:picLocks noChangeAspect="1" noChangeArrowheads="1"/>
            </p:cNvPicPr>
            <p:nvPr/>
          </p:nvPicPr>
          <p:blipFill>
            <a:blip r:embed="rId19" cstate="print">
              <a:lum bright="-20000"/>
            </a:blip>
            <a:srcRect/>
            <a:stretch>
              <a:fillRect/>
            </a:stretch>
          </p:blipFill>
          <p:spPr bwMode="auto">
            <a:xfrm rot="17755562">
              <a:off x="5050934" y="3678385"/>
              <a:ext cx="458787" cy="465138"/>
            </a:xfrm>
            <a:prstGeom prst="rect">
              <a:avLst/>
            </a:prstGeom>
            <a:noFill/>
            <a:ln w="9525">
              <a:noFill/>
              <a:miter lim="800000"/>
              <a:headEnd/>
              <a:tailEnd/>
            </a:ln>
          </p:spPr>
        </p:pic>
      </p:grpSp>
      <p:pic>
        <p:nvPicPr>
          <p:cNvPr id="177164" name="Picture 12" descr="http://farm3.staticflickr.com/2737/4382284590_07025e4faf.jpg"/>
          <p:cNvPicPr>
            <a:picLocks noChangeAspect="1" noChangeArrowheads="1"/>
          </p:cNvPicPr>
          <p:nvPr/>
        </p:nvPicPr>
        <p:blipFill>
          <a:blip r:embed="rId20" cstate="print"/>
          <a:srcRect l="1211" t="1390" r="1794" b="2028"/>
          <a:stretch>
            <a:fillRect/>
          </a:stretch>
        </p:blipFill>
        <p:spPr bwMode="auto">
          <a:xfrm>
            <a:off x="5536632" y="3747991"/>
            <a:ext cx="169070" cy="169070"/>
          </a:xfrm>
          <a:prstGeom prst="roundRect">
            <a:avLst/>
          </a:prstGeom>
          <a:noFill/>
        </p:spPr>
      </p:pic>
      <p:sp>
        <p:nvSpPr>
          <p:cNvPr id="252" name="TextBox 251"/>
          <p:cNvSpPr txBox="1"/>
          <p:nvPr/>
        </p:nvSpPr>
        <p:spPr>
          <a:xfrm>
            <a:off x="4142798" y="3219074"/>
            <a:ext cx="1224136" cy="400110"/>
          </a:xfrm>
          <a:prstGeom prst="rect">
            <a:avLst/>
          </a:prstGeom>
          <a:noFill/>
        </p:spPr>
        <p:txBody>
          <a:bodyPr wrap="square" rtlCol="0">
            <a:spAutoFit/>
          </a:bodyPr>
          <a:lstStyle/>
          <a:p>
            <a:r>
              <a:rPr lang="en-GB" sz="1000" b="1" smtClean="0">
                <a:latin typeface="Telefonica Text" pitchFamily="50" charset="0"/>
              </a:rPr>
              <a:t>Data Collection &amp; </a:t>
            </a:r>
          </a:p>
          <a:p>
            <a:r>
              <a:rPr lang="en-GB" sz="1000" b="1" smtClean="0">
                <a:latin typeface="Telefonica Text" pitchFamily="50" charset="0"/>
              </a:rPr>
              <a:t>Analysis</a:t>
            </a:r>
            <a:endParaRPr lang="en-GB" sz="1000" b="1">
              <a:latin typeface="Telefonica Text" pitchFamily="50" charset="0"/>
            </a:endParaRPr>
          </a:p>
        </p:txBody>
      </p:sp>
      <p:sp>
        <p:nvSpPr>
          <p:cNvPr id="253" name="TextBox 252"/>
          <p:cNvSpPr txBox="1"/>
          <p:nvPr/>
        </p:nvSpPr>
        <p:spPr>
          <a:xfrm>
            <a:off x="3882670" y="3703976"/>
            <a:ext cx="1354762" cy="246221"/>
          </a:xfrm>
          <a:prstGeom prst="rect">
            <a:avLst/>
          </a:prstGeom>
          <a:noFill/>
        </p:spPr>
        <p:txBody>
          <a:bodyPr wrap="square" rtlCol="0">
            <a:spAutoFit/>
          </a:bodyPr>
          <a:lstStyle/>
          <a:p>
            <a:r>
              <a:rPr lang="en-GB" sz="1000" b="1" smtClean="0">
                <a:latin typeface="Telefonica Text" pitchFamily="50" charset="0"/>
              </a:rPr>
              <a:t>M2M Transactions</a:t>
            </a:r>
            <a:endParaRPr lang="en-GB" sz="1000" b="1">
              <a:latin typeface="Telefonica Text" pitchFamily="50" charset="0"/>
            </a:endParaRPr>
          </a:p>
        </p:txBody>
      </p:sp>
      <p:sp>
        <p:nvSpPr>
          <p:cNvPr id="254" name="TextBox 253"/>
          <p:cNvSpPr txBox="1"/>
          <p:nvPr/>
        </p:nvSpPr>
        <p:spPr>
          <a:xfrm>
            <a:off x="3308295" y="2636472"/>
            <a:ext cx="2160240" cy="523220"/>
          </a:xfrm>
          <a:prstGeom prst="rect">
            <a:avLst/>
          </a:prstGeom>
          <a:noFill/>
        </p:spPr>
        <p:txBody>
          <a:bodyPr wrap="square" rtlCol="0">
            <a:spAutoFit/>
          </a:bodyPr>
          <a:lstStyle/>
          <a:p>
            <a:pPr algn="ctr"/>
            <a:r>
              <a:rPr lang="en-GB" sz="1400" b="1" smtClean="0">
                <a:solidFill>
                  <a:schemeClr val="tx2">
                    <a:lumMod val="50000"/>
                  </a:schemeClr>
                </a:solidFill>
                <a:latin typeface="Telefonica Text" pitchFamily="50" charset="0"/>
              </a:rPr>
              <a:t>SMART CITY </a:t>
            </a:r>
          </a:p>
          <a:p>
            <a:pPr algn="ctr"/>
            <a:r>
              <a:rPr lang="en-GB" sz="1400" b="1" smtClean="0">
                <a:solidFill>
                  <a:schemeClr val="tx2">
                    <a:lumMod val="50000"/>
                  </a:schemeClr>
                </a:solidFill>
                <a:latin typeface="Telefonica Text" pitchFamily="50" charset="0"/>
              </a:rPr>
              <a:t>PLATFORM</a:t>
            </a:r>
            <a:endParaRPr lang="en-GB" sz="1400" b="1">
              <a:solidFill>
                <a:schemeClr val="tx2">
                  <a:lumMod val="50000"/>
                </a:schemeClr>
              </a:solidFill>
              <a:latin typeface="Telefonica Text" pitchFamily="50" charset="0"/>
            </a:endParaRPr>
          </a:p>
        </p:txBody>
      </p:sp>
      <p:sp>
        <p:nvSpPr>
          <p:cNvPr id="261" name="TextBox 260"/>
          <p:cNvSpPr txBox="1"/>
          <p:nvPr/>
        </p:nvSpPr>
        <p:spPr>
          <a:xfrm>
            <a:off x="139700" y="1270000"/>
            <a:ext cx="2628900" cy="369332"/>
          </a:xfrm>
          <a:prstGeom prst="rect">
            <a:avLst/>
          </a:prstGeom>
          <a:noFill/>
        </p:spPr>
        <p:txBody>
          <a:bodyPr wrap="square" rtlCol="0">
            <a:spAutoFit/>
          </a:bodyPr>
          <a:lstStyle/>
          <a:p>
            <a:pPr algn="ctr"/>
            <a:r>
              <a:rPr lang="en-GB" b="1" dirty="0" smtClean="0">
                <a:solidFill>
                  <a:srgbClr val="0070C0"/>
                </a:solidFill>
              </a:rPr>
              <a:t>Smart Mobility</a:t>
            </a:r>
            <a:endParaRPr lang="en-GB" b="1" dirty="0">
              <a:solidFill>
                <a:srgbClr val="0070C0"/>
              </a:solidFill>
            </a:endParaRPr>
          </a:p>
        </p:txBody>
      </p:sp>
      <p:sp>
        <p:nvSpPr>
          <p:cNvPr id="262" name="TextBox 261"/>
          <p:cNvSpPr txBox="1"/>
          <p:nvPr/>
        </p:nvSpPr>
        <p:spPr>
          <a:xfrm>
            <a:off x="6172201" y="1257300"/>
            <a:ext cx="2908300" cy="369332"/>
          </a:xfrm>
          <a:prstGeom prst="rect">
            <a:avLst/>
          </a:prstGeom>
          <a:noFill/>
        </p:spPr>
        <p:txBody>
          <a:bodyPr wrap="square" rtlCol="0">
            <a:spAutoFit/>
          </a:bodyPr>
          <a:lstStyle/>
          <a:p>
            <a:pPr algn="ctr"/>
            <a:r>
              <a:rPr lang="en-GB" b="1" smtClean="0">
                <a:solidFill>
                  <a:srgbClr val="0070C0"/>
                </a:solidFill>
              </a:rPr>
              <a:t>Energy &amp; Environment</a:t>
            </a:r>
            <a:endParaRPr lang="en-GB" b="1">
              <a:solidFill>
                <a:srgbClr val="0070C0"/>
              </a:solidFill>
            </a:endParaRPr>
          </a:p>
        </p:txBody>
      </p:sp>
      <p:sp>
        <p:nvSpPr>
          <p:cNvPr id="263" name="TextBox 262"/>
          <p:cNvSpPr txBox="1"/>
          <p:nvPr/>
        </p:nvSpPr>
        <p:spPr>
          <a:xfrm>
            <a:off x="6629400" y="2971800"/>
            <a:ext cx="2628900" cy="369332"/>
          </a:xfrm>
          <a:prstGeom prst="rect">
            <a:avLst/>
          </a:prstGeom>
          <a:noFill/>
        </p:spPr>
        <p:txBody>
          <a:bodyPr wrap="square" rtlCol="0">
            <a:spAutoFit/>
          </a:bodyPr>
          <a:lstStyle/>
          <a:p>
            <a:pPr algn="ctr"/>
            <a:r>
              <a:rPr lang="en-GB" b="1" smtClean="0">
                <a:solidFill>
                  <a:srgbClr val="0070C0"/>
                </a:solidFill>
              </a:rPr>
              <a:t>City Management</a:t>
            </a:r>
            <a:endParaRPr lang="en-GB" b="1">
              <a:solidFill>
                <a:srgbClr val="0070C0"/>
              </a:solidFill>
            </a:endParaRPr>
          </a:p>
        </p:txBody>
      </p:sp>
      <p:sp>
        <p:nvSpPr>
          <p:cNvPr id="264" name="TextBox 263"/>
          <p:cNvSpPr txBox="1"/>
          <p:nvPr/>
        </p:nvSpPr>
        <p:spPr>
          <a:xfrm>
            <a:off x="76200" y="3048000"/>
            <a:ext cx="2070100" cy="369332"/>
          </a:xfrm>
          <a:prstGeom prst="rect">
            <a:avLst/>
          </a:prstGeom>
          <a:noFill/>
        </p:spPr>
        <p:txBody>
          <a:bodyPr wrap="square" rtlCol="0">
            <a:spAutoFit/>
          </a:bodyPr>
          <a:lstStyle/>
          <a:p>
            <a:r>
              <a:rPr lang="en-GB" b="1" dirty="0" smtClean="0">
                <a:solidFill>
                  <a:srgbClr val="0070C0"/>
                </a:solidFill>
              </a:rPr>
              <a:t>City Economy</a:t>
            </a:r>
            <a:endParaRPr lang="en-GB" b="1" dirty="0">
              <a:solidFill>
                <a:srgbClr val="0070C0"/>
              </a:solidFill>
            </a:endParaRPr>
          </a:p>
        </p:txBody>
      </p:sp>
      <p:sp>
        <p:nvSpPr>
          <p:cNvPr id="265" name="TextBox 264"/>
          <p:cNvSpPr txBox="1"/>
          <p:nvPr/>
        </p:nvSpPr>
        <p:spPr>
          <a:xfrm>
            <a:off x="5245100" y="5161646"/>
            <a:ext cx="3340100" cy="369332"/>
          </a:xfrm>
          <a:prstGeom prst="rect">
            <a:avLst/>
          </a:prstGeom>
          <a:noFill/>
        </p:spPr>
        <p:txBody>
          <a:bodyPr wrap="square" rtlCol="0">
            <a:spAutoFit/>
          </a:bodyPr>
          <a:lstStyle/>
          <a:p>
            <a:pPr algn="ctr"/>
            <a:r>
              <a:rPr lang="en-GB" b="1" smtClean="0">
                <a:solidFill>
                  <a:srgbClr val="0070C0"/>
                </a:solidFill>
              </a:rPr>
              <a:t>Security &amp; e-Health</a:t>
            </a:r>
            <a:endParaRPr lang="en-GB" b="1">
              <a:solidFill>
                <a:srgbClr val="0070C0"/>
              </a:solidFill>
            </a:endParaRPr>
          </a:p>
        </p:txBody>
      </p:sp>
      <p:sp>
        <p:nvSpPr>
          <p:cNvPr id="266" name="TextBox 265"/>
          <p:cNvSpPr txBox="1"/>
          <p:nvPr/>
        </p:nvSpPr>
        <p:spPr>
          <a:xfrm>
            <a:off x="241300" y="1663701"/>
            <a:ext cx="2362200" cy="830997"/>
          </a:xfrm>
          <a:prstGeom prst="rect">
            <a:avLst/>
          </a:prstGeom>
          <a:noFill/>
        </p:spPr>
        <p:txBody>
          <a:bodyPr wrap="square" rtlCol="0">
            <a:spAutoFit/>
          </a:bodyPr>
          <a:lstStyle/>
          <a:p>
            <a:r>
              <a:rPr lang="en-GB" sz="1200" i="1" smtClean="0"/>
              <a:t>Services focused on decreasing city traffic density and citizen driving times, and optimizing public services routes.</a:t>
            </a:r>
            <a:endParaRPr lang="en-GB" sz="1200" i="1"/>
          </a:p>
        </p:txBody>
      </p:sp>
      <p:sp>
        <p:nvSpPr>
          <p:cNvPr id="267" name="TextBox 266"/>
          <p:cNvSpPr txBox="1"/>
          <p:nvPr/>
        </p:nvSpPr>
        <p:spPr>
          <a:xfrm>
            <a:off x="6426200" y="1638301"/>
            <a:ext cx="2590800" cy="1015663"/>
          </a:xfrm>
          <a:prstGeom prst="rect">
            <a:avLst/>
          </a:prstGeom>
          <a:noFill/>
        </p:spPr>
        <p:txBody>
          <a:bodyPr wrap="square" rtlCol="0">
            <a:spAutoFit/>
          </a:bodyPr>
          <a:lstStyle/>
          <a:p>
            <a:r>
              <a:rPr lang="en-GB" sz="1200" i="1" dirty="0" smtClean="0"/>
              <a:t>Services  to reduce energy consumption (electricity, oil and gas, water, etc.), to better manage waste or to improve environment indicators.</a:t>
            </a:r>
            <a:endParaRPr lang="en-GB" sz="1200" i="1" dirty="0"/>
          </a:p>
        </p:txBody>
      </p:sp>
      <p:sp>
        <p:nvSpPr>
          <p:cNvPr id="268" name="TextBox 267"/>
          <p:cNvSpPr txBox="1"/>
          <p:nvPr/>
        </p:nvSpPr>
        <p:spPr>
          <a:xfrm>
            <a:off x="38100" y="3403602"/>
            <a:ext cx="1866900" cy="1015663"/>
          </a:xfrm>
          <a:prstGeom prst="rect">
            <a:avLst/>
          </a:prstGeom>
          <a:noFill/>
        </p:spPr>
        <p:txBody>
          <a:bodyPr wrap="square" rtlCol="0">
            <a:spAutoFit/>
          </a:bodyPr>
          <a:lstStyle/>
          <a:p>
            <a:r>
              <a:rPr lang="en-GB" sz="1200" i="1" smtClean="0"/>
              <a:t>Services focused on modernizing how city businesses are performing and enabling city growth</a:t>
            </a:r>
            <a:endParaRPr lang="en-GB" sz="1200" i="1"/>
          </a:p>
        </p:txBody>
      </p:sp>
      <p:sp>
        <p:nvSpPr>
          <p:cNvPr id="269" name="TextBox 268"/>
          <p:cNvSpPr txBox="1"/>
          <p:nvPr/>
        </p:nvSpPr>
        <p:spPr>
          <a:xfrm>
            <a:off x="5370278" y="5491848"/>
            <a:ext cx="3744688" cy="646331"/>
          </a:xfrm>
          <a:prstGeom prst="rect">
            <a:avLst/>
          </a:prstGeom>
          <a:noFill/>
        </p:spPr>
        <p:txBody>
          <a:bodyPr wrap="square" rtlCol="0">
            <a:spAutoFit/>
          </a:bodyPr>
          <a:lstStyle/>
          <a:p>
            <a:r>
              <a:rPr lang="en-GB" sz="1200" i="1" smtClean="0"/>
              <a:t>Services focused either on crime prevention and prosecution and health care system quality and efficiency.</a:t>
            </a:r>
            <a:endParaRPr lang="en-GB" sz="1200" i="1"/>
          </a:p>
        </p:txBody>
      </p:sp>
      <p:sp>
        <p:nvSpPr>
          <p:cNvPr id="275" name="Freeform 274"/>
          <p:cNvSpPr/>
          <p:nvPr/>
        </p:nvSpPr>
        <p:spPr>
          <a:xfrm>
            <a:off x="2499524" y="1974853"/>
            <a:ext cx="288000" cy="144000"/>
          </a:xfrm>
          <a:custGeom>
            <a:avLst/>
            <a:gdLst>
              <a:gd name="connsiteX0" fmla="*/ 7053943 w 7053943"/>
              <a:gd name="connsiteY0" fmla="*/ 3200400 h 6400800"/>
              <a:gd name="connsiteX1" fmla="*/ 5630663 w 7053943"/>
              <a:gd name="connsiteY1" fmla="*/ 3659686 h 6400800"/>
              <a:gd name="connsiteX2" fmla="*/ 5630663 w 7053943"/>
              <a:gd name="connsiteY2" fmla="*/ 2741114 h 6400800"/>
              <a:gd name="connsiteX3" fmla="*/ 7053943 w 7053943"/>
              <a:gd name="connsiteY3" fmla="*/ 3200400 h 6400800"/>
              <a:gd name="connsiteX4" fmla="*/ 6020671 w 7053943"/>
              <a:gd name="connsiteY4" fmla="*/ 937302 h 6400800"/>
              <a:gd name="connsiteX5" fmla="*/ 5372348 w 7053943"/>
              <a:gd name="connsiteY5" fmla="*/ 2175411 h 6400800"/>
              <a:gd name="connsiteX6" fmla="*/ 4656551 w 7053943"/>
              <a:gd name="connsiteY6" fmla="*/ 1525892 h 6400800"/>
              <a:gd name="connsiteX7" fmla="*/ 6020671 w 7053943"/>
              <a:gd name="connsiteY7" fmla="*/ 937302 h 6400800"/>
              <a:gd name="connsiteX8" fmla="*/ 3526972 w 7053943"/>
              <a:gd name="connsiteY8" fmla="*/ 0 h 6400800"/>
              <a:gd name="connsiteX9" fmla="*/ 4033124 w 7053943"/>
              <a:gd name="connsiteY9" fmla="*/ 1291494 h 6400800"/>
              <a:gd name="connsiteX10" fmla="*/ 3020819 w 7053943"/>
              <a:gd name="connsiteY10" fmla="*/ 1291494 h 6400800"/>
              <a:gd name="connsiteX11" fmla="*/ 3526972 w 7053943"/>
              <a:gd name="connsiteY11" fmla="*/ 0 h 6400800"/>
              <a:gd name="connsiteX12" fmla="*/ 1032945 w 7053943"/>
              <a:gd name="connsiteY12" fmla="*/ 937302 h 6400800"/>
              <a:gd name="connsiteX13" fmla="*/ 2397392 w 7053943"/>
              <a:gd name="connsiteY13" fmla="*/ 1525892 h 6400800"/>
              <a:gd name="connsiteX14" fmla="*/ 1681595 w 7053943"/>
              <a:gd name="connsiteY14" fmla="*/ 2175411 h 6400800"/>
              <a:gd name="connsiteX15" fmla="*/ 1032945 w 7053943"/>
              <a:gd name="connsiteY15" fmla="*/ 937302 h 6400800"/>
              <a:gd name="connsiteX16" fmla="*/ 0 w 7053943"/>
              <a:gd name="connsiteY16" fmla="*/ 3200400 h 6400800"/>
              <a:gd name="connsiteX17" fmla="*/ 1423280 w 7053943"/>
              <a:gd name="connsiteY17" fmla="*/ 2741114 h 6400800"/>
              <a:gd name="connsiteX18" fmla="*/ 1423280 w 7053943"/>
              <a:gd name="connsiteY18" fmla="*/ 3659686 h 6400800"/>
              <a:gd name="connsiteX19" fmla="*/ 0 w 7053943"/>
              <a:gd name="connsiteY19" fmla="*/ 3200400 h 6400800"/>
              <a:gd name="connsiteX20" fmla="*/ 1032945 w 7053943"/>
              <a:gd name="connsiteY20" fmla="*/ 5463202 h 6400800"/>
              <a:gd name="connsiteX21" fmla="*/ 1681595 w 7053943"/>
              <a:gd name="connsiteY21" fmla="*/ 4225389 h 6400800"/>
              <a:gd name="connsiteX22" fmla="*/ 2397392 w 7053943"/>
              <a:gd name="connsiteY22" fmla="*/ 4874908 h 6400800"/>
              <a:gd name="connsiteX23" fmla="*/ 1032945 w 7053943"/>
              <a:gd name="connsiteY23" fmla="*/ 5463202 h 6400800"/>
              <a:gd name="connsiteX24" fmla="*/ 3526972 w 7053943"/>
              <a:gd name="connsiteY24" fmla="*/ 6400800 h 6400800"/>
              <a:gd name="connsiteX25" fmla="*/ 3020819 w 7053943"/>
              <a:gd name="connsiteY25" fmla="*/ 5109306 h 6400800"/>
              <a:gd name="connsiteX26" fmla="*/ 4033124 w 7053943"/>
              <a:gd name="connsiteY26" fmla="*/ 5109306 h 6400800"/>
              <a:gd name="connsiteX27" fmla="*/ 3526972 w 7053943"/>
              <a:gd name="connsiteY27" fmla="*/ 6400800 h 6400800"/>
              <a:gd name="connsiteX28" fmla="*/ 6020671 w 7053943"/>
              <a:gd name="connsiteY28" fmla="*/ 5463202 h 6400800"/>
              <a:gd name="connsiteX29" fmla="*/ 4656551 w 7053943"/>
              <a:gd name="connsiteY29" fmla="*/ 4874908 h 6400800"/>
              <a:gd name="connsiteX30" fmla="*/ 5372348 w 7053943"/>
              <a:gd name="connsiteY30" fmla="*/ 4225389 h 6400800"/>
              <a:gd name="connsiteX31" fmla="*/ 6020671 w 7053943"/>
              <a:gd name="connsiteY31" fmla="*/ 5463202 h 6400800"/>
              <a:gd name="connsiteX32" fmla="*/ 1763486 w 7053943"/>
              <a:gd name="connsiteY32" fmla="*/ 3200400 h 6400800"/>
              <a:gd name="connsiteX33" fmla="*/ 3526974 w 7053943"/>
              <a:gd name="connsiteY33" fmla="*/ 1600202 h 6400800"/>
              <a:gd name="connsiteX34" fmla="*/ 5290458 w 7053943"/>
              <a:gd name="connsiteY34" fmla="*/ 3200404 h 6400800"/>
              <a:gd name="connsiteX35" fmla="*/ 3526970 w 7053943"/>
              <a:gd name="connsiteY35" fmla="*/ 4800602 h 6400800"/>
              <a:gd name="connsiteX36" fmla="*/ 1763486 w 7053943"/>
              <a:gd name="connsiteY36" fmla="*/ 3200400 h 6400800"/>
              <a:gd name="connsiteX0" fmla="*/ 7053943 w 7631757"/>
              <a:gd name="connsiteY0" fmla="*/ 3200400 h 6400800"/>
              <a:gd name="connsiteX1" fmla="*/ 5630663 w 7631757"/>
              <a:gd name="connsiteY1" fmla="*/ 3659686 h 6400800"/>
              <a:gd name="connsiteX2" fmla="*/ 5630663 w 7631757"/>
              <a:gd name="connsiteY2" fmla="*/ 2741114 h 6400800"/>
              <a:gd name="connsiteX3" fmla="*/ 7053943 w 7631757"/>
              <a:gd name="connsiteY3" fmla="*/ 3200400 h 6400800"/>
              <a:gd name="connsiteX4" fmla="*/ 6020671 w 7631757"/>
              <a:gd name="connsiteY4" fmla="*/ 937302 h 6400800"/>
              <a:gd name="connsiteX5" fmla="*/ 5372348 w 7631757"/>
              <a:gd name="connsiteY5" fmla="*/ 2175411 h 6400800"/>
              <a:gd name="connsiteX6" fmla="*/ 4656551 w 7631757"/>
              <a:gd name="connsiteY6" fmla="*/ 1525892 h 6400800"/>
              <a:gd name="connsiteX7" fmla="*/ 6020671 w 7631757"/>
              <a:gd name="connsiteY7" fmla="*/ 937302 h 6400800"/>
              <a:gd name="connsiteX8" fmla="*/ 3526972 w 7631757"/>
              <a:gd name="connsiteY8" fmla="*/ 0 h 6400800"/>
              <a:gd name="connsiteX9" fmla="*/ 4033124 w 7631757"/>
              <a:gd name="connsiteY9" fmla="*/ 1291494 h 6400800"/>
              <a:gd name="connsiteX10" fmla="*/ 3020819 w 7631757"/>
              <a:gd name="connsiteY10" fmla="*/ 1291494 h 6400800"/>
              <a:gd name="connsiteX11" fmla="*/ 3526972 w 7631757"/>
              <a:gd name="connsiteY11" fmla="*/ 0 h 6400800"/>
              <a:gd name="connsiteX12" fmla="*/ 1032945 w 7631757"/>
              <a:gd name="connsiteY12" fmla="*/ 937302 h 6400800"/>
              <a:gd name="connsiteX13" fmla="*/ 2397392 w 7631757"/>
              <a:gd name="connsiteY13" fmla="*/ 1525892 h 6400800"/>
              <a:gd name="connsiteX14" fmla="*/ 1681595 w 7631757"/>
              <a:gd name="connsiteY14" fmla="*/ 2175411 h 6400800"/>
              <a:gd name="connsiteX15" fmla="*/ 1032945 w 7631757"/>
              <a:gd name="connsiteY15" fmla="*/ 937302 h 6400800"/>
              <a:gd name="connsiteX16" fmla="*/ 0 w 7631757"/>
              <a:gd name="connsiteY16" fmla="*/ 3200400 h 6400800"/>
              <a:gd name="connsiteX17" fmla="*/ 1423280 w 7631757"/>
              <a:gd name="connsiteY17" fmla="*/ 2741114 h 6400800"/>
              <a:gd name="connsiteX18" fmla="*/ 1423280 w 7631757"/>
              <a:gd name="connsiteY18" fmla="*/ 3659686 h 6400800"/>
              <a:gd name="connsiteX19" fmla="*/ 0 w 7631757"/>
              <a:gd name="connsiteY19" fmla="*/ 3200400 h 6400800"/>
              <a:gd name="connsiteX20" fmla="*/ 1032945 w 7631757"/>
              <a:gd name="connsiteY20" fmla="*/ 5463202 h 6400800"/>
              <a:gd name="connsiteX21" fmla="*/ 1681595 w 7631757"/>
              <a:gd name="connsiteY21" fmla="*/ 4225389 h 6400800"/>
              <a:gd name="connsiteX22" fmla="*/ 2397392 w 7631757"/>
              <a:gd name="connsiteY22" fmla="*/ 4874908 h 6400800"/>
              <a:gd name="connsiteX23" fmla="*/ 1032945 w 7631757"/>
              <a:gd name="connsiteY23" fmla="*/ 5463202 h 6400800"/>
              <a:gd name="connsiteX24" fmla="*/ 3526972 w 7631757"/>
              <a:gd name="connsiteY24" fmla="*/ 6400800 h 6400800"/>
              <a:gd name="connsiteX25" fmla="*/ 3020819 w 7631757"/>
              <a:gd name="connsiteY25" fmla="*/ 5109306 h 6400800"/>
              <a:gd name="connsiteX26" fmla="*/ 4033124 w 7631757"/>
              <a:gd name="connsiteY26" fmla="*/ 5109306 h 6400800"/>
              <a:gd name="connsiteX27" fmla="*/ 3526972 w 7631757"/>
              <a:gd name="connsiteY27" fmla="*/ 6400800 h 6400800"/>
              <a:gd name="connsiteX28" fmla="*/ 7631757 w 7631757"/>
              <a:gd name="connsiteY28" fmla="*/ 5245487 h 6400800"/>
              <a:gd name="connsiteX29" fmla="*/ 4656551 w 7631757"/>
              <a:gd name="connsiteY29" fmla="*/ 4874908 h 6400800"/>
              <a:gd name="connsiteX30" fmla="*/ 5372348 w 7631757"/>
              <a:gd name="connsiteY30" fmla="*/ 4225389 h 6400800"/>
              <a:gd name="connsiteX31" fmla="*/ 7631757 w 7631757"/>
              <a:gd name="connsiteY31" fmla="*/ 5245487 h 6400800"/>
              <a:gd name="connsiteX32" fmla="*/ 1763486 w 7631757"/>
              <a:gd name="connsiteY32" fmla="*/ 3200400 h 6400800"/>
              <a:gd name="connsiteX33" fmla="*/ 3526974 w 7631757"/>
              <a:gd name="connsiteY33" fmla="*/ 1600202 h 6400800"/>
              <a:gd name="connsiteX34" fmla="*/ 5290458 w 7631757"/>
              <a:gd name="connsiteY34" fmla="*/ 3200404 h 6400800"/>
              <a:gd name="connsiteX35" fmla="*/ 3526970 w 7631757"/>
              <a:gd name="connsiteY35" fmla="*/ 4800602 h 6400800"/>
              <a:gd name="connsiteX36" fmla="*/ 1763486 w 7631757"/>
              <a:gd name="connsiteY36" fmla="*/ 3200400 h 6400800"/>
              <a:gd name="connsiteX0" fmla="*/ 7053943 w 7631757"/>
              <a:gd name="connsiteY0" fmla="*/ 3200400 h 6400800"/>
              <a:gd name="connsiteX1" fmla="*/ 5630663 w 7631757"/>
              <a:gd name="connsiteY1" fmla="*/ 3659686 h 6400800"/>
              <a:gd name="connsiteX2" fmla="*/ 5630663 w 7631757"/>
              <a:gd name="connsiteY2" fmla="*/ 2741114 h 6400800"/>
              <a:gd name="connsiteX3" fmla="*/ 7053943 w 7631757"/>
              <a:gd name="connsiteY3" fmla="*/ 3200400 h 6400800"/>
              <a:gd name="connsiteX4" fmla="*/ 6020671 w 7631757"/>
              <a:gd name="connsiteY4" fmla="*/ 937302 h 6400800"/>
              <a:gd name="connsiteX5" fmla="*/ 5372348 w 7631757"/>
              <a:gd name="connsiteY5" fmla="*/ 2175411 h 6400800"/>
              <a:gd name="connsiteX6" fmla="*/ 4656551 w 7631757"/>
              <a:gd name="connsiteY6" fmla="*/ 1525892 h 6400800"/>
              <a:gd name="connsiteX7" fmla="*/ 6020671 w 7631757"/>
              <a:gd name="connsiteY7" fmla="*/ 937302 h 6400800"/>
              <a:gd name="connsiteX8" fmla="*/ 3526972 w 7631757"/>
              <a:gd name="connsiteY8" fmla="*/ 0 h 6400800"/>
              <a:gd name="connsiteX9" fmla="*/ 4033124 w 7631757"/>
              <a:gd name="connsiteY9" fmla="*/ 1291494 h 6400800"/>
              <a:gd name="connsiteX10" fmla="*/ 3020819 w 7631757"/>
              <a:gd name="connsiteY10" fmla="*/ 1291494 h 6400800"/>
              <a:gd name="connsiteX11" fmla="*/ 3526972 w 7631757"/>
              <a:gd name="connsiteY11" fmla="*/ 0 h 6400800"/>
              <a:gd name="connsiteX12" fmla="*/ 1032945 w 7631757"/>
              <a:gd name="connsiteY12" fmla="*/ 937302 h 6400800"/>
              <a:gd name="connsiteX13" fmla="*/ 2397392 w 7631757"/>
              <a:gd name="connsiteY13" fmla="*/ 1525892 h 6400800"/>
              <a:gd name="connsiteX14" fmla="*/ 1681595 w 7631757"/>
              <a:gd name="connsiteY14" fmla="*/ 2175411 h 6400800"/>
              <a:gd name="connsiteX15" fmla="*/ 1032945 w 7631757"/>
              <a:gd name="connsiteY15" fmla="*/ 937302 h 6400800"/>
              <a:gd name="connsiteX16" fmla="*/ 0 w 7631757"/>
              <a:gd name="connsiteY16" fmla="*/ 3200400 h 6400800"/>
              <a:gd name="connsiteX17" fmla="*/ 1423280 w 7631757"/>
              <a:gd name="connsiteY17" fmla="*/ 2741114 h 6400800"/>
              <a:gd name="connsiteX18" fmla="*/ 1423280 w 7631757"/>
              <a:gd name="connsiteY18" fmla="*/ 3659686 h 6400800"/>
              <a:gd name="connsiteX19" fmla="*/ 0 w 7631757"/>
              <a:gd name="connsiteY19" fmla="*/ 3200400 h 6400800"/>
              <a:gd name="connsiteX20" fmla="*/ 1032945 w 7631757"/>
              <a:gd name="connsiteY20" fmla="*/ 5463202 h 6400800"/>
              <a:gd name="connsiteX21" fmla="*/ 1681595 w 7631757"/>
              <a:gd name="connsiteY21" fmla="*/ 4225389 h 6400800"/>
              <a:gd name="connsiteX22" fmla="*/ 2397392 w 7631757"/>
              <a:gd name="connsiteY22" fmla="*/ 4874908 h 6400800"/>
              <a:gd name="connsiteX23" fmla="*/ 1032945 w 7631757"/>
              <a:gd name="connsiteY23" fmla="*/ 5463202 h 6400800"/>
              <a:gd name="connsiteX24" fmla="*/ 3526972 w 7631757"/>
              <a:gd name="connsiteY24" fmla="*/ 6400800 h 6400800"/>
              <a:gd name="connsiteX25" fmla="*/ 3020819 w 7631757"/>
              <a:gd name="connsiteY25" fmla="*/ 5109306 h 6400800"/>
              <a:gd name="connsiteX26" fmla="*/ 4033124 w 7631757"/>
              <a:gd name="connsiteY26" fmla="*/ 5109306 h 6400800"/>
              <a:gd name="connsiteX27" fmla="*/ 3526972 w 7631757"/>
              <a:gd name="connsiteY27" fmla="*/ 6400800 h 6400800"/>
              <a:gd name="connsiteX28" fmla="*/ 7631757 w 7631757"/>
              <a:gd name="connsiteY28" fmla="*/ 5245487 h 6400800"/>
              <a:gd name="connsiteX29" fmla="*/ 6441809 w 7631757"/>
              <a:gd name="connsiteY29" fmla="*/ 5252279 h 6400800"/>
              <a:gd name="connsiteX30" fmla="*/ 5372348 w 7631757"/>
              <a:gd name="connsiteY30" fmla="*/ 4225389 h 6400800"/>
              <a:gd name="connsiteX31" fmla="*/ 7631757 w 7631757"/>
              <a:gd name="connsiteY31" fmla="*/ 5245487 h 6400800"/>
              <a:gd name="connsiteX32" fmla="*/ 1763486 w 7631757"/>
              <a:gd name="connsiteY32" fmla="*/ 3200400 h 6400800"/>
              <a:gd name="connsiteX33" fmla="*/ 3526974 w 7631757"/>
              <a:gd name="connsiteY33" fmla="*/ 1600202 h 6400800"/>
              <a:gd name="connsiteX34" fmla="*/ 5290458 w 7631757"/>
              <a:gd name="connsiteY34" fmla="*/ 3200404 h 6400800"/>
              <a:gd name="connsiteX35" fmla="*/ 3526970 w 7631757"/>
              <a:gd name="connsiteY35" fmla="*/ 4800602 h 6400800"/>
              <a:gd name="connsiteX36" fmla="*/ 1763486 w 7631757"/>
              <a:gd name="connsiteY36" fmla="*/ 3200400 h 6400800"/>
              <a:gd name="connsiteX0" fmla="*/ 7053943 w 7631757"/>
              <a:gd name="connsiteY0" fmla="*/ 3200400 h 6400800"/>
              <a:gd name="connsiteX1" fmla="*/ 5630663 w 7631757"/>
              <a:gd name="connsiteY1" fmla="*/ 3659686 h 6400800"/>
              <a:gd name="connsiteX2" fmla="*/ 5630663 w 7631757"/>
              <a:gd name="connsiteY2" fmla="*/ 2741114 h 6400800"/>
              <a:gd name="connsiteX3" fmla="*/ 7053943 w 7631757"/>
              <a:gd name="connsiteY3" fmla="*/ 3200400 h 6400800"/>
              <a:gd name="connsiteX4" fmla="*/ 6020671 w 7631757"/>
              <a:gd name="connsiteY4" fmla="*/ 937302 h 6400800"/>
              <a:gd name="connsiteX5" fmla="*/ 5372348 w 7631757"/>
              <a:gd name="connsiteY5" fmla="*/ 2175411 h 6400800"/>
              <a:gd name="connsiteX6" fmla="*/ 4656551 w 7631757"/>
              <a:gd name="connsiteY6" fmla="*/ 1525892 h 6400800"/>
              <a:gd name="connsiteX7" fmla="*/ 6020671 w 7631757"/>
              <a:gd name="connsiteY7" fmla="*/ 937302 h 6400800"/>
              <a:gd name="connsiteX8" fmla="*/ 3526972 w 7631757"/>
              <a:gd name="connsiteY8" fmla="*/ 0 h 6400800"/>
              <a:gd name="connsiteX9" fmla="*/ 4033124 w 7631757"/>
              <a:gd name="connsiteY9" fmla="*/ 1291494 h 6400800"/>
              <a:gd name="connsiteX10" fmla="*/ 3020819 w 7631757"/>
              <a:gd name="connsiteY10" fmla="*/ 1291494 h 6400800"/>
              <a:gd name="connsiteX11" fmla="*/ 3526972 w 7631757"/>
              <a:gd name="connsiteY11" fmla="*/ 0 h 6400800"/>
              <a:gd name="connsiteX12" fmla="*/ 1032945 w 7631757"/>
              <a:gd name="connsiteY12" fmla="*/ 937302 h 6400800"/>
              <a:gd name="connsiteX13" fmla="*/ 2397392 w 7631757"/>
              <a:gd name="connsiteY13" fmla="*/ 1525892 h 6400800"/>
              <a:gd name="connsiteX14" fmla="*/ 1681595 w 7631757"/>
              <a:gd name="connsiteY14" fmla="*/ 2175411 h 6400800"/>
              <a:gd name="connsiteX15" fmla="*/ 1032945 w 7631757"/>
              <a:gd name="connsiteY15" fmla="*/ 937302 h 6400800"/>
              <a:gd name="connsiteX16" fmla="*/ 0 w 7631757"/>
              <a:gd name="connsiteY16" fmla="*/ 3200400 h 6400800"/>
              <a:gd name="connsiteX17" fmla="*/ 1423280 w 7631757"/>
              <a:gd name="connsiteY17" fmla="*/ 2741114 h 6400800"/>
              <a:gd name="connsiteX18" fmla="*/ 1423280 w 7631757"/>
              <a:gd name="connsiteY18" fmla="*/ 3659686 h 6400800"/>
              <a:gd name="connsiteX19" fmla="*/ 0 w 7631757"/>
              <a:gd name="connsiteY19" fmla="*/ 3200400 h 6400800"/>
              <a:gd name="connsiteX20" fmla="*/ 1032945 w 7631757"/>
              <a:gd name="connsiteY20" fmla="*/ 5463202 h 6400800"/>
              <a:gd name="connsiteX21" fmla="*/ 1681595 w 7631757"/>
              <a:gd name="connsiteY21" fmla="*/ 4225389 h 6400800"/>
              <a:gd name="connsiteX22" fmla="*/ 2397392 w 7631757"/>
              <a:gd name="connsiteY22" fmla="*/ 4874908 h 6400800"/>
              <a:gd name="connsiteX23" fmla="*/ 1032945 w 7631757"/>
              <a:gd name="connsiteY23" fmla="*/ 5463202 h 6400800"/>
              <a:gd name="connsiteX24" fmla="*/ 3526972 w 7631757"/>
              <a:gd name="connsiteY24" fmla="*/ 6400800 h 6400800"/>
              <a:gd name="connsiteX25" fmla="*/ 3020819 w 7631757"/>
              <a:gd name="connsiteY25" fmla="*/ 5109306 h 6400800"/>
              <a:gd name="connsiteX26" fmla="*/ 4033124 w 7631757"/>
              <a:gd name="connsiteY26" fmla="*/ 5109306 h 6400800"/>
              <a:gd name="connsiteX27" fmla="*/ 3526972 w 7631757"/>
              <a:gd name="connsiteY27" fmla="*/ 6400800 h 6400800"/>
              <a:gd name="connsiteX28" fmla="*/ 7631757 w 7631757"/>
              <a:gd name="connsiteY28" fmla="*/ 5245487 h 6400800"/>
              <a:gd name="connsiteX29" fmla="*/ 6441809 w 7631757"/>
              <a:gd name="connsiteY29" fmla="*/ 5252279 h 6400800"/>
              <a:gd name="connsiteX30" fmla="*/ 7041491 w 7631757"/>
              <a:gd name="connsiteY30" fmla="*/ 4631789 h 6400800"/>
              <a:gd name="connsiteX31" fmla="*/ 7631757 w 7631757"/>
              <a:gd name="connsiteY31" fmla="*/ 5245487 h 6400800"/>
              <a:gd name="connsiteX32" fmla="*/ 1763486 w 7631757"/>
              <a:gd name="connsiteY32" fmla="*/ 3200400 h 6400800"/>
              <a:gd name="connsiteX33" fmla="*/ 3526974 w 7631757"/>
              <a:gd name="connsiteY33" fmla="*/ 1600202 h 6400800"/>
              <a:gd name="connsiteX34" fmla="*/ 5290458 w 7631757"/>
              <a:gd name="connsiteY34" fmla="*/ 3200404 h 6400800"/>
              <a:gd name="connsiteX35" fmla="*/ 3526970 w 7631757"/>
              <a:gd name="connsiteY35" fmla="*/ 4800602 h 6400800"/>
              <a:gd name="connsiteX36" fmla="*/ 1763486 w 7631757"/>
              <a:gd name="connsiteY36" fmla="*/ 3200400 h 6400800"/>
              <a:gd name="connsiteX0" fmla="*/ 7053943 w 7631757"/>
              <a:gd name="connsiteY0" fmla="*/ 3200400 h 6400800"/>
              <a:gd name="connsiteX1" fmla="*/ 5630663 w 7631757"/>
              <a:gd name="connsiteY1" fmla="*/ 3659686 h 6400800"/>
              <a:gd name="connsiteX2" fmla="*/ 5630663 w 7631757"/>
              <a:gd name="connsiteY2" fmla="*/ 2741114 h 6400800"/>
              <a:gd name="connsiteX3" fmla="*/ 7053943 w 7631757"/>
              <a:gd name="connsiteY3" fmla="*/ 3200400 h 6400800"/>
              <a:gd name="connsiteX4" fmla="*/ 6020671 w 7631757"/>
              <a:gd name="connsiteY4" fmla="*/ 937302 h 6400800"/>
              <a:gd name="connsiteX5" fmla="*/ 5372348 w 7631757"/>
              <a:gd name="connsiteY5" fmla="*/ 2175411 h 6400800"/>
              <a:gd name="connsiteX6" fmla="*/ 4656551 w 7631757"/>
              <a:gd name="connsiteY6" fmla="*/ 1525892 h 6400800"/>
              <a:gd name="connsiteX7" fmla="*/ 6020671 w 7631757"/>
              <a:gd name="connsiteY7" fmla="*/ 937302 h 6400800"/>
              <a:gd name="connsiteX8" fmla="*/ 3526972 w 7631757"/>
              <a:gd name="connsiteY8" fmla="*/ 0 h 6400800"/>
              <a:gd name="connsiteX9" fmla="*/ 4033124 w 7631757"/>
              <a:gd name="connsiteY9" fmla="*/ 1291494 h 6400800"/>
              <a:gd name="connsiteX10" fmla="*/ 3020819 w 7631757"/>
              <a:gd name="connsiteY10" fmla="*/ 1291494 h 6400800"/>
              <a:gd name="connsiteX11" fmla="*/ 3526972 w 7631757"/>
              <a:gd name="connsiteY11" fmla="*/ 0 h 6400800"/>
              <a:gd name="connsiteX12" fmla="*/ 1032945 w 7631757"/>
              <a:gd name="connsiteY12" fmla="*/ 937302 h 6400800"/>
              <a:gd name="connsiteX13" fmla="*/ 2397392 w 7631757"/>
              <a:gd name="connsiteY13" fmla="*/ 1525892 h 6400800"/>
              <a:gd name="connsiteX14" fmla="*/ 1681595 w 7631757"/>
              <a:gd name="connsiteY14" fmla="*/ 2175411 h 6400800"/>
              <a:gd name="connsiteX15" fmla="*/ 1032945 w 7631757"/>
              <a:gd name="connsiteY15" fmla="*/ 937302 h 6400800"/>
              <a:gd name="connsiteX16" fmla="*/ 0 w 7631757"/>
              <a:gd name="connsiteY16" fmla="*/ 3200400 h 6400800"/>
              <a:gd name="connsiteX17" fmla="*/ 1423280 w 7631757"/>
              <a:gd name="connsiteY17" fmla="*/ 2741114 h 6400800"/>
              <a:gd name="connsiteX18" fmla="*/ 1423280 w 7631757"/>
              <a:gd name="connsiteY18" fmla="*/ 3659686 h 6400800"/>
              <a:gd name="connsiteX19" fmla="*/ 0 w 7631757"/>
              <a:gd name="connsiteY19" fmla="*/ 3200400 h 6400800"/>
              <a:gd name="connsiteX20" fmla="*/ 1032945 w 7631757"/>
              <a:gd name="connsiteY20" fmla="*/ 5463202 h 6400800"/>
              <a:gd name="connsiteX21" fmla="*/ 1681595 w 7631757"/>
              <a:gd name="connsiteY21" fmla="*/ 4225389 h 6400800"/>
              <a:gd name="connsiteX22" fmla="*/ 2397392 w 7631757"/>
              <a:gd name="connsiteY22" fmla="*/ 4874908 h 6400800"/>
              <a:gd name="connsiteX23" fmla="*/ 1032945 w 7631757"/>
              <a:gd name="connsiteY23" fmla="*/ 5463202 h 6400800"/>
              <a:gd name="connsiteX24" fmla="*/ 3526972 w 7631757"/>
              <a:gd name="connsiteY24" fmla="*/ 6400800 h 6400800"/>
              <a:gd name="connsiteX25" fmla="*/ 3020819 w 7631757"/>
              <a:gd name="connsiteY25" fmla="*/ 5109306 h 6400800"/>
              <a:gd name="connsiteX26" fmla="*/ 4033124 w 7631757"/>
              <a:gd name="connsiteY26" fmla="*/ 5109306 h 6400800"/>
              <a:gd name="connsiteX27" fmla="*/ 3526972 w 7631757"/>
              <a:gd name="connsiteY27" fmla="*/ 6400800 h 6400800"/>
              <a:gd name="connsiteX28" fmla="*/ 7631757 w 7631757"/>
              <a:gd name="connsiteY28" fmla="*/ 5245487 h 6400800"/>
              <a:gd name="connsiteX29" fmla="*/ 6705602 w 7631757"/>
              <a:gd name="connsiteY29" fmla="*/ 5762171 h 6400800"/>
              <a:gd name="connsiteX30" fmla="*/ 6441809 w 7631757"/>
              <a:gd name="connsiteY30" fmla="*/ 5252279 h 6400800"/>
              <a:gd name="connsiteX31" fmla="*/ 7041491 w 7631757"/>
              <a:gd name="connsiteY31" fmla="*/ 4631789 h 6400800"/>
              <a:gd name="connsiteX32" fmla="*/ 7631757 w 7631757"/>
              <a:gd name="connsiteY32" fmla="*/ 5245487 h 6400800"/>
              <a:gd name="connsiteX33" fmla="*/ 1763486 w 7631757"/>
              <a:gd name="connsiteY33" fmla="*/ 3200400 h 6400800"/>
              <a:gd name="connsiteX34" fmla="*/ 3526974 w 7631757"/>
              <a:gd name="connsiteY34" fmla="*/ 1600202 h 6400800"/>
              <a:gd name="connsiteX35" fmla="*/ 5290458 w 7631757"/>
              <a:gd name="connsiteY35" fmla="*/ 3200404 h 6400800"/>
              <a:gd name="connsiteX36" fmla="*/ 3526970 w 7631757"/>
              <a:gd name="connsiteY36" fmla="*/ 4800602 h 6400800"/>
              <a:gd name="connsiteX37" fmla="*/ 1763486 w 7631757"/>
              <a:gd name="connsiteY37" fmla="*/ 3200400 h 6400800"/>
              <a:gd name="connsiteX0" fmla="*/ 7053943 w 7631757"/>
              <a:gd name="connsiteY0" fmla="*/ 3200400 h 6400800"/>
              <a:gd name="connsiteX1" fmla="*/ 5630663 w 7631757"/>
              <a:gd name="connsiteY1" fmla="*/ 3659686 h 6400800"/>
              <a:gd name="connsiteX2" fmla="*/ 5630663 w 7631757"/>
              <a:gd name="connsiteY2" fmla="*/ 2741114 h 6400800"/>
              <a:gd name="connsiteX3" fmla="*/ 7053943 w 7631757"/>
              <a:gd name="connsiteY3" fmla="*/ 3200400 h 6400800"/>
              <a:gd name="connsiteX4" fmla="*/ 6020671 w 7631757"/>
              <a:gd name="connsiteY4" fmla="*/ 937302 h 6400800"/>
              <a:gd name="connsiteX5" fmla="*/ 5372348 w 7631757"/>
              <a:gd name="connsiteY5" fmla="*/ 2175411 h 6400800"/>
              <a:gd name="connsiteX6" fmla="*/ 4656551 w 7631757"/>
              <a:gd name="connsiteY6" fmla="*/ 1525892 h 6400800"/>
              <a:gd name="connsiteX7" fmla="*/ 6020671 w 7631757"/>
              <a:gd name="connsiteY7" fmla="*/ 937302 h 6400800"/>
              <a:gd name="connsiteX8" fmla="*/ 3526972 w 7631757"/>
              <a:gd name="connsiteY8" fmla="*/ 0 h 6400800"/>
              <a:gd name="connsiteX9" fmla="*/ 4033124 w 7631757"/>
              <a:gd name="connsiteY9" fmla="*/ 1291494 h 6400800"/>
              <a:gd name="connsiteX10" fmla="*/ 3020819 w 7631757"/>
              <a:gd name="connsiteY10" fmla="*/ 1291494 h 6400800"/>
              <a:gd name="connsiteX11" fmla="*/ 3526972 w 7631757"/>
              <a:gd name="connsiteY11" fmla="*/ 0 h 6400800"/>
              <a:gd name="connsiteX12" fmla="*/ 1032945 w 7631757"/>
              <a:gd name="connsiteY12" fmla="*/ 937302 h 6400800"/>
              <a:gd name="connsiteX13" fmla="*/ 2397392 w 7631757"/>
              <a:gd name="connsiteY13" fmla="*/ 1525892 h 6400800"/>
              <a:gd name="connsiteX14" fmla="*/ 1681595 w 7631757"/>
              <a:gd name="connsiteY14" fmla="*/ 2175411 h 6400800"/>
              <a:gd name="connsiteX15" fmla="*/ 1032945 w 7631757"/>
              <a:gd name="connsiteY15" fmla="*/ 937302 h 6400800"/>
              <a:gd name="connsiteX16" fmla="*/ 0 w 7631757"/>
              <a:gd name="connsiteY16" fmla="*/ 3200400 h 6400800"/>
              <a:gd name="connsiteX17" fmla="*/ 1423280 w 7631757"/>
              <a:gd name="connsiteY17" fmla="*/ 2741114 h 6400800"/>
              <a:gd name="connsiteX18" fmla="*/ 1423280 w 7631757"/>
              <a:gd name="connsiteY18" fmla="*/ 3659686 h 6400800"/>
              <a:gd name="connsiteX19" fmla="*/ 0 w 7631757"/>
              <a:gd name="connsiteY19" fmla="*/ 3200400 h 6400800"/>
              <a:gd name="connsiteX20" fmla="*/ 1032945 w 7631757"/>
              <a:gd name="connsiteY20" fmla="*/ 5463202 h 6400800"/>
              <a:gd name="connsiteX21" fmla="*/ 1681595 w 7631757"/>
              <a:gd name="connsiteY21" fmla="*/ 4225389 h 6400800"/>
              <a:gd name="connsiteX22" fmla="*/ 2397392 w 7631757"/>
              <a:gd name="connsiteY22" fmla="*/ 4874908 h 6400800"/>
              <a:gd name="connsiteX23" fmla="*/ 1032945 w 7631757"/>
              <a:gd name="connsiteY23" fmla="*/ 5463202 h 6400800"/>
              <a:gd name="connsiteX24" fmla="*/ 3526972 w 7631757"/>
              <a:gd name="connsiteY24" fmla="*/ 6400800 h 6400800"/>
              <a:gd name="connsiteX25" fmla="*/ 3020819 w 7631757"/>
              <a:gd name="connsiteY25" fmla="*/ 5109306 h 6400800"/>
              <a:gd name="connsiteX26" fmla="*/ 4033124 w 7631757"/>
              <a:gd name="connsiteY26" fmla="*/ 5109306 h 6400800"/>
              <a:gd name="connsiteX27" fmla="*/ 3526972 w 7631757"/>
              <a:gd name="connsiteY27" fmla="*/ 6400800 h 6400800"/>
              <a:gd name="connsiteX28" fmla="*/ 7631757 w 7631757"/>
              <a:gd name="connsiteY28" fmla="*/ 5245487 h 6400800"/>
              <a:gd name="connsiteX29" fmla="*/ 7431316 w 7631757"/>
              <a:gd name="connsiteY29" fmla="*/ 5718629 h 6400800"/>
              <a:gd name="connsiteX30" fmla="*/ 6705602 w 7631757"/>
              <a:gd name="connsiteY30" fmla="*/ 5762171 h 6400800"/>
              <a:gd name="connsiteX31" fmla="*/ 6441809 w 7631757"/>
              <a:gd name="connsiteY31" fmla="*/ 5252279 h 6400800"/>
              <a:gd name="connsiteX32" fmla="*/ 7041491 w 7631757"/>
              <a:gd name="connsiteY32" fmla="*/ 4631789 h 6400800"/>
              <a:gd name="connsiteX33" fmla="*/ 7631757 w 7631757"/>
              <a:gd name="connsiteY33" fmla="*/ 5245487 h 6400800"/>
              <a:gd name="connsiteX34" fmla="*/ 1763486 w 7631757"/>
              <a:gd name="connsiteY34" fmla="*/ 3200400 h 6400800"/>
              <a:gd name="connsiteX35" fmla="*/ 3526974 w 7631757"/>
              <a:gd name="connsiteY35" fmla="*/ 1600202 h 6400800"/>
              <a:gd name="connsiteX36" fmla="*/ 5290458 w 7631757"/>
              <a:gd name="connsiteY36" fmla="*/ 3200404 h 6400800"/>
              <a:gd name="connsiteX37" fmla="*/ 3526970 w 7631757"/>
              <a:gd name="connsiteY37" fmla="*/ 4800602 h 6400800"/>
              <a:gd name="connsiteX38" fmla="*/ 1763486 w 7631757"/>
              <a:gd name="connsiteY38" fmla="*/ 3200400 h 6400800"/>
              <a:gd name="connsiteX0" fmla="*/ 7053943 w 7631757"/>
              <a:gd name="connsiteY0" fmla="*/ 3200400 h 6400800"/>
              <a:gd name="connsiteX1" fmla="*/ 5630663 w 7631757"/>
              <a:gd name="connsiteY1" fmla="*/ 3659686 h 6400800"/>
              <a:gd name="connsiteX2" fmla="*/ 5630663 w 7631757"/>
              <a:gd name="connsiteY2" fmla="*/ 2741114 h 6400800"/>
              <a:gd name="connsiteX3" fmla="*/ 7053943 w 7631757"/>
              <a:gd name="connsiteY3" fmla="*/ 3200400 h 6400800"/>
              <a:gd name="connsiteX4" fmla="*/ 6020671 w 7631757"/>
              <a:gd name="connsiteY4" fmla="*/ 937302 h 6400800"/>
              <a:gd name="connsiteX5" fmla="*/ 5372348 w 7631757"/>
              <a:gd name="connsiteY5" fmla="*/ 2175411 h 6400800"/>
              <a:gd name="connsiteX6" fmla="*/ 4656551 w 7631757"/>
              <a:gd name="connsiteY6" fmla="*/ 1525892 h 6400800"/>
              <a:gd name="connsiteX7" fmla="*/ 6020671 w 7631757"/>
              <a:gd name="connsiteY7" fmla="*/ 937302 h 6400800"/>
              <a:gd name="connsiteX8" fmla="*/ 3526972 w 7631757"/>
              <a:gd name="connsiteY8" fmla="*/ 0 h 6400800"/>
              <a:gd name="connsiteX9" fmla="*/ 4033124 w 7631757"/>
              <a:gd name="connsiteY9" fmla="*/ 1291494 h 6400800"/>
              <a:gd name="connsiteX10" fmla="*/ 3020819 w 7631757"/>
              <a:gd name="connsiteY10" fmla="*/ 1291494 h 6400800"/>
              <a:gd name="connsiteX11" fmla="*/ 3526972 w 7631757"/>
              <a:gd name="connsiteY11" fmla="*/ 0 h 6400800"/>
              <a:gd name="connsiteX12" fmla="*/ 1032945 w 7631757"/>
              <a:gd name="connsiteY12" fmla="*/ 937302 h 6400800"/>
              <a:gd name="connsiteX13" fmla="*/ 2397392 w 7631757"/>
              <a:gd name="connsiteY13" fmla="*/ 1525892 h 6400800"/>
              <a:gd name="connsiteX14" fmla="*/ 1681595 w 7631757"/>
              <a:gd name="connsiteY14" fmla="*/ 2175411 h 6400800"/>
              <a:gd name="connsiteX15" fmla="*/ 1032945 w 7631757"/>
              <a:gd name="connsiteY15" fmla="*/ 937302 h 6400800"/>
              <a:gd name="connsiteX16" fmla="*/ 0 w 7631757"/>
              <a:gd name="connsiteY16" fmla="*/ 3200400 h 6400800"/>
              <a:gd name="connsiteX17" fmla="*/ 1423280 w 7631757"/>
              <a:gd name="connsiteY17" fmla="*/ 2741114 h 6400800"/>
              <a:gd name="connsiteX18" fmla="*/ 1423280 w 7631757"/>
              <a:gd name="connsiteY18" fmla="*/ 3659686 h 6400800"/>
              <a:gd name="connsiteX19" fmla="*/ 0 w 7631757"/>
              <a:gd name="connsiteY19" fmla="*/ 3200400 h 6400800"/>
              <a:gd name="connsiteX20" fmla="*/ 1032945 w 7631757"/>
              <a:gd name="connsiteY20" fmla="*/ 5463202 h 6400800"/>
              <a:gd name="connsiteX21" fmla="*/ 1681595 w 7631757"/>
              <a:gd name="connsiteY21" fmla="*/ 4225389 h 6400800"/>
              <a:gd name="connsiteX22" fmla="*/ 2397392 w 7631757"/>
              <a:gd name="connsiteY22" fmla="*/ 4874908 h 6400800"/>
              <a:gd name="connsiteX23" fmla="*/ 1032945 w 7631757"/>
              <a:gd name="connsiteY23" fmla="*/ 5463202 h 6400800"/>
              <a:gd name="connsiteX24" fmla="*/ 3526972 w 7631757"/>
              <a:gd name="connsiteY24" fmla="*/ 6400800 h 6400800"/>
              <a:gd name="connsiteX25" fmla="*/ 3020819 w 7631757"/>
              <a:gd name="connsiteY25" fmla="*/ 5109306 h 6400800"/>
              <a:gd name="connsiteX26" fmla="*/ 7356896 w 7631757"/>
              <a:gd name="connsiteY26" fmla="*/ 5297991 h 6400800"/>
              <a:gd name="connsiteX27" fmla="*/ 3526972 w 7631757"/>
              <a:gd name="connsiteY27" fmla="*/ 6400800 h 6400800"/>
              <a:gd name="connsiteX28" fmla="*/ 7631757 w 7631757"/>
              <a:gd name="connsiteY28" fmla="*/ 5245487 h 6400800"/>
              <a:gd name="connsiteX29" fmla="*/ 7431316 w 7631757"/>
              <a:gd name="connsiteY29" fmla="*/ 5718629 h 6400800"/>
              <a:gd name="connsiteX30" fmla="*/ 6705602 w 7631757"/>
              <a:gd name="connsiteY30" fmla="*/ 5762171 h 6400800"/>
              <a:gd name="connsiteX31" fmla="*/ 6441809 w 7631757"/>
              <a:gd name="connsiteY31" fmla="*/ 5252279 h 6400800"/>
              <a:gd name="connsiteX32" fmla="*/ 7041491 w 7631757"/>
              <a:gd name="connsiteY32" fmla="*/ 4631789 h 6400800"/>
              <a:gd name="connsiteX33" fmla="*/ 7631757 w 7631757"/>
              <a:gd name="connsiteY33" fmla="*/ 5245487 h 6400800"/>
              <a:gd name="connsiteX34" fmla="*/ 1763486 w 7631757"/>
              <a:gd name="connsiteY34" fmla="*/ 3200400 h 6400800"/>
              <a:gd name="connsiteX35" fmla="*/ 3526974 w 7631757"/>
              <a:gd name="connsiteY35" fmla="*/ 1600202 h 6400800"/>
              <a:gd name="connsiteX36" fmla="*/ 5290458 w 7631757"/>
              <a:gd name="connsiteY36" fmla="*/ 3200404 h 6400800"/>
              <a:gd name="connsiteX37" fmla="*/ 3526970 w 7631757"/>
              <a:gd name="connsiteY37" fmla="*/ 4800602 h 6400800"/>
              <a:gd name="connsiteX38" fmla="*/ 1763486 w 7631757"/>
              <a:gd name="connsiteY38" fmla="*/ 3200400 h 6400800"/>
              <a:gd name="connsiteX0" fmla="*/ 7053943 w 7631757"/>
              <a:gd name="connsiteY0" fmla="*/ 3200400 h 6400800"/>
              <a:gd name="connsiteX1" fmla="*/ 5630663 w 7631757"/>
              <a:gd name="connsiteY1" fmla="*/ 3659686 h 6400800"/>
              <a:gd name="connsiteX2" fmla="*/ 5630663 w 7631757"/>
              <a:gd name="connsiteY2" fmla="*/ 2741114 h 6400800"/>
              <a:gd name="connsiteX3" fmla="*/ 7053943 w 7631757"/>
              <a:gd name="connsiteY3" fmla="*/ 3200400 h 6400800"/>
              <a:gd name="connsiteX4" fmla="*/ 6020671 w 7631757"/>
              <a:gd name="connsiteY4" fmla="*/ 937302 h 6400800"/>
              <a:gd name="connsiteX5" fmla="*/ 5372348 w 7631757"/>
              <a:gd name="connsiteY5" fmla="*/ 2175411 h 6400800"/>
              <a:gd name="connsiteX6" fmla="*/ 4656551 w 7631757"/>
              <a:gd name="connsiteY6" fmla="*/ 1525892 h 6400800"/>
              <a:gd name="connsiteX7" fmla="*/ 6020671 w 7631757"/>
              <a:gd name="connsiteY7" fmla="*/ 937302 h 6400800"/>
              <a:gd name="connsiteX8" fmla="*/ 3526972 w 7631757"/>
              <a:gd name="connsiteY8" fmla="*/ 0 h 6400800"/>
              <a:gd name="connsiteX9" fmla="*/ 4033124 w 7631757"/>
              <a:gd name="connsiteY9" fmla="*/ 1291494 h 6400800"/>
              <a:gd name="connsiteX10" fmla="*/ 3020819 w 7631757"/>
              <a:gd name="connsiteY10" fmla="*/ 1291494 h 6400800"/>
              <a:gd name="connsiteX11" fmla="*/ 3526972 w 7631757"/>
              <a:gd name="connsiteY11" fmla="*/ 0 h 6400800"/>
              <a:gd name="connsiteX12" fmla="*/ 1032945 w 7631757"/>
              <a:gd name="connsiteY12" fmla="*/ 937302 h 6400800"/>
              <a:gd name="connsiteX13" fmla="*/ 2397392 w 7631757"/>
              <a:gd name="connsiteY13" fmla="*/ 1525892 h 6400800"/>
              <a:gd name="connsiteX14" fmla="*/ 1681595 w 7631757"/>
              <a:gd name="connsiteY14" fmla="*/ 2175411 h 6400800"/>
              <a:gd name="connsiteX15" fmla="*/ 1032945 w 7631757"/>
              <a:gd name="connsiteY15" fmla="*/ 937302 h 6400800"/>
              <a:gd name="connsiteX16" fmla="*/ 0 w 7631757"/>
              <a:gd name="connsiteY16" fmla="*/ 3200400 h 6400800"/>
              <a:gd name="connsiteX17" fmla="*/ 1423280 w 7631757"/>
              <a:gd name="connsiteY17" fmla="*/ 2741114 h 6400800"/>
              <a:gd name="connsiteX18" fmla="*/ 1423280 w 7631757"/>
              <a:gd name="connsiteY18" fmla="*/ 3659686 h 6400800"/>
              <a:gd name="connsiteX19" fmla="*/ 0 w 7631757"/>
              <a:gd name="connsiteY19" fmla="*/ 3200400 h 6400800"/>
              <a:gd name="connsiteX20" fmla="*/ 1032945 w 7631757"/>
              <a:gd name="connsiteY20" fmla="*/ 5463202 h 6400800"/>
              <a:gd name="connsiteX21" fmla="*/ 1681595 w 7631757"/>
              <a:gd name="connsiteY21" fmla="*/ 4225389 h 6400800"/>
              <a:gd name="connsiteX22" fmla="*/ 2397392 w 7631757"/>
              <a:gd name="connsiteY22" fmla="*/ 4874908 h 6400800"/>
              <a:gd name="connsiteX23" fmla="*/ 1032945 w 7631757"/>
              <a:gd name="connsiteY23" fmla="*/ 5463202 h 6400800"/>
              <a:gd name="connsiteX24" fmla="*/ 3526972 w 7631757"/>
              <a:gd name="connsiteY24" fmla="*/ 6400800 h 6400800"/>
              <a:gd name="connsiteX25" fmla="*/ 6780019 w 7631757"/>
              <a:gd name="connsiteY25" fmla="*/ 5167363 h 6400800"/>
              <a:gd name="connsiteX26" fmla="*/ 7356896 w 7631757"/>
              <a:gd name="connsiteY26" fmla="*/ 5297991 h 6400800"/>
              <a:gd name="connsiteX27" fmla="*/ 3526972 w 7631757"/>
              <a:gd name="connsiteY27" fmla="*/ 6400800 h 6400800"/>
              <a:gd name="connsiteX28" fmla="*/ 7631757 w 7631757"/>
              <a:gd name="connsiteY28" fmla="*/ 5245487 h 6400800"/>
              <a:gd name="connsiteX29" fmla="*/ 7431316 w 7631757"/>
              <a:gd name="connsiteY29" fmla="*/ 5718629 h 6400800"/>
              <a:gd name="connsiteX30" fmla="*/ 6705602 w 7631757"/>
              <a:gd name="connsiteY30" fmla="*/ 5762171 h 6400800"/>
              <a:gd name="connsiteX31" fmla="*/ 6441809 w 7631757"/>
              <a:gd name="connsiteY31" fmla="*/ 5252279 h 6400800"/>
              <a:gd name="connsiteX32" fmla="*/ 7041491 w 7631757"/>
              <a:gd name="connsiteY32" fmla="*/ 4631789 h 6400800"/>
              <a:gd name="connsiteX33" fmla="*/ 7631757 w 7631757"/>
              <a:gd name="connsiteY33" fmla="*/ 5245487 h 6400800"/>
              <a:gd name="connsiteX34" fmla="*/ 1763486 w 7631757"/>
              <a:gd name="connsiteY34" fmla="*/ 3200400 h 6400800"/>
              <a:gd name="connsiteX35" fmla="*/ 3526974 w 7631757"/>
              <a:gd name="connsiteY35" fmla="*/ 1600202 h 6400800"/>
              <a:gd name="connsiteX36" fmla="*/ 5290458 w 7631757"/>
              <a:gd name="connsiteY36" fmla="*/ 3200404 h 6400800"/>
              <a:gd name="connsiteX37" fmla="*/ 3526970 w 7631757"/>
              <a:gd name="connsiteY37" fmla="*/ 4800602 h 6400800"/>
              <a:gd name="connsiteX38" fmla="*/ 1763486 w 7631757"/>
              <a:gd name="connsiteY38" fmla="*/ 3200400 h 6400800"/>
              <a:gd name="connsiteX0" fmla="*/ 7053943 w 7631757"/>
              <a:gd name="connsiteY0" fmla="*/ 3200400 h 5762171"/>
              <a:gd name="connsiteX1" fmla="*/ 5630663 w 7631757"/>
              <a:gd name="connsiteY1" fmla="*/ 3659686 h 5762171"/>
              <a:gd name="connsiteX2" fmla="*/ 5630663 w 7631757"/>
              <a:gd name="connsiteY2" fmla="*/ 2741114 h 5762171"/>
              <a:gd name="connsiteX3" fmla="*/ 7053943 w 7631757"/>
              <a:gd name="connsiteY3" fmla="*/ 3200400 h 5762171"/>
              <a:gd name="connsiteX4" fmla="*/ 6020671 w 7631757"/>
              <a:gd name="connsiteY4" fmla="*/ 937302 h 5762171"/>
              <a:gd name="connsiteX5" fmla="*/ 5372348 w 7631757"/>
              <a:gd name="connsiteY5" fmla="*/ 2175411 h 5762171"/>
              <a:gd name="connsiteX6" fmla="*/ 4656551 w 7631757"/>
              <a:gd name="connsiteY6" fmla="*/ 1525892 h 5762171"/>
              <a:gd name="connsiteX7" fmla="*/ 6020671 w 7631757"/>
              <a:gd name="connsiteY7" fmla="*/ 937302 h 5762171"/>
              <a:gd name="connsiteX8" fmla="*/ 3526972 w 7631757"/>
              <a:gd name="connsiteY8" fmla="*/ 0 h 5762171"/>
              <a:gd name="connsiteX9" fmla="*/ 4033124 w 7631757"/>
              <a:gd name="connsiteY9" fmla="*/ 1291494 h 5762171"/>
              <a:gd name="connsiteX10" fmla="*/ 3020819 w 7631757"/>
              <a:gd name="connsiteY10" fmla="*/ 1291494 h 5762171"/>
              <a:gd name="connsiteX11" fmla="*/ 3526972 w 7631757"/>
              <a:gd name="connsiteY11" fmla="*/ 0 h 5762171"/>
              <a:gd name="connsiteX12" fmla="*/ 1032945 w 7631757"/>
              <a:gd name="connsiteY12" fmla="*/ 937302 h 5762171"/>
              <a:gd name="connsiteX13" fmla="*/ 2397392 w 7631757"/>
              <a:gd name="connsiteY13" fmla="*/ 1525892 h 5762171"/>
              <a:gd name="connsiteX14" fmla="*/ 1681595 w 7631757"/>
              <a:gd name="connsiteY14" fmla="*/ 2175411 h 5762171"/>
              <a:gd name="connsiteX15" fmla="*/ 1032945 w 7631757"/>
              <a:gd name="connsiteY15" fmla="*/ 937302 h 5762171"/>
              <a:gd name="connsiteX16" fmla="*/ 0 w 7631757"/>
              <a:gd name="connsiteY16" fmla="*/ 3200400 h 5762171"/>
              <a:gd name="connsiteX17" fmla="*/ 1423280 w 7631757"/>
              <a:gd name="connsiteY17" fmla="*/ 2741114 h 5762171"/>
              <a:gd name="connsiteX18" fmla="*/ 1423280 w 7631757"/>
              <a:gd name="connsiteY18" fmla="*/ 3659686 h 5762171"/>
              <a:gd name="connsiteX19" fmla="*/ 0 w 7631757"/>
              <a:gd name="connsiteY19" fmla="*/ 3200400 h 5762171"/>
              <a:gd name="connsiteX20" fmla="*/ 1032945 w 7631757"/>
              <a:gd name="connsiteY20" fmla="*/ 5463202 h 5762171"/>
              <a:gd name="connsiteX21" fmla="*/ 1681595 w 7631757"/>
              <a:gd name="connsiteY21" fmla="*/ 4225389 h 5762171"/>
              <a:gd name="connsiteX22" fmla="*/ 2397392 w 7631757"/>
              <a:gd name="connsiteY22" fmla="*/ 4874908 h 5762171"/>
              <a:gd name="connsiteX23" fmla="*/ 1032945 w 7631757"/>
              <a:gd name="connsiteY23" fmla="*/ 5463202 h 5762171"/>
              <a:gd name="connsiteX24" fmla="*/ 6995886 w 7631757"/>
              <a:gd name="connsiteY24" fmla="*/ 5602515 h 5762171"/>
              <a:gd name="connsiteX25" fmla="*/ 6780019 w 7631757"/>
              <a:gd name="connsiteY25" fmla="*/ 5167363 h 5762171"/>
              <a:gd name="connsiteX26" fmla="*/ 7356896 w 7631757"/>
              <a:gd name="connsiteY26" fmla="*/ 5297991 h 5762171"/>
              <a:gd name="connsiteX27" fmla="*/ 6995886 w 7631757"/>
              <a:gd name="connsiteY27" fmla="*/ 5602515 h 5762171"/>
              <a:gd name="connsiteX28" fmla="*/ 7631757 w 7631757"/>
              <a:gd name="connsiteY28" fmla="*/ 5245487 h 5762171"/>
              <a:gd name="connsiteX29" fmla="*/ 7431316 w 7631757"/>
              <a:gd name="connsiteY29" fmla="*/ 5718629 h 5762171"/>
              <a:gd name="connsiteX30" fmla="*/ 6705602 w 7631757"/>
              <a:gd name="connsiteY30" fmla="*/ 5762171 h 5762171"/>
              <a:gd name="connsiteX31" fmla="*/ 6441809 w 7631757"/>
              <a:gd name="connsiteY31" fmla="*/ 5252279 h 5762171"/>
              <a:gd name="connsiteX32" fmla="*/ 7041491 w 7631757"/>
              <a:gd name="connsiteY32" fmla="*/ 4631789 h 5762171"/>
              <a:gd name="connsiteX33" fmla="*/ 7631757 w 7631757"/>
              <a:gd name="connsiteY33" fmla="*/ 5245487 h 5762171"/>
              <a:gd name="connsiteX34" fmla="*/ 1763486 w 7631757"/>
              <a:gd name="connsiteY34" fmla="*/ 3200400 h 5762171"/>
              <a:gd name="connsiteX35" fmla="*/ 3526974 w 7631757"/>
              <a:gd name="connsiteY35" fmla="*/ 1600202 h 5762171"/>
              <a:gd name="connsiteX36" fmla="*/ 5290458 w 7631757"/>
              <a:gd name="connsiteY36" fmla="*/ 3200404 h 5762171"/>
              <a:gd name="connsiteX37" fmla="*/ 3526970 w 7631757"/>
              <a:gd name="connsiteY37" fmla="*/ 4800602 h 5762171"/>
              <a:gd name="connsiteX38" fmla="*/ 1763486 w 7631757"/>
              <a:gd name="connsiteY38" fmla="*/ 3200400 h 5762171"/>
              <a:gd name="connsiteX0" fmla="*/ 7053943 w 7631757"/>
              <a:gd name="connsiteY0" fmla="*/ 3200400 h 5762171"/>
              <a:gd name="connsiteX1" fmla="*/ 5630663 w 7631757"/>
              <a:gd name="connsiteY1" fmla="*/ 3659686 h 5762171"/>
              <a:gd name="connsiteX2" fmla="*/ 5630663 w 7631757"/>
              <a:gd name="connsiteY2" fmla="*/ 2741114 h 5762171"/>
              <a:gd name="connsiteX3" fmla="*/ 7053943 w 7631757"/>
              <a:gd name="connsiteY3" fmla="*/ 3200400 h 5762171"/>
              <a:gd name="connsiteX4" fmla="*/ 6020671 w 7631757"/>
              <a:gd name="connsiteY4" fmla="*/ 937302 h 5762171"/>
              <a:gd name="connsiteX5" fmla="*/ 5372348 w 7631757"/>
              <a:gd name="connsiteY5" fmla="*/ 2175411 h 5762171"/>
              <a:gd name="connsiteX6" fmla="*/ 4656551 w 7631757"/>
              <a:gd name="connsiteY6" fmla="*/ 1525892 h 5762171"/>
              <a:gd name="connsiteX7" fmla="*/ 6020671 w 7631757"/>
              <a:gd name="connsiteY7" fmla="*/ 937302 h 5762171"/>
              <a:gd name="connsiteX8" fmla="*/ 3526972 w 7631757"/>
              <a:gd name="connsiteY8" fmla="*/ 0 h 5762171"/>
              <a:gd name="connsiteX9" fmla="*/ 4033124 w 7631757"/>
              <a:gd name="connsiteY9" fmla="*/ 1291494 h 5762171"/>
              <a:gd name="connsiteX10" fmla="*/ 3020819 w 7631757"/>
              <a:gd name="connsiteY10" fmla="*/ 1291494 h 5762171"/>
              <a:gd name="connsiteX11" fmla="*/ 3526972 w 7631757"/>
              <a:gd name="connsiteY11" fmla="*/ 0 h 5762171"/>
              <a:gd name="connsiteX12" fmla="*/ 1032945 w 7631757"/>
              <a:gd name="connsiteY12" fmla="*/ 937302 h 5762171"/>
              <a:gd name="connsiteX13" fmla="*/ 2397392 w 7631757"/>
              <a:gd name="connsiteY13" fmla="*/ 1525892 h 5762171"/>
              <a:gd name="connsiteX14" fmla="*/ 1681595 w 7631757"/>
              <a:gd name="connsiteY14" fmla="*/ 2175411 h 5762171"/>
              <a:gd name="connsiteX15" fmla="*/ 1032945 w 7631757"/>
              <a:gd name="connsiteY15" fmla="*/ 937302 h 5762171"/>
              <a:gd name="connsiteX16" fmla="*/ 0 w 7631757"/>
              <a:gd name="connsiteY16" fmla="*/ 3200400 h 5762171"/>
              <a:gd name="connsiteX17" fmla="*/ 1423280 w 7631757"/>
              <a:gd name="connsiteY17" fmla="*/ 2741114 h 5762171"/>
              <a:gd name="connsiteX18" fmla="*/ 1423280 w 7631757"/>
              <a:gd name="connsiteY18" fmla="*/ 3659686 h 5762171"/>
              <a:gd name="connsiteX19" fmla="*/ 0 w 7631757"/>
              <a:gd name="connsiteY19" fmla="*/ 3200400 h 5762171"/>
              <a:gd name="connsiteX20" fmla="*/ 1032945 w 7631757"/>
              <a:gd name="connsiteY20" fmla="*/ 5463202 h 5762171"/>
              <a:gd name="connsiteX21" fmla="*/ 1696109 w 7631757"/>
              <a:gd name="connsiteY21" fmla="*/ 5284932 h 5762171"/>
              <a:gd name="connsiteX22" fmla="*/ 2397392 w 7631757"/>
              <a:gd name="connsiteY22" fmla="*/ 4874908 h 5762171"/>
              <a:gd name="connsiteX23" fmla="*/ 1032945 w 7631757"/>
              <a:gd name="connsiteY23" fmla="*/ 5463202 h 5762171"/>
              <a:gd name="connsiteX24" fmla="*/ 6995886 w 7631757"/>
              <a:gd name="connsiteY24" fmla="*/ 5602515 h 5762171"/>
              <a:gd name="connsiteX25" fmla="*/ 6780019 w 7631757"/>
              <a:gd name="connsiteY25" fmla="*/ 5167363 h 5762171"/>
              <a:gd name="connsiteX26" fmla="*/ 7356896 w 7631757"/>
              <a:gd name="connsiteY26" fmla="*/ 5297991 h 5762171"/>
              <a:gd name="connsiteX27" fmla="*/ 6995886 w 7631757"/>
              <a:gd name="connsiteY27" fmla="*/ 5602515 h 5762171"/>
              <a:gd name="connsiteX28" fmla="*/ 7631757 w 7631757"/>
              <a:gd name="connsiteY28" fmla="*/ 5245487 h 5762171"/>
              <a:gd name="connsiteX29" fmla="*/ 7431316 w 7631757"/>
              <a:gd name="connsiteY29" fmla="*/ 5718629 h 5762171"/>
              <a:gd name="connsiteX30" fmla="*/ 6705602 w 7631757"/>
              <a:gd name="connsiteY30" fmla="*/ 5762171 h 5762171"/>
              <a:gd name="connsiteX31" fmla="*/ 6441809 w 7631757"/>
              <a:gd name="connsiteY31" fmla="*/ 5252279 h 5762171"/>
              <a:gd name="connsiteX32" fmla="*/ 7041491 w 7631757"/>
              <a:gd name="connsiteY32" fmla="*/ 4631789 h 5762171"/>
              <a:gd name="connsiteX33" fmla="*/ 7631757 w 7631757"/>
              <a:gd name="connsiteY33" fmla="*/ 5245487 h 5762171"/>
              <a:gd name="connsiteX34" fmla="*/ 1763486 w 7631757"/>
              <a:gd name="connsiteY34" fmla="*/ 3200400 h 5762171"/>
              <a:gd name="connsiteX35" fmla="*/ 3526974 w 7631757"/>
              <a:gd name="connsiteY35" fmla="*/ 1600202 h 5762171"/>
              <a:gd name="connsiteX36" fmla="*/ 5290458 w 7631757"/>
              <a:gd name="connsiteY36" fmla="*/ 3200404 h 5762171"/>
              <a:gd name="connsiteX37" fmla="*/ 3526970 w 7631757"/>
              <a:gd name="connsiteY37" fmla="*/ 4800602 h 5762171"/>
              <a:gd name="connsiteX38" fmla="*/ 1763486 w 7631757"/>
              <a:gd name="connsiteY38" fmla="*/ 3200400 h 5762171"/>
              <a:gd name="connsiteX0" fmla="*/ 7053943 w 7631757"/>
              <a:gd name="connsiteY0" fmla="*/ 3200400 h 5762171"/>
              <a:gd name="connsiteX1" fmla="*/ 5630663 w 7631757"/>
              <a:gd name="connsiteY1" fmla="*/ 3659686 h 5762171"/>
              <a:gd name="connsiteX2" fmla="*/ 5630663 w 7631757"/>
              <a:gd name="connsiteY2" fmla="*/ 2741114 h 5762171"/>
              <a:gd name="connsiteX3" fmla="*/ 7053943 w 7631757"/>
              <a:gd name="connsiteY3" fmla="*/ 3200400 h 5762171"/>
              <a:gd name="connsiteX4" fmla="*/ 6020671 w 7631757"/>
              <a:gd name="connsiteY4" fmla="*/ 937302 h 5762171"/>
              <a:gd name="connsiteX5" fmla="*/ 5372348 w 7631757"/>
              <a:gd name="connsiteY5" fmla="*/ 2175411 h 5762171"/>
              <a:gd name="connsiteX6" fmla="*/ 4656551 w 7631757"/>
              <a:gd name="connsiteY6" fmla="*/ 1525892 h 5762171"/>
              <a:gd name="connsiteX7" fmla="*/ 6020671 w 7631757"/>
              <a:gd name="connsiteY7" fmla="*/ 937302 h 5762171"/>
              <a:gd name="connsiteX8" fmla="*/ 3526972 w 7631757"/>
              <a:gd name="connsiteY8" fmla="*/ 0 h 5762171"/>
              <a:gd name="connsiteX9" fmla="*/ 4033124 w 7631757"/>
              <a:gd name="connsiteY9" fmla="*/ 1291494 h 5762171"/>
              <a:gd name="connsiteX10" fmla="*/ 3020819 w 7631757"/>
              <a:gd name="connsiteY10" fmla="*/ 1291494 h 5762171"/>
              <a:gd name="connsiteX11" fmla="*/ 3526972 w 7631757"/>
              <a:gd name="connsiteY11" fmla="*/ 0 h 5762171"/>
              <a:gd name="connsiteX12" fmla="*/ 1032945 w 7631757"/>
              <a:gd name="connsiteY12" fmla="*/ 937302 h 5762171"/>
              <a:gd name="connsiteX13" fmla="*/ 2397392 w 7631757"/>
              <a:gd name="connsiteY13" fmla="*/ 1525892 h 5762171"/>
              <a:gd name="connsiteX14" fmla="*/ 1681595 w 7631757"/>
              <a:gd name="connsiteY14" fmla="*/ 2175411 h 5762171"/>
              <a:gd name="connsiteX15" fmla="*/ 1032945 w 7631757"/>
              <a:gd name="connsiteY15" fmla="*/ 937302 h 5762171"/>
              <a:gd name="connsiteX16" fmla="*/ 0 w 7631757"/>
              <a:gd name="connsiteY16" fmla="*/ 3200400 h 5762171"/>
              <a:gd name="connsiteX17" fmla="*/ 1423280 w 7631757"/>
              <a:gd name="connsiteY17" fmla="*/ 2741114 h 5762171"/>
              <a:gd name="connsiteX18" fmla="*/ 1423280 w 7631757"/>
              <a:gd name="connsiteY18" fmla="*/ 3659686 h 5762171"/>
              <a:gd name="connsiteX19" fmla="*/ 0 w 7631757"/>
              <a:gd name="connsiteY19" fmla="*/ 3200400 h 5762171"/>
              <a:gd name="connsiteX20" fmla="*/ 1032945 w 7631757"/>
              <a:gd name="connsiteY20" fmla="*/ 5463202 h 5762171"/>
              <a:gd name="connsiteX21" fmla="*/ 1696109 w 7631757"/>
              <a:gd name="connsiteY21" fmla="*/ 5284932 h 5762171"/>
              <a:gd name="connsiteX22" fmla="*/ 2324821 w 7631757"/>
              <a:gd name="connsiteY22" fmla="*/ 4686223 h 5762171"/>
              <a:gd name="connsiteX23" fmla="*/ 1032945 w 7631757"/>
              <a:gd name="connsiteY23" fmla="*/ 5463202 h 5762171"/>
              <a:gd name="connsiteX24" fmla="*/ 6995886 w 7631757"/>
              <a:gd name="connsiteY24" fmla="*/ 5602515 h 5762171"/>
              <a:gd name="connsiteX25" fmla="*/ 6780019 w 7631757"/>
              <a:gd name="connsiteY25" fmla="*/ 5167363 h 5762171"/>
              <a:gd name="connsiteX26" fmla="*/ 7356896 w 7631757"/>
              <a:gd name="connsiteY26" fmla="*/ 5297991 h 5762171"/>
              <a:gd name="connsiteX27" fmla="*/ 6995886 w 7631757"/>
              <a:gd name="connsiteY27" fmla="*/ 5602515 h 5762171"/>
              <a:gd name="connsiteX28" fmla="*/ 7631757 w 7631757"/>
              <a:gd name="connsiteY28" fmla="*/ 5245487 h 5762171"/>
              <a:gd name="connsiteX29" fmla="*/ 7431316 w 7631757"/>
              <a:gd name="connsiteY29" fmla="*/ 5718629 h 5762171"/>
              <a:gd name="connsiteX30" fmla="*/ 6705602 w 7631757"/>
              <a:gd name="connsiteY30" fmla="*/ 5762171 h 5762171"/>
              <a:gd name="connsiteX31" fmla="*/ 6441809 w 7631757"/>
              <a:gd name="connsiteY31" fmla="*/ 5252279 h 5762171"/>
              <a:gd name="connsiteX32" fmla="*/ 7041491 w 7631757"/>
              <a:gd name="connsiteY32" fmla="*/ 4631789 h 5762171"/>
              <a:gd name="connsiteX33" fmla="*/ 7631757 w 7631757"/>
              <a:gd name="connsiteY33" fmla="*/ 5245487 h 5762171"/>
              <a:gd name="connsiteX34" fmla="*/ 1763486 w 7631757"/>
              <a:gd name="connsiteY34" fmla="*/ 3200400 h 5762171"/>
              <a:gd name="connsiteX35" fmla="*/ 3526974 w 7631757"/>
              <a:gd name="connsiteY35" fmla="*/ 1600202 h 5762171"/>
              <a:gd name="connsiteX36" fmla="*/ 5290458 w 7631757"/>
              <a:gd name="connsiteY36" fmla="*/ 3200404 h 5762171"/>
              <a:gd name="connsiteX37" fmla="*/ 3526970 w 7631757"/>
              <a:gd name="connsiteY37" fmla="*/ 4800602 h 5762171"/>
              <a:gd name="connsiteX38" fmla="*/ 1763486 w 7631757"/>
              <a:gd name="connsiteY38" fmla="*/ 3200400 h 5762171"/>
              <a:gd name="connsiteX0" fmla="*/ 7053943 w 7631757"/>
              <a:gd name="connsiteY0" fmla="*/ 3200400 h 5762171"/>
              <a:gd name="connsiteX1" fmla="*/ 5630663 w 7631757"/>
              <a:gd name="connsiteY1" fmla="*/ 3659686 h 5762171"/>
              <a:gd name="connsiteX2" fmla="*/ 5630663 w 7631757"/>
              <a:gd name="connsiteY2" fmla="*/ 2741114 h 5762171"/>
              <a:gd name="connsiteX3" fmla="*/ 7053943 w 7631757"/>
              <a:gd name="connsiteY3" fmla="*/ 3200400 h 5762171"/>
              <a:gd name="connsiteX4" fmla="*/ 6020671 w 7631757"/>
              <a:gd name="connsiteY4" fmla="*/ 937302 h 5762171"/>
              <a:gd name="connsiteX5" fmla="*/ 5372348 w 7631757"/>
              <a:gd name="connsiteY5" fmla="*/ 2175411 h 5762171"/>
              <a:gd name="connsiteX6" fmla="*/ 4656551 w 7631757"/>
              <a:gd name="connsiteY6" fmla="*/ 1525892 h 5762171"/>
              <a:gd name="connsiteX7" fmla="*/ 6020671 w 7631757"/>
              <a:gd name="connsiteY7" fmla="*/ 937302 h 5762171"/>
              <a:gd name="connsiteX8" fmla="*/ 3526972 w 7631757"/>
              <a:gd name="connsiteY8" fmla="*/ 0 h 5762171"/>
              <a:gd name="connsiteX9" fmla="*/ 4033124 w 7631757"/>
              <a:gd name="connsiteY9" fmla="*/ 1291494 h 5762171"/>
              <a:gd name="connsiteX10" fmla="*/ 3020819 w 7631757"/>
              <a:gd name="connsiteY10" fmla="*/ 1291494 h 5762171"/>
              <a:gd name="connsiteX11" fmla="*/ 3526972 w 7631757"/>
              <a:gd name="connsiteY11" fmla="*/ 0 h 5762171"/>
              <a:gd name="connsiteX12" fmla="*/ 1032945 w 7631757"/>
              <a:gd name="connsiteY12" fmla="*/ 937302 h 5762171"/>
              <a:gd name="connsiteX13" fmla="*/ 2397392 w 7631757"/>
              <a:gd name="connsiteY13" fmla="*/ 1525892 h 5762171"/>
              <a:gd name="connsiteX14" fmla="*/ 1681595 w 7631757"/>
              <a:gd name="connsiteY14" fmla="*/ 2175411 h 5762171"/>
              <a:gd name="connsiteX15" fmla="*/ 1032945 w 7631757"/>
              <a:gd name="connsiteY15" fmla="*/ 937302 h 5762171"/>
              <a:gd name="connsiteX16" fmla="*/ 0 w 7631757"/>
              <a:gd name="connsiteY16" fmla="*/ 3200400 h 5762171"/>
              <a:gd name="connsiteX17" fmla="*/ 1423280 w 7631757"/>
              <a:gd name="connsiteY17" fmla="*/ 2741114 h 5762171"/>
              <a:gd name="connsiteX18" fmla="*/ 1423280 w 7631757"/>
              <a:gd name="connsiteY18" fmla="*/ 3659686 h 5762171"/>
              <a:gd name="connsiteX19" fmla="*/ 0 w 7631757"/>
              <a:gd name="connsiteY19" fmla="*/ 3200400 h 5762171"/>
              <a:gd name="connsiteX20" fmla="*/ 2789174 w 7631757"/>
              <a:gd name="connsiteY20" fmla="*/ 5274516 h 5762171"/>
              <a:gd name="connsiteX21" fmla="*/ 1696109 w 7631757"/>
              <a:gd name="connsiteY21" fmla="*/ 5284932 h 5762171"/>
              <a:gd name="connsiteX22" fmla="*/ 2324821 w 7631757"/>
              <a:gd name="connsiteY22" fmla="*/ 4686223 h 5762171"/>
              <a:gd name="connsiteX23" fmla="*/ 2789174 w 7631757"/>
              <a:gd name="connsiteY23" fmla="*/ 5274516 h 5762171"/>
              <a:gd name="connsiteX24" fmla="*/ 6995886 w 7631757"/>
              <a:gd name="connsiteY24" fmla="*/ 5602515 h 5762171"/>
              <a:gd name="connsiteX25" fmla="*/ 6780019 w 7631757"/>
              <a:gd name="connsiteY25" fmla="*/ 5167363 h 5762171"/>
              <a:gd name="connsiteX26" fmla="*/ 7356896 w 7631757"/>
              <a:gd name="connsiteY26" fmla="*/ 5297991 h 5762171"/>
              <a:gd name="connsiteX27" fmla="*/ 6995886 w 7631757"/>
              <a:gd name="connsiteY27" fmla="*/ 5602515 h 5762171"/>
              <a:gd name="connsiteX28" fmla="*/ 7631757 w 7631757"/>
              <a:gd name="connsiteY28" fmla="*/ 5245487 h 5762171"/>
              <a:gd name="connsiteX29" fmla="*/ 7431316 w 7631757"/>
              <a:gd name="connsiteY29" fmla="*/ 5718629 h 5762171"/>
              <a:gd name="connsiteX30" fmla="*/ 6705602 w 7631757"/>
              <a:gd name="connsiteY30" fmla="*/ 5762171 h 5762171"/>
              <a:gd name="connsiteX31" fmla="*/ 6441809 w 7631757"/>
              <a:gd name="connsiteY31" fmla="*/ 5252279 h 5762171"/>
              <a:gd name="connsiteX32" fmla="*/ 7041491 w 7631757"/>
              <a:gd name="connsiteY32" fmla="*/ 4631789 h 5762171"/>
              <a:gd name="connsiteX33" fmla="*/ 7631757 w 7631757"/>
              <a:gd name="connsiteY33" fmla="*/ 5245487 h 5762171"/>
              <a:gd name="connsiteX34" fmla="*/ 1763486 w 7631757"/>
              <a:gd name="connsiteY34" fmla="*/ 3200400 h 5762171"/>
              <a:gd name="connsiteX35" fmla="*/ 3526974 w 7631757"/>
              <a:gd name="connsiteY35" fmla="*/ 1600202 h 5762171"/>
              <a:gd name="connsiteX36" fmla="*/ 5290458 w 7631757"/>
              <a:gd name="connsiteY36" fmla="*/ 3200404 h 5762171"/>
              <a:gd name="connsiteX37" fmla="*/ 3526970 w 7631757"/>
              <a:gd name="connsiteY37" fmla="*/ 4800602 h 5762171"/>
              <a:gd name="connsiteX38" fmla="*/ 1763486 w 7631757"/>
              <a:gd name="connsiteY38" fmla="*/ 3200400 h 5762171"/>
              <a:gd name="connsiteX0" fmla="*/ 7053943 w 7631757"/>
              <a:gd name="connsiteY0" fmla="*/ 3200400 h 5762172"/>
              <a:gd name="connsiteX1" fmla="*/ 5630663 w 7631757"/>
              <a:gd name="connsiteY1" fmla="*/ 3659686 h 5762172"/>
              <a:gd name="connsiteX2" fmla="*/ 5630663 w 7631757"/>
              <a:gd name="connsiteY2" fmla="*/ 2741114 h 5762172"/>
              <a:gd name="connsiteX3" fmla="*/ 7053943 w 7631757"/>
              <a:gd name="connsiteY3" fmla="*/ 3200400 h 5762172"/>
              <a:gd name="connsiteX4" fmla="*/ 6020671 w 7631757"/>
              <a:gd name="connsiteY4" fmla="*/ 937302 h 5762172"/>
              <a:gd name="connsiteX5" fmla="*/ 5372348 w 7631757"/>
              <a:gd name="connsiteY5" fmla="*/ 2175411 h 5762172"/>
              <a:gd name="connsiteX6" fmla="*/ 4656551 w 7631757"/>
              <a:gd name="connsiteY6" fmla="*/ 1525892 h 5762172"/>
              <a:gd name="connsiteX7" fmla="*/ 6020671 w 7631757"/>
              <a:gd name="connsiteY7" fmla="*/ 937302 h 5762172"/>
              <a:gd name="connsiteX8" fmla="*/ 3526972 w 7631757"/>
              <a:gd name="connsiteY8" fmla="*/ 0 h 5762172"/>
              <a:gd name="connsiteX9" fmla="*/ 4033124 w 7631757"/>
              <a:gd name="connsiteY9" fmla="*/ 1291494 h 5762172"/>
              <a:gd name="connsiteX10" fmla="*/ 3020819 w 7631757"/>
              <a:gd name="connsiteY10" fmla="*/ 1291494 h 5762172"/>
              <a:gd name="connsiteX11" fmla="*/ 3526972 w 7631757"/>
              <a:gd name="connsiteY11" fmla="*/ 0 h 5762172"/>
              <a:gd name="connsiteX12" fmla="*/ 1032945 w 7631757"/>
              <a:gd name="connsiteY12" fmla="*/ 937302 h 5762172"/>
              <a:gd name="connsiteX13" fmla="*/ 2397392 w 7631757"/>
              <a:gd name="connsiteY13" fmla="*/ 1525892 h 5762172"/>
              <a:gd name="connsiteX14" fmla="*/ 1681595 w 7631757"/>
              <a:gd name="connsiteY14" fmla="*/ 2175411 h 5762172"/>
              <a:gd name="connsiteX15" fmla="*/ 1032945 w 7631757"/>
              <a:gd name="connsiteY15" fmla="*/ 937302 h 5762172"/>
              <a:gd name="connsiteX16" fmla="*/ 0 w 7631757"/>
              <a:gd name="connsiteY16" fmla="*/ 3200400 h 5762172"/>
              <a:gd name="connsiteX17" fmla="*/ 1423280 w 7631757"/>
              <a:gd name="connsiteY17" fmla="*/ 2741114 h 5762172"/>
              <a:gd name="connsiteX18" fmla="*/ 1423280 w 7631757"/>
              <a:gd name="connsiteY18" fmla="*/ 3659686 h 5762172"/>
              <a:gd name="connsiteX19" fmla="*/ 0 w 7631757"/>
              <a:gd name="connsiteY19" fmla="*/ 3200400 h 5762172"/>
              <a:gd name="connsiteX20" fmla="*/ 2789174 w 7631757"/>
              <a:gd name="connsiteY20" fmla="*/ 5274516 h 5762172"/>
              <a:gd name="connsiteX21" fmla="*/ 1959430 w 7631757"/>
              <a:gd name="connsiteY21" fmla="*/ 5762172 h 5762172"/>
              <a:gd name="connsiteX22" fmla="*/ 1696109 w 7631757"/>
              <a:gd name="connsiteY22" fmla="*/ 5284932 h 5762172"/>
              <a:gd name="connsiteX23" fmla="*/ 2324821 w 7631757"/>
              <a:gd name="connsiteY23" fmla="*/ 4686223 h 5762172"/>
              <a:gd name="connsiteX24" fmla="*/ 2789174 w 7631757"/>
              <a:gd name="connsiteY24" fmla="*/ 5274516 h 5762172"/>
              <a:gd name="connsiteX25" fmla="*/ 6995886 w 7631757"/>
              <a:gd name="connsiteY25" fmla="*/ 5602515 h 5762172"/>
              <a:gd name="connsiteX26" fmla="*/ 6780019 w 7631757"/>
              <a:gd name="connsiteY26" fmla="*/ 5167363 h 5762172"/>
              <a:gd name="connsiteX27" fmla="*/ 7356896 w 7631757"/>
              <a:gd name="connsiteY27" fmla="*/ 5297991 h 5762172"/>
              <a:gd name="connsiteX28" fmla="*/ 6995886 w 7631757"/>
              <a:gd name="connsiteY28" fmla="*/ 5602515 h 5762172"/>
              <a:gd name="connsiteX29" fmla="*/ 7631757 w 7631757"/>
              <a:gd name="connsiteY29" fmla="*/ 5245487 h 5762172"/>
              <a:gd name="connsiteX30" fmla="*/ 7431316 w 7631757"/>
              <a:gd name="connsiteY30" fmla="*/ 5718629 h 5762172"/>
              <a:gd name="connsiteX31" fmla="*/ 6705602 w 7631757"/>
              <a:gd name="connsiteY31" fmla="*/ 5762171 h 5762172"/>
              <a:gd name="connsiteX32" fmla="*/ 6441809 w 7631757"/>
              <a:gd name="connsiteY32" fmla="*/ 5252279 h 5762172"/>
              <a:gd name="connsiteX33" fmla="*/ 7041491 w 7631757"/>
              <a:gd name="connsiteY33" fmla="*/ 4631789 h 5762172"/>
              <a:gd name="connsiteX34" fmla="*/ 7631757 w 7631757"/>
              <a:gd name="connsiteY34" fmla="*/ 5245487 h 5762172"/>
              <a:gd name="connsiteX35" fmla="*/ 1763486 w 7631757"/>
              <a:gd name="connsiteY35" fmla="*/ 3200400 h 5762172"/>
              <a:gd name="connsiteX36" fmla="*/ 3526974 w 7631757"/>
              <a:gd name="connsiteY36" fmla="*/ 1600202 h 5762172"/>
              <a:gd name="connsiteX37" fmla="*/ 5290458 w 7631757"/>
              <a:gd name="connsiteY37" fmla="*/ 3200404 h 5762172"/>
              <a:gd name="connsiteX38" fmla="*/ 3526970 w 7631757"/>
              <a:gd name="connsiteY38" fmla="*/ 4800602 h 5762172"/>
              <a:gd name="connsiteX39" fmla="*/ 1763486 w 7631757"/>
              <a:gd name="connsiteY39" fmla="*/ 3200400 h 5762172"/>
              <a:gd name="connsiteX0" fmla="*/ 7053943 w 7631757"/>
              <a:gd name="connsiteY0" fmla="*/ 3200400 h 5762172"/>
              <a:gd name="connsiteX1" fmla="*/ 5630663 w 7631757"/>
              <a:gd name="connsiteY1" fmla="*/ 3659686 h 5762172"/>
              <a:gd name="connsiteX2" fmla="*/ 5630663 w 7631757"/>
              <a:gd name="connsiteY2" fmla="*/ 2741114 h 5762172"/>
              <a:gd name="connsiteX3" fmla="*/ 7053943 w 7631757"/>
              <a:gd name="connsiteY3" fmla="*/ 3200400 h 5762172"/>
              <a:gd name="connsiteX4" fmla="*/ 6020671 w 7631757"/>
              <a:gd name="connsiteY4" fmla="*/ 937302 h 5762172"/>
              <a:gd name="connsiteX5" fmla="*/ 5372348 w 7631757"/>
              <a:gd name="connsiteY5" fmla="*/ 2175411 h 5762172"/>
              <a:gd name="connsiteX6" fmla="*/ 4656551 w 7631757"/>
              <a:gd name="connsiteY6" fmla="*/ 1525892 h 5762172"/>
              <a:gd name="connsiteX7" fmla="*/ 6020671 w 7631757"/>
              <a:gd name="connsiteY7" fmla="*/ 937302 h 5762172"/>
              <a:gd name="connsiteX8" fmla="*/ 3526972 w 7631757"/>
              <a:gd name="connsiteY8" fmla="*/ 0 h 5762172"/>
              <a:gd name="connsiteX9" fmla="*/ 4033124 w 7631757"/>
              <a:gd name="connsiteY9" fmla="*/ 1291494 h 5762172"/>
              <a:gd name="connsiteX10" fmla="*/ 3020819 w 7631757"/>
              <a:gd name="connsiteY10" fmla="*/ 1291494 h 5762172"/>
              <a:gd name="connsiteX11" fmla="*/ 3526972 w 7631757"/>
              <a:gd name="connsiteY11" fmla="*/ 0 h 5762172"/>
              <a:gd name="connsiteX12" fmla="*/ 1032945 w 7631757"/>
              <a:gd name="connsiteY12" fmla="*/ 937302 h 5762172"/>
              <a:gd name="connsiteX13" fmla="*/ 2397392 w 7631757"/>
              <a:gd name="connsiteY13" fmla="*/ 1525892 h 5762172"/>
              <a:gd name="connsiteX14" fmla="*/ 1681595 w 7631757"/>
              <a:gd name="connsiteY14" fmla="*/ 2175411 h 5762172"/>
              <a:gd name="connsiteX15" fmla="*/ 1032945 w 7631757"/>
              <a:gd name="connsiteY15" fmla="*/ 937302 h 5762172"/>
              <a:gd name="connsiteX16" fmla="*/ 0 w 7631757"/>
              <a:gd name="connsiteY16" fmla="*/ 3200400 h 5762172"/>
              <a:gd name="connsiteX17" fmla="*/ 1423280 w 7631757"/>
              <a:gd name="connsiteY17" fmla="*/ 2741114 h 5762172"/>
              <a:gd name="connsiteX18" fmla="*/ 1423280 w 7631757"/>
              <a:gd name="connsiteY18" fmla="*/ 3659686 h 5762172"/>
              <a:gd name="connsiteX19" fmla="*/ 0 w 7631757"/>
              <a:gd name="connsiteY19" fmla="*/ 3200400 h 5762172"/>
              <a:gd name="connsiteX20" fmla="*/ 2789174 w 7631757"/>
              <a:gd name="connsiteY20" fmla="*/ 5274516 h 5762172"/>
              <a:gd name="connsiteX21" fmla="*/ 2612573 w 7631757"/>
              <a:gd name="connsiteY21" fmla="*/ 5747657 h 5762172"/>
              <a:gd name="connsiteX22" fmla="*/ 1959430 w 7631757"/>
              <a:gd name="connsiteY22" fmla="*/ 5762172 h 5762172"/>
              <a:gd name="connsiteX23" fmla="*/ 1696109 w 7631757"/>
              <a:gd name="connsiteY23" fmla="*/ 5284932 h 5762172"/>
              <a:gd name="connsiteX24" fmla="*/ 2324821 w 7631757"/>
              <a:gd name="connsiteY24" fmla="*/ 4686223 h 5762172"/>
              <a:gd name="connsiteX25" fmla="*/ 2789174 w 7631757"/>
              <a:gd name="connsiteY25" fmla="*/ 5274516 h 5762172"/>
              <a:gd name="connsiteX26" fmla="*/ 6995886 w 7631757"/>
              <a:gd name="connsiteY26" fmla="*/ 5602515 h 5762172"/>
              <a:gd name="connsiteX27" fmla="*/ 6780019 w 7631757"/>
              <a:gd name="connsiteY27" fmla="*/ 5167363 h 5762172"/>
              <a:gd name="connsiteX28" fmla="*/ 7356896 w 7631757"/>
              <a:gd name="connsiteY28" fmla="*/ 5297991 h 5762172"/>
              <a:gd name="connsiteX29" fmla="*/ 6995886 w 7631757"/>
              <a:gd name="connsiteY29" fmla="*/ 5602515 h 5762172"/>
              <a:gd name="connsiteX30" fmla="*/ 7631757 w 7631757"/>
              <a:gd name="connsiteY30" fmla="*/ 5245487 h 5762172"/>
              <a:gd name="connsiteX31" fmla="*/ 7431316 w 7631757"/>
              <a:gd name="connsiteY31" fmla="*/ 5718629 h 5762172"/>
              <a:gd name="connsiteX32" fmla="*/ 6705602 w 7631757"/>
              <a:gd name="connsiteY32" fmla="*/ 5762171 h 5762172"/>
              <a:gd name="connsiteX33" fmla="*/ 6441809 w 7631757"/>
              <a:gd name="connsiteY33" fmla="*/ 5252279 h 5762172"/>
              <a:gd name="connsiteX34" fmla="*/ 7041491 w 7631757"/>
              <a:gd name="connsiteY34" fmla="*/ 4631789 h 5762172"/>
              <a:gd name="connsiteX35" fmla="*/ 7631757 w 7631757"/>
              <a:gd name="connsiteY35" fmla="*/ 5245487 h 5762172"/>
              <a:gd name="connsiteX36" fmla="*/ 1763486 w 7631757"/>
              <a:gd name="connsiteY36" fmla="*/ 3200400 h 5762172"/>
              <a:gd name="connsiteX37" fmla="*/ 3526974 w 7631757"/>
              <a:gd name="connsiteY37" fmla="*/ 1600202 h 5762172"/>
              <a:gd name="connsiteX38" fmla="*/ 5290458 w 7631757"/>
              <a:gd name="connsiteY38" fmla="*/ 3200404 h 5762172"/>
              <a:gd name="connsiteX39" fmla="*/ 3526970 w 7631757"/>
              <a:gd name="connsiteY39" fmla="*/ 4800602 h 5762172"/>
              <a:gd name="connsiteX40" fmla="*/ 1763486 w 7631757"/>
              <a:gd name="connsiteY40" fmla="*/ 3200400 h 5762172"/>
              <a:gd name="connsiteX0" fmla="*/ 7053943 w 7631757"/>
              <a:gd name="connsiteY0" fmla="*/ 3200400 h 5762172"/>
              <a:gd name="connsiteX1" fmla="*/ 5630663 w 7631757"/>
              <a:gd name="connsiteY1" fmla="*/ 3659686 h 5762172"/>
              <a:gd name="connsiteX2" fmla="*/ 5630663 w 7631757"/>
              <a:gd name="connsiteY2" fmla="*/ 2741114 h 5762172"/>
              <a:gd name="connsiteX3" fmla="*/ 7053943 w 7631757"/>
              <a:gd name="connsiteY3" fmla="*/ 3200400 h 5762172"/>
              <a:gd name="connsiteX4" fmla="*/ 6020671 w 7631757"/>
              <a:gd name="connsiteY4" fmla="*/ 937302 h 5762172"/>
              <a:gd name="connsiteX5" fmla="*/ 5372348 w 7631757"/>
              <a:gd name="connsiteY5" fmla="*/ 2175411 h 5762172"/>
              <a:gd name="connsiteX6" fmla="*/ 4656551 w 7631757"/>
              <a:gd name="connsiteY6" fmla="*/ 1525892 h 5762172"/>
              <a:gd name="connsiteX7" fmla="*/ 6020671 w 7631757"/>
              <a:gd name="connsiteY7" fmla="*/ 937302 h 5762172"/>
              <a:gd name="connsiteX8" fmla="*/ 3526972 w 7631757"/>
              <a:gd name="connsiteY8" fmla="*/ 0 h 5762172"/>
              <a:gd name="connsiteX9" fmla="*/ 4033124 w 7631757"/>
              <a:gd name="connsiteY9" fmla="*/ 1291494 h 5762172"/>
              <a:gd name="connsiteX10" fmla="*/ 3020819 w 7631757"/>
              <a:gd name="connsiteY10" fmla="*/ 1291494 h 5762172"/>
              <a:gd name="connsiteX11" fmla="*/ 3526972 w 7631757"/>
              <a:gd name="connsiteY11" fmla="*/ 0 h 5762172"/>
              <a:gd name="connsiteX12" fmla="*/ 1032945 w 7631757"/>
              <a:gd name="connsiteY12" fmla="*/ 937302 h 5762172"/>
              <a:gd name="connsiteX13" fmla="*/ 2397392 w 7631757"/>
              <a:gd name="connsiteY13" fmla="*/ 1525892 h 5762172"/>
              <a:gd name="connsiteX14" fmla="*/ 1681595 w 7631757"/>
              <a:gd name="connsiteY14" fmla="*/ 2175411 h 5762172"/>
              <a:gd name="connsiteX15" fmla="*/ 1032945 w 7631757"/>
              <a:gd name="connsiteY15" fmla="*/ 937302 h 5762172"/>
              <a:gd name="connsiteX16" fmla="*/ 0 w 7631757"/>
              <a:gd name="connsiteY16" fmla="*/ 3200400 h 5762172"/>
              <a:gd name="connsiteX17" fmla="*/ 1423280 w 7631757"/>
              <a:gd name="connsiteY17" fmla="*/ 2741114 h 5762172"/>
              <a:gd name="connsiteX18" fmla="*/ 1423280 w 7631757"/>
              <a:gd name="connsiteY18" fmla="*/ 3659686 h 5762172"/>
              <a:gd name="connsiteX19" fmla="*/ 0 w 7631757"/>
              <a:gd name="connsiteY19" fmla="*/ 3200400 h 5762172"/>
              <a:gd name="connsiteX20" fmla="*/ 2789174 w 7631757"/>
              <a:gd name="connsiteY20" fmla="*/ 5274516 h 5762172"/>
              <a:gd name="connsiteX21" fmla="*/ 2612573 w 7631757"/>
              <a:gd name="connsiteY21" fmla="*/ 5747657 h 5762172"/>
              <a:gd name="connsiteX22" fmla="*/ 1959430 w 7631757"/>
              <a:gd name="connsiteY22" fmla="*/ 5762172 h 5762172"/>
              <a:gd name="connsiteX23" fmla="*/ 1696109 w 7631757"/>
              <a:gd name="connsiteY23" fmla="*/ 5284932 h 5762172"/>
              <a:gd name="connsiteX24" fmla="*/ 2324821 w 7631757"/>
              <a:gd name="connsiteY24" fmla="*/ 4686223 h 5762172"/>
              <a:gd name="connsiteX25" fmla="*/ 2789174 w 7631757"/>
              <a:gd name="connsiteY25" fmla="*/ 5274516 h 5762172"/>
              <a:gd name="connsiteX26" fmla="*/ 6995886 w 7631757"/>
              <a:gd name="connsiteY26" fmla="*/ 5602515 h 5762172"/>
              <a:gd name="connsiteX27" fmla="*/ 6780019 w 7631757"/>
              <a:gd name="connsiteY27" fmla="*/ 5167363 h 5762172"/>
              <a:gd name="connsiteX28" fmla="*/ 7356896 w 7631757"/>
              <a:gd name="connsiteY28" fmla="*/ 5297991 h 5762172"/>
              <a:gd name="connsiteX29" fmla="*/ 6995886 w 7631757"/>
              <a:gd name="connsiteY29" fmla="*/ 5602515 h 5762172"/>
              <a:gd name="connsiteX30" fmla="*/ 7631757 w 7631757"/>
              <a:gd name="connsiteY30" fmla="*/ 5245487 h 5762172"/>
              <a:gd name="connsiteX31" fmla="*/ 7431316 w 7631757"/>
              <a:gd name="connsiteY31" fmla="*/ 5718629 h 5762172"/>
              <a:gd name="connsiteX32" fmla="*/ 6705602 w 7631757"/>
              <a:gd name="connsiteY32" fmla="*/ 5762171 h 5762172"/>
              <a:gd name="connsiteX33" fmla="*/ 6441809 w 7631757"/>
              <a:gd name="connsiteY33" fmla="*/ 5252279 h 5762172"/>
              <a:gd name="connsiteX34" fmla="*/ 7041491 w 7631757"/>
              <a:gd name="connsiteY34" fmla="*/ 4631789 h 5762172"/>
              <a:gd name="connsiteX35" fmla="*/ 7631757 w 7631757"/>
              <a:gd name="connsiteY35" fmla="*/ 5245487 h 5762172"/>
              <a:gd name="connsiteX36" fmla="*/ 718458 w 7631757"/>
              <a:gd name="connsiteY36" fmla="*/ 4796972 h 5762172"/>
              <a:gd name="connsiteX37" fmla="*/ 3526974 w 7631757"/>
              <a:gd name="connsiteY37" fmla="*/ 1600202 h 5762172"/>
              <a:gd name="connsiteX38" fmla="*/ 5290458 w 7631757"/>
              <a:gd name="connsiteY38" fmla="*/ 3200404 h 5762172"/>
              <a:gd name="connsiteX39" fmla="*/ 3526970 w 7631757"/>
              <a:gd name="connsiteY39" fmla="*/ 4800602 h 5762172"/>
              <a:gd name="connsiteX40" fmla="*/ 718458 w 7631757"/>
              <a:gd name="connsiteY40" fmla="*/ 4796972 h 5762172"/>
              <a:gd name="connsiteX0" fmla="*/ 7053943 w 7631757"/>
              <a:gd name="connsiteY0" fmla="*/ 3200400 h 5762172"/>
              <a:gd name="connsiteX1" fmla="*/ 5630663 w 7631757"/>
              <a:gd name="connsiteY1" fmla="*/ 3659686 h 5762172"/>
              <a:gd name="connsiteX2" fmla="*/ 5630663 w 7631757"/>
              <a:gd name="connsiteY2" fmla="*/ 2741114 h 5762172"/>
              <a:gd name="connsiteX3" fmla="*/ 7053943 w 7631757"/>
              <a:gd name="connsiteY3" fmla="*/ 3200400 h 5762172"/>
              <a:gd name="connsiteX4" fmla="*/ 6020671 w 7631757"/>
              <a:gd name="connsiteY4" fmla="*/ 937302 h 5762172"/>
              <a:gd name="connsiteX5" fmla="*/ 5372348 w 7631757"/>
              <a:gd name="connsiteY5" fmla="*/ 2175411 h 5762172"/>
              <a:gd name="connsiteX6" fmla="*/ 4656551 w 7631757"/>
              <a:gd name="connsiteY6" fmla="*/ 1525892 h 5762172"/>
              <a:gd name="connsiteX7" fmla="*/ 6020671 w 7631757"/>
              <a:gd name="connsiteY7" fmla="*/ 937302 h 5762172"/>
              <a:gd name="connsiteX8" fmla="*/ 3526972 w 7631757"/>
              <a:gd name="connsiteY8" fmla="*/ 0 h 5762172"/>
              <a:gd name="connsiteX9" fmla="*/ 4033124 w 7631757"/>
              <a:gd name="connsiteY9" fmla="*/ 1291494 h 5762172"/>
              <a:gd name="connsiteX10" fmla="*/ 3020819 w 7631757"/>
              <a:gd name="connsiteY10" fmla="*/ 1291494 h 5762172"/>
              <a:gd name="connsiteX11" fmla="*/ 3526972 w 7631757"/>
              <a:gd name="connsiteY11" fmla="*/ 0 h 5762172"/>
              <a:gd name="connsiteX12" fmla="*/ 1032945 w 7631757"/>
              <a:gd name="connsiteY12" fmla="*/ 937302 h 5762172"/>
              <a:gd name="connsiteX13" fmla="*/ 2397392 w 7631757"/>
              <a:gd name="connsiteY13" fmla="*/ 1525892 h 5762172"/>
              <a:gd name="connsiteX14" fmla="*/ 1681595 w 7631757"/>
              <a:gd name="connsiteY14" fmla="*/ 2175411 h 5762172"/>
              <a:gd name="connsiteX15" fmla="*/ 1032945 w 7631757"/>
              <a:gd name="connsiteY15" fmla="*/ 937302 h 5762172"/>
              <a:gd name="connsiteX16" fmla="*/ 0 w 7631757"/>
              <a:gd name="connsiteY16" fmla="*/ 3200400 h 5762172"/>
              <a:gd name="connsiteX17" fmla="*/ 1423280 w 7631757"/>
              <a:gd name="connsiteY17" fmla="*/ 2741114 h 5762172"/>
              <a:gd name="connsiteX18" fmla="*/ 1423280 w 7631757"/>
              <a:gd name="connsiteY18" fmla="*/ 3659686 h 5762172"/>
              <a:gd name="connsiteX19" fmla="*/ 0 w 7631757"/>
              <a:gd name="connsiteY19" fmla="*/ 3200400 h 5762172"/>
              <a:gd name="connsiteX20" fmla="*/ 2789174 w 7631757"/>
              <a:gd name="connsiteY20" fmla="*/ 5274516 h 5762172"/>
              <a:gd name="connsiteX21" fmla="*/ 2612573 w 7631757"/>
              <a:gd name="connsiteY21" fmla="*/ 5747657 h 5762172"/>
              <a:gd name="connsiteX22" fmla="*/ 1959430 w 7631757"/>
              <a:gd name="connsiteY22" fmla="*/ 5762172 h 5762172"/>
              <a:gd name="connsiteX23" fmla="*/ 1696109 w 7631757"/>
              <a:gd name="connsiteY23" fmla="*/ 5284932 h 5762172"/>
              <a:gd name="connsiteX24" fmla="*/ 2324821 w 7631757"/>
              <a:gd name="connsiteY24" fmla="*/ 4686223 h 5762172"/>
              <a:gd name="connsiteX25" fmla="*/ 2789174 w 7631757"/>
              <a:gd name="connsiteY25" fmla="*/ 5274516 h 5762172"/>
              <a:gd name="connsiteX26" fmla="*/ 6995886 w 7631757"/>
              <a:gd name="connsiteY26" fmla="*/ 5602515 h 5762172"/>
              <a:gd name="connsiteX27" fmla="*/ 6780019 w 7631757"/>
              <a:gd name="connsiteY27" fmla="*/ 5167363 h 5762172"/>
              <a:gd name="connsiteX28" fmla="*/ 7356896 w 7631757"/>
              <a:gd name="connsiteY28" fmla="*/ 5297991 h 5762172"/>
              <a:gd name="connsiteX29" fmla="*/ 6995886 w 7631757"/>
              <a:gd name="connsiteY29" fmla="*/ 5602515 h 5762172"/>
              <a:gd name="connsiteX30" fmla="*/ 7631757 w 7631757"/>
              <a:gd name="connsiteY30" fmla="*/ 5245487 h 5762172"/>
              <a:gd name="connsiteX31" fmla="*/ 7431316 w 7631757"/>
              <a:gd name="connsiteY31" fmla="*/ 5718629 h 5762172"/>
              <a:gd name="connsiteX32" fmla="*/ 6705602 w 7631757"/>
              <a:gd name="connsiteY32" fmla="*/ 5762171 h 5762172"/>
              <a:gd name="connsiteX33" fmla="*/ 6441809 w 7631757"/>
              <a:gd name="connsiteY33" fmla="*/ 5252279 h 5762172"/>
              <a:gd name="connsiteX34" fmla="*/ 7041491 w 7631757"/>
              <a:gd name="connsiteY34" fmla="*/ 4631789 h 5762172"/>
              <a:gd name="connsiteX35" fmla="*/ 7631757 w 7631757"/>
              <a:gd name="connsiteY35" fmla="*/ 5245487 h 5762172"/>
              <a:gd name="connsiteX36" fmla="*/ 718458 w 7631757"/>
              <a:gd name="connsiteY36" fmla="*/ 4796972 h 5762172"/>
              <a:gd name="connsiteX37" fmla="*/ 3526974 w 7631757"/>
              <a:gd name="connsiteY37" fmla="*/ 1600202 h 5762172"/>
              <a:gd name="connsiteX38" fmla="*/ 5290458 w 7631757"/>
              <a:gd name="connsiteY38" fmla="*/ 3200404 h 5762172"/>
              <a:gd name="connsiteX39" fmla="*/ 1422399 w 7631757"/>
              <a:gd name="connsiteY39" fmla="*/ 5148945 h 5762172"/>
              <a:gd name="connsiteX40" fmla="*/ 718458 w 7631757"/>
              <a:gd name="connsiteY40" fmla="*/ 4796972 h 5762172"/>
              <a:gd name="connsiteX0" fmla="*/ 7053943 w 7631757"/>
              <a:gd name="connsiteY0" fmla="*/ 3200400 h 5762172"/>
              <a:gd name="connsiteX1" fmla="*/ 5630663 w 7631757"/>
              <a:gd name="connsiteY1" fmla="*/ 3659686 h 5762172"/>
              <a:gd name="connsiteX2" fmla="*/ 1610206 w 7631757"/>
              <a:gd name="connsiteY2" fmla="*/ 3757114 h 5762172"/>
              <a:gd name="connsiteX3" fmla="*/ 7053943 w 7631757"/>
              <a:gd name="connsiteY3" fmla="*/ 3200400 h 5762172"/>
              <a:gd name="connsiteX4" fmla="*/ 6020671 w 7631757"/>
              <a:gd name="connsiteY4" fmla="*/ 937302 h 5762172"/>
              <a:gd name="connsiteX5" fmla="*/ 5372348 w 7631757"/>
              <a:gd name="connsiteY5" fmla="*/ 2175411 h 5762172"/>
              <a:gd name="connsiteX6" fmla="*/ 4656551 w 7631757"/>
              <a:gd name="connsiteY6" fmla="*/ 1525892 h 5762172"/>
              <a:gd name="connsiteX7" fmla="*/ 6020671 w 7631757"/>
              <a:gd name="connsiteY7" fmla="*/ 937302 h 5762172"/>
              <a:gd name="connsiteX8" fmla="*/ 3526972 w 7631757"/>
              <a:gd name="connsiteY8" fmla="*/ 0 h 5762172"/>
              <a:gd name="connsiteX9" fmla="*/ 4033124 w 7631757"/>
              <a:gd name="connsiteY9" fmla="*/ 1291494 h 5762172"/>
              <a:gd name="connsiteX10" fmla="*/ 3020819 w 7631757"/>
              <a:gd name="connsiteY10" fmla="*/ 1291494 h 5762172"/>
              <a:gd name="connsiteX11" fmla="*/ 3526972 w 7631757"/>
              <a:gd name="connsiteY11" fmla="*/ 0 h 5762172"/>
              <a:gd name="connsiteX12" fmla="*/ 1032945 w 7631757"/>
              <a:gd name="connsiteY12" fmla="*/ 937302 h 5762172"/>
              <a:gd name="connsiteX13" fmla="*/ 2397392 w 7631757"/>
              <a:gd name="connsiteY13" fmla="*/ 1525892 h 5762172"/>
              <a:gd name="connsiteX14" fmla="*/ 1681595 w 7631757"/>
              <a:gd name="connsiteY14" fmla="*/ 2175411 h 5762172"/>
              <a:gd name="connsiteX15" fmla="*/ 1032945 w 7631757"/>
              <a:gd name="connsiteY15" fmla="*/ 937302 h 5762172"/>
              <a:gd name="connsiteX16" fmla="*/ 0 w 7631757"/>
              <a:gd name="connsiteY16" fmla="*/ 3200400 h 5762172"/>
              <a:gd name="connsiteX17" fmla="*/ 1423280 w 7631757"/>
              <a:gd name="connsiteY17" fmla="*/ 2741114 h 5762172"/>
              <a:gd name="connsiteX18" fmla="*/ 1423280 w 7631757"/>
              <a:gd name="connsiteY18" fmla="*/ 3659686 h 5762172"/>
              <a:gd name="connsiteX19" fmla="*/ 0 w 7631757"/>
              <a:gd name="connsiteY19" fmla="*/ 3200400 h 5762172"/>
              <a:gd name="connsiteX20" fmla="*/ 2789174 w 7631757"/>
              <a:gd name="connsiteY20" fmla="*/ 5274516 h 5762172"/>
              <a:gd name="connsiteX21" fmla="*/ 2612573 w 7631757"/>
              <a:gd name="connsiteY21" fmla="*/ 5747657 h 5762172"/>
              <a:gd name="connsiteX22" fmla="*/ 1959430 w 7631757"/>
              <a:gd name="connsiteY22" fmla="*/ 5762172 h 5762172"/>
              <a:gd name="connsiteX23" fmla="*/ 1696109 w 7631757"/>
              <a:gd name="connsiteY23" fmla="*/ 5284932 h 5762172"/>
              <a:gd name="connsiteX24" fmla="*/ 2324821 w 7631757"/>
              <a:gd name="connsiteY24" fmla="*/ 4686223 h 5762172"/>
              <a:gd name="connsiteX25" fmla="*/ 2789174 w 7631757"/>
              <a:gd name="connsiteY25" fmla="*/ 5274516 h 5762172"/>
              <a:gd name="connsiteX26" fmla="*/ 6995886 w 7631757"/>
              <a:gd name="connsiteY26" fmla="*/ 5602515 h 5762172"/>
              <a:gd name="connsiteX27" fmla="*/ 6780019 w 7631757"/>
              <a:gd name="connsiteY27" fmla="*/ 5167363 h 5762172"/>
              <a:gd name="connsiteX28" fmla="*/ 7356896 w 7631757"/>
              <a:gd name="connsiteY28" fmla="*/ 5297991 h 5762172"/>
              <a:gd name="connsiteX29" fmla="*/ 6995886 w 7631757"/>
              <a:gd name="connsiteY29" fmla="*/ 5602515 h 5762172"/>
              <a:gd name="connsiteX30" fmla="*/ 7631757 w 7631757"/>
              <a:gd name="connsiteY30" fmla="*/ 5245487 h 5762172"/>
              <a:gd name="connsiteX31" fmla="*/ 7431316 w 7631757"/>
              <a:gd name="connsiteY31" fmla="*/ 5718629 h 5762172"/>
              <a:gd name="connsiteX32" fmla="*/ 6705602 w 7631757"/>
              <a:gd name="connsiteY32" fmla="*/ 5762171 h 5762172"/>
              <a:gd name="connsiteX33" fmla="*/ 6441809 w 7631757"/>
              <a:gd name="connsiteY33" fmla="*/ 5252279 h 5762172"/>
              <a:gd name="connsiteX34" fmla="*/ 7041491 w 7631757"/>
              <a:gd name="connsiteY34" fmla="*/ 4631789 h 5762172"/>
              <a:gd name="connsiteX35" fmla="*/ 7631757 w 7631757"/>
              <a:gd name="connsiteY35" fmla="*/ 5245487 h 5762172"/>
              <a:gd name="connsiteX36" fmla="*/ 718458 w 7631757"/>
              <a:gd name="connsiteY36" fmla="*/ 4796972 h 5762172"/>
              <a:gd name="connsiteX37" fmla="*/ 3526974 w 7631757"/>
              <a:gd name="connsiteY37" fmla="*/ 1600202 h 5762172"/>
              <a:gd name="connsiteX38" fmla="*/ 5290458 w 7631757"/>
              <a:gd name="connsiteY38" fmla="*/ 3200404 h 5762172"/>
              <a:gd name="connsiteX39" fmla="*/ 1422399 w 7631757"/>
              <a:gd name="connsiteY39" fmla="*/ 5148945 h 5762172"/>
              <a:gd name="connsiteX40" fmla="*/ 718458 w 7631757"/>
              <a:gd name="connsiteY40" fmla="*/ 4796972 h 5762172"/>
              <a:gd name="connsiteX0" fmla="*/ 2278743 w 7631757"/>
              <a:gd name="connsiteY0" fmla="*/ 1850572 h 5762172"/>
              <a:gd name="connsiteX1" fmla="*/ 5630663 w 7631757"/>
              <a:gd name="connsiteY1" fmla="*/ 3659686 h 5762172"/>
              <a:gd name="connsiteX2" fmla="*/ 1610206 w 7631757"/>
              <a:gd name="connsiteY2" fmla="*/ 3757114 h 5762172"/>
              <a:gd name="connsiteX3" fmla="*/ 2278743 w 7631757"/>
              <a:gd name="connsiteY3" fmla="*/ 1850572 h 5762172"/>
              <a:gd name="connsiteX4" fmla="*/ 6020671 w 7631757"/>
              <a:gd name="connsiteY4" fmla="*/ 937302 h 5762172"/>
              <a:gd name="connsiteX5" fmla="*/ 5372348 w 7631757"/>
              <a:gd name="connsiteY5" fmla="*/ 2175411 h 5762172"/>
              <a:gd name="connsiteX6" fmla="*/ 4656551 w 7631757"/>
              <a:gd name="connsiteY6" fmla="*/ 1525892 h 5762172"/>
              <a:gd name="connsiteX7" fmla="*/ 6020671 w 7631757"/>
              <a:gd name="connsiteY7" fmla="*/ 937302 h 5762172"/>
              <a:gd name="connsiteX8" fmla="*/ 3526972 w 7631757"/>
              <a:gd name="connsiteY8" fmla="*/ 0 h 5762172"/>
              <a:gd name="connsiteX9" fmla="*/ 4033124 w 7631757"/>
              <a:gd name="connsiteY9" fmla="*/ 1291494 h 5762172"/>
              <a:gd name="connsiteX10" fmla="*/ 3020819 w 7631757"/>
              <a:gd name="connsiteY10" fmla="*/ 1291494 h 5762172"/>
              <a:gd name="connsiteX11" fmla="*/ 3526972 w 7631757"/>
              <a:gd name="connsiteY11" fmla="*/ 0 h 5762172"/>
              <a:gd name="connsiteX12" fmla="*/ 1032945 w 7631757"/>
              <a:gd name="connsiteY12" fmla="*/ 937302 h 5762172"/>
              <a:gd name="connsiteX13" fmla="*/ 2397392 w 7631757"/>
              <a:gd name="connsiteY13" fmla="*/ 1525892 h 5762172"/>
              <a:gd name="connsiteX14" fmla="*/ 1681595 w 7631757"/>
              <a:gd name="connsiteY14" fmla="*/ 2175411 h 5762172"/>
              <a:gd name="connsiteX15" fmla="*/ 1032945 w 7631757"/>
              <a:gd name="connsiteY15" fmla="*/ 937302 h 5762172"/>
              <a:gd name="connsiteX16" fmla="*/ 0 w 7631757"/>
              <a:gd name="connsiteY16" fmla="*/ 3200400 h 5762172"/>
              <a:gd name="connsiteX17" fmla="*/ 1423280 w 7631757"/>
              <a:gd name="connsiteY17" fmla="*/ 2741114 h 5762172"/>
              <a:gd name="connsiteX18" fmla="*/ 1423280 w 7631757"/>
              <a:gd name="connsiteY18" fmla="*/ 3659686 h 5762172"/>
              <a:gd name="connsiteX19" fmla="*/ 0 w 7631757"/>
              <a:gd name="connsiteY19" fmla="*/ 3200400 h 5762172"/>
              <a:gd name="connsiteX20" fmla="*/ 2789174 w 7631757"/>
              <a:gd name="connsiteY20" fmla="*/ 5274516 h 5762172"/>
              <a:gd name="connsiteX21" fmla="*/ 2612573 w 7631757"/>
              <a:gd name="connsiteY21" fmla="*/ 5747657 h 5762172"/>
              <a:gd name="connsiteX22" fmla="*/ 1959430 w 7631757"/>
              <a:gd name="connsiteY22" fmla="*/ 5762172 h 5762172"/>
              <a:gd name="connsiteX23" fmla="*/ 1696109 w 7631757"/>
              <a:gd name="connsiteY23" fmla="*/ 5284932 h 5762172"/>
              <a:gd name="connsiteX24" fmla="*/ 2324821 w 7631757"/>
              <a:gd name="connsiteY24" fmla="*/ 4686223 h 5762172"/>
              <a:gd name="connsiteX25" fmla="*/ 2789174 w 7631757"/>
              <a:gd name="connsiteY25" fmla="*/ 5274516 h 5762172"/>
              <a:gd name="connsiteX26" fmla="*/ 6995886 w 7631757"/>
              <a:gd name="connsiteY26" fmla="*/ 5602515 h 5762172"/>
              <a:gd name="connsiteX27" fmla="*/ 6780019 w 7631757"/>
              <a:gd name="connsiteY27" fmla="*/ 5167363 h 5762172"/>
              <a:gd name="connsiteX28" fmla="*/ 7356896 w 7631757"/>
              <a:gd name="connsiteY28" fmla="*/ 5297991 h 5762172"/>
              <a:gd name="connsiteX29" fmla="*/ 6995886 w 7631757"/>
              <a:gd name="connsiteY29" fmla="*/ 5602515 h 5762172"/>
              <a:gd name="connsiteX30" fmla="*/ 7631757 w 7631757"/>
              <a:gd name="connsiteY30" fmla="*/ 5245487 h 5762172"/>
              <a:gd name="connsiteX31" fmla="*/ 7431316 w 7631757"/>
              <a:gd name="connsiteY31" fmla="*/ 5718629 h 5762172"/>
              <a:gd name="connsiteX32" fmla="*/ 6705602 w 7631757"/>
              <a:gd name="connsiteY32" fmla="*/ 5762171 h 5762172"/>
              <a:gd name="connsiteX33" fmla="*/ 6441809 w 7631757"/>
              <a:gd name="connsiteY33" fmla="*/ 5252279 h 5762172"/>
              <a:gd name="connsiteX34" fmla="*/ 7041491 w 7631757"/>
              <a:gd name="connsiteY34" fmla="*/ 4631789 h 5762172"/>
              <a:gd name="connsiteX35" fmla="*/ 7631757 w 7631757"/>
              <a:gd name="connsiteY35" fmla="*/ 5245487 h 5762172"/>
              <a:gd name="connsiteX36" fmla="*/ 718458 w 7631757"/>
              <a:gd name="connsiteY36" fmla="*/ 4796972 h 5762172"/>
              <a:gd name="connsiteX37" fmla="*/ 3526974 w 7631757"/>
              <a:gd name="connsiteY37" fmla="*/ 1600202 h 5762172"/>
              <a:gd name="connsiteX38" fmla="*/ 5290458 w 7631757"/>
              <a:gd name="connsiteY38" fmla="*/ 3200404 h 5762172"/>
              <a:gd name="connsiteX39" fmla="*/ 1422399 w 7631757"/>
              <a:gd name="connsiteY39" fmla="*/ 5148945 h 5762172"/>
              <a:gd name="connsiteX40" fmla="*/ 718458 w 7631757"/>
              <a:gd name="connsiteY40" fmla="*/ 4796972 h 5762172"/>
              <a:gd name="connsiteX0" fmla="*/ 2278743 w 7631757"/>
              <a:gd name="connsiteY0" fmla="*/ 1850572 h 5762172"/>
              <a:gd name="connsiteX1" fmla="*/ 3221292 w 7631757"/>
              <a:gd name="connsiteY1" fmla="*/ 2005057 h 5762172"/>
              <a:gd name="connsiteX2" fmla="*/ 1610206 w 7631757"/>
              <a:gd name="connsiteY2" fmla="*/ 3757114 h 5762172"/>
              <a:gd name="connsiteX3" fmla="*/ 2278743 w 7631757"/>
              <a:gd name="connsiteY3" fmla="*/ 1850572 h 5762172"/>
              <a:gd name="connsiteX4" fmla="*/ 6020671 w 7631757"/>
              <a:gd name="connsiteY4" fmla="*/ 937302 h 5762172"/>
              <a:gd name="connsiteX5" fmla="*/ 5372348 w 7631757"/>
              <a:gd name="connsiteY5" fmla="*/ 2175411 h 5762172"/>
              <a:gd name="connsiteX6" fmla="*/ 4656551 w 7631757"/>
              <a:gd name="connsiteY6" fmla="*/ 1525892 h 5762172"/>
              <a:gd name="connsiteX7" fmla="*/ 6020671 w 7631757"/>
              <a:gd name="connsiteY7" fmla="*/ 937302 h 5762172"/>
              <a:gd name="connsiteX8" fmla="*/ 3526972 w 7631757"/>
              <a:gd name="connsiteY8" fmla="*/ 0 h 5762172"/>
              <a:gd name="connsiteX9" fmla="*/ 4033124 w 7631757"/>
              <a:gd name="connsiteY9" fmla="*/ 1291494 h 5762172"/>
              <a:gd name="connsiteX10" fmla="*/ 3020819 w 7631757"/>
              <a:gd name="connsiteY10" fmla="*/ 1291494 h 5762172"/>
              <a:gd name="connsiteX11" fmla="*/ 3526972 w 7631757"/>
              <a:gd name="connsiteY11" fmla="*/ 0 h 5762172"/>
              <a:gd name="connsiteX12" fmla="*/ 1032945 w 7631757"/>
              <a:gd name="connsiteY12" fmla="*/ 937302 h 5762172"/>
              <a:gd name="connsiteX13" fmla="*/ 2397392 w 7631757"/>
              <a:gd name="connsiteY13" fmla="*/ 1525892 h 5762172"/>
              <a:gd name="connsiteX14" fmla="*/ 1681595 w 7631757"/>
              <a:gd name="connsiteY14" fmla="*/ 2175411 h 5762172"/>
              <a:gd name="connsiteX15" fmla="*/ 1032945 w 7631757"/>
              <a:gd name="connsiteY15" fmla="*/ 937302 h 5762172"/>
              <a:gd name="connsiteX16" fmla="*/ 0 w 7631757"/>
              <a:gd name="connsiteY16" fmla="*/ 3200400 h 5762172"/>
              <a:gd name="connsiteX17" fmla="*/ 1423280 w 7631757"/>
              <a:gd name="connsiteY17" fmla="*/ 2741114 h 5762172"/>
              <a:gd name="connsiteX18" fmla="*/ 1423280 w 7631757"/>
              <a:gd name="connsiteY18" fmla="*/ 3659686 h 5762172"/>
              <a:gd name="connsiteX19" fmla="*/ 0 w 7631757"/>
              <a:gd name="connsiteY19" fmla="*/ 3200400 h 5762172"/>
              <a:gd name="connsiteX20" fmla="*/ 2789174 w 7631757"/>
              <a:gd name="connsiteY20" fmla="*/ 5274516 h 5762172"/>
              <a:gd name="connsiteX21" fmla="*/ 2612573 w 7631757"/>
              <a:gd name="connsiteY21" fmla="*/ 5747657 h 5762172"/>
              <a:gd name="connsiteX22" fmla="*/ 1959430 w 7631757"/>
              <a:gd name="connsiteY22" fmla="*/ 5762172 h 5762172"/>
              <a:gd name="connsiteX23" fmla="*/ 1696109 w 7631757"/>
              <a:gd name="connsiteY23" fmla="*/ 5284932 h 5762172"/>
              <a:gd name="connsiteX24" fmla="*/ 2324821 w 7631757"/>
              <a:gd name="connsiteY24" fmla="*/ 4686223 h 5762172"/>
              <a:gd name="connsiteX25" fmla="*/ 2789174 w 7631757"/>
              <a:gd name="connsiteY25" fmla="*/ 5274516 h 5762172"/>
              <a:gd name="connsiteX26" fmla="*/ 6995886 w 7631757"/>
              <a:gd name="connsiteY26" fmla="*/ 5602515 h 5762172"/>
              <a:gd name="connsiteX27" fmla="*/ 6780019 w 7631757"/>
              <a:gd name="connsiteY27" fmla="*/ 5167363 h 5762172"/>
              <a:gd name="connsiteX28" fmla="*/ 7356896 w 7631757"/>
              <a:gd name="connsiteY28" fmla="*/ 5297991 h 5762172"/>
              <a:gd name="connsiteX29" fmla="*/ 6995886 w 7631757"/>
              <a:gd name="connsiteY29" fmla="*/ 5602515 h 5762172"/>
              <a:gd name="connsiteX30" fmla="*/ 7631757 w 7631757"/>
              <a:gd name="connsiteY30" fmla="*/ 5245487 h 5762172"/>
              <a:gd name="connsiteX31" fmla="*/ 7431316 w 7631757"/>
              <a:gd name="connsiteY31" fmla="*/ 5718629 h 5762172"/>
              <a:gd name="connsiteX32" fmla="*/ 6705602 w 7631757"/>
              <a:gd name="connsiteY32" fmla="*/ 5762171 h 5762172"/>
              <a:gd name="connsiteX33" fmla="*/ 6441809 w 7631757"/>
              <a:gd name="connsiteY33" fmla="*/ 5252279 h 5762172"/>
              <a:gd name="connsiteX34" fmla="*/ 7041491 w 7631757"/>
              <a:gd name="connsiteY34" fmla="*/ 4631789 h 5762172"/>
              <a:gd name="connsiteX35" fmla="*/ 7631757 w 7631757"/>
              <a:gd name="connsiteY35" fmla="*/ 5245487 h 5762172"/>
              <a:gd name="connsiteX36" fmla="*/ 718458 w 7631757"/>
              <a:gd name="connsiteY36" fmla="*/ 4796972 h 5762172"/>
              <a:gd name="connsiteX37" fmla="*/ 3526974 w 7631757"/>
              <a:gd name="connsiteY37" fmla="*/ 1600202 h 5762172"/>
              <a:gd name="connsiteX38" fmla="*/ 5290458 w 7631757"/>
              <a:gd name="connsiteY38" fmla="*/ 3200404 h 5762172"/>
              <a:gd name="connsiteX39" fmla="*/ 1422399 w 7631757"/>
              <a:gd name="connsiteY39" fmla="*/ 5148945 h 5762172"/>
              <a:gd name="connsiteX40" fmla="*/ 718458 w 7631757"/>
              <a:gd name="connsiteY40" fmla="*/ 4796972 h 5762172"/>
              <a:gd name="connsiteX0" fmla="*/ 2278743 w 7631757"/>
              <a:gd name="connsiteY0" fmla="*/ 1850572 h 5762172"/>
              <a:gd name="connsiteX1" fmla="*/ 3221292 w 7631757"/>
              <a:gd name="connsiteY1" fmla="*/ 2005057 h 5762172"/>
              <a:gd name="connsiteX2" fmla="*/ 1610206 w 7631757"/>
              <a:gd name="connsiteY2" fmla="*/ 3757114 h 5762172"/>
              <a:gd name="connsiteX3" fmla="*/ 2278743 w 7631757"/>
              <a:gd name="connsiteY3" fmla="*/ 1850572 h 5762172"/>
              <a:gd name="connsiteX4" fmla="*/ 6020671 w 7631757"/>
              <a:gd name="connsiteY4" fmla="*/ 937302 h 5762172"/>
              <a:gd name="connsiteX5" fmla="*/ 5372348 w 7631757"/>
              <a:gd name="connsiteY5" fmla="*/ 2175411 h 5762172"/>
              <a:gd name="connsiteX6" fmla="*/ 4656551 w 7631757"/>
              <a:gd name="connsiteY6" fmla="*/ 1525892 h 5762172"/>
              <a:gd name="connsiteX7" fmla="*/ 6020671 w 7631757"/>
              <a:gd name="connsiteY7" fmla="*/ 937302 h 5762172"/>
              <a:gd name="connsiteX8" fmla="*/ 3526972 w 7631757"/>
              <a:gd name="connsiteY8" fmla="*/ 0 h 5762172"/>
              <a:gd name="connsiteX9" fmla="*/ 4033124 w 7631757"/>
              <a:gd name="connsiteY9" fmla="*/ 1291494 h 5762172"/>
              <a:gd name="connsiteX10" fmla="*/ 3020819 w 7631757"/>
              <a:gd name="connsiteY10" fmla="*/ 1291494 h 5762172"/>
              <a:gd name="connsiteX11" fmla="*/ 3526972 w 7631757"/>
              <a:gd name="connsiteY11" fmla="*/ 0 h 5762172"/>
              <a:gd name="connsiteX12" fmla="*/ 1032945 w 7631757"/>
              <a:gd name="connsiteY12" fmla="*/ 937302 h 5762172"/>
              <a:gd name="connsiteX13" fmla="*/ 2397392 w 7631757"/>
              <a:gd name="connsiteY13" fmla="*/ 1525892 h 5762172"/>
              <a:gd name="connsiteX14" fmla="*/ 1681595 w 7631757"/>
              <a:gd name="connsiteY14" fmla="*/ 2175411 h 5762172"/>
              <a:gd name="connsiteX15" fmla="*/ 1032945 w 7631757"/>
              <a:gd name="connsiteY15" fmla="*/ 937302 h 5762172"/>
              <a:gd name="connsiteX16" fmla="*/ 0 w 7631757"/>
              <a:gd name="connsiteY16" fmla="*/ 3200400 h 5762172"/>
              <a:gd name="connsiteX17" fmla="*/ 1423280 w 7631757"/>
              <a:gd name="connsiteY17" fmla="*/ 2741114 h 5762172"/>
              <a:gd name="connsiteX18" fmla="*/ 1423280 w 7631757"/>
              <a:gd name="connsiteY18" fmla="*/ 3659686 h 5762172"/>
              <a:gd name="connsiteX19" fmla="*/ 0 w 7631757"/>
              <a:gd name="connsiteY19" fmla="*/ 3200400 h 5762172"/>
              <a:gd name="connsiteX20" fmla="*/ 2789174 w 7631757"/>
              <a:gd name="connsiteY20" fmla="*/ 5274516 h 5762172"/>
              <a:gd name="connsiteX21" fmla="*/ 2612573 w 7631757"/>
              <a:gd name="connsiteY21" fmla="*/ 5747657 h 5762172"/>
              <a:gd name="connsiteX22" fmla="*/ 1959430 w 7631757"/>
              <a:gd name="connsiteY22" fmla="*/ 5762172 h 5762172"/>
              <a:gd name="connsiteX23" fmla="*/ 1696109 w 7631757"/>
              <a:gd name="connsiteY23" fmla="*/ 5284932 h 5762172"/>
              <a:gd name="connsiteX24" fmla="*/ 2324821 w 7631757"/>
              <a:gd name="connsiteY24" fmla="*/ 4686223 h 5762172"/>
              <a:gd name="connsiteX25" fmla="*/ 2789174 w 7631757"/>
              <a:gd name="connsiteY25" fmla="*/ 5274516 h 5762172"/>
              <a:gd name="connsiteX26" fmla="*/ 6995886 w 7631757"/>
              <a:gd name="connsiteY26" fmla="*/ 5602515 h 5762172"/>
              <a:gd name="connsiteX27" fmla="*/ 6780019 w 7631757"/>
              <a:gd name="connsiteY27" fmla="*/ 5167363 h 5762172"/>
              <a:gd name="connsiteX28" fmla="*/ 7356896 w 7631757"/>
              <a:gd name="connsiteY28" fmla="*/ 5297991 h 5762172"/>
              <a:gd name="connsiteX29" fmla="*/ 6995886 w 7631757"/>
              <a:gd name="connsiteY29" fmla="*/ 5602515 h 5762172"/>
              <a:gd name="connsiteX30" fmla="*/ 7631757 w 7631757"/>
              <a:gd name="connsiteY30" fmla="*/ 5245487 h 5762172"/>
              <a:gd name="connsiteX31" fmla="*/ 7431316 w 7631757"/>
              <a:gd name="connsiteY31" fmla="*/ 5718629 h 5762172"/>
              <a:gd name="connsiteX32" fmla="*/ 6705602 w 7631757"/>
              <a:gd name="connsiteY32" fmla="*/ 5762171 h 5762172"/>
              <a:gd name="connsiteX33" fmla="*/ 6441809 w 7631757"/>
              <a:gd name="connsiteY33" fmla="*/ 5252279 h 5762172"/>
              <a:gd name="connsiteX34" fmla="*/ 7041491 w 7631757"/>
              <a:gd name="connsiteY34" fmla="*/ 4631789 h 5762172"/>
              <a:gd name="connsiteX35" fmla="*/ 7631757 w 7631757"/>
              <a:gd name="connsiteY35" fmla="*/ 5245487 h 5762172"/>
              <a:gd name="connsiteX36" fmla="*/ 718458 w 7631757"/>
              <a:gd name="connsiteY36" fmla="*/ 4796972 h 5762172"/>
              <a:gd name="connsiteX37" fmla="*/ 2162631 w 7631757"/>
              <a:gd name="connsiteY37" fmla="*/ 1672774 h 5762172"/>
              <a:gd name="connsiteX38" fmla="*/ 5290458 w 7631757"/>
              <a:gd name="connsiteY38" fmla="*/ 3200404 h 5762172"/>
              <a:gd name="connsiteX39" fmla="*/ 1422399 w 7631757"/>
              <a:gd name="connsiteY39" fmla="*/ 5148945 h 5762172"/>
              <a:gd name="connsiteX40" fmla="*/ 718458 w 7631757"/>
              <a:gd name="connsiteY40" fmla="*/ 4796972 h 5762172"/>
              <a:gd name="connsiteX0" fmla="*/ 2278743 w 8752116"/>
              <a:gd name="connsiteY0" fmla="*/ 1850572 h 5762172"/>
              <a:gd name="connsiteX1" fmla="*/ 3221292 w 8752116"/>
              <a:gd name="connsiteY1" fmla="*/ 2005057 h 5762172"/>
              <a:gd name="connsiteX2" fmla="*/ 1610206 w 8752116"/>
              <a:gd name="connsiteY2" fmla="*/ 3757114 h 5762172"/>
              <a:gd name="connsiteX3" fmla="*/ 2278743 w 8752116"/>
              <a:gd name="connsiteY3" fmla="*/ 1850572 h 5762172"/>
              <a:gd name="connsiteX4" fmla="*/ 6020671 w 8752116"/>
              <a:gd name="connsiteY4" fmla="*/ 937302 h 5762172"/>
              <a:gd name="connsiteX5" fmla="*/ 5372348 w 8752116"/>
              <a:gd name="connsiteY5" fmla="*/ 2175411 h 5762172"/>
              <a:gd name="connsiteX6" fmla="*/ 4656551 w 8752116"/>
              <a:gd name="connsiteY6" fmla="*/ 1525892 h 5762172"/>
              <a:gd name="connsiteX7" fmla="*/ 6020671 w 8752116"/>
              <a:gd name="connsiteY7" fmla="*/ 937302 h 5762172"/>
              <a:gd name="connsiteX8" fmla="*/ 3526972 w 8752116"/>
              <a:gd name="connsiteY8" fmla="*/ 0 h 5762172"/>
              <a:gd name="connsiteX9" fmla="*/ 4033124 w 8752116"/>
              <a:gd name="connsiteY9" fmla="*/ 1291494 h 5762172"/>
              <a:gd name="connsiteX10" fmla="*/ 3020819 w 8752116"/>
              <a:gd name="connsiteY10" fmla="*/ 1291494 h 5762172"/>
              <a:gd name="connsiteX11" fmla="*/ 3526972 w 8752116"/>
              <a:gd name="connsiteY11" fmla="*/ 0 h 5762172"/>
              <a:gd name="connsiteX12" fmla="*/ 1032945 w 8752116"/>
              <a:gd name="connsiteY12" fmla="*/ 937302 h 5762172"/>
              <a:gd name="connsiteX13" fmla="*/ 2397392 w 8752116"/>
              <a:gd name="connsiteY13" fmla="*/ 1525892 h 5762172"/>
              <a:gd name="connsiteX14" fmla="*/ 1681595 w 8752116"/>
              <a:gd name="connsiteY14" fmla="*/ 2175411 h 5762172"/>
              <a:gd name="connsiteX15" fmla="*/ 1032945 w 8752116"/>
              <a:gd name="connsiteY15" fmla="*/ 937302 h 5762172"/>
              <a:gd name="connsiteX16" fmla="*/ 0 w 8752116"/>
              <a:gd name="connsiteY16" fmla="*/ 3200400 h 5762172"/>
              <a:gd name="connsiteX17" fmla="*/ 1423280 w 8752116"/>
              <a:gd name="connsiteY17" fmla="*/ 2741114 h 5762172"/>
              <a:gd name="connsiteX18" fmla="*/ 1423280 w 8752116"/>
              <a:gd name="connsiteY18" fmla="*/ 3659686 h 5762172"/>
              <a:gd name="connsiteX19" fmla="*/ 0 w 8752116"/>
              <a:gd name="connsiteY19" fmla="*/ 3200400 h 5762172"/>
              <a:gd name="connsiteX20" fmla="*/ 2789174 w 8752116"/>
              <a:gd name="connsiteY20" fmla="*/ 5274516 h 5762172"/>
              <a:gd name="connsiteX21" fmla="*/ 2612573 w 8752116"/>
              <a:gd name="connsiteY21" fmla="*/ 5747657 h 5762172"/>
              <a:gd name="connsiteX22" fmla="*/ 1959430 w 8752116"/>
              <a:gd name="connsiteY22" fmla="*/ 5762172 h 5762172"/>
              <a:gd name="connsiteX23" fmla="*/ 1696109 w 8752116"/>
              <a:gd name="connsiteY23" fmla="*/ 5284932 h 5762172"/>
              <a:gd name="connsiteX24" fmla="*/ 2324821 w 8752116"/>
              <a:gd name="connsiteY24" fmla="*/ 4686223 h 5762172"/>
              <a:gd name="connsiteX25" fmla="*/ 2789174 w 8752116"/>
              <a:gd name="connsiteY25" fmla="*/ 5274516 h 5762172"/>
              <a:gd name="connsiteX26" fmla="*/ 6995886 w 8752116"/>
              <a:gd name="connsiteY26" fmla="*/ 5602515 h 5762172"/>
              <a:gd name="connsiteX27" fmla="*/ 6780019 w 8752116"/>
              <a:gd name="connsiteY27" fmla="*/ 5167363 h 5762172"/>
              <a:gd name="connsiteX28" fmla="*/ 7356896 w 8752116"/>
              <a:gd name="connsiteY28" fmla="*/ 5297991 h 5762172"/>
              <a:gd name="connsiteX29" fmla="*/ 6995886 w 8752116"/>
              <a:gd name="connsiteY29" fmla="*/ 5602515 h 5762172"/>
              <a:gd name="connsiteX30" fmla="*/ 7631757 w 8752116"/>
              <a:gd name="connsiteY30" fmla="*/ 5245487 h 5762172"/>
              <a:gd name="connsiteX31" fmla="*/ 7431316 w 8752116"/>
              <a:gd name="connsiteY31" fmla="*/ 5718629 h 5762172"/>
              <a:gd name="connsiteX32" fmla="*/ 6705602 w 8752116"/>
              <a:gd name="connsiteY32" fmla="*/ 5762171 h 5762172"/>
              <a:gd name="connsiteX33" fmla="*/ 6441809 w 8752116"/>
              <a:gd name="connsiteY33" fmla="*/ 5252279 h 5762172"/>
              <a:gd name="connsiteX34" fmla="*/ 7041491 w 8752116"/>
              <a:gd name="connsiteY34" fmla="*/ 4631789 h 5762172"/>
              <a:gd name="connsiteX35" fmla="*/ 7631757 w 8752116"/>
              <a:gd name="connsiteY35" fmla="*/ 5245487 h 5762172"/>
              <a:gd name="connsiteX36" fmla="*/ 718458 w 8752116"/>
              <a:gd name="connsiteY36" fmla="*/ 4796972 h 5762172"/>
              <a:gd name="connsiteX37" fmla="*/ 2162631 w 8752116"/>
              <a:gd name="connsiteY37" fmla="*/ 1672774 h 5762172"/>
              <a:gd name="connsiteX38" fmla="*/ 8628744 w 8752116"/>
              <a:gd name="connsiteY38" fmla="*/ 1560290 h 5762172"/>
              <a:gd name="connsiteX39" fmla="*/ 1422399 w 8752116"/>
              <a:gd name="connsiteY39" fmla="*/ 5148945 h 5762172"/>
              <a:gd name="connsiteX40" fmla="*/ 718458 w 8752116"/>
              <a:gd name="connsiteY40" fmla="*/ 4796972 h 5762172"/>
              <a:gd name="connsiteX0" fmla="*/ 2282373 w 10479316"/>
              <a:gd name="connsiteY0" fmla="*/ 1850572 h 5762172"/>
              <a:gd name="connsiteX1" fmla="*/ 3224922 w 10479316"/>
              <a:gd name="connsiteY1" fmla="*/ 2005057 h 5762172"/>
              <a:gd name="connsiteX2" fmla="*/ 1613836 w 10479316"/>
              <a:gd name="connsiteY2" fmla="*/ 3757114 h 5762172"/>
              <a:gd name="connsiteX3" fmla="*/ 2282373 w 10479316"/>
              <a:gd name="connsiteY3" fmla="*/ 1850572 h 5762172"/>
              <a:gd name="connsiteX4" fmla="*/ 6024301 w 10479316"/>
              <a:gd name="connsiteY4" fmla="*/ 937302 h 5762172"/>
              <a:gd name="connsiteX5" fmla="*/ 5375978 w 10479316"/>
              <a:gd name="connsiteY5" fmla="*/ 2175411 h 5762172"/>
              <a:gd name="connsiteX6" fmla="*/ 4660181 w 10479316"/>
              <a:gd name="connsiteY6" fmla="*/ 1525892 h 5762172"/>
              <a:gd name="connsiteX7" fmla="*/ 6024301 w 10479316"/>
              <a:gd name="connsiteY7" fmla="*/ 937302 h 5762172"/>
              <a:gd name="connsiteX8" fmla="*/ 3530602 w 10479316"/>
              <a:gd name="connsiteY8" fmla="*/ 0 h 5762172"/>
              <a:gd name="connsiteX9" fmla="*/ 4036754 w 10479316"/>
              <a:gd name="connsiteY9" fmla="*/ 1291494 h 5762172"/>
              <a:gd name="connsiteX10" fmla="*/ 3024449 w 10479316"/>
              <a:gd name="connsiteY10" fmla="*/ 1291494 h 5762172"/>
              <a:gd name="connsiteX11" fmla="*/ 3530602 w 10479316"/>
              <a:gd name="connsiteY11" fmla="*/ 0 h 5762172"/>
              <a:gd name="connsiteX12" fmla="*/ 1036575 w 10479316"/>
              <a:gd name="connsiteY12" fmla="*/ 937302 h 5762172"/>
              <a:gd name="connsiteX13" fmla="*/ 2401022 w 10479316"/>
              <a:gd name="connsiteY13" fmla="*/ 1525892 h 5762172"/>
              <a:gd name="connsiteX14" fmla="*/ 1685225 w 10479316"/>
              <a:gd name="connsiteY14" fmla="*/ 2175411 h 5762172"/>
              <a:gd name="connsiteX15" fmla="*/ 1036575 w 10479316"/>
              <a:gd name="connsiteY15" fmla="*/ 937302 h 5762172"/>
              <a:gd name="connsiteX16" fmla="*/ 3630 w 10479316"/>
              <a:gd name="connsiteY16" fmla="*/ 3200400 h 5762172"/>
              <a:gd name="connsiteX17" fmla="*/ 1426910 w 10479316"/>
              <a:gd name="connsiteY17" fmla="*/ 2741114 h 5762172"/>
              <a:gd name="connsiteX18" fmla="*/ 1426910 w 10479316"/>
              <a:gd name="connsiteY18" fmla="*/ 3659686 h 5762172"/>
              <a:gd name="connsiteX19" fmla="*/ 3630 w 10479316"/>
              <a:gd name="connsiteY19" fmla="*/ 3200400 h 5762172"/>
              <a:gd name="connsiteX20" fmla="*/ 2792804 w 10479316"/>
              <a:gd name="connsiteY20" fmla="*/ 5274516 h 5762172"/>
              <a:gd name="connsiteX21" fmla="*/ 2616203 w 10479316"/>
              <a:gd name="connsiteY21" fmla="*/ 5747657 h 5762172"/>
              <a:gd name="connsiteX22" fmla="*/ 1963060 w 10479316"/>
              <a:gd name="connsiteY22" fmla="*/ 5762172 h 5762172"/>
              <a:gd name="connsiteX23" fmla="*/ 1699739 w 10479316"/>
              <a:gd name="connsiteY23" fmla="*/ 5284932 h 5762172"/>
              <a:gd name="connsiteX24" fmla="*/ 2328451 w 10479316"/>
              <a:gd name="connsiteY24" fmla="*/ 4686223 h 5762172"/>
              <a:gd name="connsiteX25" fmla="*/ 2792804 w 10479316"/>
              <a:gd name="connsiteY25" fmla="*/ 5274516 h 5762172"/>
              <a:gd name="connsiteX26" fmla="*/ 6999516 w 10479316"/>
              <a:gd name="connsiteY26" fmla="*/ 5602515 h 5762172"/>
              <a:gd name="connsiteX27" fmla="*/ 6783649 w 10479316"/>
              <a:gd name="connsiteY27" fmla="*/ 5167363 h 5762172"/>
              <a:gd name="connsiteX28" fmla="*/ 7360526 w 10479316"/>
              <a:gd name="connsiteY28" fmla="*/ 5297991 h 5762172"/>
              <a:gd name="connsiteX29" fmla="*/ 6999516 w 10479316"/>
              <a:gd name="connsiteY29" fmla="*/ 5602515 h 5762172"/>
              <a:gd name="connsiteX30" fmla="*/ 7635387 w 10479316"/>
              <a:gd name="connsiteY30" fmla="*/ 5245487 h 5762172"/>
              <a:gd name="connsiteX31" fmla="*/ 7434946 w 10479316"/>
              <a:gd name="connsiteY31" fmla="*/ 5718629 h 5762172"/>
              <a:gd name="connsiteX32" fmla="*/ 6709232 w 10479316"/>
              <a:gd name="connsiteY32" fmla="*/ 5762171 h 5762172"/>
              <a:gd name="connsiteX33" fmla="*/ 6445439 w 10479316"/>
              <a:gd name="connsiteY33" fmla="*/ 5252279 h 5762172"/>
              <a:gd name="connsiteX34" fmla="*/ 7045121 w 10479316"/>
              <a:gd name="connsiteY34" fmla="*/ 4631789 h 5762172"/>
              <a:gd name="connsiteX35" fmla="*/ 7635387 w 10479316"/>
              <a:gd name="connsiteY35" fmla="*/ 5245487 h 5762172"/>
              <a:gd name="connsiteX36" fmla="*/ 722088 w 10479316"/>
              <a:gd name="connsiteY36" fmla="*/ 4796972 h 5762172"/>
              <a:gd name="connsiteX37" fmla="*/ 2166261 w 10479316"/>
              <a:gd name="connsiteY37" fmla="*/ 1672774 h 5762172"/>
              <a:gd name="connsiteX38" fmla="*/ 8632374 w 10479316"/>
              <a:gd name="connsiteY38" fmla="*/ 1560290 h 5762172"/>
              <a:gd name="connsiteX39" fmla="*/ 9278259 w 10479316"/>
              <a:gd name="connsiteY39" fmla="*/ 4992914 h 5762172"/>
              <a:gd name="connsiteX40" fmla="*/ 1426029 w 10479316"/>
              <a:gd name="connsiteY40" fmla="*/ 5148945 h 5762172"/>
              <a:gd name="connsiteX41" fmla="*/ 722088 w 10479316"/>
              <a:gd name="connsiteY41" fmla="*/ 4796972 h 5762172"/>
              <a:gd name="connsiteX0" fmla="*/ 2282373 w 10479316"/>
              <a:gd name="connsiteY0" fmla="*/ 1850572 h 5762172"/>
              <a:gd name="connsiteX1" fmla="*/ 3224922 w 10479316"/>
              <a:gd name="connsiteY1" fmla="*/ 2005057 h 5762172"/>
              <a:gd name="connsiteX2" fmla="*/ 1613836 w 10479316"/>
              <a:gd name="connsiteY2" fmla="*/ 3757114 h 5762172"/>
              <a:gd name="connsiteX3" fmla="*/ 2282373 w 10479316"/>
              <a:gd name="connsiteY3" fmla="*/ 1850572 h 5762172"/>
              <a:gd name="connsiteX4" fmla="*/ 6024301 w 10479316"/>
              <a:gd name="connsiteY4" fmla="*/ 937302 h 5762172"/>
              <a:gd name="connsiteX5" fmla="*/ 5375978 w 10479316"/>
              <a:gd name="connsiteY5" fmla="*/ 2175411 h 5762172"/>
              <a:gd name="connsiteX6" fmla="*/ 4660181 w 10479316"/>
              <a:gd name="connsiteY6" fmla="*/ 1525892 h 5762172"/>
              <a:gd name="connsiteX7" fmla="*/ 6024301 w 10479316"/>
              <a:gd name="connsiteY7" fmla="*/ 937302 h 5762172"/>
              <a:gd name="connsiteX8" fmla="*/ 3530602 w 10479316"/>
              <a:gd name="connsiteY8" fmla="*/ 0 h 5762172"/>
              <a:gd name="connsiteX9" fmla="*/ 4036754 w 10479316"/>
              <a:gd name="connsiteY9" fmla="*/ 1291494 h 5762172"/>
              <a:gd name="connsiteX10" fmla="*/ 3024449 w 10479316"/>
              <a:gd name="connsiteY10" fmla="*/ 1291494 h 5762172"/>
              <a:gd name="connsiteX11" fmla="*/ 3530602 w 10479316"/>
              <a:gd name="connsiteY11" fmla="*/ 0 h 5762172"/>
              <a:gd name="connsiteX12" fmla="*/ 1036575 w 10479316"/>
              <a:gd name="connsiteY12" fmla="*/ 937302 h 5762172"/>
              <a:gd name="connsiteX13" fmla="*/ 2401022 w 10479316"/>
              <a:gd name="connsiteY13" fmla="*/ 1525892 h 5762172"/>
              <a:gd name="connsiteX14" fmla="*/ 1685225 w 10479316"/>
              <a:gd name="connsiteY14" fmla="*/ 2175411 h 5762172"/>
              <a:gd name="connsiteX15" fmla="*/ 1036575 w 10479316"/>
              <a:gd name="connsiteY15" fmla="*/ 937302 h 5762172"/>
              <a:gd name="connsiteX16" fmla="*/ 3704773 w 10479316"/>
              <a:gd name="connsiteY16" fmla="*/ 1879600 h 5762172"/>
              <a:gd name="connsiteX17" fmla="*/ 1426910 w 10479316"/>
              <a:gd name="connsiteY17" fmla="*/ 2741114 h 5762172"/>
              <a:gd name="connsiteX18" fmla="*/ 1426910 w 10479316"/>
              <a:gd name="connsiteY18" fmla="*/ 3659686 h 5762172"/>
              <a:gd name="connsiteX19" fmla="*/ 3704773 w 10479316"/>
              <a:gd name="connsiteY19" fmla="*/ 1879600 h 5762172"/>
              <a:gd name="connsiteX20" fmla="*/ 2792804 w 10479316"/>
              <a:gd name="connsiteY20" fmla="*/ 5274516 h 5762172"/>
              <a:gd name="connsiteX21" fmla="*/ 2616203 w 10479316"/>
              <a:gd name="connsiteY21" fmla="*/ 5747657 h 5762172"/>
              <a:gd name="connsiteX22" fmla="*/ 1963060 w 10479316"/>
              <a:gd name="connsiteY22" fmla="*/ 5762172 h 5762172"/>
              <a:gd name="connsiteX23" fmla="*/ 1699739 w 10479316"/>
              <a:gd name="connsiteY23" fmla="*/ 5284932 h 5762172"/>
              <a:gd name="connsiteX24" fmla="*/ 2328451 w 10479316"/>
              <a:gd name="connsiteY24" fmla="*/ 4686223 h 5762172"/>
              <a:gd name="connsiteX25" fmla="*/ 2792804 w 10479316"/>
              <a:gd name="connsiteY25" fmla="*/ 5274516 h 5762172"/>
              <a:gd name="connsiteX26" fmla="*/ 6999516 w 10479316"/>
              <a:gd name="connsiteY26" fmla="*/ 5602515 h 5762172"/>
              <a:gd name="connsiteX27" fmla="*/ 6783649 w 10479316"/>
              <a:gd name="connsiteY27" fmla="*/ 5167363 h 5762172"/>
              <a:gd name="connsiteX28" fmla="*/ 7360526 w 10479316"/>
              <a:gd name="connsiteY28" fmla="*/ 5297991 h 5762172"/>
              <a:gd name="connsiteX29" fmla="*/ 6999516 w 10479316"/>
              <a:gd name="connsiteY29" fmla="*/ 5602515 h 5762172"/>
              <a:gd name="connsiteX30" fmla="*/ 7635387 w 10479316"/>
              <a:gd name="connsiteY30" fmla="*/ 5245487 h 5762172"/>
              <a:gd name="connsiteX31" fmla="*/ 7434946 w 10479316"/>
              <a:gd name="connsiteY31" fmla="*/ 5718629 h 5762172"/>
              <a:gd name="connsiteX32" fmla="*/ 6709232 w 10479316"/>
              <a:gd name="connsiteY32" fmla="*/ 5762171 h 5762172"/>
              <a:gd name="connsiteX33" fmla="*/ 6445439 w 10479316"/>
              <a:gd name="connsiteY33" fmla="*/ 5252279 h 5762172"/>
              <a:gd name="connsiteX34" fmla="*/ 7045121 w 10479316"/>
              <a:gd name="connsiteY34" fmla="*/ 4631789 h 5762172"/>
              <a:gd name="connsiteX35" fmla="*/ 7635387 w 10479316"/>
              <a:gd name="connsiteY35" fmla="*/ 5245487 h 5762172"/>
              <a:gd name="connsiteX36" fmla="*/ 722088 w 10479316"/>
              <a:gd name="connsiteY36" fmla="*/ 4796972 h 5762172"/>
              <a:gd name="connsiteX37" fmla="*/ 2166261 w 10479316"/>
              <a:gd name="connsiteY37" fmla="*/ 1672774 h 5762172"/>
              <a:gd name="connsiteX38" fmla="*/ 8632374 w 10479316"/>
              <a:gd name="connsiteY38" fmla="*/ 1560290 h 5762172"/>
              <a:gd name="connsiteX39" fmla="*/ 9278259 w 10479316"/>
              <a:gd name="connsiteY39" fmla="*/ 4992914 h 5762172"/>
              <a:gd name="connsiteX40" fmla="*/ 1426029 w 10479316"/>
              <a:gd name="connsiteY40" fmla="*/ 5148945 h 5762172"/>
              <a:gd name="connsiteX41" fmla="*/ 722088 w 10479316"/>
              <a:gd name="connsiteY41" fmla="*/ 4796972 h 5762172"/>
              <a:gd name="connsiteX0" fmla="*/ 2282373 w 10479316"/>
              <a:gd name="connsiteY0" fmla="*/ 1850572 h 5762172"/>
              <a:gd name="connsiteX1" fmla="*/ 3224922 w 10479316"/>
              <a:gd name="connsiteY1" fmla="*/ 2005057 h 5762172"/>
              <a:gd name="connsiteX2" fmla="*/ 1613836 w 10479316"/>
              <a:gd name="connsiteY2" fmla="*/ 3757114 h 5762172"/>
              <a:gd name="connsiteX3" fmla="*/ 2282373 w 10479316"/>
              <a:gd name="connsiteY3" fmla="*/ 1850572 h 5762172"/>
              <a:gd name="connsiteX4" fmla="*/ 6024301 w 10479316"/>
              <a:gd name="connsiteY4" fmla="*/ 937302 h 5762172"/>
              <a:gd name="connsiteX5" fmla="*/ 5375978 w 10479316"/>
              <a:gd name="connsiteY5" fmla="*/ 2175411 h 5762172"/>
              <a:gd name="connsiteX6" fmla="*/ 4660181 w 10479316"/>
              <a:gd name="connsiteY6" fmla="*/ 1525892 h 5762172"/>
              <a:gd name="connsiteX7" fmla="*/ 6024301 w 10479316"/>
              <a:gd name="connsiteY7" fmla="*/ 937302 h 5762172"/>
              <a:gd name="connsiteX8" fmla="*/ 3530602 w 10479316"/>
              <a:gd name="connsiteY8" fmla="*/ 0 h 5762172"/>
              <a:gd name="connsiteX9" fmla="*/ 4036754 w 10479316"/>
              <a:gd name="connsiteY9" fmla="*/ 1291494 h 5762172"/>
              <a:gd name="connsiteX10" fmla="*/ 3024449 w 10479316"/>
              <a:gd name="connsiteY10" fmla="*/ 1291494 h 5762172"/>
              <a:gd name="connsiteX11" fmla="*/ 3530602 w 10479316"/>
              <a:gd name="connsiteY11" fmla="*/ 0 h 5762172"/>
              <a:gd name="connsiteX12" fmla="*/ 1036575 w 10479316"/>
              <a:gd name="connsiteY12" fmla="*/ 937302 h 5762172"/>
              <a:gd name="connsiteX13" fmla="*/ 2401022 w 10479316"/>
              <a:gd name="connsiteY13" fmla="*/ 1525892 h 5762172"/>
              <a:gd name="connsiteX14" fmla="*/ 1685225 w 10479316"/>
              <a:gd name="connsiteY14" fmla="*/ 2175411 h 5762172"/>
              <a:gd name="connsiteX15" fmla="*/ 1036575 w 10479316"/>
              <a:gd name="connsiteY15" fmla="*/ 937302 h 5762172"/>
              <a:gd name="connsiteX16" fmla="*/ 3704773 w 10479316"/>
              <a:gd name="connsiteY16" fmla="*/ 1879600 h 5762172"/>
              <a:gd name="connsiteX17" fmla="*/ 3545995 w 10479316"/>
              <a:gd name="connsiteY17" fmla="*/ 2537914 h 5762172"/>
              <a:gd name="connsiteX18" fmla="*/ 1426910 w 10479316"/>
              <a:gd name="connsiteY18" fmla="*/ 3659686 h 5762172"/>
              <a:gd name="connsiteX19" fmla="*/ 3704773 w 10479316"/>
              <a:gd name="connsiteY19" fmla="*/ 1879600 h 5762172"/>
              <a:gd name="connsiteX20" fmla="*/ 2792804 w 10479316"/>
              <a:gd name="connsiteY20" fmla="*/ 5274516 h 5762172"/>
              <a:gd name="connsiteX21" fmla="*/ 2616203 w 10479316"/>
              <a:gd name="connsiteY21" fmla="*/ 5747657 h 5762172"/>
              <a:gd name="connsiteX22" fmla="*/ 1963060 w 10479316"/>
              <a:gd name="connsiteY22" fmla="*/ 5762172 h 5762172"/>
              <a:gd name="connsiteX23" fmla="*/ 1699739 w 10479316"/>
              <a:gd name="connsiteY23" fmla="*/ 5284932 h 5762172"/>
              <a:gd name="connsiteX24" fmla="*/ 2328451 w 10479316"/>
              <a:gd name="connsiteY24" fmla="*/ 4686223 h 5762172"/>
              <a:gd name="connsiteX25" fmla="*/ 2792804 w 10479316"/>
              <a:gd name="connsiteY25" fmla="*/ 5274516 h 5762172"/>
              <a:gd name="connsiteX26" fmla="*/ 6999516 w 10479316"/>
              <a:gd name="connsiteY26" fmla="*/ 5602515 h 5762172"/>
              <a:gd name="connsiteX27" fmla="*/ 6783649 w 10479316"/>
              <a:gd name="connsiteY27" fmla="*/ 5167363 h 5762172"/>
              <a:gd name="connsiteX28" fmla="*/ 7360526 w 10479316"/>
              <a:gd name="connsiteY28" fmla="*/ 5297991 h 5762172"/>
              <a:gd name="connsiteX29" fmla="*/ 6999516 w 10479316"/>
              <a:gd name="connsiteY29" fmla="*/ 5602515 h 5762172"/>
              <a:gd name="connsiteX30" fmla="*/ 7635387 w 10479316"/>
              <a:gd name="connsiteY30" fmla="*/ 5245487 h 5762172"/>
              <a:gd name="connsiteX31" fmla="*/ 7434946 w 10479316"/>
              <a:gd name="connsiteY31" fmla="*/ 5718629 h 5762172"/>
              <a:gd name="connsiteX32" fmla="*/ 6709232 w 10479316"/>
              <a:gd name="connsiteY32" fmla="*/ 5762171 h 5762172"/>
              <a:gd name="connsiteX33" fmla="*/ 6445439 w 10479316"/>
              <a:gd name="connsiteY33" fmla="*/ 5252279 h 5762172"/>
              <a:gd name="connsiteX34" fmla="*/ 7045121 w 10479316"/>
              <a:gd name="connsiteY34" fmla="*/ 4631789 h 5762172"/>
              <a:gd name="connsiteX35" fmla="*/ 7635387 w 10479316"/>
              <a:gd name="connsiteY35" fmla="*/ 5245487 h 5762172"/>
              <a:gd name="connsiteX36" fmla="*/ 722088 w 10479316"/>
              <a:gd name="connsiteY36" fmla="*/ 4796972 h 5762172"/>
              <a:gd name="connsiteX37" fmla="*/ 2166261 w 10479316"/>
              <a:gd name="connsiteY37" fmla="*/ 1672774 h 5762172"/>
              <a:gd name="connsiteX38" fmla="*/ 8632374 w 10479316"/>
              <a:gd name="connsiteY38" fmla="*/ 1560290 h 5762172"/>
              <a:gd name="connsiteX39" fmla="*/ 9278259 w 10479316"/>
              <a:gd name="connsiteY39" fmla="*/ 4992914 h 5762172"/>
              <a:gd name="connsiteX40" fmla="*/ 1426029 w 10479316"/>
              <a:gd name="connsiteY40" fmla="*/ 5148945 h 5762172"/>
              <a:gd name="connsiteX41" fmla="*/ 722088 w 10479316"/>
              <a:gd name="connsiteY41" fmla="*/ 4796972 h 5762172"/>
              <a:gd name="connsiteX0" fmla="*/ 2282373 w 10479316"/>
              <a:gd name="connsiteY0" fmla="*/ 1850572 h 5762172"/>
              <a:gd name="connsiteX1" fmla="*/ 3224922 w 10479316"/>
              <a:gd name="connsiteY1" fmla="*/ 2005057 h 5762172"/>
              <a:gd name="connsiteX2" fmla="*/ 1613836 w 10479316"/>
              <a:gd name="connsiteY2" fmla="*/ 3757114 h 5762172"/>
              <a:gd name="connsiteX3" fmla="*/ 2282373 w 10479316"/>
              <a:gd name="connsiteY3" fmla="*/ 1850572 h 5762172"/>
              <a:gd name="connsiteX4" fmla="*/ 6024301 w 10479316"/>
              <a:gd name="connsiteY4" fmla="*/ 937302 h 5762172"/>
              <a:gd name="connsiteX5" fmla="*/ 5375978 w 10479316"/>
              <a:gd name="connsiteY5" fmla="*/ 2175411 h 5762172"/>
              <a:gd name="connsiteX6" fmla="*/ 4660181 w 10479316"/>
              <a:gd name="connsiteY6" fmla="*/ 1525892 h 5762172"/>
              <a:gd name="connsiteX7" fmla="*/ 6024301 w 10479316"/>
              <a:gd name="connsiteY7" fmla="*/ 937302 h 5762172"/>
              <a:gd name="connsiteX8" fmla="*/ 3530602 w 10479316"/>
              <a:gd name="connsiteY8" fmla="*/ 0 h 5762172"/>
              <a:gd name="connsiteX9" fmla="*/ 4036754 w 10479316"/>
              <a:gd name="connsiteY9" fmla="*/ 1291494 h 5762172"/>
              <a:gd name="connsiteX10" fmla="*/ 3024449 w 10479316"/>
              <a:gd name="connsiteY10" fmla="*/ 1291494 h 5762172"/>
              <a:gd name="connsiteX11" fmla="*/ 3530602 w 10479316"/>
              <a:gd name="connsiteY11" fmla="*/ 0 h 5762172"/>
              <a:gd name="connsiteX12" fmla="*/ 1036575 w 10479316"/>
              <a:gd name="connsiteY12" fmla="*/ 937302 h 5762172"/>
              <a:gd name="connsiteX13" fmla="*/ 2401022 w 10479316"/>
              <a:gd name="connsiteY13" fmla="*/ 1525892 h 5762172"/>
              <a:gd name="connsiteX14" fmla="*/ 1685225 w 10479316"/>
              <a:gd name="connsiteY14" fmla="*/ 2175411 h 5762172"/>
              <a:gd name="connsiteX15" fmla="*/ 1036575 w 10479316"/>
              <a:gd name="connsiteY15" fmla="*/ 937302 h 5762172"/>
              <a:gd name="connsiteX16" fmla="*/ 3704773 w 10479316"/>
              <a:gd name="connsiteY16" fmla="*/ 1879600 h 5762172"/>
              <a:gd name="connsiteX17" fmla="*/ 1209195 w 10479316"/>
              <a:gd name="connsiteY17" fmla="*/ 2712085 h 5762172"/>
              <a:gd name="connsiteX18" fmla="*/ 1426910 w 10479316"/>
              <a:gd name="connsiteY18" fmla="*/ 3659686 h 5762172"/>
              <a:gd name="connsiteX19" fmla="*/ 3704773 w 10479316"/>
              <a:gd name="connsiteY19" fmla="*/ 1879600 h 5762172"/>
              <a:gd name="connsiteX20" fmla="*/ 2792804 w 10479316"/>
              <a:gd name="connsiteY20" fmla="*/ 5274516 h 5762172"/>
              <a:gd name="connsiteX21" fmla="*/ 2616203 w 10479316"/>
              <a:gd name="connsiteY21" fmla="*/ 5747657 h 5762172"/>
              <a:gd name="connsiteX22" fmla="*/ 1963060 w 10479316"/>
              <a:gd name="connsiteY22" fmla="*/ 5762172 h 5762172"/>
              <a:gd name="connsiteX23" fmla="*/ 1699739 w 10479316"/>
              <a:gd name="connsiteY23" fmla="*/ 5284932 h 5762172"/>
              <a:gd name="connsiteX24" fmla="*/ 2328451 w 10479316"/>
              <a:gd name="connsiteY24" fmla="*/ 4686223 h 5762172"/>
              <a:gd name="connsiteX25" fmla="*/ 2792804 w 10479316"/>
              <a:gd name="connsiteY25" fmla="*/ 5274516 h 5762172"/>
              <a:gd name="connsiteX26" fmla="*/ 6999516 w 10479316"/>
              <a:gd name="connsiteY26" fmla="*/ 5602515 h 5762172"/>
              <a:gd name="connsiteX27" fmla="*/ 6783649 w 10479316"/>
              <a:gd name="connsiteY27" fmla="*/ 5167363 h 5762172"/>
              <a:gd name="connsiteX28" fmla="*/ 7360526 w 10479316"/>
              <a:gd name="connsiteY28" fmla="*/ 5297991 h 5762172"/>
              <a:gd name="connsiteX29" fmla="*/ 6999516 w 10479316"/>
              <a:gd name="connsiteY29" fmla="*/ 5602515 h 5762172"/>
              <a:gd name="connsiteX30" fmla="*/ 7635387 w 10479316"/>
              <a:gd name="connsiteY30" fmla="*/ 5245487 h 5762172"/>
              <a:gd name="connsiteX31" fmla="*/ 7434946 w 10479316"/>
              <a:gd name="connsiteY31" fmla="*/ 5718629 h 5762172"/>
              <a:gd name="connsiteX32" fmla="*/ 6709232 w 10479316"/>
              <a:gd name="connsiteY32" fmla="*/ 5762171 h 5762172"/>
              <a:gd name="connsiteX33" fmla="*/ 6445439 w 10479316"/>
              <a:gd name="connsiteY33" fmla="*/ 5252279 h 5762172"/>
              <a:gd name="connsiteX34" fmla="*/ 7045121 w 10479316"/>
              <a:gd name="connsiteY34" fmla="*/ 4631789 h 5762172"/>
              <a:gd name="connsiteX35" fmla="*/ 7635387 w 10479316"/>
              <a:gd name="connsiteY35" fmla="*/ 5245487 h 5762172"/>
              <a:gd name="connsiteX36" fmla="*/ 722088 w 10479316"/>
              <a:gd name="connsiteY36" fmla="*/ 4796972 h 5762172"/>
              <a:gd name="connsiteX37" fmla="*/ 2166261 w 10479316"/>
              <a:gd name="connsiteY37" fmla="*/ 1672774 h 5762172"/>
              <a:gd name="connsiteX38" fmla="*/ 8632374 w 10479316"/>
              <a:gd name="connsiteY38" fmla="*/ 1560290 h 5762172"/>
              <a:gd name="connsiteX39" fmla="*/ 9278259 w 10479316"/>
              <a:gd name="connsiteY39" fmla="*/ 4992914 h 5762172"/>
              <a:gd name="connsiteX40" fmla="*/ 1426029 w 10479316"/>
              <a:gd name="connsiteY40" fmla="*/ 5148945 h 5762172"/>
              <a:gd name="connsiteX41" fmla="*/ 722088 w 10479316"/>
              <a:gd name="connsiteY41" fmla="*/ 4796972 h 5762172"/>
              <a:gd name="connsiteX0" fmla="*/ 2282373 w 10479316"/>
              <a:gd name="connsiteY0" fmla="*/ 1850572 h 5762172"/>
              <a:gd name="connsiteX1" fmla="*/ 3224922 w 10479316"/>
              <a:gd name="connsiteY1" fmla="*/ 2005057 h 5762172"/>
              <a:gd name="connsiteX2" fmla="*/ 1613836 w 10479316"/>
              <a:gd name="connsiteY2" fmla="*/ 3757114 h 5762172"/>
              <a:gd name="connsiteX3" fmla="*/ 2282373 w 10479316"/>
              <a:gd name="connsiteY3" fmla="*/ 1850572 h 5762172"/>
              <a:gd name="connsiteX4" fmla="*/ 6024301 w 10479316"/>
              <a:gd name="connsiteY4" fmla="*/ 937302 h 5762172"/>
              <a:gd name="connsiteX5" fmla="*/ 5375978 w 10479316"/>
              <a:gd name="connsiteY5" fmla="*/ 2175411 h 5762172"/>
              <a:gd name="connsiteX6" fmla="*/ 4660181 w 10479316"/>
              <a:gd name="connsiteY6" fmla="*/ 1525892 h 5762172"/>
              <a:gd name="connsiteX7" fmla="*/ 6024301 w 10479316"/>
              <a:gd name="connsiteY7" fmla="*/ 937302 h 5762172"/>
              <a:gd name="connsiteX8" fmla="*/ 3530602 w 10479316"/>
              <a:gd name="connsiteY8" fmla="*/ 0 h 5762172"/>
              <a:gd name="connsiteX9" fmla="*/ 4036754 w 10479316"/>
              <a:gd name="connsiteY9" fmla="*/ 1291494 h 5762172"/>
              <a:gd name="connsiteX10" fmla="*/ 3024449 w 10479316"/>
              <a:gd name="connsiteY10" fmla="*/ 1291494 h 5762172"/>
              <a:gd name="connsiteX11" fmla="*/ 3530602 w 10479316"/>
              <a:gd name="connsiteY11" fmla="*/ 0 h 5762172"/>
              <a:gd name="connsiteX12" fmla="*/ 1036575 w 10479316"/>
              <a:gd name="connsiteY12" fmla="*/ 937302 h 5762172"/>
              <a:gd name="connsiteX13" fmla="*/ 2401022 w 10479316"/>
              <a:gd name="connsiteY13" fmla="*/ 1525892 h 5762172"/>
              <a:gd name="connsiteX14" fmla="*/ 1685225 w 10479316"/>
              <a:gd name="connsiteY14" fmla="*/ 2175411 h 5762172"/>
              <a:gd name="connsiteX15" fmla="*/ 1036575 w 10479316"/>
              <a:gd name="connsiteY15" fmla="*/ 937302 h 5762172"/>
              <a:gd name="connsiteX16" fmla="*/ 3704773 w 10479316"/>
              <a:gd name="connsiteY16" fmla="*/ 1879600 h 5762172"/>
              <a:gd name="connsiteX17" fmla="*/ 4895824 w 10479316"/>
              <a:gd name="connsiteY17" fmla="*/ 1855742 h 5762172"/>
              <a:gd name="connsiteX18" fmla="*/ 1426910 w 10479316"/>
              <a:gd name="connsiteY18" fmla="*/ 3659686 h 5762172"/>
              <a:gd name="connsiteX19" fmla="*/ 3704773 w 10479316"/>
              <a:gd name="connsiteY19" fmla="*/ 1879600 h 5762172"/>
              <a:gd name="connsiteX20" fmla="*/ 2792804 w 10479316"/>
              <a:gd name="connsiteY20" fmla="*/ 5274516 h 5762172"/>
              <a:gd name="connsiteX21" fmla="*/ 2616203 w 10479316"/>
              <a:gd name="connsiteY21" fmla="*/ 5747657 h 5762172"/>
              <a:gd name="connsiteX22" fmla="*/ 1963060 w 10479316"/>
              <a:gd name="connsiteY22" fmla="*/ 5762172 h 5762172"/>
              <a:gd name="connsiteX23" fmla="*/ 1699739 w 10479316"/>
              <a:gd name="connsiteY23" fmla="*/ 5284932 h 5762172"/>
              <a:gd name="connsiteX24" fmla="*/ 2328451 w 10479316"/>
              <a:gd name="connsiteY24" fmla="*/ 4686223 h 5762172"/>
              <a:gd name="connsiteX25" fmla="*/ 2792804 w 10479316"/>
              <a:gd name="connsiteY25" fmla="*/ 5274516 h 5762172"/>
              <a:gd name="connsiteX26" fmla="*/ 6999516 w 10479316"/>
              <a:gd name="connsiteY26" fmla="*/ 5602515 h 5762172"/>
              <a:gd name="connsiteX27" fmla="*/ 6783649 w 10479316"/>
              <a:gd name="connsiteY27" fmla="*/ 5167363 h 5762172"/>
              <a:gd name="connsiteX28" fmla="*/ 7360526 w 10479316"/>
              <a:gd name="connsiteY28" fmla="*/ 5297991 h 5762172"/>
              <a:gd name="connsiteX29" fmla="*/ 6999516 w 10479316"/>
              <a:gd name="connsiteY29" fmla="*/ 5602515 h 5762172"/>
              <a:gd name="connsiteX30" fmla="*/ 7635387 w 10479316"/>
              <a:gd name="connsiteY30" fmla="*/ 5245487 h 5762172"/>
              <a:gd name="connsiteX31" fmla="*/ 7434946 w 10479316"/>
              <a:gd name="connsiteY31" fmla="*/ 5718629 h 5762172"/>
              <a:gd name="connsiteX32" fmla="*/ 6709232 w 10479316"/>
              <a:gd name="connsiteY32" fmla="*/ 5762171 h 5762172"/>
              <a:gd name="connsiteX33" fmla="*/ 6445439 w 10479316"/>
              <a:gd name="connsiteY33" fmla="*/ 5252279 h 5762172"/>
              <a:gd name="connsiteX34" fmla="*/ 7045121 w 10479316"/>
              <a:gd name="connsiteY34" fmla="*/ 4631789 h 5762172"/>
              <a:gd name="connsiteX35" fmla="*/ 7635387 w 10479316"/>
              <a:gd name="connsiteY35" fmla="*/ 5245487 h 5762172"/>
              <a:gd name="connsiteX36" fmla="*/ 722088 w 10479316"/>
              <a:gd name="connsiteY36" fmla="*/ 4796972 h 5762172"/>
              <a:gd name="connsiteX37" fmla="*/ 2166261 w 10479316"/>
              <a:gd name="connsiteY37" fmla="*/ 1672774 h 5762172"/>
              <a:gd name="connsiteX38" fmla="*/ 8632374 w 10479316"/>
              <a:gd name="connsiteY38" fmla="*/ 1560290 h 5762172"/>
              <a:gd name="connsiteX39" fmla="*/ 9278259 w 10479316"/>
              <a:gd name="connsiteY39" fmla="*/ 4992914 h 5762172"/>
              <a:gd name="connsiteX40" fmla="*/ 1426029 w 10479316"/>
              <a:gd name="connsiteY40" fmla="*/ 5148945 h 5762172"/>
              <a:gd name="connsiteX41" fmla="*/ 722088 w 10479316"/>
              <a:gd name="connsiteY41" fmla="*/ 4796972 h 5762172"/>
              <a:gd name="connsiteX0" fmla="*/ 2282373 w 10479316"/>
              <a:gd name="connsiteY0" fmla="*/ 1850572 h 5762172"/>
              <a:gd name="connsiteX1" fmla="*/ 3224922 w 10479316"/>
              <a:gd name="connsiteY1" fmla="*/ 2005057 h 5762172"/>
              <a:gd name="connsiteX2" fmla="*/ 1613836 w 10479316"/>
              <a:gd name="connsiteY2" fmla="*/ 3757114 h 5762172"/>
              <a:gd name="connsiteX3" fmla="*/ 2282373 w 10479316"/>
              <a:gd name="connsiteY3" fmla="*/ 1850572 h 5762172"/>
              <a:gd name="connsiteX4" fmla="*/ 6024301 w 10479316"/>
              <a:gd name="connsiteY4" fmla="*/ 937302 h 5762172"/>
              <a:gd name="connsiteX5" fmla="*/ 5375978 w 10479316"/>
              <a:gd name="connsiteY5" fmla="*/ 2175411 h 5762172"/>
              <a:gd name="connsiteX6" fmla="*/ 4660181 w 10479316"/>
              <a:gd name="connsiteY6" fmla="*/ 1525892 h 5762172"/>
              <a:gd name="connsiteX7" fmla="*/ 6024301 w 10479316"/>
              <a:gd name="connsiteY7" fmla="*/ 937302 h 5762172"/>
              <a:gd name="connsiteX8" fmla="*/ 3530602 w 10479316"/>
              <a:gd name="connsiteY8" fmla="*/ 0 h 5762172"/>
              <a:gd name="connsiteX9" fmla="*/ 4036754 w 10479316"/>
              <a:gd name="connsiteY9" fmla="*/ 1291494 h 5762172"/>
              <a:gd name="connsiteX10" fmla="*/ 3024449 w 10479316"/>
              <a:gd name="connsiteY10" fmla="*/ 1291494 h 5762172"/>
              <a:gd name="connsiteX11" fmla="*/ 3530602 w 10479316"/>
              <a:gd name="connsiteY11" fmla="*/ 0 h 5762172"/>
              <a:gd name="connsiteX12" fmla="*/ 1036575 w 10479316"/>
              <a:gd name="connsiteY12" fmla="*/ 937302 h 5762172"/>
              <a:gd name="connsiteX13" fmla="*/ 2401022 w 10479316"/>
              <a:gd name="connsiteY13" fmla="*/ 1525892 h 5762172"/>
              <a:gd name="connsiteX14" fmla="*/ 1685225 w 10479316"/>
              <a:gd name="connsiteY14" fmla="*/ 2175411 h 5762172"/>
              <a:gd name="connsiteX15" fmla="*/ 1036575 w 10479316"/>
              <a:gd name="connsiteY15" fmla="*/ 937302 h 5762172"/>
              <a:gd name="connsiteX16" fmla="*/ 3704773 w 10479316"/>
              <a:gd name="connsiteY16" fmla="*/ 1879600 h 5762172"/>
              <a:gd name="connsiteX17" fmla="*/ 4895824 w 10479316"/>
              <a:gd name="connsiteY17" fmla="*/ 1855742 h 5762172"/>
              <a:gd name="connsiteX18" fmla="*/ 4837767 w 10479316"/>
              <a:gd name="connsiteY18" fmla="*/ 2948486 h 5762172"/>
              <a:gd name="connsiteX19" fmla="*/ 3704773 w 10479316"/>
              <a:gd name="connsiteY19" fmla="*/ 1879600 h 5762172"/>
              <a:gd name="connsiteX20" fmla="*/ 2792804 w 10479316"/>
              <a:gd name="connsiteY20" fmla="*/ 5274516 h 5762172"/>
              <a:gd name="connsiteX21" fmla="*/ 2616203 w 10479316"/>
              <a:gd name="connsiteY21" fmla="*/ 5747657 h 5762172"/>
              <a:gd name="connsiteX22" fmla="*/ 1963060 w 10479316"/>
              <a:gd name="connsiteY22" fmla="*/ 5762172 h 5762172"/>
              <a:gd name="connsiteX23" fmla="*/ 1699739 w 10479316"/>
              <a:gd name="connsiteY23" fmla="*/ 5284932 h 5762172"/>
              <a:gd name="connsiteX24" fmla="*/ 2328451 w 10479316"/>
              <a:gd name="connsiteY24" fmla="*/ 4686223 h 5762172"/>
              <a:gd name="connsiteX25" fmla="*/ 2792804 w 10479316"/>
              <a:gd name="connsiteY25" fmla="*/ 5274516 h 5762172"/>
              <a:gd name="connsiteX26" fmla="*/ 6999516 w 10479316"/>
              <a:gd name="connsiteY26" fmla="*/ 5602515 h 5762172"/>
              <a:gd name="connsiteX27" fmla="*/ 6783649 w 10479316"/>
              <a:gd name="connsiteY27" fmla="*/ 5167363 h 5762172"/>
              <a:gd name="connsiteX28" fmla="*/ 7360526 w 10479316"/>
              <a:gd name="connsiteY28" fmla="*/ 5297991 h 5762172"/>
              <a:gd name="connsiteX29" fmla="*/ 6999516 w 10479316"/>
              <a:gd name="connsiteY29" fmla="*/ 5602515 h 5762172"/>
              <a:gd name="connsiteX30" fmla="*/ 7635387 w 10479316"/>
              <a:gd name="connsiteY30" fmla="*/ 5245487 h 5762172"/>
              <a:gd name="connsiteX31" fmla="*/ 7434946 w 10479316"/>
              <a:gd name="connsiteY31" fmla="*/ 5718629 h 5762172"/>
              <a:gd name="connsiteX32" fmla="*/ 6709232 w 10479316"/>
              <a:gd name="connsiteY32" fmla="*/ 5762171 h 5762172"/>
              <a:gd name="connsiteX33" fmla="*/ 6445439 w 10479316"/>
              <a:gd name="connsiteY33" fmla="*/ 5252279 h 5762172"/>
              <a:gd name="connsiteX34" fmla="*/ 7045121 w 10479316"/>
              <a:gd name="connsiteY34" fmla="*/ 4631789 h 5762172"/>
              <a:gd name="connsiteX35" fmla="*/ 7635387 w 10479316"/>
              <a:gd name="connsiteY35" fmla="*/ 5245487 h 5762172"/>
              <a:gd name="connsiteX36" fmla="*/ 722088 w 10479316"/>
              <a:gd name="connsiteY36" fmla="*/ 4796972 h 5762172"/>
              <a:gd name="connsiteX37" fmla="*/ 2166261 w 10479316"/>
              <a:gd name="connsiteY37" fmla="*/ 1672774 h 5762172"/>
              <a:gd name="connsiteX38" fmla="*/ 8632374 w 10479316"/>
              <a:gd name="connsiteY38" fmla="*/ 1560290 h 5762172"/>
              <a:gd name="connsiteX39" fmla="*/ 9278259 w 10479316"/>
              <a:gd name="connsiteY39" fmla="*/ 4992914 h 5762172"/>
              <a:gd name="connsiteX40" fmla="*/ 1426029 w 10479316"/>
              <a:gd name="connsiteY40" fmla="*/ 5148945 h 5762172"/>
              <a:gd name="connsiteX41" fmla="*/ 722088 w 10479316"/>
              <a:gd name="connsiteY41" fmla="*/ 4796972 h 5762172"/>
              <a:gd name="connsiteX0" fmla="*/ 2282373 w 10479316"/>
              <a:gd name="connsiteY0" fmla="*/ 1850572 h 5762172"/>
              <a:gd name="connsiteX1" fmla="*/ 3224922 w 10479316"/>
              <a:gd name="connsiteY1" fmla="*/ 2005057 h 5762172"/>
              <a:gd name="connsiteX2" fmla="*/ 1613836 w 10479316"/>
              <a:gd name="connsiteY2" fmla="*/ 3757114 h 5762172"/>
              <a:gd name="connsiteX3" fmla="*/ 2282373 w 10479316"/>
              <a:gd name="connsiteY3" fmla="*/ 1850572 h 5762172"/>
              <a:gd name="connsiteX4" fmla="*/ 6024301 w 10479316"/>
              <a:gd name="connsiteY4" fmla="*/ 937302 h 5762172"/>
              <a:gd name="connsiteX5" fmla="*/ 5375978 w 10479316"/>
              <a:gd name="connsiteY5" fmla="*/ 2175411 h 5762172"/>
              <a:gd name="connsiteX6" fmla="*/ 4660181 w 10479316"/>
              <a:gd name="connsiteY6" fmla="*/ 1525892 h 5762172"/>
              <a:gd name="connsiteX7" fmla="*/ 6024301 w 10479316"/>
              <a:gd name="connsiteY7" fmla="*/ 937302 h 5762172"/>
              <a:gd name="connsiteX8" fmla="*/ 3530602 w 10479316"/>
              <a:gd name="connsiteY8" fmla="*/ 0 h 5762172"/>
              <a:gd name="connsiteX9" fmla="*/ 4036754 w 10479316"/>
              <a:gd name="connsiteY9" fmla="*/ 1291494 h 5762172"/>
              <a:gd name="connsiteX10" fmla="*/ 3024449 w 10479316"/>
              <a:gd name="connsiteY10" fmla="*/ 1291494 h 5762172"/>
              <a:gd name="connsiteX11" fmla="*/ 3530602 w 10479316"/>
              <a:gd name="connsiteY11" fmla="*/ 0 h 5762172"/>
              <a:gd name="connsiteX12" fmla="*/ 1036575 w 10479316"/>
              <a:gd name="connsiteY12" fmla="*/ 937302 h 5762172"/>
              <a:gd name="connsiteX13" fmla="*/ 2401022 w 10479316"/>
              <a:gd name="connsiteY13" fmla="*/ 1525892 h 5762172"/>
              <a:gd name="connsiteX14" fmla="*/ 1685225 w 10479316"/>
              <a:gd name="connsiteY14" fmla="*/ 2175411 h 5762172"/>
              <a:gd name="connsiteX15" fmla="*/ 1036575 w 10479316"/>
              <a:gd name="connsiteY15" fmla="*/ 937302 h 5762172"/>
              <a:gd name="connsiteX16" fmla="*/ 3704773 w 10479316"/>
              <a:gd name="connsiteY16" fmla="*/ 1879600 h 5762172"/>
              <a:gd name="connsiteX17" fmla="*/ 4895824 w 10479316"/>
              <a:gd name="connsiteY17" fmla="*/ 1855742 h 5762172"/>
              <a:gd name="connsiteX18" fmla="*/ 4837767 w 10479316"/>
              <a:gd name="connsiteY18" fmla="*/ 2948486 h 5762172"/>
              <a:gd name="connsiteX19" fmla="*/ 3603174 w 10479316"/>
              <a:gd name="connsiteY19" fmla="*/ 2960914 h 5762172"/>
              <a:gd name="connsiteX20" fmla="*/ 3704773 w 10479316"/>
              <a:gd name="connsiteY20" fmla="*/ 1879600 h 5762172"/>
              <a:gd name="connsiteX21" fmla="*/ 2792804 w 10479316"/>
              <a:gd name="connsiteY21" fmla="*/ 5274516 h 5762172"/>
              <a:gd name="connsiteX22" fmla="*/ 2616203 w 10479316"/>
              <a:gd name="connsiteY22" fmla="*/ 5747657 h 5762172"/>
              <a:gd name="connsiteX23" fmla="*/ 1963060 w 10479316"/>
              <a:gd name="connsiteY23" fmla="*/ 5762172 h 5762172"/>
              <a:gd name="connsiteX24" fmla="*/ 1699739 w 10479316"/>
              <a:gd name="connsiteY24" fmla="*/ 5284932 h 5762172"/>
              <a:gd name="connsiteX25" fmla="*/ 2328451 w 10479316"/>
              <a:gd name="connsiteY25" fmla="*/ 4686223 h 5762172"/>
              <a:gd name="connsiteX26" fmla="*/ 2792804 w 10479316"/>
              <a:gd name="connsiteY26" fmla="*/ 5274516 h 5762172"/>
              <a:gd name="connsiteX27" fmla="*/ 6999516 w 10479316"/>
              <a:gd name="connsiteY27" fmla="*/ 5602515 h 5762172"/>
              <a:gd name="connsiteX28" fmla="*/ 6783649 w 10479316"/>
              <a:gd name="connsiteY28" fmla="*/ 5167363 h 5762172"/>
              <a:gd name="connsiteX29" fmla="*/ 7360526 w 10479316"/>
              <a:gd name="connsiteY29" fmla="*/ 5297991 h 5762172"/>
              <a:gd name="connsiteX30" fmla="*/ 6999516 w 10479316"/>
              <a:gd name="connsiteY30" fmla="*/ 5602515 h 5762172"/>
              <a:gd name="connsiteX31" fmla="*/ 7635387 w 10479316"/>
              <a:gd name="connsiteY31" fmla="*/ 5245487 h 5762172"/>
              <a:gd name="connsiteX32" fmla="*/ 7434946 w 10479316"/>
              <a:gd name="connsiteY32" fmla="*/ 5718629 h 5762172"/>
              <a:gd name="connsiteX33" fmla="*/ 6709232 w 10479316"/>
              <a:gd name="connsiteY33" fmla="*/ 5762171 h 5762172"/>
              <a:gd name="connsiteX34" fmla="*/ 6445439 w 10479316"/>
              <a:gd name="connsiteY34" fmla="*/ 5252279 h 5762172"/>
              <a:gd name="connsiteX35" fmla="*/ 7045121 w 10479316"/>
              <a:gd name="connsiteY35" fmla="*/ 4631789 h 5762172"/>
              <a:gd name="connsiteX36" fmla="*/ 7635387 w 10479316"/>
              <a:gd name="connsiteY36" fmla="*/ 5245487 h 5762172"/>
              <a:gd name="connsiteX37" fmla="*/ 722088 w 10479316"/>
              <a:gd name="connsiteY37" fmla="*/ 4796972 h 5762172"/>
              <a:gd name="connsiteX38" fmla="*/ 2166261 w 10479316"/>
              <a:gd name="connsiteY38" fmla="*/ 1672774 h 5762172"/>
              <a:gd name="connsiteX39" fmla="*/ 8632374 w 10479316"/>
              <a:gd name="connsiteY39" fmla="*/ 1560290 h 5762172"/>
              <a:gd name="connsiteX40" fmla="*/ 9278259 w 10479316"/>
              <a:gd name="connsiteY40" fmla="*/ 4992914 h 5762172"/>
              <a:gd name="connsiteX41" fmla="*/ 1426029 w 10479316"/>
              <a:gd name="connsiteY41" fmla="*/ 5148945 h 5762172"/>
              <a:gd name="connsiteX42" fmla="*/ 722088 w 10479316"/>
              <a:gd name="connsiteY42" fmla="*/ 4796972 h 5762172"/>
              <a:gd name="connsiteX0" fmla="*/ 2282373 w 10479316"/>
              <a:gd name="connsiteY0" fmla="*/ 1850572 h 5762172"/>
              <a:gd name="connsiteX1" fmla="*/ 3224922 w 10479316"/>
              <a:gd name="connsiteY1" fmla="*/ 2005057 h 5762172"/>
              <a:gd name="connsiteX2" fmla="*/ 1613836 w 10479316"/>
              <a:gd name="connsiteY2" fmla="*/ 3757114 h 5762172"/>
              <a:gd name="connsiteX3" fmla="*/ 2282373 w 10479316"/>
              <a:gd name="connsiteY3" fmla="*/ 1850572 h 5762172"/>
              <a:gd name="connsiteX4" fmla="*/ 6779043 w 10479316"/>
              <a:gd name="connsiteY4" fmla="*/ 1837188 h 5762172"/>
              <a:gd name="connsiteX5" fmla="*/ 5375978 w 10479316"/>
              <a:gd name="connsiteY5" fmla="*/ 2175411 h 5762172"/>
              <a:gd name="connsiteX6" fmla="*/ 4660181 w 10479316"/>
              <a:gd name="connsiteY6" fmla="*/ 1525892 h 5762172"/>
              <a:gd name="connsiteX7" fmla="*/ 6779043 w 10479316"/>
              <a:gd name="connsiteY7" fmla="*/ 1837188 h 5762172"/>
              <a:gd name="connsiteX8" fmla="*/ 3530602 w 10479316"/>
              <a:gd name="connsiteY8" fmla="*/ 0 h 5762172"/>
              <a:gd name="connsiteX9" fmla="*/ 4036754 w 10479316"/>
              <a:gd name="connsiteY9" fmla="*/ 1291494 h 5762172"/>
              <a:gd name="connsiteX10" fmla="*/ 3024449 w 10479316"/>
              <a:gd name="connsiteY10" fmla="*/ 1291494 h 5762172"/>
              <a:gd name="connsiteX11" fmla="*/ 3530602 w 10479316"/>
              <a:gd name="connsiteY11" fmla="*/ 0 h 5762172"/>
              <a:gd name="connsiteX12" fmla="*/ 1036575 w 10479316"/>
              <a:gd name="connsiteY12" fmla="*/ 937302 h 5762172"/>
              <a:gd name="connsiteX13" fmla="*/ 2401022 w 10479316"/>
              <a:gd name="connsiteY13" fmla="*/ 1525892 h 5762172"/>
              <a:gd name="connsiteX14" fmla="*/ 1685225 w 10479316"/>
              <a:gd name="connsiteY14" fmla="*/ 2175411 h 5762172"/>
              <a:gd name="connsiteX15" fmla="*/ 1036575 w 10479316"/>
              <a:gd name="connsiteY15" fmla="*/ 937302 h 5762172"/>
              <a:gd name="connsiteX16" fmla="*/ 3704773 w 10479316"/>
              <a:gd name="connsiteY16" fmla="*/ 1879600 h 5762172"/>
              <a:gd name="connsiteX17" fmla="*/ 4895824 w 10479316"/>
              <a:gd name="connsiteY17" fmla="*/ 1855742 h 5762172"/>
              <a:gd name="connsiteX18" fmla="*/ 4837767 w 10479316"/>
              <a:gd name="connsiteY18" fmla="*/ 2948486 h 5762172"/>
              <a:gd name="connsiteX19" fmla="*/ 3603174 w 10479316"/>
              <a:gd name="connsiteY19" fmla="*/ 2960914 h 5762172"/>
              <a:gd name="connsiteX20" fmla="*/ 3704773 w 10479316"/>
              <a:gd name="connsiteY20" fmla="*/ 1879600 h 5762172"/>
              <a:gd name="connsiteX21" fmla="*/ 2792804 w 10479316"/>
              <a:gd name="connsiteY21" fmla="*/ 5274516 h 5762172"/>
              <a:gd name="connsiteX22" fmla="*/ 2616203 w 10479316"/>
              <a:gd name="connsiteY22" fmla="*/ 5747657 h 5762172"/>
              <a:gd name="connsiteX23" fmla="*/ 1963060 w 10479316"/>
              <a:gd name="connsiteY23" fmla="*/ 5762172 h 5762172"/>
              <a:gd name="connsiteX24" fmla="*/ 1699739 w 10479316"/>
              <a:gd name="connsiteY24" fmla="*/ 5284932 h 5762172"/>
              <a:gd name="connsiteX25" fmla="*/ 2328451 w 10479316"/>
              <a:gd name="connsiteY25" fmla="*/ 4686223 h 5762172"/>
              <a:gd name="connsiteX26" fmla="*/ 2792804 w 10479316"/>
              <a:gd name="connsiteY26" fmla="*/ 5274516 h 5762172"/>
              <a:gd name="connsiteX27" fmla="*/ 6999516 w 10479316"/>
              <a:gd name="connsiteY27" fmla="*/ 5602515 h 5762172"/>
              <a:gd name="connsiteX28" fmla="*/ 6783649 w 10479316"/>
              <a:gd name="connsiteY28" fmla="*/ 5167363 h 5762172"/>
              <a:gd name="connsiteX29" fmla="*/ 7360526 w 10479316"/>
              <a:gd name="connsiteY29" fmla="*/ 5297991 h 5762172"/>
              <a:gd name="connsiteX30" fmla="*/ 6999516 w 10479316"/>
              <a:gd name="connsiteY30" fmla="*/ 5602515 h 5762172"/>
              <a:gd name="connsiteX31" fmla="*/ 7635387 w 10479316"/>
              <a:gd name="connsiteY31" fmla="*/ 5245487 h 5762172"/>
              <a:gd name="connsiteX32" fmla="*/ 7434946 w 10479316"/>
              <a:gd name="connsiteY32" fmla="*/ 5718629 h 5762172"/>
              <a:gd name="connsiteX33" fmla="*/ 6709232 w 10479316"/>
              <a:gd name="connsiteY33" fmla="*/ 5762171 h 5762172"/>
              <a:gd name="connsiteX34" fmla="*/ 6445439 w 10479316"/>
              <a:gd name="connsiteY34" fmla="*/ 5252279 h 5762172"/>
              <a:gd name="connsiteX35" fmla="*/ 7045121 w 10479316"/>
              <a:gd name="connsiteY35" fmla="*/ 4631789 h 5762172"/>
              <a:gd name="connsiteX36" fmla="*/ 7635387 w 10479316"/>
              <a:gd name="connsiteY36" fmla="*/ 5245487 h 5762172"/>
              <a:gd name="connsiteX37" fmla="*/ 722088 w 10479316"/>
              <a:gd name="connsiteY37" fmla="*/ 4796972 h 5762172"/>
              <a:gd name="connsiteX38" fmla="*/ 2166261 w 10479316"/>
              <a:gd name="connsiteY38" fmla="*/ 1672774 h 5762172"/>
              <a:gd name="connsiteX39" fmla="*/ 8632374 w 10479316"/>
              <a:gd name="connsiteY39" fmla="*/ 1560290 h 5762172"/>
              <a:gd name="connsiteX40" fmla="*/ 9278259 w 10479316"/>
              <a:gd name="connsiteY40" fmla="*/ 4992914 h 5762172"/>
              <a:gd name="connsiteX41" fmla="*/ 1426029 w 10479316"/>
              <a:gd name="connsiteY41" fmla="*/ 5148945 h 5762172"/>
              <a:gd name="connsiteX42" fmla="*/ 722088 w 10479316"/>
              <a:gd name="connsiteY42" fmla="*/ 4796972 h 5762172"/>
              <a:gd name="connsiteX0" fmla="*/ 2282373 w 10479316"/>
              <a:gd name="connsiteY0" fmla="*/ 1850572 h 5762172"/>
              <a:gd name="connsiteX1" fmla="*/ 3224922 w 10479316"/>
              <a:gd name="connsiteY1" fmla="*/ 2005057 h 5762172"/>
              <a:gd name="connsiteX2" fmla="*/ 1613836 w 10479316"/>
              <a:gd name="connsiteY2" fmla="*/ 3757114 h 5762172"/>
              <a:gd name="connsiteX3" fmla="*/ 2282373 w 10479316"/>
              <a:gd name="connsiteY3" fmla="*/ 1850572 h 5762172"/>
              <a:gd name="connsiteX4" fmla="*/ 6779043 w 10479316"/>
              <a:gd name="connsiteY4" fmla="*/ 1837188 h 5762172"/>
              <a:gd name="connsiteX5" fmla="*/ 5375978 w 10479316"/>
              <a:gd name="connsiteY5" fmla="*/ 2175411 h 5762172"/>
              <a:gd name="connsiteX6" fmla="*/ 5632639 w 10479316"/>
              <a:gd name="connsiteY6" fmla="*/ 1830692 h 5762172"/>
              <a:gd name="connsiteX7" fmla="*/ 6779043 w 10479316"/>
              <a:gd name="connsiteY7" fmla="*/ 1837188 h 5762172"/>
              <a:gd name="connsiteX8" fmla="*/ 3530602 w 10479316"/>
              <a:gd name="connsiteY8" fmla="*/ 0 h 5762172"/>
              <a:gd name="connsiteX9" fmla="*/ 4036754 w 10479316"/>
              <a:gd name="connsiteY9" fmla="*/ 1291494 h 5762172"/>
              <a:gd name="connsiteX10" fmla="*/ 3024449 w 10479316"/>
              <a:gd name="connsiteY10" fmla="*/ 1291494 h 5762172"/>
              <a:gd name="connsiteX11" fmla="*/ 3530602 w 10479316"/>
              <a:gd name="connsiteY11" fmla="*/ 0 h 5762172"/>
              <a:gd name="connsiteX12" fmla="*/ 1036575 w 10479316"/>
              <a:gd name="connsiteY12" fmla="*/ 937302 h 5762172"/>
              <a:gd name="connsiteX13" fmla="*/ 2401022 w 10479316"/>
              <a:gd name="connsiteY13" fmla="*/ 1525892 h 5762172"/>
              <a:gd name="connsiteX14" fmla="*/ 1685225 w 10479316"/>
              <a:gd name="connsiteY14" fmla="*/ 2175411 h 5762172"/>
              <a:gd name="connsiteX15" fmla="*/ 1036575 w 10479316"/>
              <a:gd name="connsiteY15" fmla="*/ 937302 h 5762172"/>
              <a:gd name="connsiteX16" fmla="*/ 3704773 w 10479316"/>
              <a:gd name="connsiteY16" fmla="*/ 1879600 h 5762172"/>
              <a:gd name="connsiteX17" fmla="*/ 4895824 w 10479316"/>
              <a:gd name="connsiteY17" fmla="*/ 1855742 h 5762172"/>
              <a:gd name="connsiteX18" fmla="*/ 4837767 w 10479316"/>
              <a:gd name="connsiteY18" fmla="*/ 2948486 h 5762172"/>
              <a:gd name="connsiteX19" fmla="*/ 3603174 w 10479316"/>
              <a:gd name="connsiteY19" fmla="*/ 2960914 h 5762172"/>
              <a:gd name="connsiteX20" fmla="*/ 3704773 w 10479316"/>
              <a:gd name="connsiteY20" fmla="*/ 1879600 h 5762172"/>
              <a:gd name="connsiteX21" fmla="*/ 2792804 w 10479316"/>
              <a:gd name="connsiteY21" fmla="*/ 5274516 h 5762172"/>
              <a:gd name="connsiteX22" fmla="*/ 2616203 w 10479316"/>
              <a:gd name="connsiteY22" fmla="*/ 5747657 h 5762172"/>
              <a:gd name="connsiteX23" fmla="*/ 1963060 w 10479316"/>
              <a:gd name="connsiteY23" fmla="*/ 5762172 h 5762172"/>
              <a:gd name="connsiteX24" fmla="*/ 1699739 w 10479316"/>
              <a:gd name="connsiteY24" fmla="*/ 5284932 h 5762172"/>
              <a:gd name="connsiteX25" fmla="*/ 2328451 w 10479316"/>
              <a:gd name="connsiteY25" fmla="*/ 4686223 h 5762172"/>
              <a:gd name="connsiteX26" fmla="*/ 2792804 w 10479316"/>
              <a:gd name="connsiteY26" fmla="*/ 5274516 h 5762172"/>
              <a:gd name="connsiteX27" fmla="*/ 6999516 w 10479316"/>
              <a:gd name="connsiteY27" fmla="*/ 5602515 h 5762172"/>
              <a:gd name="connsiteX28" fmla="*/ 6783649 w 10479316"/>
              <a:gd name="connsiteY28" fmla="*/ 5167363 h 5762172"/>
              <a:gd name="connsiteX29" fmla="*/ 7360526 w 10479316"/>
              <a:gd name="connsiteY29" fmla="*/ 5297991 h 5762172"/>
              <a:gd name="connsiteX30" fmla="*/ 6999516 w 10479316"/>
              <a:gd name="connsiteY30" fmla="*/ 5602515 h 5762172"/>
              <a:gd name="connsiteX31" fmla="*/ 7635387 w 10479316"/>
              <a:gd name="connsiteY31" fmla="*/ 5245487 h 5762172"/>
              <a:gd name="connsiteX32" fmla="*/ 7434946 w 10479316"/>
              <a:gd name="connsiteY32" fmla="*/ 5718629 h 5762172"/>
              <a:gd name="connsiteX33" fmla="*/ 6709232 w 10479316"/>
              <a:gd name="connsiteY33" fmla="*/ 5762171 h 5762172"/>
              <a:gd name="connsiteX34" fmla="*/ 6445439 w 10479316"/>
              <a:gd name="connsiteY34" fmla="*/ 5252279 h 5762172"/>
              <a:gd name="connsiteX35" fmla="*/ 7045121 w 10479316"/>
              <a:gd name="connsiteY35" fmla="*/ 4631789 h 5762172"/>
              <a:gd name="connsiteX36" fmla="*/ 7635387 w 10479316"/>
              <a:gd name="connsiteY36" fmla="*/ 5245487 h 5762172"/>
              <a:gd name="connsiteX37" fmla="*/ 722088 w 10479316"/>
              <a:gd name="connsiteY37" fmla="*/ 4796972 h 5762172"/>
              <a:gd name="connsiteX38" fmla="*/ 2166261 w 10479316"/>
              <a:gd name="connsiteY38" fmla="*/ 1672774 h 5762172"/>
              <a:gd name="connsiteX39" fmla="*/ 8632374 w 10479316"/>
              <a:gd name="connsiteY39" fmla="*/ 1560290 h 5762172"/>
              <a:gd name="connsiteX40" fmla="*/ 9278259 w 10479316"/>
              <a:gd name="connsiteY40" fmla="*/ 4992914 h 5762172"/>
              <a:gd name="connsiteX41" fmla="*/ 1426029 w 10479316"/>
              <a:gd name="connsiteY41" fmla="*/ 5148945 h 5762172"/>
              <a:gd name="connsiteX42" fmla="*/ 722088 w 10479316"/>
              <a:gd name="connsiteY42" fmla="*/ 4796972 h 5762172"/>
              <a:gd name="connsiteX0" fmla="*/ 2282373 w 10479316"/>
              <a:gd name="connsiteY0" fmla="*/ 1850572 h 5762172"/>
              <a:gd name="connsiteX1" fmla="*/ 3224922 w 10479316"/>
              <a:gd name="connsiteY1" fmla="*/ 2005057 h 5762172"/>
              <a:gd name="connsiteX2" fmla="*/ 1613836 w 10479316"/>
              <a:gd name="connsiteY2" fmla="*/ 3757114 h 5762172"/>
              <a:gd name="connsiteX3" fmla="*/ 2282373 w 10479316"/>
              <a:gd name="connsiteY3" fmla="*/ 1850572 h 5762172"/>
              <a:gd name="connsiteX4" fmla="*/ 6779043 w 10479316"/>
              <a:gd name="connsiteY4" fmla="*/ 1837188 h 5762172"/>
              <a:gd name="connsiteX5" fmla="*/ 5564664 w 10479316"/>
              <a:gd name="connsiteY5" fmla="*/ 2944668 h 5762172"/>
              <a:gd name="connsiteX6" fmla="*/ 5632639 w 10479316"/>
              <a:gd name="connsiteY6" fmla="*/ 1830692 h 5762172"/>
              <a:gd name="connsiteX7" fmla="*/ 6779043 w 10479316"/>
              <a:gd name="connsiteY7" fmla="*/ 1837188 h 5762172"/>
              <a:gd name="connsiteX8" fmla="*/ 3530602 w 10479316"/>
              <a:gd name="connsiteY8" fmla="*/ 0 h 5762172"/>
              <a:gd name="connsiteX9" fmla="*/ 4036754 w 10479316"/>
              <a:gd name="connsiteY9" fmla="*/ 1291494 h 5762172"/>
              <a:gd name="connsiteX10" fmla="*/ 3024449 w 10479316"/>
              <a:gd name="connsiteY10" fmla="*/ 1291494 h 5762172"/>
              <a:gd name="connsiteX11" fmla="*/ 3530602 w 10479316"/>
              <a:gd name="connsiteY11" fmla="*/ 0 h 5762172"/>
              <a:gd name="connsiteX12" fmla="*/ 1036575 w 10479316"/>
              <a:gd name="connsiteY12" fmla="*/ 937302 h 5762172"/>
              <a:gd name="connsiteX13" fmla="*/ 2401022 w 10479316"/>
              <a:gd name="connsiteY13" fmla="*/ 1525892 h 5762172"/>
              <a:gd name="connsiteX14" fmla="*/ 1685225 w 10479316"/>
              <a:gd name="connsiteY14" fmla="*/ 2175411 h 5762172"/>
              <a:gd name="connsiteX15" fmla="*/ 1036575 w 10479316"/>
              <a:gd name="connsiteY15" fmla="*/ 937302 h 5762172"/>
              <a:gd name="connsiteX16" fmla="*/ 3704773 w 10479316"/>
              <a:gd name="connsiteY16" fmla="*/ 1879600 h 5762172"/>
              <a:gd name="connsiteX17" fmla="*/ 4895824 w 10479316"/>
              <a:gd name="connsiteY17" fmla="*/ 1855742 h 5762172"/>
              <a:gd name="connsiteX18" fmla="*/ 4837767 w 10479316"/>
              <a:gd name="connsiteY18" fmla="*/ 2948486 h 5762172"/>
              <a:gd name="connsiteX19" fmla="*/ 3603174 w 10479316"/>
              <a:gd name="connsiteY19" fmla="*/ 2960914 h 5762172"/>
              <a:gd name="connsiteX20" fmla="*/ 3704773 w 10479316"/>
              <a:gd name="connsiteY20" fmla="*/ 1879600 h 5762172"/>
              <a:gd name="connsiteX21" fmla="*/ 2792804 w 10479316"/>
              <a:gd name="connsiteY21" fmla="*/ 5274516 h 5762172"/>
              <a:gd name="connsiteX22" fmla="*/ 2616203 w 10479316"/>
              <a:gd name="connsiteY22" fmla="*/ 5747657 h 5762172"/>
              <a:gd name="connsiteX23" fmla="*/ 1963060 w 10479316"/>
              <a:gd name="connsiteY23" fmla="*/ 5762172 h 5762172"/>
              <a:gd name="connsiteX24" fmla="*/ 1699739 w 10479316"/>
              <a:gd name="connsiteY24" fmla="*/ 5284932 h 5762172"/>
              <a:gd name="connsiteX25" fmla="*/ 2328451 w 10479316"/>
              <a:gd name="connsiteY25" fmla="*/ 4686223 h 5762172"/>
              <a:gd name="connsiteX26" fmla="*/ 2792804 w 10479316"/>
              <a:gd name="connsiteY26" fmla="*/ 5274516 h 5762172"/>
              <a:gd name="connsiteX27" fmla="*/ 6999516 w 10479316"/>
              <a:gd name="connsiteY27" fmla="*/ 5602515 h 5762172"/>
              <a:gd name="connsiteX28" fmla="*/ 6783649 w 10479316"/>
              <a:gd name="connsiteY28" fmla="*/ 5167363 h 5762172"/>
              <a:gd name="connsiteX29" fmla="*/ 7360526 w 10479316"/>
              <a:gd name="connsiteY29" fmla="*/ 5297991 h 5762172"/>
              <a:gd name="connsiteX30" fmla="*/ 6999516 w 10479316"/>
              <a:gd name="connsiteY30" fmla="*/ 5602515 h 5762172"/>
              <a:gd name="connsiteX31" fmla="*/ 7635387 w 10479316"/>
              <a:gd name="connsiteY31" fmla="*/ 5245487 h 5762172"/>
              <a:gd name="connsiteX32" fmla="*/ 7434946 w 10479316"/>
              <a:gd name="connsiteY32" fmla="*/ 5718629 h 5762172"/>
              <a:gd name="connsiteX33" fmla="*/ 6709232 w 10479316"/>
              <a:gd name="connsiteY33" fmla="*/ 5762171 h 5762172"/>
              <a:gd name="connsiteX34" fmla="*/ 6445439 w 10479316"/>
              <a:gd name="connsiteY34" fmla="*/ 5252279 h 5762172"/>
              <a:gd name="connsiteX35" fmla="*/ 7045121 w 10479316"/>
              <a:gd name="connsiteY35" fmla="*/ 4631789 h 5762172"/>
              <a:gd name="connsiteX36" fmla="*/ 7635387 w 10479316"/>
              <a:gd name="connsiteY36" fmla="*/ 5245487 h 5762172"/>
              <a:gd name="connsiteX37" fmla="*/ 722088 w 10479316"/>
              <a:gd name="connsiteY37" fmla="*/ 4796972 h 5762172"/>
              <a:gd name="connsiteX38" fmla="*/ 2166261 w 10479316"/>
              <a:gd name="connsiteY38" fmla="*/ 1672774 h 5762172"/>
              <a:gd name="connsiteX39" fmla="*/ 8632374 w 10479316"/>
              <a:gd name="connsiteY39" fmla="*/ 1560290 h 5762172"/>
              <a:gd name="connsiteX40" fmla="*/ 9278259 w 10479316"/>
              <a:gd name="connsiteY40" fmla="*/ 4992914 h 5762172"/>
              <a:gd name="connsiteX41" fmla="*/ 1426029 w 10479316"/>
              <a:gd name="connsiteY41" fmla="*/ 5148945 h 5762172"/>
              <a:gd name="connsiteX42" fmla="*/ 722088 w 10479316"/>
              <a:gd name="connsiteY42" fmla="*/ 4796972 h 5762172"/>
              <a:gd name="connsiteX0" fmla="*/ 2282373 w 10479316"/>
              <a:gd name="connsiteY0" fmla="*/ 1850572 h 5762172"/>
              <a:gd name="connsiteX1" fmla="*/ 3224922 w 10479316"/>
              <a:gd name="connsiteY1" fmla="*/ 2005057 h 5762172"/>
              <a:gd name="connsiteX2" fmla="*/ 1613836 w 10479316"/>
              <a:gd name="connsiteY2" fmla="*/ 3757114 h 5762172"/>
              <a:gd name="connsiteX3" fmla="*/ 2282373 w 10479316"/>
              <a:gd name="connsiteY3" fmla="*/ 1850572 h 5762172"/>
              <a:gd name="connsiteX4" fmla="*/ 6779043 w 10479316"/>
              <a:gd name="connsiteY4" fmla="*/ 1837188 h 5762172"/>
              <a:gd name="connsiteX5" fmla="*/ 6796316 w 10479316"/>
              <a:gd name="connsiteY5" fmla="*/ 2946400 h 5762172"/>
              <a:gd name="connsiteX6" fmla="*/ 5564664 w 10479316"/>
              <a:gd name="connsiteY6" fmla="*/ 2944668 h 5762172"/>
              <a:gd name="connsiteX7" fmla="*/ 5632639 w 10479316"/>
              <a:gd name="connsiteY7" fmla="*/ 1830692 h 5762172"/>
              <a:gd name="connsiteX8" fmla="*/ 6779043 w 10479316"/>
              <a:gd name="connsiteY8" fmla="*/ 1837188 h 5762172"/>
              <a:gd name="connsiteX9" fmla="*/ 3530602 w 10479316"/>
              <a:gd name="connsiteY9" fmla="*/ 0 h 5762172"/>
              <a:gd name="connsiteX10" fmla="*/ 4036754 w 10479316"/>
              <a:gd name="connsiteY10" fmla="*/ 1291494 h 5762172"/>
              <a:gd name="connsiteX11" fmla="*/ 3024449 w 10479316"/>
              <a:gd name="connsiteY11" fmla="*/ 1291494 h 5762172"/>
              <a:gd name="connsiteX12" fmla="*/ 3530602 w 10479316"/>
              <a:gd name="connsiteY12" fmla="*/ 0 h 5762172"/>
              <a:gd name="connsiteX13" fmla="*/ 1036575 w 10479316"/>
              <a:gd name="connsiteY13" fmla="*/ 937302 h 5762172"/>
              <a:gd name="connsiteX14" fmla="*/ 2401022 w 10479316"/>
              <a:gd name="connsiteY14" fmla="*/ 1525892 h 5762172"/>
              <a:gd name="connsiteX15" fmla="*/ 1685225 w 10479316"/>
              <a:gd name="connsiteY15" fmla="*/ 2175411 h 5762172"/>
              <a:gd name="connsiteX16" fmla="*/ 1036575 w 10479316"/>
              <a:gd name="connsiteY16" fmla="*/ 937302 h 5762172"/>
              <a:gd name="connsiteX17" fmla="*/ 3704773 w 10479316"/>
              <a:gd name="connsiteY17" fmla="*/ 1879600 h 5762172"/>
              <a:gd name="connsiteX18" fmla="*/ 4895824 w 10479316"/>
              <a:gd name="connsiteY18" fmla="*/ 1855742 h 5762172"/>
              <a:gd name="connsiteX19" fmla="*/ 4837767 w 10479316"/>
              <a:gd name="connsiteY19" fmla="*/ 2948486 h 5762172"/>
              <a:gd name="connsiteX20" fmla="*/ 3603174 w 10479316"/>
              <a:gd name="connsiteY20" fmla="*/ 2960914 h 5762172"/>
              <a:gd name="connsiteX21" fmla="*/ 3704773 w 10479316"/>
              <a:gd name="connsiteY21" fmla="*/ 1879600 h 5762172"/>
              <a:gd name="connsiteX22" fmla="*/ 2792804 w 10479316"/>
              <a:gd name="connsiteY22" fmla="*/ 5274516 h 5762172"/>
              <a:gd name="connsiteX23" fmla="*/ 2616203 w 10479316"/>
              <a:gd name="connsiteY23" fmla="*/ 5747657 h 5762172"/>
              <a:gd name="connsiteX24" fmla="*/ 1963060 w 10479316"/>
              <a:gd name="connsiteY24" fmla="*/ 5762172 h 5762172"/>
              <a:gd name="connsiteX25" fmla="*/ 1699739 w 10479316"/>
              <a:gd name="connsiteY25" fmla="*/ 5284932 h 5762172"/>
              <a:gd name="connsiteX26" fmla="*/ 2328451 w 10479316"/>
              <a:gd name="connsiteY26" fmla="*/ 4686223 h 5762172"/>
              <a:gd name="connsiteX27" fmla="*/ 2792804 w 10479316"/>
              <a:gd name="connsiteY27" fmla="*/ 5274516 h 5762172"/>
              <a:gd name="connsiteX28" fmla="*/ 6999516 w 10479316"/>
              <a:gd name="connsiteY28" fmla="*/ 5602515 h 5762172"/>
              <a:gd name="connsiteX29" fmla="*/ 6783649 w 10479316"/>
              <a:gd name="connsiteY29" fmla="*/ 5167363 h 5762172"/>
              <a:gd name="connsiteX30" fmla="*/ 7360526 w 10479316"/>
              <a:gd name="connsiteY30" fmla="*/ 5297991 h 5762172"/>
              <a:gd name="connsiteX31" fmla="*/ 6999516 w 10479316"/>
              <a:gd name="connsiteY31" fmla="*/ 5602515 h 5762172"/>
              <a:gd name="connsiteX32" fmla="*/ 7635387 w 10479316"/>
              <a:gd name="connsiteY32" fmla="*/ 5245487 h 5762172"/>
              <a:gd name="connsiteX33" fmla="*/ 7434946 w 10479316"/>
              <a:gd name="connsiteY33" fmla="*/ 5718629 h 5762172"/>
              <a:gd name="connsiteX34" fmla="*/ 6709232 w 10479316"/>
              <a:gd name="connsiteY34" fmla="*/ 5762171 h 5762172"/>
              <a:gd name="connsiteX35" fmla="*/ 6445439 w 10479316"/>
              <a:gd name="connsiteY35" fmla="*/ 5252279 h 5762172"/>
              <a:gd name="connsiteX36" fmla="*/ 7045121 w 10479316"/>
              <a:gd name="connsiteY36" fmla="*/ 4631789 h 5762172"/>
              <a:gd name="connsiteX37" fmla="*/ 7635387 w 10479316"/>
              <a:gd name="connsiteY37" fmla="*/ 5245487 h 5762172"/>
              <a:gd name="connsiteX38" fmla="*/ 722088 w 10479316"/>
              <a:gd name="connsiteY38" fmla="*/ 4796972 h 5762172"/>
              <a:gd name="connsiteX39" fmla="*/ 2166261 w 10479316"/>
              <a:gd name="connsiteY39" fmla="*/ 1672774 h 5762172"/>
              <a:gd name="connsiteX40" fmla="*/ 8632374 w 10479316"/>
              <a:gd name="connsiteY40" fmla="*/ 1560290 h 5762172"/>
              <a:gd name="connsiteX41" fmla="*/ 9278259 w 10479316"/>
              <a:gd name="connsiteY41" fmla="*/ 4992914 h 5762172"/>
              <a:gd name="connsiteX42" fmla="*/ 1426029 w 10479316"/>
              <a:gd name="connsiteY42" fmla="*/ 5148945 h 5762172"/>
              <a:gd name="connsiteX43" fmla="*/ 722088 w 10479316"/>
              <a:gd name="connsiteY43" fmla="*/ 4796972 h 5762172"/>
              <a:gd name="connsiteX0" fmla="*/ 2282373 w 10479316"/>
              <a:gd name="connsiteY0" fmla="*/ 913270 h 4824870"/>
              <a:gd name="connsiteX1" fmla="*/ 3224922 w 10479316"/>
              <a:gd name="connsiteY1" fmla="*/ 1067755 h 4824870"/>
              <a:gd name="connsiteX2" fmla="*/ 1613836 w 10479316"/>
              <a:gd name="connsiteY2" fmla="*/ 2819812 h 4824870"/>
              <a:gd name="connsiteX3" fmla="*/ 2282373 w 10479316"/>
              <a:gd name="connsiteY3" fmla="*/ 913270 h 4824870"/>
              <a:gd name="connsiteX4" fmla="*/ 6779043 w 10479316"/>
              <a:gd name="connsiteY4" fmla="*/ 899886 h 4824870"/>
              <a:gd name="connsiteX5" fmla="*/ 6796316 w 10479316"/>
              <a:gd name="connsiteY5" fmla="*/ 2009098 h 4824870"/>
              <a:gd name="connsiteX6" fmla="*/ 5564664 w 10479316"/>
              <a:gd name="connsiteY6" fmla="*/ 2007366 h 4824870"/>
              <a:gd name="connsiteX7" fmla="*/ 5632639 w 10479316"/>
              <a:gd name="connsiteY7" fmla="*/ 893390 h 4824870"/>
              <a:gd name="connsiteX8" fmla="*/ 6779043 w 10479316"/>
              <a:gd name="connsiteY8" fmla="*/ 899886 h 4824870"/>
              <a:gd name="connsiteX9" fmla="*/ 7536545 w 10479316"/>
              <a:gd name="connsiteY9" fmla="*/ 862469 h 4824870"/>
              <a:gd name="connsiteX10" fmla="*/ 4036754 w 10479316"/>
              <a:gd name="connsiteY10" fmla="*/ 354192 h 4824870"/>
              <a:gd name="connsiteX11" fmla="*/ 3024449 w 10479316"/>
              <a:gd name="connsiteY11" fmla="*/ 354192 h 4824870"/>
              <a:gd name="connsiteX12" fmla="*/ 7536545 w 10479316"/>
              <a:gd name="connsiteY12" fmla="*/ 862469 h 4824870"/>
              <a:gd name="connsiteX13" fmla="*/ 1036575 w 10479316"/>
              <a:gd name="connsiteY13" fmla="*/ 0 h 4824870"/>
              <a:gd name="connsiteX14" fmla="*/ 2401022 w 10479316"/>
              <a:gd name="connsiteY14" fmla="*/ 588590 h 4824870"/>
              <a:gd name="connsiteX15" fmla="*/ 1685225 w 10479316"/>
              <a:gd name="connsiteY15" fmla="*/ 1238109 h 4824870"/>
              <a:gd name="connsiteX16" fmla="*/ 1036575 w 10479316"/>
              <a:gd name="connsiteY16" fmla="*/ 0 h 4824870"/>
              <a:gd name="connsiteX17" fmla="*/ 3704773 w 10479316"/>
              <a:gd name="connsiteY17" fmla="*/ 942298 h 4824870"/>
              <a:gd name="connsiteX18" fmla="*/ 4895824 w 10479316"/>
              <a:gd name="connsiteY18" fmla="*/ 918440 h 4824870"/>
              <a:gd name="connsiteX19" fmla="*/ 4837767 w 10479316"/>
              <a:gd name="connsiteY19" fmla="*/ 2011184 h 4824870"/>
              <a:gd name="connsiteX20" fmla="*/ 3603174 w 10479316"/>
              <a:gd name="connsiteY20" fmla="*/ 2023612 h 4824870"/>
              <a:gd name="connsiteX21" fmla="*/ 3704773 w 10479316"/>
              <a:gd name="connsiteY21" fmla="*/ 942298 h 4824870"/>
              <a:gd name="connsiteX22" fmla="*/ 2792804 w 10479316"/>
              <a:gd name="connsiteY22" fmla="*/ 4337214 h 4824870"/>
              <a:gd name="connsiteX23" fmla="*/ 2616203 w 10479316"/>
              <a:gd name="connsiteY23" fmla="*/ 4810355 h 4824870"/>
              <a:gd name="connsiteX24" fmla="*/ 1963060 w 10479316"/>
              <a:gd name="connsiteY24" fmla="*/ 4824870 h 4824870"/>
              <a:gd name="connsiteX25" fmla="*/ 1699739 w 10479316"/>
              <a:gd name="connsiteY25" fmla="*/ 4347630 h 4824870"/>
              <a:gd name="connsiteX26" fmla="*/ 2328451 w 10479316"/>
              <a:gd name="connsiteY26" fmla="*/ 3748921 h 4824870"/>
              <a:gd name="connsiteX27" fmla="*/ 2792804 w 10479316"/>
              <a:gd name="connsiteY27" fmla="*/ 4337214 h 4824870"/>
              <a:gd name="connsiteX28" fmla="*/ 6999516 w 10479316"/>
              <a:gd name="connsiteY28" fmla="*/ 4665213 h 4824870"/>
              <a:gd name="connsiteX29" fmla="*/ 6783649 w 10479316"/>
              <a:gd name="connsiteY29" fmla="*/ 4230061 h 4824870"/>
              <a:gd name="connsiteX30" fmla="*/ 7360526 w 10479316"/>
              <a:gd name="connsiteY30" fmla="*/ 4360689 h 4824870"/>
              <a:gd name="connsiteX31" fmla="*/ 6999516 w 10479316"/>
              <a:gd name="connsiteY31" fmla="*/ 4665213 h 4824870"/>
              <a:gd name="connsiteX32" fmla="*/ 7635387 w 10479316"/>
              <a:gd name="connsiteY32" fmla="*/ 4308185 h 4824870"/>
              <a:gd name="connsiteX33" fmla="*/ 7434946 w 10479316"/>
              <a:gd name="connsiteY33" fmla="*/ 4781327 h 4824870"/>
              <a:gd name="connsiteX34" fmla="*/ 6709232 w 10479316"/>
              <a:gd name="connsiteY34" fmla="*/ 4824869 h 4824870"/>
              <a:gd name="connsiteX35" fmla="*/ 6445439 w 10479316"/>
              <a:gd name="connsiteY35" fmla="*/ 4314977 h 4824870"/>
              <a:gd name="connsiteX36" fmla="*/ 7045121 w 10479316"/>
              <a:gd name="connsiteY36" fmla="*/ 3694487 h 4824870"/>
              <a:gd name="connsiteX37" fmla="*/ 7635387 w 10479316"/>
              <a:gd name="connsiteY37" fmla="*/ 4308185 h 4824870"/>
              <a:gd name="connsiteX38" fmla="*/ 722088 w 10479316"/>
              <a:gd name="connsiteY38" fmla="*/ 3859670 h 4824870"/>
              <a:gd name="connsiteX39" fmla="*/ 2166261 w 10479316"/>
              <a:gd name="connsiteY39" fmla="*/ 735472 h 4824870"/>
              <a:gd name="connsiteX40" fmla="*/ 8632374 w 10479316"/>
              <a:gd name="connsiteY40" fmla="*/ 622988 h 4824870"/>
              <a:gd name="connsiteX41" fmla="*/ 9278259 w 10479316"/>
              <a:gd name="connsiteY41" fmla="*/ 4055612 h 4824870"/>
              <a:gd name="connsiteX42" fmla="*/ 1426029 w 10479316"/>
              <a:gd name="connsiteY42" fmla="*/ 4211643 h 4824870"/>
              <a:gd name="connsiteX43" fmla="*/ 722088 w 10479316"/>
              <a:gd name="connsiteY43" fmla="*/ 3859670 h 4824870"/>
              <a:gd name="connsiteX0" fmla="*/ 2282373 w 10479316"/>
              <a:gd name="connsiteY0" fmla="*/ 913270 h 4824870"/>
              <a:gd name="connsiteX1" fmla="*/ 3224922 w 10479316"/>
              <a:gd name="connsiteY1" fmla="*/ 1067755 h 4824870"/>
              <a:gd name="connsiteX2" fmla="*/ 1613836 w 10479316"/>
              <a:gd name="connsiteY2" fmla="*/ 2819812 h 4824870"/>
              <a:gd name="connsiteX3" fmla="*/ 2282373 w 10479316"/>
              <a:gd name="connsiteY3" fmla="*/ 913270 h 4824870"/>
              <a:gd name="connsiteX4" fmla="*/ 6779043 w 10479316"/>
              <a:gd name="connsiteY4" fmla="*/ 899886 h 4824870"/>
              <a:gd name="connsiteX5" fmla="*/ 6796316 w 10479316"/>
              <a:gd name="connsiteY5" fmla="*/ 2009098 h 4824870"/>
              <a:gd name="connsiteX6" fmla="*/ 5564664 w 10479316"/>
              <a:gd name="connsiteY6" fmla="*/ 2007366 h 4824870"/>
              <a:gd name="connsiteX7" fmla="*/ 5632639 w 10479316"/>
              <a:gd name="connsiteY7" fmla="*/ 893390 h 4824870"/>
              <a:gd name="connsiteX8" fmla="*/ 6779043 w 10479316"/>
              <a:gd name="connsiteY8" fmla="*/ 899886 h 4824870"/>
              <a:gd name="connsiteX9" fmla="*/ 7536545 w 10479316"/>
              <a:gd name="connsiteY9" fmla="*/ 862469 h 4824870"/>
              <a:gd name="connsiteX10" fmla="*/ 8681325 w 10479316"/>
              <a:gd name="connsiteY10" fmla="*/ 876706 h 4824870"/>
              <a:gd name="connsiteX11" fmla="*/ 3024449 w 10479316"/>
              <a:gd name="connsiteY11" fmla="*/ 354192 h 4824870"/>
              <a:gd name="connsiteX12" fmla="*/ 7536545 w 10479316"/>
              <a:gd name="connsiteY12" fmla="*/ 862469 h 4824870"/>
              <a:gd name="connsiteX13" fmla="*/ 1036575 w 10479316"/>
              <a:gd name="connsiteY13" fmla="*/ 0 h 4824870"/>
              <a:gd name="connsiteX14" fmla="*/ 2401022 w 10479316"/>
              <a:gd name="connsiteY14" fmla="*/ 588590 h 4824870"/>
              <a:gd name="connsiteX15" fmla="*/ 1685225 w 10479316"/>
              <a:gd name="connsiteY15" fmla="*/ 1238109 h 4824870"/>
              <a:gd name="connsiteX16" fmla="*/ 1036575 w 10479316"/>
              <a:gd name="connsiteY16" fmla="*/ 0 h 4824870"/>
              <a:gd name="connsiteX17" fmla="*/ 3704773 w 10479316"/>
              <a:gd name="connsiteY17" fmla="*/ 942298 h 4824870"/>
              <a:gd name="connsiteX18" fmla="*/ 4895824 w 10479316"/>
              <a:gd name="connsiteY18" fmla="*/ 918440 h 4824870"/>
              <a:gd name="connsiteX19" fmla="*/ 4837767 w 10479316"/>
              <a:gd name="connsiteY19" fmla="*/ 2011184 h 4824870"/>
              <a:gd name="connsiteX20" fmla="*/ 3603174 w 10479316"/>
              <a:gd name="connsiteY20" fmla="*/ 2023612 h 4824870"/>
              <a:gd name="connsiteX21" fmla="*/ 3704773 w 10479316"/>
              <a:gd name="connsiteY21" fmla="*/ 942298 h 4824870"/>
              <a:gd name="connsiteX22" fmla="*/ 2792804 w 10479316"/>
              <a:gd name="connsiteY22" fmla="*/ 4337214 h 4824870"/>
              <a:gd name="connsiteX23" fmla="*/ 2616203 w 10479316"/>
              <a:gd name="connsiteY23" fmla="*/ 4810355 h 4824870"/>
              <a:gd name="connsiteX24" fmla="*/ 1963060 w 10479316"/>
              <a:gd name="connsiteY24" fmla="*/ 4824870 h 4824870"/>
              <a:gd name="connsiteX25" fmla="*/ 1699739 w 10479316"/>
              <a:gd name="connsiteY25" fmla="*/ 4347630 h 4824870"/>
              <a:gd name="connsiteX26" fmla="*/ 2328451 w 10479316"/>
              <a:gd name="connsiteY26" fmla="*/ 3748921 h 4824870"/>
              <a:gd name="connsiteX27" fmla="*/ 2792804 w 10479316"/>
              <a:gd name="connsiteY27" fmla="*/ 4337214 h 4824870"/>
              <a:gd name="connsiteX28" fmla="*/ 6999516 w 10479316"/>
              <a:gd name="connsiteY28" fmla="*/ 4665213 h 4824870"/>
              <a:gd name="connsiteX29" fmla="*/ 6783649 w 10479316"/>
              <a:gd name="connsiteY29" fmla="*/ 4230061 h 4824870"/>
              <a:gd name="connsiteX30" fmla="*/ 7360526 w 10479316"/>
              <a:gd name="connsiteY30" fmla="*/ 4360689 h 4824870"/>
              <a:gd name="connsiteX31" fmla="*/ 6999516 w 10479316"/>
              <a:gd name="connsiteY31" fmla="*/ 4665213 h 4824870"/>
              <a:gd name="connsiteX32" fmla="*/ 7635387 w 10479316"/>
              <a:gd name="connsiteY32" fmla="*/ 4308185 h 4824870"/>
              <a:gd name="connsiteX33" fmla="*/ 7434946 w 10479316"/>
              <a:gd name="connsiteY33" fmla="*/ 4781327 h 4824870"/>
              <a:gd name="connsiteX34" fmla="*/ 6709232 w 10479316"/>
              <a:gd name="connsiteY34" fmla="*/ 4824869 h 4824870"/>
              <a:gd name="connsiteX35" fmla="*/ 6445439 w 10479316"/>
              <a:gd name="connsiteY35" fmla="*/ 4314977 h 4824870"/>
              <a:gd name="connsiteX36" fmla="*/ 7045121 w 10479316"/>
              <a:gd name="connsiteY36" fmla="*/ 3694487 h 4824870"/>
              <a:gd name="connsiteX37" fmla="*/ 7635387 w 10479316"/>
              <a:gd name="connsiteY37" fmla="*/ 4308185 h 4824870"/>
              <a:gd name="connsiteX38" fmla="*/ 722088 w 10479316"/>
              <a:gd name="connsiteY38" fmla="*/ 3859670 h 4824870"/>
              <a:gd name="connsiteX39" fmla="*/ 2166261 w 10479316"/>
              <a:gd name="connsiteY39" fmla="*/ 735472 h 4824870"/>
              <a:gd name="connsiteX40" fmla="*/ 8632374 w 10479316"/>
              <a:gd name="connsiteY40" fmla="*/ 622988 h 4824870"/>
              <a:gd name="connsiteX41" fmla="*/ 9278259 w 10479316"/>
              <a:gd name="connsiteY41" fmla="*/ 4055612 h 4824870"/>
              <a:gd name="connsiteX42" fmla="*/ 1426029 w 10479316"/>
              <a:gd name="connsiteY42" fmla="*/ 4211643 h 4824870"/>
              <a:gd name="connsiteX43" fmla="*/ 722088 w 10479316"/>
              <a:gd name="connsiteY43" fmla="*/ 3859670 h 4824870"/>
              <a:gd name="connsiteX0" fmla="*/ 2282373 w 10479316"/>
              <a:gd name="connsiteY0" fmla="*/ 913270 h 4824870"/>
              <a:gd name="connsiteX1" fmla="*/ 3224922 w 10479316"/>
              <a:gd name="connsiteY1" fmla="*/ 1067755 h 4824870"/>
              <a:gd name="connsiteX2" fmla="*/ 1613836 w 10479316"/>
              <a:gd name="connsiteY2" fmla="*/ 2819812 h 4824870"/>
              <a:gd name="connsiteX3" fmla="*/ 2282373 w 10479316"/>
              <a:gd name="connsiteY3" fmla="*/ 913270 h 4824870"/>
              <a:gd name="connsiteX4" fmla="*/ 6779043 w 10479316"/>
              <a:gd name="connsiteY4" fmla="*/ 899886 h 4824870"/>
              <a:gd name="connsiteX5" fmla="*/ 6796316 w 10479316"/>
              <a:gd name="connsiteY5" fmla="*/ 2009098 h 4824870"/>
              <a:gd name="connsiteX6" fmla="*/ 5564664 w 10479316"/>
              <a:gd name="connsiteY6" fmla="*/ 2007366 h 4824870"/>
              <a:gd name="connsiteX7" fmla="*/ 5632639 w 10479316"/>
              <a:gd name="connsiteY7" fmla="*/ 893390 h 4824870"/>
              <a:gd name="connsiteX8" fmla="*/ 6779043 w 10479316"/>
              <a:gd name="connsiteY8" fmla="*/ 899886 h 4824870"/>
              <a:gd name="connsiteX9" fmla="*/ 7536545 w 10479316"/>
              <a:gd name="connsiteY9" fmla="*/ 862469 h 4824870"/>
              <a:gd name="connsiteX10" fmla="*/ 8681325 w 10479316"/>
              <a:gd name="connsiteY10" fmla="*/ 876706 h 4824870"/>
              <a:gd name="connsiteX11" fmla="*/ 8830163 w 10479316"/>
              <a:gd name="connsiteY11" fmla="*/ 1950763 h 4824870"/>
              <a:gd name="connsiteX12" fmla="*/ 7536545 w 10479316"/>
              <a:gd name="connsiteY12" fmla="*/ 862469 h 4824870"/>
              <a:gd name="connsiteX13" fmla="*/ 1036575 w 10479316"/>
              <a:gd name="connsiteY13" fmla="*/ 0 h 4824870"/>
              <a:gd name="connsiteX14" fmla="*/ 2401022 w 10479316"/>
              <a:gd name="connsiteY14" fmla="*/ 588590 h 4824870"/>
              <a:gd name="connsiteX15" fmla="*/ 1685225 w 10479316"/>
              <a:gd name="connsiteY15" fmla="*/ 1238109 h 4824870"/>
              <a:gd name="connsiteX16" fmla="*/ 1036575 w 10479316"/>
              <a:gd name="connsiteY16" fmla="*/ 0 h 4824870"/>
              <a:gd name="connsiteX17" fmla="*/ 3704773 w 10479316"/>
              <a:gd name="connsiteY17" fmla="*/ 942298 h 4824870"/>
              <a:gd name="connsiteX18" fmla="*/ 4895824 w 10479316"/>
              <a:gd name="connsiteY18" fmla="*/ 918440 h 4824870"/>
              <a:gd name="connsiteX19" fmla="*/ 4837767 w 10479316"/>
              <a:gd name="connsiteY19" fmla="*/ 2011184 h 4824870"/>
              <a:gd name="connsiteX20" fmla="*/ 3603174 w 10479316"/>
              <a:gd name="connsiteY20" fmla="*/ 2023612 h 4824870"/>
              <a:gd name="connsiteX21" fmla="*/ 3704773 w 10479316"/>
              <a:gd name="connsiteY21" fmla="*/ 942298 h 4824870"/>
              <a:gd name="connsiteX22" fmla="*/ 2792804 w 10479316"/>
              <a:gd name="connsiteY22" fmla="*/ 4337214 h 4824870"/>
              <a:gd name="connsiteX23" fmla="*/ 2616203 w 10479316"/>
              <a:gd name="connsiteY23" fmla="*/ 4810355 h 4824870"/>
              <a:gd name="connsiteX24" fmla="*/ 1963060 w 10479316"/>
              <a:gd name="connsiteY24" fmla="*/ 4824870 h 4824870"/>
              <a:gd name="connsiteX25" fmla="*/ 1699739 w 10479316"/>
              <a:gd name="connsiteY25" fmla="*/ 4347630 h 4824870"/>
              <a:gd name="connsiteX26" fmla="*/ 2328451 w 10479316"/>
              <a:gd name="connsiteY26" fmla="*/ 3748921 h 4824870"/>
              <a:gd name="connsiteX27" fmla="*/ 2792804 w 10479316"/>
              <a:gd name="connsiteY27" fmla="*/ 4337214 h 4824870"/>
              <a:gd name="connsiteX28" fmla="*/ 6999516 w 10479316"/>
              <a:gd name="connsiteY28" fmla="*/ 4665213 h 4824870"/>
              <a:gd name="connsiteX29" fmla="*/ 6783649 w 10479316"/>
              <a:gd name="connsiteY29" fmla="*/ 4230061 h 4824870"/>
              <a:gd name="connsiteX30" fmla="*/ 7360526 w 10479316"/>
              <a:gd name="connsiteY30" fmla="*/ 4360689 h 4824870"/>
              <a:gd name="connsiteX31" fmla="*/ 6999516 w 10479316"/>
              <a:gd name="connsiteY31" fmla="*/ 4665213 h 4824870"/>
              <a:gd name="connsiteX32" fmla="*/ 7635387 w 10479316"/>
              <a:gd name="connsiteY32" fmla="*/ 4308185 h 4824870"/>
              <a:gd name="connsiteX33" fmla="*/ 7434946 w 10479316"/>
              <a:gd name="connsiteY33" fmla="*/ 4781327 h 4824870"/>
              <a:gd name="connsiteX34" fmla="*/ 6709232 w 10479316"/>
              <a:gd name="connsiteY34" fmla="*/ 4824869 h 4824870"/>
              <a:gd name="connsiteX35" fmla="*/ 6445439 w 10479316"/>
              <a:gd name="connsiteY35" fmla="*/ 4314977 h 4824870"/>
              <a:gd name="connsiteX36" fmla="*/ 7045121 w 10479316"/>
              <a:gd name="connsiteY36" fmla="*/ 3694487 h 4824870"/>
              <a:gd name="connsiteX37" fmla="*/ 7635387 w 10479316"/>
              <a:gd name="connsiteY37" fmla="*/ 4308185 h 4824870"/>
              <a:gd name="connsiteX38" fmla="*/ 722088 w 10479316"/>
              <a:gd name="connsiteY38" fmla="*/ 3859670 h 4824870"/>
              <a:gd name="connsiteX39" fmla="*/ 2166261 w 10479316"/>
              <a:gd name="connsiteY39" fmla="*/ 735472 h 4824870"/>
              <a:gd name="connsiteX40" fmla="*/ 8632374 w 10479316"/>
              <a:gd name="connsiteY40" fmla="*/ 622988 h 4824870"/>
              <a:gd name="connsiteX41" fmla="*/ 9278259 w 10479316"/>
              <a:gd name="connsiteY41" fmla="*/ 4055612 h 4824870"/>
              <a:gd name="connsiteX42" fmla="*/ 1426029 w 10479316"/>
              <a:gd name="connsiteY42" fmla="*/ 4211643 h 4824870"/>
              <a:gd name="connsiteX43" fmla="*/ 722088 w 10479316"/>
              <a:gd name="connsiteY43" fmla="*/ 3859670 h 4824870"/>
              <a:gd name="connsiteX0" fmla="*/ 2282373 w 10479316"/>
              <a:gd name="connsiteY0" fmla="*/ 913270 h 4824870"/>
              <a:gd name="connsiteX1" fmla="*/ 3224922 w 10479316"/>
              <a:gd name="connsiteY1" fmla="*/ 1067755 h 4824870"/>
              <a:gd name="connsiteX2" fmla="*/ 1613836 w 10479316"/>
              <a:gd name="connsiteY2" fmla="*/ 2819812 h 4824870"/>
              <a:gd name="connsiteX3" fmla="*/ 2282373 w 10479316"/>
              <a:gd name="connsiteY3" fmla="*/ 913270 h 4824870"/>
              <a:gd name="connsiteX4" fmla="*/ 6779043 w 10479316"/>
              <a:gd name="connsiteY4" fmla="*/ 899886 h 4824870"/>
              <a:gd name="connsiteX5" fmla="*/ 6796316 w 10479316"/>
              <a:gd name="connsiteY5" fmla="*/ 2009098 h 4824870"/>
              <a:gd name="connsiteX6" fmla="*/ 5564664 w 10479316"/>
              <a:gd name="connsiteY6" fmla="*/ 2007366 h 4824870"/>
              <a:gd name="connsiteX7" fmla="*/ 5632639 w 10479316"/>
              <a:gd name="connsiteY7" fmla="*/ 893390 h 4824870"/>
              <a:gd name="connsiteX8" fmla="*/ 6779043 w 10479316"/>
              <a:gd name="connsiteY8" fmla="*/ 899886 h 4824870"/>
              <a:gd name="connsiteX9" fmla="*/ 7536545 w 10479316"/>
              <a:gd name="connsiteY9" fmla="*/ 862469 h 4824870"/>
              <a:gd name="connsiteX10" fmla="*/ 8681325 w 10479316"/>
              <a:gd name="connsiteY10" fmla="*/ 876706 h 4824870"/>
              <a:gd name="connsiteX11" fmla="*/ 8830163 w 10479316"/>
              <a:gd name="connsiteY11" fmla="*/ 1950763 h 4824870"/>
              <a:gd name="connsiteX12" fmla="*/ 7594602 w 10479316"/>
              <a:gd name="connsiteY12" fmla="*/ 2023612 h 4824870"/>
              <a:gd name="connsiteX13" fmla="*/ 7536545 w 10479316"/>
              <a:gd name="connsiteY13" fmla="*/ 862469 h 4824870"/>
              <a:gd name="connsiteX14" fmla="*/ 1036575 w 10479316"/>
              <a:gd name="connsiteY14" fmla="*/ 0 h 4824870"/>
              <a:gd name="connsiteX15" fmla="*/ 2401022 w 10479316"/>
              <a:gd name="connsiteY15" fmla="*/ 588590 h 4824870"/>
              <a:gd name="connsiteX16" fmla="*/ 1685225 w 10479316"/>
              <a:gd name="connsiteY16" fmla="*/ 1238109 h 4824870"/>
              <a:gd name="connsiteX17" fmla="*/ 1036575 w 10479316"/>
              <a:gd name="connsiteY17" fmla="*/ 0 h 4824870"/>
              <a:gd name="connsiteX18" fmla="*/ 3704773 w 10479316"/>
              <a:gd name="connsiteY18" fmla="*/ 942298 h 4824870"/>
              <a:gd name="connsiteX19" fmla="*/ 4895824 w 10479316"/>
              <a:gd name="connsiteY19" fmla="*/ 918440 h 4824870"/>
              <a:gd name="connsiteX20" fmla="*/ 4837767 w 10479316"/>
              <a:gd name="connsiteY20" fmla="*/ 2011184 h 4824870"/>
              <a:gd name="connsiteX21" fmla="*/ 3603174 w 10479316"/>
              <a:gd name="connsiteY21" fmla="*/ 2023612 h 4824870"/>
              <a:gd name="connsiteX22" fmla="*/ 3704773 w 10479316"/>
              <a:gd name="connsiteY22" fmla="*/ 942298 h 4824870"/>
              <a:gd name="connsiteX23" fmla="*/ 2792804 w 10479316"/>
              <a:gd name="connsiteY23" fmla="*/ 4337214 h 4824870"/>
              <a:gd name="connsiteX24" fmla="*/ 2616203 w 10479316"/>
              <a:gd name="connsiteY24" fmla="*/ 4810355 h 4824870"/>
              <a:gd name="connsiteX25" fmla="*/ 1963060 w 10479316"/>
              <a:gd name="connsiteY25" fmla="*/ 4824870 h 4824870"/>
              <a:gd name="connsiteX26" fmla="*/ 1699739 w 10479316"/>
              <a:gd name="connsiteY26" fmla="*/ 4347630 h 4824870"/>
              <a:gd name="connsiteX27" fmla="*/ 2328451 w 10479316"/>
              <a:gd name="connsiteY27" fmla="*/ 3748921 h 4824870"/>
              <a:gd name="connsiteX28" fmla="*/ 2792804 w 10479316"/>
              <a:gd name="connsiteY28" fmla="*/ 4337214 h 4824870"/>
              <a:gd name="connsiteX29" fmla="*/ 6999516 w 10479316"/>
              <a:gd name="connsiteY29" fmla="*/ 4665213 h 4824870"/>
              <a:gd name="connsiteX30" fmla="*/ 6783649 w 10479316"/>
              <a:gd name="connsiteY30" fmla="*/ 4230061 h 4824870"/>
              <a:gd name="connsiteX31" fmla="*/ 7360526 w 10479316"/>
              <a:gd name="connsiteY31" fmla="*/ 4360689 h 4824870"/>
              <a:gd name="connsiteX32" fmla="*/ 6999516 w 10479316"/>
              <a:gd name="connsiteY32" fmla="*/ 4665213 h 4824870"/>
              <a:gd name="connsiteX33" fmla="*/ 7635387 w 10479316"/>
              <a:gd name="connsiteY33" fmla="*/ 4308185 h 4824870"/>
              <a:gd name="connsiteX34" fmla="*/ 7434946 w 10479316"/>
              <a:gd name="connsiteY34" fmla="*/ 4781327 h 4824870"/>
              <a:gd name="connsiteX35" fmla="*/ 6709232 w 10479316"/>
              <a:gd name="connsiteY35" fmla="*/ 4824869 h 4824870"/>
              <a:gd name="connsiteX36" fmla="*/ 6445439 w 10479316"/>
              <a:gd name="connsiteY36" fmla="*/ 4314977 h 4824870"/>
              <a:gd name="connsiteX37" fmla="*/ 7045121 w 10479316"/>
              <a:gd name="connsiteY37" fmla="*/ 3694487 h 4824870"/>
              <a:gd name="connsiteX38" fmla="*/ 7635387 w 10479316"/>
              <a:gd name="connsiteY38" fmla="*/ 4308185 h 4824870"/>
              <a:gd name="connsiteX39" fmla="*/ 722088 w 10479316"/>
              <a:gd name="connsiteY39" fmla="*/ 3859670 h 4824870"/>
              <a:gd name="connsiteX40" fmla="*/ 2166261 w 10479316"/>
              <a:gd name="connsiteY40" fmla="*/ 735472 h 4824870"/>
              <a:gd name="connsiteX41" fmla="*/ 8632374 w 10479316"/>
              <a:gd name="connsiteY41" fmla="*/ 622988 h 4824870"/>
              <a:gd name="connsiteX42" fmla="*/ 9278259 w 10479316"/>
              <a:gd name="connsiteY42" fmla="*/ 4055612 h 4824870"/>
              <a:gd name="connsiteX43" fmla="*/ 1426029 w 10479316"/>
              <a:gd name="connsiteY43" fmla="*/ 4211643 h 4824870"/>
              <a:gd name="connsiteX44" fmla="*/ 722088 w 10479316"/>
              <a:gd name="connsiteY44" fmla="*/ 3859670 h 4824870"/>
              <a:gd name="connsiteX0" fmla="*/ 1683657 w 9587895"/>
              <a:gd name="connsiteY0" fmla="*/ 913270 h 4824870"/>
              <a:gd name="connsiteX1" fmla="*/ 2626206 w 9587895"/>
              <a:gd name="connsiteY1" fmla="*/ 1067755 h 4824870"/>
              <a:gd name="connsiteX2" fmla="*/ 1015120 w 9587895"/>
              <a:gd name="connsiteY2" fmla="*/ 2819812 h 4824870"/>
              <a:gd name="connsiteX3" fmla="*/ 1683657 w 9587895"/>
              <a:gd name="connsiteY3" fmla="*/ 913270 h 4824870"/>
              <a:gd name="connsiteX4" fmla="*/ 6180327 w 9587895"/>
              <a:gd name="connsiteY4" fmla="*/ 899886 h 4824870"/>
              <a:gd name="connsiteX5" fmla="*/ 6197600 w 9587895"/>
              <a:gd name="connsiteY5" fmla="*/ 2009098 h 4824870"/>
              <a:gd name="connsiteX6" fmla="*/ 4965948 w 9587895"/>
              <a:gd name="connsiteY6" fmla="*/ 2007366 h 4824870"/>
              <a:gd name="connsiteX7" fmla="*/ 5033923 w 9587895"/>
              <a:gd name="connsiteY7" fmla="*/ 893390 h 4824870"/>
              <a:gd name="connsiteX8" fmla="*/ 6180327 w 9587895"/>
              <a:gd name="connsiteY8" fmla="*/ 899886 h 4824870"/>
              <a:gd name="connsiteX9" fmla="*/ 6937829 w 9587895"/>
              <a:gd name="connsiteY9" fmla="*/ 862469 h 4824870"/>
              <a:gd name="connsiteX10" fmla="*/ 8082609 w 9587895"/>
              <a:gd name="connsiteY10" fmla="*/ 876706 h 4824870"/>
              <a:gd name="connsiteX11" fmla="*/ 8231447 w 9587895"/>
              <a:gd name="connsiteY11" fmla="*/ 1950763 h 4824870"/>
              <a:gd name="connsiteX12" fmla="*/ 6995886 w 9587895"/>
              <a:gd name="connsiteY12" fmla="*/ 2023612 h 4824870"/>
              <a:gd name="connsiteX13" fmla="*/ 6937829 w 9587895"/>
              <a:gd name="connsiteY13" fmla="*/ 862469 h 4824870"/>
              <a:gd name="connsiteX14" fmla="*/ 437859 w 9587895"/>
              <a:gd name="connsiteY14" fmla="*/ 0 h 4824870"/>
              <a:gd name="connsiteX15" fmla="*/ 1802306 w 9587895"/>
              <a:gd name="connsiteY15" fmla="*/ 588590 h 4824870"/>
              <a:gd name="connsiteX16" fmla="*/ 1086509 w 9587895"/>
              <a:gd name="connsiteY16" fmla="*/ 1238109 h 4824870"/>
              <a:gd name="connsiteX17" fmla="*/ 437859 w 9587895"/>
              <a:gd name="connsiteY17" fmla="*/ 0 h 4824870"/>
              <a:gd name="connsiteX18" fmla="*/ 3106057 w 9587895"/>
              <a:gd name="connsiteY18" fmla="*/ 942298 h 4824870"/>
              <a:gd name="connsiteX19" fmla="*/ 4297108 w 9587895"/>
              <a:gd name="connsiteY19" fmla="*/ 918440 h 4824870"/>
              <a:gd name="connsiteX20" fmla="*/ 4239051 w 9587895"/>
              <a:gd name="connsiteY20" fmla="*/ 2011184 h 4824870"/>
              <a:gd name="connsiteX21" fmla="*/ 3004458 w 9587895"/>
              <a:gd name="connsiteY21" fmla="*/ 2023612 h 4824870"/>
              <a:gd name="connsiteX22" fmla="*/ 3106057 w 9587895"/>
              <a:gd name="connsiteY22" fmla="*/ 942298 h 4824870"/>
              <a:gd name="connsiteX23" fmla="*/ 2194088 w 9587895"/>
              <a:gd name="connsiteY23" fmla="*/ 4337214 h 4824870"/>
              <a:gd name="connsiteX24" fmla="*/ 2017487 w 9587895"/>
              <a:gd name="connsiteY24" fmla="*/ 4810355 h 4824870"/>
              <a:gd name="connsiteX25" fmla="*/ 1364344 w 9587895"/>
              <a:gd name="connsiteY25" fmla="*/ 4824870 h 4824870"/>
              <a:gd name="connsiteX26" fmla="*/ 1101023 w 9587895"/>
              <a:gd name="connsiteY26" fmla="*/ 4347630 h 4824870"/>
              <a:gd name="connsiteX27" fmla="*/ 1729735 w 9587895"/>
              <a:gd name="connsiteY27" fmla="*/ 3748921 h 4824870"/>
              <a:gd name="connsiteX28" fmla="*/ 2194088 w 9587895"/>
              <a:gd name="connsiteY28" fmla="*/ 4337214 h 4824870"/>
              <a:gd name="connsiteX29" fmla="*/ 6400800 w 9587895"/>
              <a:gd name="connsiteY29" fmla="*/ 4665213 h 4824870"/>
              <a:gd name="connsiteX30" fmla="*/ 6184933 w 9587895"/>
              <a:gd name="connsiteY30" fmla="*/ 4230061 h 4824870"/>
              <a:gd name="connsiteX31" fmla="*/ 6761810 w 9587895"/>
              <a:gd name="connsiteY31" fmla="*/ 4360689 h 4824870"/>
              <a:gd name="connsiteX32" fmla="*/ 6400800 w 9587895"/>
              <a:gd name="connsiteY32" fmla="*/ 4665213 h 4824870"/>
              <a:gd name="connsiteX33" fmla="*/ 7036671 w 9587895"/>
              <a:gd name="connsiteY33" fmla="*/ 4308185 h 4824870"/>
              <a:gd name="connsiteX34" fmla="*/ 6836230 w 9587895"/>
              <a:gd name="connsiteY34" fmla="*/ 4781327 h 4824870"/>
              <a:gd name="connsiteX35" fmla="*/ 6110516 w 9587895"/>
              <a:gd name="connsiteY35" fmla="*/ 4824869 h 4824870"/>
              <a:gd name="connsiteX36" fmla="*/ 5846723 w 9587895"/>
              <a:gd name="connsiteY36" fmla="*/ 4314977 h 4824870"/>
              <a:gd name="connsiteX37" fmla="*/ 6446405 w 9587895"/>
              <a:gd name="connsiteY37" fmla="*/ 3694487 h 4824870"/>
              <a:gd name="connsiteX38" fmla="*/ 7036671 w 9587895"/>
              <a:gd name="connsiteY38" fmla="*/ 4308185 h 4824870"/>
              <a:gd name="connsiteX39" fmla="*/ 123372 w 9587895"/>
              <a:gd name="connsiteY39" fmla="*/ 3859670 h 4824870"/>
              <a:gd name="connsiteX40" fmla="*/ 1567545 w 9587895"/>
              <a:gd name="connsiteY40" fmla="*/ 735472 h 4824870"/>
              <a:gd name="connsiteX41" fmla="*/ 8033658 w 9587895"/>
              <a:gd name="connsiteY41" fmla="*/ 622988 h 4824870"/>
              <a:gd name="connsiteX42" fmla="*/ 8679543 w 9587895"/>
              <a:gd name="connsiteY42" fmla="*/ 4055612 h 4824870"/>
              <a:gd name="connsiteX43" fmla="*/ 2583543 w 9587895"/>
              <a:gd name="connsiteY43" fmla="*/ 4258812 h 4824870"/>
              <a:gd name="connsiteX44" fmla="*/ 827313 w 9587895"/>
              <a:gd name="connsiteY44" fmla="*/ 4211643 h 4824870"/>
              <a:gd name="connsiteX45" fmla="*/ 123372 w 9587895"/>
              <a:gd name="connsiteY45" fmla="*/ 3859670 h 4824870"/>
              <a:gd name="connsiteX0" fmla="*/ 1683657 w 9218991"/>
              <a:gd name="connsiteY0" fmla="*/ 913270 h 4824870"/>
              <a:gd name="connsiteX1" fmla="*/ 2626206 w 9218991"/>
              <a:gd name="connsiteY1" fmla="*/ 1067755 h 4824870"/>
              <a:gd name="connsiteX2" fmla="*/ 1015120 w 9218991"/>
              <a:gd name="connsiteY2" fmla="*/ 2819812 h 4824870"/>
              <a:gd name="connsiteX3" fmla="*/ 1683657 w 9218991"/>
              <a:gd name="connsiteY3" fmla="*/ 913270 h 4824870"/>
              <a:gd name="connsiteX4" fmla="*/ 6180327 w 9218991"/>
              <a:gd name="connsiteY4" fmla="*/ 899886 h 4824870"/>
              <a:gd name="connsiteX5" fmla="*/ 6197600 w 9218991"/>
              <a:gd name="connsiteY5" fmla="*/ 2009098 h 4824870"/>
              <a:gd name="connsiteX6" fmla="*/ 4965948 w 9218991"/>
              <a:gd name="connsiteY6" fmla="*/ 2007366 h 4824870"/>
              <a:gd name="connsiteX7" fmla="*/ 5033923 w 9218991"/>
              <a:gd name="connsiteY7" fmla="*/ 893390 h 4824870"/>
              <a:gd name="connsiteX8" fmla="*/ 6180327 w 9218991"/>
              <a:gd name="connsiteY8" fmla="*/ 899886 h 4824870"/>
              <a:gd name="connsiteX9" fmla="*/ 6937829 w 9218991"/>
              <a:gd name="connsiteY9" fmla="*/ 862469 h 4824870"/>
              <a:gd name="connsiteX10" fmla="*/ 8082609 w 9218991"/>
              <a:gd name="connsiteY10" fmla="*/ 876706 h 4824870"/>
              <a:gd name="connsiteX11" fmla="*/ 8231447 w 9218991"/>
              <a:gd name="connsiteY11" fmla="*/ 1950763 h 4824870"/>
              <a:gd name="connsiteX12" fmla="*/ 6995886 w 9218991"/>
              <a:gd name="connsiteY12" fmla="*/ 2023612 h 4824870"/>
              <a:gd name="connsiteX13" fmla="*/ 6937829 w 9218991"/>
              <a:gd name="connsiteY13" fmla="*/ 862469 h 4824870"/>
              <a:gd name="connsiteX14" fmla="*/ 437859 w 9218991"/>
              <a:gd name="connsiteY14" fmla="*/ 0 h 4824870"/>
              <a:gd name="connsiteX15" fmla="*/ 1802306 w 9218991"/>
              <a:gd name="connsiteY15" fmla="*/ 588590 h 4824870"/>
              <a:gd name="connsiteX16" fmla="*/ 1086509 w 9218991"/>
              <a:gd name="connsiteY16" fmla="*/ 1238109 h 4824870"/>
              <a:gd name="connsiteX17" fmla="*/ 437859 w 9218991"/>
              <a:gd name="connsiteY17" fmla="*/ 0 h 4824870"/>
              <a:gd name="connsiteX18" fmla="*/ 3106057 w 9218991"/>
              <a:gd name="connsiteY18" fmla="*/ 942298 h 4824870"/>
              <a:gd name="connsiteX19" fmla="*/ 4297108 w 9218991"/>
              <a:gd name="connsiteY19" fmla="*/ 918440 h 4824870"/>
              <a:gd name="connsiteX20" fmla="*/ 4239051 w 9218991"/>
              <a:gd name="connsiteY20" fmla="*/ 2011184 h 4824870"/>
              <a:gd name="connsiteX21" fmla="*/ 3004458 w 9218991"/>
              <a:gd name="connsiteY21" fmla="*/ 2023612 h 4824870"/>
              <a:gd name="connsiteX22" fmla="*/ 3106057 w 9218991"/>
              <a:gd name="connsiteY22" fmla="*/ 942298 h 4824870"/>
              <a:gd name="connsiteX23" fmla="*/ 2194088 w 9218991"/>
              <a:gd name="connsiteY23" fmla="*/ 4337214 h 4824870"/>
              <a:gd name="connsiteX24" fmla="*/ 2017487 w 9218991"/>
              <a:gd name="connsiteY24" fmla="*/ 4810355 h 4824870"/>
              <a:gd name="connsiteX25" fmla="*/ 1364344 w 9218991"/>
              <a:gd name="connsiteY25" fmla="*/ 4824870 h 4824870"/>
              <a:gd name="connsiteX26" fmla="*/ 1101023 w 9218991"/>
              <a:gd name="connsiteY26" fmla="*/ 4347630 h 4824870"/>
              <a:gd name="connsiteX27" fmla="*/ 1729735 w 9218991"/>
              <a:gd name="connsiteY27" fmla="*/ 3748921 h 4824870"/>
              <a:gd name="connsiteX28" fmla="*/ 2194088 w 9218991"/>
              <a:gd name="connsiteY28" fmla="*/ 4337214 h 4824870"/>
              <a:gd name="connsiteX29" fmla="*/ 6400800 w 9218991"/>
              <a:gd name="connsiteY29" fmla="*/ 4665213 h 4824870"/>
              <a:gd name="connsiteX30" fmla="*/ 6184933 w 9218991"/>
              <a:gd name="connsiteY30" fmla="*/ 4230061 h 4824870"/>
              <a:gd name="connsiteX31" fmla="*/ 6761810 w 9218991"/>
              <a:gd name="connsiteY31" fmla="*/ 4360689 h 4824870"/>
              <a:gd name="connsiteX32" fmla="*/ 6400800 w 9218991"/>
              <a:gd name="connsiteY32" fmla="*/ 4665213 h 4824870"/>
              <a:gd name="connsiteX33" fmla="*/ 7036671 w 9218991"/>
              <a:gd name="connsiteY33" fmla="*/ 4308185 h 4824870"/>
              <a:gd name="connsiteX34" fmla="*/ 6836230 w 9218991"/>
              <a:gd name="connsiteY34" fmla="*/ 4781327 h 4824870"/>
              <a:gd name="connsiteX35" fmla="*/ 6110516 w 9218991"/>
              <a:gd name="connsiteY35" fmla="*/ 4824869 h 4824870"/>
              <a:gd name="connsiteX36" fmla="*/ 5846723 w 9218991"/>
              <a:gd name="connsiteY36" fmla="*/ 4314977 h 4824870"/>
              <a:gd name="connsiteX37" fmla="*/ 6446405 w 9218991"/>
              <a:gd name="connsiteY37" fmla="*/ 3694487 h 4824870"/>
              <a:gd name="connsiteX38" fmla="*/ 7036671 w 9218991"/>
              <a:gd name="connsiteY38" fmla="*/ 4308185 h 4824870"/>
              <a:gd name="connsiteX39" fmla="*/ 123372 w 9218991"/>
              <a:gd name="connsiteY39" fmla="*/ 3859670 h 4824870"/>
              <a:gd name="connsiteX40" fmla="*/ 1567545 w 9218991"/>
              <a:gd name="connsiteY40" fmla="*/ 735472 h 4824870"/>
              <a:gd name="connsiteX41" fmla="*/ 8033658 w 9218991"/>
              <a:gd name="connsiteY41" fmla="*/ 622988 h 4824870"/>
              <a:gd name="connsiteX42" fmla="*/ 8679543 w 9218991"/>
              <a:gd name="connsiteY42" fmla="*/ 4055612 h 4824870"/>
              <a:gd name="connsiteX43" fmla="*/ 5602516 w 9218991"/>
              <a:gd name="connsiteY43" fmla="*/ 4200755 h 4824870"/>
              <a:gd name="connsiteX44" fmla="*/ 2583543 w 9218991"/>
              <a:gd name="connsiteY44" fmla="*/ 4258812 h 4824870"/>
              <a:gd name="connsiteX45" fmla="*/ 827313 w 9218991"/>
              <a:gd name="connsiteY45" fmla="*/ 4211643 h 4824870"/>
              <a:gd name="connsiteX46" fmla="*/ 123372 w 9218991"/>
              <a:gd name="connsiteY46" fmla="*/ 3859670 h 4824870"/>
              <a:gd name="connsiteX0" fmla="*/ 1683657 w 9218991"/>
              <a:gd name="connsiteY0" fmla="*/ 913270 h 4824870"/>
              <a:gd name="connsiteX1" fmla="*/ 2626206 w 9218991"/>
              <a:gd name="connsiteY1" fmla="*/ 1067755 h 4824870"/>
              <a:gd name="connsiteX2" fmla="*/ 1015120 w 9218991"/>
              <a:gd name="connsiteY2" fmla="*/ 2819812 h 4824870"/>
              <a:gd name="connsiteX3" fmla="*/ 1683657 w 9218991"/>
              <a:gd name="connsiteY3" fmla="*/ 913270 h 4824870"/>
              <a:gd name="connsiteX4" fmla="*/ 6180327 w 9218991"/>
              <a:gd name="connsiteY4" fmla="*/ 899886 h 4824870"/>
              <a:gd name="connsiteX5" fmla="*/ 6197600 w 9218991"/>
              <a:gd name="connsiteY5" fmla="*/ 2009098 h 4824870"/>
              <a:gd name="connsiteX6" fmla="*/ 4965948 w 9218991"/>
              <a:gd name="connsiteY6" fmla="*/ 2007366 h 4824870"/>
              <a:gd name="connsiteX7" fmla="*/ 5033923 w 9218991"/>
              <a:gd name="connsiteY7" fmla="*/ 893390 h 4824870"/>
              <a:gd name="connsiteX8" fmla="*/ 6180327 w 9218991"/>
              <a:gd name="connsiteY8" fmla="*/ 899886 h 4824870"/>
              <a:gd name="connsiteX9" fmla="*/ 6937829 w 9218991"/>
              <a:gd name="connsiteY9" fmla="*/ 862469 h 4824870"/>
              <a:gd name="connsiteX10" fmla="*/ 8082609 w 9218991"/>
              <a:gd name="connsiteY10" fmla="*/ 876706 h 4824870"/>
              <a:gd name="connsiteX11" fmla="*/ 8231447 w 9218991"/>
              <a:gd name="connsiteY11" fmla="*/ 1950763 h 4824870"/>
              <a:gd name="connsiteX12" fmla="*/ 6995886 w 9218991"/>
              <a:gd name="connsiteY12" fmla="*/ 2023612 h 4824870"/>
              <a:gd name="connsiteX13" fmla="*/ 6937829 w 9218991"/>
              <a:gd name="connsiteY13" fmla="*/ 862469 h 4824870"/>
              <a:gd name="connsiteX14" fmla="*/ 437859 w 9218991"/>
              <a:gd name="connsiteY14" fmla="*/ 0 h 4824870"/>
              <a:gd name="connsiteX15" fmla="*/ 1802306 w 9218991"/>
              <a:gd name="connsiteY15" fmla="*/ 588590 h 4824870"/>
              <a:gd name="connsiteX16" fmla="*/ 1086509 w 9218991"/>
              <a:gd name="connsiteY16" fmla="*/ 1238109 h 4824870"/>
              <a:gd name="connsiteX17" fmla="*/ 437859 w 9218991"/>
              <a:gd name="connsiteY17" fmla="*/ 0 h 4824870"/>
              <a:gd name="connsiteX18" fmla="*/ 3106057 w 9218991"/>
              <a:gd name="connsiteY18" fmla="*/ 942298 h 4824870"/>
              <a:gd name="connsiteX19" fmla="*/ 4297108 w 9218991"/>
              <a:gd name="connsiteY19" fmla="*/ 918440 h 4824870"/>
              <a:gd name="connsiteX20" fmla="*/ 4239051 w 9218991"/>
              <a:gd name="connsiteY20" fmla="*/ 2011184 h 4824870"/>
              <a:gd name="connsiteX21" fmla="*/ 3004458 w 9218991"/>
              <a:gd name="connsiteY21" fmla="*/ 2023612 h 4824870"/>
              <a:gd name="connsiteX22" fmla="*/ 3106057 w 9218991"/>
              <a:gd name="connsiteY22" fmla="*/ 942298 h 4824870"/>
              <a:gd name="connsiteX23" fmla="*/ 2194088 w 9218991"/>
              <a:gd name="connsiteY23" fmla="*/ 4337214 h 4824870"/>
              <a:gd name="connsiteX24" fmla="*/ 2017487 w 9218991"/>
              <a:gd name="connsiteY24" fmla="*/ 4810355 h 4824870"/>
              <a:gd name="connsiteX25" fmla="*/ 1364344 w 9218991"/>
              <a:gd name="connsiteY25" fmla="*/ 4824870 h 4824870"/>
              <a:gd name="connsiteX26" fmla="*/ 1101023 w 9218991"/>
              <a:gd name="connsiteY26" fmla="*/ 4347630 h 4824870"/>
              <a:gd name="connsiteX27" fmla="*/ 1729735 w 9218991"/>
              <a:gd name="connsiteY27" fmla="*/ 3748921 h 4824870"/>
              <a:gd name="connsiteX28" fmla="*/ 2194088 w 9218991"/>
              <a:gd name="connsiteY28" fmla="*/ 4337214 h 4824870"/>
              <a:gd name="connsiteX29" fmla="*/ 6400800 w 9218991"/>
              <a:gd name="connsiteY29" fmla="*/ 4665213 h 4824870"/>
              <a:gd name="connsiteX30" fmla="*/ 6184933 w 9218991"/>
              <a:gd name="connsiteY30" fmla="*/ 4230061 h 4824870"/>
              <a:gd name="connsiteX31" fmla="*/ 6761810 w 9218991"/>
              <a:gd name="connsiteY31" fmla="*/ 4360689 h 4824870"/>
              <a:gd name="connsiteX32" fmla="*/ 6400800 w 9218991"/>
              <a:gd name="connsiteY32" fmla="*/ 4665213 h 4824870"/>
              <a:gd name="connsiteX33" fmla="*/ 7036671 w 9218991"/>
              <a:gd name="connsiteY33" fmla="*/ 4308185 h 4824870"/>
              <a:gd name="connsiteX34" fmla="*/ 6836230 w 9218991"/>
              <a:gd name="connsiteY34" fmla="*/ 4781327 h 4824870"/>
              <a:gd name="connsiteX35" fmla="*/ 6110516 w 9218991"/>
              <a:gd name="connsiteY35" fmla="*/ 4824869 h 4824870"/>
              <a:gd name="connsiteX36" fmla="*/ 5846723 w 9218991"/>
              <a:gd name="connsiteY36" fmla="*/ 4314977 h 4824870"/>
              <a:gd name="connsiteX37" fmla="*/ 6446405 w 9218991"/>
              <a:gd name="connsiteY37" fmla="*/ 3694487 h 4824870"/>
              <a:gd name="connsiteX38" fmla="*/ 7036671 w 9218991"/>
              <a:gd name="connsiteY38" fmla="*/ 4308185 h 4824870"/>
              <a:gd name="connsiteX39" fmla="*/ 123372 w 9218991"/>
              <a:gd name="connsiteY39" fmla="*/ 3859670 h 4824870"/>
              <a:gd name="connsiteX40" fmla="*/ 1567545 w 9218991"/>
              <a:gd name="connsiteY40" fmla="*/ 735472 h 4824870"/>
              <a:gd name="connsiteX41" fmla="*/ 8033658 w 9218991"/>
              <a:gd name="connsiteY41" fmla="*/ 622988 h 4824870"/>
              <a:gd name="connsiteX42" fmla="*/ 8679543 w 9218991"/>
              <a:gd name="connsiteY42" fmla="*/ 4055612 h 4824870"/>
              <a:gd name="connsiteX43" fmla="*/ 7329716 w 9218991"/>
              <a:gd name="connsiteY43" fmla="*/ 4084641 h 4824870"/>
              <a:gd name="connsiteX44" fmla="*/ 5602516 w 9218991"/>
              <a:gd name="connsiteY44" fmla="*/ 4200755 h 4824870"/>
              <a:gd name="connsiteX45" fmla="*/ 2583543 w 9218991"/>
              <a:gd name="connsiteY45" fmla="*/ 4258812 h 4824870"/>
              <a:gd name="connsiteX46" fmla="*/ 827313 w 9218991"/>
              <a:gd name="connsiteY46" fmla="*/ 4211643 h 4824870"/>
              <a:gd name="connsiteX47" fmla="*/ 123372 w 9218991"/>
              <a:gd name="connsiteY47" fmla="*/ 3859670 h 4824870"/>
              <a:gd name="connsiteX0" fmla="*/ 1683657 w 9218991"/>
              <a:gd name="connsiteY0" fmla="*/ 843639 h 4755239"/>
              <a:gd name="connsiteX1" fmla="*/ 2626206 w 9218991"/>
              <a:gd name="connsiteY1" fmla="*/ 998124 h 4755239"/>
              <a:gd name="connsiteX2" fmla="*/ 1015120 w 9218991"/>
              <a:gd name="connsiteY2" fmla="*/ 2750181 h 4755239"/>
              <a:gd name="connsiteX3" fmla="*/ 1683657 w 9218991"/>
              <a:gd name="connsiteY3" fmla="*/ 843639 h 4755239"/>
              <a:gd name="connsiteX4" fmla="*/ 6180327 w 9218991"/>
              <a:gd name="connsiteY4" fmla="*/ 830255 h 4755239"/>
              <a:gd name="connsiteX5" fmla="*/ 6197600 w 9218991"/>
              <a:gd name="connsiteY5" fmla="*/ 1939467 h 4755239"/>
              <a:gd name="connsiteX6" fmla="*/ 4965948 w 9218991"/>
              <a:gd name="connsiteY6" fmla="*/ 1937735 h 4755239"/>
              <a:gd name="connsiteX7" fmla="*/ 5033923 w 9218991"/>
              <a:gd name="connsiteY7" fmla="*/ 823759 h 4755239"/>
              <a:gd name="connsiteX8" fmla="*/ 6180327 w 9218991"/>
              <a:gd name="connsiteY8" fmla="*/ 830255 h 4755239"/>
              <a:gd name="connsiteX9" fmla="*/ 6937829 w 9218991"/>
              <a:gd name="connsiteY9" fmla="*/ 792838 h 4755239"/>
              <a:gd name="connsiteX10" fmla="*/ 8082609 w 9218991"/>
              <a:gd name="connsiteY10" fmla="*/ 807075 h 4755239"/>
              <a:gd name="connsiteX11" fmla="*/ 8231447 w 9218991"/>
              <a:gd name="connsiteY11" fmla="*/ 1881132 h 4755239"/>
              <a:gd name="connsiteX12" fmla="*/ 6995886 w 9218991"/>
              <a:gd name="connsiteY12" fmla="*/ 1953981 h 4755239"/>
              <a:gd name="connsiteX13" fmla="*/ 6937829 w 9218991"/>
              <a:gd name="connsiteY13" fmla="*/ 792838 h 4755239"/>
              <a:gd name="connsiteX14" fmla="*/ 1381287 w 9218991"/>
              <a:gd name="connsiteY14" fmla="*/ 4255626 h 4755239"/>
              <a:gd name="connsiteX15" fmla="*/ 1802306 w 9218991"/>
              <a:gd name="connsiteY15" fmla="*/ 518959 h 4755239"/>
              <a:gd name="connsiteX16" fmla="*/ 1086509 w 9218991"/>
              <a:gd name="connsiteY16" fmla="*/ 1168478 h 4755239"/>
              <a:gd name="connsiteX17" fmla="*/ 1381287 w 9218991"/>
              <a:gd name="connsiteY17" fmla="*/ 4255626 h 4755239"/>
              <a:gd name="connsiteX18" fmla="*/ 3106057 w 9218991"/>
              <a:gd name="connsiteY18" fmla="*/ 872667 h 4755239"/>
              <a:gd name="connsiteX19" fmla="*/ 4297108 w 9218991"/>
              <a:gd name="connsiteY19" fmla="*/ 848809 h 4755239"/>
              <a:gd name="connsiteX20" fmla="*/ 4239051 w 9218991"/>
              <a:gd name="connsiteY20" fmla="*/ 1941553 h 4755239"/>
              <a:gd name="connsiteX21" fmla="*/ 3004458 w 9218991"/>
              <a:gd name="connsiteY21" fmla="*/ 1953981 h 4755239"/>
              <a:gd name="connsiteX22" fmla="*/ 3106057 w 9218991"/>
              <a:gd name="connsiteY22" fmla="*/ 872667 h 4755239"/>
              <a:gd name="connsiteX23" fmla="*/ 2194088 w 9218991"/>
              <a:gd name="connsiteY23" fmla="*/ 4267583 h 4755239"/>
              <a:gd name="connsiteX24" fmla="*/ 2017487 w 9218991"/>
              <a:gd name="connsiteY24" fmla="*/ 4740724 h 4755239"/>
              <a:gd name="connsiteX25" fmla="*/ 1364344 w 9218991"/>
              <a:gd name="connsiteY25" fmla="*/ 4755239 h 4755239"/>
              <a:gd name="connsiteX26" fmla="*/ 1101023 w 9218991"/>
              <a:gd name="connsiteY26" fmla="*/ 4277999 h 4755239"/>
              <a:gd name="connsiteX27" fmla="*/ 1729735 w 9218991"/>
              <a:gd name="connsiteY27" fmla="*/ 3679290 h 4755239"/>
              <a:gd name="connsiteX28" fmla="*/ 2194088 w 9218991"/>
              <a:gd name="connsiteY28" fmla="*/ 4267583 h 4755239"/>
              <a:gd name="connsiteX29" fmla="*/ 6400800 w 9218991"/>
              <a:gd name="connsiteY29" fmla="*/ 4595582 h 4755239"/>
              <a:gd name="connsiteX30" fmla="*/ 6184933 w 9218991"/>
              <a:gd name="connsiteY30" fmla="*/ 4160430 h 4755239"/>
              <a:gd name="connsiteX31" fmla="*/ 6761810 w 9218991"/>
              <a:gd name="connsiteY31" fmla="*/ 4291058 h 4755239"/>
              <a:gd name="connsiteX32" fmla="*/ 6400800 w 9218991"/>
              <a:gd name="connsiteY32" fmla="*/ 4595582 h 4755239"/>
              <a:gd name="connsiteX33" fmla="*/ 7036671 w 9218991"/>
              <a:gd name="connsiteY33" fmla="*/ 4238554 h 4755239"/>
              <a:gd name="connsiteX34" fmla="*/ 6836230 w 9218991"/>
              <a:gd name="connsiteY34" fmla="*/ 4711696 h 4755239"/>
              <a:gd name="connsiteX35" fmla="*/ 6110516 w 9218991"/>
              <a:gd name="connsiteY35" fmla="*/ 4755238 h 4755239"/>
              <a:gd name="connsiteX36" fmla="*/ 5846723 w 9218991"/>
              <a:gd name="connsiteY36" fmla="*/ 4245346 h 4755239"/>
              <a:gd name="connsiteX37" fmla="*/ 6446405 w 9218991"/>
              <a:gd name="connsiteY37" fmla="*/ 3624856 h 4755239"/>
              <a:gd name="connsiteX38" fmla="*/ 7036671 w 9218991"/>
              <a:gd name="connsiteY38" fmla="*/ 4238554 h 4755239"/>
              <a:gd name="connsiteX39" fmla="*/ 123372 w 9218991"/>
              <a:gd name="connsiteY39" fmla="*/ 3790039 h 4755239"/>
              <a:gd name="connsiteX40" fmla="*/ 1567545 w 9218991"/>
              <a:gd name="connsiteY40" fmla="*/ 665841 h 4755239"/>
              <a:gd name="connsiteX41" fmla="*/ 8033658 w 9218991"/>
              <a:gd name="connsiteY41" fmla="*/ 553357 h 4755239"/>
              <a:gd name="connsiteX42" fmla="*/ 8679543 w 9218991"/>
              <a:gd name="connsiteY42" fmla="*/ 3985981 h 4755239"/>
              <a:gd name="connsiteX43" fmla="*/ 7329716 w 9218991"/>
              <a:gd name="connsiteY43" fmla="*/ 4015010 h 4755239"/>
              <a:gd name="connsiteX44" fmla="*/ 5602516 w 9218991"/>
              <a:gd name="connsiteY44" fmla="*/ 4131124 h 4755239"/>
              <a:gd name="connsiteX45" fmla="*/ 2583543 w 9218991"/>
              <a:gd name="connsiteY45" fmla="*/ 4189181 h 4755239"/>
              <a:gd name="connsiteX46" fmla="*/ 827313 w 9218991"/>
              <a:gd name="connsiteY46" fmla="*/ 4142012 h 4755239"/>
              <a:gd name="connsiteX47" fmla="*/ 123372 w 9218991"/>
              <a:gd name="connsiteY47" fmla="*/ 3790039 h 4755239"/>
              <a:gd name="connsiteX0" fmla="*/ 1683657 w 9218991"/>
              <a:gd name="connsiteY0" fmla="*/ 843639 h 4755239"/>
              <a:gd name="connsiteX1" fmla="*/ 2626206 w 9218991"/>
              <a:gd name="connsiteY1" fmla="*/ 998124 h 4755239"/>
              <a:gd name="connsiteX2" fmla="*/ 1015120 w 9218991"/>
              <a:gd name="connsiteY2" fmla="*/ 2750181 h 4755239"/>
              <a:gd name="connsiteX3" fmla="*/ 1683657 w 9218991"/>
              <a:gd name="connsiteY3" fmla="*/ 843639 h 4755239"/>
              <a:gd name="connsiteX4" fmla="*/ 6180327 w 9218991"/>
              <a:gd name="connsiteY4" fmla="*/ 830255 h 4755239"/>
              <a:gd name="connsiteX5" fmla="*/ 6197600 w 9218991"/>
              <a:gd name="connsiteY5" fmla="*/ 1939467 h 4755239"/>
              <a:gd name="connsiteX6" fmla="*/ 4965948 w 9218991"/>
              <a:gd name="connsiteY6" fmla="*/ 1937735 h 4755239"/>
              <a:gd name="connsiteX7" fmla="*/ 5033923 w 9218991"/>
              <a:gd name="connsiteY7" fmla="*/ 823759 h 4755239"/>
              <a:gd name="connsiteX8" fmla="*/ 6180327 w 9218991"/>
              <a:gd name="connsiteY8" fmla="*/ 830255 h 4755239"/>
              <a:gd name="connsiteX9" fmla="*/ 6937829 w 9218991"/>
              <a:gd name="connsiteY9" fmla="*/ 792838 h 4755239"/>
              <a:gd name="connsiteX10" fmla="*/ 8082609 w 9218991"/>
              <a:gd name="connsiteY10" fmla="*/ 807075 h 4755239"/>
              <a:gd name="connsiteX11" fmla="*/ 8231447 w 9218991"/>
              <a:gd name="connsiteY11" fmla="*/ 1881132 h 4755239"/>
              <a:gd name="connsiteX12" fmla="*/ 6995886 w 9218991"/>
              <a:gd name="connsiteY12" fmla="*/ 1953981 h 4755239"/>
              <a:gd name="connsiteX13" fmla="*/ 6937829 w 9218991"/>
              <a:gd name="connsiteY13" fmla="*/ 792838 h 4755239"/>
              <a:gd name="connsiteX14" fmla="*/ 1381287 w 9218991"/>
              <a:gd name="connsiteY14" fmla="*/ 4255626 h 4755239"/>
              <a:gd name="connsiteX15" fmla="*/ 2049049 w 9218991"/>
              <a:gd name="connsiteY15" fmla="*/ 4292673 h 4755239"/>
              <a:gd name="connsiteX16" fmla="*/ 1086509 w 9218991"/>
              <a:gd name="connsiteY16" fmla="*/ 1168478 h 4755239"/>
              <a:gd name="connsiteX17" fmla="*/ 1381287 w 9218991"/>
              <a:gd name="connsiteY17" fmla="*/ 4255626 h 4755239"/>
              <a:gd name="connsiteX18" fmla="*/ 3106057 w 9218991"/>
              <a:gd name="connsiteY18" fmla="*/ 872667 h 4755239"/>
              <a:gd name="connsiteX19" fmla="*/ 4297108 w 9218991"/>
              <a:gd name="connsiteY19" fmla="*/ 848809 h 4755239"/>
              <a:gd name="connsiteX20" fmla="*/ 4239051 w 9218991"/>
              <a:gd name="connsiteY20" fmla="*/ 1941553 h 4755239"/>
              <a:gd name="connsiteX21" fmla="*/ 3004458 w 9218991"/>
              <a:gd name="connsiteY21" fmla="*/ 1953981 h 4755239"/>
              <a:gd name="connsiteX22" fmla="*/ 3106057 w 9218991"/>
              <a:gd name="connsiteY22" fmla="*/ 872667 h 4755239"/>
              <a:gd name="connsiteX23" fmla="*/ 2194088 w 9218991"/>
              <a:gd name="connsiteY23" fmla="*/ 4267583 h 4755239"/>
              <a:gd name="connsiteX24" fmla="*/ 2017487 w 9218991"/>
              <a:gd name="connsiteY24" fmla="*/ 4740724 h 4755239"/>
              <a:gd name="connsiteX25" fmla="*/ 1364344 w 9218991"/>
              <a:gd name="connsiteY25" fmla="*/ 4755239 h 4755239"/>
              <a:gd name="connsiteX26" fmla="*/ 1101023 w 9218991"/>
              <a:gd name="connsiteY26" fmla="*/ 4277999 h 4755239"/>
              <a:gd name="connsiteX27" fmla="*/ 1729735 w 9218991"/>
              <a:gd name="connsiteY27" fmla="*/ 3679290 h 4755239"/>
              <a:gd name="connsiteX28" fmla="*/ 2194088 w 9218991"/>
              <a:gd name="connsiteY28" fmla="*/ 4267583 h 4755239"/>
              <a:gd name="connsiteX29" fmla="*/ 6400800 w 9218991"/>
              <a:gd name="connsiteY29" fmla="*/ 4595582 h 4755239"/>
              <a:gd name="connsiteX30" fmla="*/ 6184933 w 9218991"/>
              <a:gd name="connsiteY30" fmla="*/ 4160430 h 4755239"/>
              <a:gd name="connsiteX31" fmla="*/ 6761810 w 9218991"/>
              <a:gd name="connsiteY31" fmla="*/ 4291058 h 4755239"/>
              <a:gd name="connsiteX32" fmla="*/ 6400800 w 9218991"/>
              <a:gd name="connsiteY32" fmla="*/ 4595582 h 4755239"/>
              <a:gd name="connsiteX33" fmla="*/ 7036671 w 9218991"/>
              <a:gd name="connsiteY33" fmla="*/ 4238554 h 4755239"/>
              <a:gd name="connsiteX34" fmla="*/ 6836230 w 9218991"/>
              <a:gd name="connsiteY34" fmla="*/ 4711696 h 4755239"/>
              <a:gd name="connsiteX35" fmla="*/ 6110516 w 9218991"/>
              <a:gd name="connsiteY35" fmla="*/ 4755238 h 4755239"/>
              <a:gd name="connsiteX36" fmla="*/ 5846723 w 9218991"/>
              <a:gd name="connsiteY36" fmla="*/ 4245346 h 4755239"/>
              <a:gd name="connsiteX37" fmla="*/ 6446405 w 9218991"/>
              <a:gd name="connsiteY37" fmla="*/ 3624856 h 4755239"/>
              <a:gd name="connsiteX38" fmla="*/ 7036671 w 9218991"/>
              <a:gd name="connsiteY38" fmla="*/ 4238554 h 4755239"/>
              <a:gd name="connsiteX39" fmla="*/ 123372 w 9218991"/>
              <a:gd name="connsiteY39" fmla="*/ 3790039 h 4755239"/>
              <a:gd name="connsiteX40" fmla="*/ 1567545 w 9218991"/>
              <a:gd name="connsiteY40" fmla="*/ 665841 h 4755239"/>
              <a:gd name="connsiteX41" fmla="*/ 8033658 w 9218991"/>
              <a:gd name="connsiteY41" fmla="*/ 553357 h 4755239"/>
              <a:gd name="connsiteX42" fmla="*/ 8679543 w 9218991"/>
              <a:gd name="connsiteY42" fmla="*/ 3985981 h 4755239"/>
              <a:gd name="connsiteX43" fmla="*/ 7329716 w 9218991"/>
              <a:gd name="connsiteY43" fmla="*/ 4015010 h 4755239"/>
              <a:gd name="connsiteX44" fmla="*/ 5602516 w 9218991"/>
              <a:gd name="connsiteY44" fmla="*/ 4131124 h 4755239"/>
              <a:gd name="connsiteX45" fmla="*/ 2583543 w 9218991"/>
              <a:gd name="connsiteY45" fmla="*/ 4189181 h 4755239"/>
              <a:gd name="connsiteX46" fmla="*/ 827313 w 9218991"/>
              <a:gd name="connsiteY46" fmla="*/ 4142012 h 4755239"/>
              <a:gd name="connsiteX47" fmla="*/ 123372 w 9218991"/>
              <a:gd name="connsiteY47" fmla="*/ 3790039 h 4755239"/>
              <a:gd name="connsiteX0" fmla="*/ 1683657 w 9218991"/>
              <a:gd name="connsiteY0" fmla="*/ 843639 h 4755239"/>
              <a:gd name="connsiteX1" fmla="*/ 2626206 w 9218991"/>
              <a:gd name="connsiteY1" fmla="*/ 998124 h 4755239"/>
              <a:gd name="connsiteX2" fmla="*/ 1015120 w 9218991"/>
              <a:gd name="connsiteY2" fmla="*/ 2750181 h 4755239"/>
              <a:gd name="connsiteX3" fmla="*/ 1683657 w 9218991"/>
              <a:gd name="connsiteY3" fmla="*/ 843639 h 4755239"/>
              <a:gd name="connsiteX4" fmla="*/ 6180327 w 9218991"/>
              <a:gd name="connsiteY4" fmla="*/ 830255 h 4755239"/>
              <a:gd name="connsiteX5" fmla="*/ 6197600 w 9218991"/>
              <a:gd name="connsiteY5" fmla="*/ 1939467 h 4755239"/>
              <a:gd name="connsiteX6" fmla="*/ 4965948 w 9218991"/>
              <a:gd name="connsiteY6" fmla="*/ 1937735 h 4755239"/>
              <a:gd name="connsiteX7" fmla="*/ 5033923 w 9218991"/>
              <a:gd name="connsiteY7" fmla="*/ 823759 h 4755239"/>
              <a:gd name="connsiteX8" fmla="*/ 6180327 w 9218991"/>
              <a:gd name="connsiteY8" fmla="*/ 830255 h 4755239"/>
              <a:gd name="connsiteX9" fmla="*/ 6937829 w 9218991"/>
              <a:gd name="connsiteY9" fmla="*/ 792838 h 4755239"/>
              <a:gd name="connsiteX10" fmla="*/ 8082609 w 9218991"/>
              <a:gd name="connsiteY10" fmla="*/ 807075 h 4755239"/>
              <a:gd name="connsiteX11" fmla="*/ 8231447 w 9218991"/>
              <a:gd name="connsiteY11" fmla="*/ 1881132 h 4755239"/>
              <a:gd name="connsiteX12" fmla="*/ 6995886 w 9218991"/>
              <a:gd name="connsiteY12" fmla="*/ 1953981 h 4755239"/>
              <a:gd name="connsiteX13" fmla="*/ 6937829 w 9218991"/>
              <a:gd name="connsiteY13" fmla="*/ 792838 h 4755239"/>
              <a:gd name="connsiteX14" fmla="*/ 1381287 w 9218991"/>
              <a:gd name="connsiteY14" fmla="*/ 4255626 h 4755239"/>
              <a:gd name="connsiteX15" fmla="*/ 2049049 w 9218991"/>
              <a:gd name="connsiteY15" fmla="*/ 4292673 h 4755239"/>
              <a:gd name="connsiteX16" fmla="*/ 1638052 w 9218991"/>
              <a:gd name="connsiteY16" fmla="*/ 4579336 h 4755239"/>
              <a:gd name="connsiteX17" fmla="*/ 1381287 w 9218991"/>
              <a:gd name="connsiteY17" fmla="*/ 4255626 h 4755239"/>
              <a:gd name="connsiteX18" fmla="*/ 3106057 w 9218991"/>
              <a:gd name="connsiteY18" fmla="*/ 872667 h 4755239"/>
              <a:gd name="connsiteX19" fmla="*/ 4297108 w 9218991"/>
              <a:gd name="connsiteY19" fmla="*/ 848809 h 4755239"/>
              <a:gd name="connsiteX20" fmla="*/ 4239051 w 9218991"/>
              <a:gd name="connsiteY20" fmla="*/ 1941553 h 4755239"/>
              <a:gd name="connsiteX21" fmla="*/ 3004458 w 9218991"/>
              <a:gd name="connsiteY21" fmla="*/ 1953981 h 4755239"/>
              <a:gd name="connsiteX22" fmla="*/ 3106057 w 9218991"/>
              <a:gd name="connsiteY22" fmla="*/ 872667 h 4755239"/>
              <a:gd name="connsiteX23" fmla="*/ 2194088 w 9218991"/>
              <a:gd name="connsiteY23" fmla="*/ 4267583 h 4755239"/>
              <a:gd name="connsiteX24" fmla="*/ 2017487 w 9218991"/>
              <a:gd name="connsiteY24" fmla="*/ 4740724 h 4755239"/>
              <a:gd name="connsiteX25" fmla="*/ 1364344 w 9218991"/>
              <a:gd name="connsiteY25" fmla="*/ 4755239 h 4755239"/>
              <a:gd name="connsiteX26" fmla="*/ 1101023 w 9218991"/>
              <a:gd name="connsiteY26" fmla="*/ 4277999 h 4755239"/>
              <a:gd name="connsiteX27" fmla="*/ 1729735 w 9218991"/>
              <a:gd name="connsiteY27" fmla="*/ 3679290 h 4755239"/>
              <a:gd name="connsiteX28" fmla="*/ 2194088 w 9218991"/>
              <a:gd name="connsiteY28" fmla="*/ 4267583 h 4755239"/>
              <a:gd name="connsiteX29" fmla="*/ 6400800 w 9218991"/>
              <a:gd name="connsiteY29" fmla="*/ 4595582 h 4755239"/>
              <a:gd name="connsiteX30" fmla="*/ 6184933 w 9218991"/>
              <a:gd name="connsiteY30" fmla="*/ 4160430 h 4755239"/>
              <a:gd name="connsiteX31" fmla="*/ 6761810 w 9218991"/>
              <a:gd name="connsiteY31" fmla="*/ 4291058 h 4755239"/>
              <a:gd name="connsiteX32" fmla="*/ 6400800 w 9218991"/>
              <a:gd name="connsiteY32" fmla="*/ 4595582 h 4755239"/>
              <a:gd name="connsiteX33" fmla="*/ 7036671 w 9218991"/>
              <a:gd name="connsiteY33" fmla="*/ 4238554 h 4755239"/>
              <a:gd name="connsiteX34" fmla="*/ 6836230 w 9218991"/>
              <a:gd name="connsiteY34" fmla="*/ 4711696 h 4755239"/>
              <a:gd name="connsiteX35" fmla="*/ 6110516 w 9218991"/>
              <a:gd name="connsiteY35" fmla="*/ 4755238 h 4755239"/>
              <a:gd name="connsiteX36" fmla="*/ 5846723 w 9218991"/>
              <a:gd name="connsiteY36" fmla="*/ 4245346 h 4755239"/>
              <a:gd name="connsiteX37" fmla="*/ 6446405 w 9218991"/>
              <a:gd name="connsiteY37" fmla="*/ 3624856 h 4755239"/>
              <a:gd name="connsiteX38" fmla="*/ 7036671 w 9218991"/>
              <a:gd name="connsiteY38" fmla="*/ 4238554 h 4755239"/>
              <a:gd name="connsiteX39" fmla="*/ 123372 w 9218991"/>
              <a:gd name="connsiteY39" fmla="*/ 3790039 h 4755239"/>
              <a:gd name="connsiteX40" fmla="*/ 1567545 w 9218991"/>
              <a:gd name="connsiteY40" fmla="*/ 665841 h 4755239"/>
              <a:gd name="connsiteX41" fmla="*/ 8033658 w 9218991"/>
              <a:gd name="connsiteY41" fmla="*/ 553357 h 4755239"/>
              <a:gd name="connsiteX42" fmla="*/ 8679543 w 9218991"/>
              <a:gd name="connsiteY42" fmla="*/ 3985981 h 4755239"/>
              <a:gd name="connsiteX43" fmla="*/ 7329716 w 9218991"/>
              <a:gd name="connsiteY43" fmla="*/ 4015010 h 4755239"/>
              <a:gd name="connsiteX44" fmla="*/ 5602516 w 9218991"/>
              <a:gd name="connsiteY44" fmla="*/ 4131124 h 4755239"/>
              <a:gd name="connsiteX45" fmla="*/ 2583543 w 9218991"/>
              <a:gd name="connsiteY45" fmla="*/ 4189181 h 4755239"/>
              <a:gd name="connsiteX46" fmla="*/ 827313 w 9218991"/>
              <a:gd name="connsiteY46" fmla="*/ 4142012 h 4755239"/>
              <a:gd name="connsiteX47" fmla="*/ 123372 w 9218991"/>
              <a:gd name="connsiteY47" fmla="*/ 3790039 h 4755239"/>
              <a:gd name="connsiteX0" fmla="*/ 1683657 w 9218991"/>
              <a:gd name="connsiteY0" fmla="*/ 290282 h 4201882"/>
              <a:gd name="connsiteX1" fmla="*/ 2626206 w 9218991"/>
              <a:gd name="connsiteY1" fmla="*/ 444767 h 4201882"/>
              <a:gd name="connsiteX2" fmla="*/ 1015120 w 9218991"/>
              <a:gd name="connsiteY2" fmla="*/ 2196824 h 4201882"/>
              <a:gd name="connsiteX3" fmla="*/ 1683657 w 9218991"/>
              <a:gd name="connsiteY3" fmla="*/ 290282 h 4201882"/>
              <a:gd name="connsiteX4" fmla="*/ 6180327 w 9218991"/>
              <a:gd name="connsiteY4" fmla="*/ 276898 h 4201882"/>
              <a:gd name="connsiteX5" fmla="*/ 6197600 w 9218991"/>
              <a:gd name="connsiteY5" fmla="*/ 1386110 h 4201882"/>
              <a:gd name="connsiteX6" fmla="*/ 4965948 w 9218991"/>
              <a:gd name="connsiteY6" fmla="*/ 1384378 h 4201882"/>
              <a:gd name="connsiteX7" fmla="*/ 5033923 w 9218991"/>
              <a:gd name="connsiteY7" fmla="*/ 270402 h 4201882"/>
              <a:gd name="connsiteX8" fmla="*/ 6180327 w 9218991"/>
              <a:gd name="connsiteY8" fmla="*/ 276898 h 4201882"/>
              <a:gd name="connsiteX9" fmla="*/ 6937829 w 9218991"/>
              <a:gd name="connsiteY9" fmla="*/ 239481 h 4201882"/>
              <a:gd name="connsiteX10" fmla="*/ 8082609 w 9218991"/>
              <a:gd name="connsiteY10" fmla="*/ 253718 h 4201882"/>
              <a:gd name="connsiteX11" fmla="*/ 8231447 w 9218991"/>
              <a:gd name="connsiteY11" fmla="*/ 1327775 h 4201882"/>
              <a:gd name="connsiteX12" fmla="*/ 6995886 w 9218991"/>
              <a:gd name="connsiteY12" fmla="*/ 1400624 h 4201882"/>
              <a:gd name="connsiteX13" fmla="*/ 6937829 w 9218991"/>
              <a:gd name="connsiteY13" fmla="*/ 239481 h 4201882"/>
              <a:gd name="connsiteX14" fmla="*/ 1381287 w 9218991"/>
              <a:gd name="connsiteY14" fmla="*/ 3702269 h 4201882"/>
              <a:gd name="connsiteX15" fmla="*/ 2049049 w 9218991"/>
              <a:gd name="connsiteY15" fmla="*/ 3739316 h 4201882"/>
              <a:gd name="connsiteX16" fmla="*/ 1638052 w 9218991"/>
              <a:gd name="connsiteY16" fmla="*/ 4025979 h 4201882"/>
              <a:gd name="connsiteX17" fmla="*/ 1381287 w 9218991"/>
              <a:gd name="connsiteY17" fmla="*/ 3702269 h 4201882"/>
              <a:gd name="connsiteX18" fmla="*/ 3106057 w 9218991"/>
              <a:gd name="connsiteY18" fmla="*/ 319310 h 4201882"/>
              <a:gd name="connsiteX19" fmla="*/ 4297108 w 9218991"/>
              <a:gd name="connsiteY19" fmla="*/ 295452 h 4201882"/>
              <a:gd name="connsiteX20" fmla="*/ 4239051 w 9218991"/>
              <a:gd name="connsiteY20" fmla="*/ 1388196 h 4201882"/>
              <a:gd name="connsiteX21" fmla="*/ 3004458 w 9218991"/>
              <a:gd name="connsiteY21" fmla="*/ 1400624 h 4201882"/>
              <a:gd name="connsiteX22" fmla="*/ 3106057 w 9218991"/>
              <a:gd name="connsiteY22" fmla="*/ 319310 h 4201882"/>
              <a:gd name="connsiteX23" fmla="*/ 2194088 w 9218991"/>
              <a:gd name="connsiteY23" fmla="*/ 3714226 h 4201882"/>
              <a:gd name="connsiteX24" fmla="*/ 2017487 w 9218991"/>
              <a:gd name="connsiteY24" fmla="*/ 4187367 h 4201882"/>
              <a:gd name="connsiteX25" fmla="*/ 1364344 w 9218991"/>
              <a:gd name="connsiteY25" fmla="*/ 4201882 h 4201882"/>
              <a:gd name="connsiteX26" fmla="*/ 1101023 w 9218991"/>
              <a:gd name="connsiteY26" fmla="*/ 3724642 h 4201882"/>
              <a:gd name="connsiteX27" fmla="*/ 1729735 w 9218991"/>
              <a:gd name="connsiteY27" fmla="*/ 3125933 h 4201882"/>
              <a:gd name="connsiteX28" fmla="*/ 2194088 w 9218991"/>
              <a:gd name="connsiteY28" fmla="*/ 3714226 h 4201882"/>
              <a:gd name="connsiteX29" fmla="*/ 6400800 w 9218991"/>
              <a:gd name="connsiteY29" fmla="*/ 4042225 h 4201882"/>
              <a:gd name="connsiteX30" fmla="*/ 6184933 w 9218991"/>
              <a:gd name="connsiteY30" fmla="*/ 3607073 h 4201882"/>
              <a:gd name="connsiteX31" fmla="*/ 6761810 w 9218991"/>
              <a:gd name="connsiteY31" fmla="*/ 3737701 h 4201882"/>
              <a:gd name="connsiteX32" fmla="*/ 6400800 w 9218991"/>
              <a:gd name="connsiteY32" fmla="*/ 4042225 h 4201882"/>
              <a:gd name="connsiteX33" fmla="*/ 7036671 w 9218991"/>
              <a:gd name="connsiteY33" fmla="*/ 3685197 h 4201882"/>
              <a:gd name="connsiteX34" fmla="*/ 6836230 w 9218991"/>
              <a:gd name="connsiteY34" fmla="*/ 4158339 h 4201882"/>
              <a:gd name="connsiteX35" fmla="*/ 6110516 w 9218991"/>
              <a:gd name="connsiteY35" fmla="*/ 4201881 h 4201882"/>
              <a:gd name="connsiteX36" fmla="*/ 5846723 w 9218991"/>
              <a:gd name="connsiteY36" fmla="*/ 3691989 h 4201882"/>
              <a:gd name="connsiteX37" fmla="*/ 6446405 w 9218991"/>
              <a:gd name="connsiteY37" fmla="*/ 3071499 h 4201882"/>
              <a:gd name="connsiteX38" fmla="*/ 7036671 w 9218991"/>
              <a:gd name="connsiteY38" fmla="*/ 3685197 h 4201882"/>
              <a:gd name="connsiteX39" fmla="*/ 123372 w 9218991"/>
              <a:gd name="connsiteY39" fmla="*/ 3236682 h 4201882"/>
              <a:gd name="connsiteX40" fmla="*/ 1567545 w 9218991"/>
              <a:gd name="connsiteY40" fmla="*/ 112484 h 4201882"/>
              <a:gd name="connsiteX41" fmla="*/ 8033658 w 9218991"/>
              <a:gd name="connsiteY41" fmla="*/ 0 h 4201882"/>
              <a:gd name="connsiteX42" fmla="*/ 8679543 w 9218991"/>
              <a:gd name="connsiteY42" fmla="*/ 3432624 h 4201882"/>
              <a:gd name="connsiteX43" fmla="*/ 7329716 w 9218991"/>
              <a:gd name="connsiteY43" fmla="*/ 3461653 h 4201882"/>
              <a:gd name="connsiteX44" fmla="*/ 5602516 w 9218991"/>
              <a:gd name="connsiteY44" fmla="*/ 3577767 h 4201882"/>
              <a:gd name="connsiteX45" fmla="*/ 2583543 w 9218991"/>
              <a:gd name="connsiteY45" fmla="*/ 3635824 h 4201882"/>
              <a:gd name="connsiteX46" fmla="*/ 827313 w 9218991"/>
              <a:gd name="connsiteY46" fmla="*/ 3588655 h 4201882"/>
              <a:gd name="connsiteX47" fmla="*/ 123372 w 9218991"/>
              <a:gd name="connsiteY47" fmla="*/ 3236682 h 4201882"/>
              <a:gd name="connsiteX0" fmla="*/ 1715105 w 9250439"/>
              <a:gd name="connsiteY0" fmla="*/ 290282 h 4201882"/>
              <a:gd name="connsiteX1" fmla="*/ 2657654 w 9250439"/>
              <a:gd name="connsiteY1" fmla="*/ 444767 h 4201882"/>
              <a:gd name="connsiteX2" fmla="*/ 1046568 w 9250439"/>
              <a:gd name="connsiteY2" fmla="*/ 2196824 h 4201882"/>
              <a:gd name="connsiteX3" fmla="*/ 1715105 w 9250439"/>
              <a:gd name="connsiteY3" fmla="*/ 290282 h 4201882"/>
              <a:gd name="connsiteX4" fmla="*/ 6211775 w 9250439"/>
              <a:gd name="connsiteY4" fmla="*/ 276898 h 4201882"/>
              <a:gd name="connsiteX5" fmla="*/ 6229048 w 9250439"/>
              <a:gd name="connsiteY5" fmla="*/ 1386110 h 4201882"/>
              <a:gd name="connsiteX6" fmla="*/ 4997396 w 9250439"/>
              <a:gd name="connsiteY6" fmla="*/ 1384378 h 4201882"/>
              <a:gd name="connsiteX7" fmla="*/ 5065371 w 9250439"/>
              <a:gd name="connsiteY7" fmla="*/ 270402 h 4201882"/>
              <a:gd name="connsiteX8" fmla="*/ 6211775 w 9250439"/>
              <a:gd name="connsiteY8" fmla="*/ 276898 h 4201882"/>
              <a:gd name="connsiteX9" fmla="*/ 6969277 w 9250439"/>
              <a:gd name="connsiteY9" fmla="*/ 239481 h 4201882"/>
              <a:gd name="connsiteX10" fmla="*/ 8114057 w 9250439"/>
              <a:gd name="connsiteY10" fmla="*/ 253718 h 4201882"/>
              <a:gd name="connsiteX11" fmla="*/ 8262895 w 9250439"/>
              <a:gd name="connsiteY11" fmla="*/ 1327775 h 4201882"/>
              <a:gd name="connsiteX12" fmla="*/ 7027334 w 9250439"/>
              <a:gd name="connsiteY12" fmla="*/ 1400624 h 4201882"/>
              <a:gd name="connsiteX13" fmla="*/ 6969277 w 9250439"/>
              <a:gd name="connsiteY13" fmla="*/ 239481 h 4201882"/>
              <a:gd name="connsiteX14" fmla="*/ 1412735 w 9250439"/>
              <a:gd name="connsiteY14" fmla="*/ 3702269 h 4201882"/>
              <a:gd name="connsiteX15" fmla="*/ 2080497 w 9250439"/>
              <a:gd name="connsiteY15" fmla="*/ 3739316 h 4201882"/>
              <a:gd name="connsiteX16" fmla="*/ 1669500 w 9250439"/>
              <a:gd name="connsiteY16" fmla="*/ 4025979 h 4201882"/>
              <a:gd name="connsiteX17" fmla="*/ 1412735 w 9250439"/>
              <a:gd name="connsiteY17" fmla="*/ 3702269 h 4201882"/>
              <a:gd name="connsiteX18" fmla="*/ 3137505 w 9250439"/>
              <a:gd name="connsiteY18" fmla="*/ 319310 h 4201882"/>
              <a:gd name="connsiteX19" fmla="*/ 4328556 w 9250439"/>
              <a:gd name="connsiteY19" fmla="*/ 295452 h 4201882"/>
              <a:gd name="connsiteX20" fmla="*/ 4270499 w 9250439"/>
              <a:gd name="connsiteY20" fmla="*/ 1388196 h 4201882"/>
              <a:gd name="connsiteX21" fmla="*/ 3035906 w 9250439"/>
              <a:gd name="connsiteY21" fmla="*/ 1400624 h 4201882"/>
              <a:gd name="connsiteX22" fmla="*/ 3137505 w 9250439"/>
              <a:gd name="connsiteY22" fmla="*/ 319310 h 4201882"/>
              <a:gd name="connsiteX23" fmla="*/ 2225536 w 9250439"/>
              <a:gd name="connsiteY23" fmla="*/ 3714226 h 4201882"/>
              <a:gd name="connsiteX24" fmla="*/ 2048935 w 9250439"/>
              <a:gd name="connsiteY24" fmla="*/ 4187367 h 4201882"/>
              <a:gd name="connsiteX25" fmla="*/ 1395792 w 9250439"/>
              <a:gd name="connsiteY25" fmla="*/ 4201882 h 4201882"/>
              <a:gd name="connsiteX26" fmla="*/ 1132471 w 9250439"/>
              <a:gd name="connsiteY26" fmla="*/ 3724642 h 4201882"/>
              <a:gd name="connsiteX27" fmla="*/ 1761183 w 9250439"/>
              <a:gd name="connsiteY27" fmla="*/ 3125933 h 4201882"/>
              <a:gd name="connsiteX28" fmla="*/ 2225536 w 9250439"/>
              <a:gd name="connsiteY28" fmla="*/ 3714226 h 4201882"/>
              <a:gd name="connsiteX29" fmla="*/ 6432248 w 9250439"/>
              <a:gd name="connsiteY29" fmla="*/ 4042225 h 4201882"/>
              <a:gd name="connsiteX30" fmla="*/ 6216381 w 9250439"/>
              <a:gd name="connsiteY30" fmla="*/ 3607073 h 4201882"/>
              <a:gd name="connsiteX31" fmla="*/ 6793258 w 9250439"/>
              <a:gd name="connsiteY31" fmla="*/ 3737701 h 4201882"/>
              <a:gd name="connsiteX32" fmla="*/ 6432248 w 9250439"/>
              <a:gd name="connsiteY32" fmla="*/ 4042225 h 4201882"/>
              <a:gd name="connsiteX33" fmla="*/ 7068119 w 9250439"/>
              <a:gd name="connsiteY33" fmla="*/ 3685197 h 4201882"/>
              <a:gd name="connsiteX34" fmla="*/ 6867678 w 9250439"/>
              <a:gd name="connsiteY34" fmla="*/ 4158339 h 4201882"/>
              <a:gd name="connsiteX35" fmla="*/ 6141964 w 9250439"/>
              <a:gd name="connsiteY35" fmla="*/ 4201881 h 4201882"/>
              <a:gd name="connsiteX36" fmla="*/ 5878171 w 9250439"/>
              <a:gd name="connsiteY36" fmla="*/ 3691989 h 4201882"/>
              <a:gd name="connsiteX37" fmla="*/ 6477853 w 9250439"/>
              <a:gd name="connsiteY37" fmla="*/ 3071499 h 4201882"/>
              <a:gd name="connsiteX38" fmla="*/ 7068119 w 9250439"/>
              <a:gd name="connsiteY38" fmla="*/ 3685197 h 4201882"/>
              <a:gd name="connsiteX39" fmla="*/ 154820 w 9250439"/>
              <a:gd name="connsiteY39" fmla="*/ 3236682 h 4201882"/>
              <a:gd name="connsiteX40" fmla="*/ 1787679 w 9250439"/>
              <a:gd name="connsiteY40" fmla="*/ 68941 h 4201882"/>
              <a:gd name="connsiteX41" fmla="*/ 8065106 w 9250439"/>
              <a:gd name="connsiteY41" fmla="*/ 0 h 4201882"/>
              <a:gd name="connsiteX42" fmla="*/ 8710991 w 9250439"/>
              <a:gd name="connsiteY42" fmla="*/ 3432624 h 4201882"/>
              <a:gd name="connsiteX43" fmla="*/ 7361164 w 9250439"/>
              <a:gd name="connsiteY43" fmla="*/ 3461653 h 4201882"/>
              <a:gd name="connsiteX44" fmla="*/ 5633964 w 9250439"/>
              <a:gd name="connsiteY44" fmla="*/ 3577767 h 4201882"/>
              <a:gd name="connsiteX45" fmla="*/ 2614991 w 9250439"/>
              <a:gd name="connsiteY45" fmla="*/ 3635824 h 4201882"/>
              <a:gd name="connsiteX46" fmla="*/ 858761 w 9250439"/>
              <a:gd name="connsiteY46" fmla="*/ 3588655 h 4201882"/>
              <a:gd name="connsiteX47" fmla="*/ 154820 w 9250439"/>
              <a:gd name="connsiteY47" fmla="*/ 3236682 h 4201882"/>
              <a:gd name="connsiteX0" fmla="*/ 1715105 w 9250439"/>
              <a:gd name="connsiteY0" fmla="*/ 290282 h 4201882"/>
              <a:gd name="connsiteX1" fmla="*/ 2657654 w 9250439"/>
              <a:gd name="connsiteY1" fmla="*/ 444767 h 4201882"/>
              <a:gd name="connsiteX2" fmla="*/ 1046568 w 9250439"/>
              <a:gd name="connsiteY2" fmla="*/ 2196824 h 4201882"/>
              <a:gd name="connsiteX3" fmla="*/ 1715105 w 9250439"/>
              <a:gd name="connsiteY3" fmla="*/ 290282 h 4201882"/>
              <a:gd name="connsiteX4" fmla="*/ 6211775 w 9250439"/>
              <a:gd name="connsiteY4" fmla="*/ 276898 h 4201882"/>
              <a:gd name="connsiteX5" fmla="*/ 6229048 w 9250439"/>
              <a:gd name="connsiteY5" fmla="*/ 1386110 h 4201882"/>
              <a:gd name="connsiteX6" fmla="*/ 4997396 w 9250439"/>
              <a:gd name="connsiteY6" fmla="*/ 1384378 h 4201882"/>
              <a:gd name="connsiteX7" fmla="*/ 5065371 w 9250439"/>
              <a:gd name="connsiteY7" fmla="*/ 270402 h 4201882"/>
              <a:gd name="connsiteX8" fmla="*/ 6211775 w 9250439"/>
              <a:gd name="connsiteY8" fmla="*/ 276898 h 4201882"/>
              <a:gd name="connsiteX9" fmla="*/ 6969277 w 9250439"/>
              <a:gd name="connsiteY9" fmla="*/ 239481 h 4201882"/>
              <a:gd name="connsiteX10" fmla="*/ 8114057 w 9250439"/>
              <a:gd name="connsiteY10" fmla="*/ 253718 h 4201882"/>
              <a:gd name="connsiteX11" fmla="*/ 8262895 w 9250439"/>
              <a:gd name="connsiteY11" fmla="*/ 1327775 h 4201882"/>
              <a:gd name="connsiteX12" fmla="*/ 7027334 w 9250439"/>
              <a:gd name="connsiteY12" fmla="*/ 1400624 h 4201882"/>
              <a:gd name="connsiteX13" fmla="*/ 6969277 w 9250439"/>
              <a:gd name="connsiteY13" fmla="*/ 239481 h 4201882"/>
              <a:gd name="connsiteX14" fmla="*/ 1412735 w 9250439"/>
              <a:gd name="connsiteY14" fmla="*/ 3702269 h 4201882"/>
              <a:gd name="connsiteX15" fmla="*/ 2080497 w 9250439"/>
              <a:gd name="connsiteY15" fmla="*/ 3739316 h 4201882"/>
              <a:gd name="connsiteX16" fmla="*/ 1669500 w 9250439"/>
              <a:gd name="connsiteY16" fmla="*/ 4025979 h 4201882"/>
              <a:gd name="connsiteX17" fmla="*/ 1412735 w 9250439"/>
              <a:gd name="connsiteY17" fmla="*/ 3702269 h 4201882"/>
              <a:gd name="connsiteX18" fmla="*/ 3137505 w 9250439"/>
              <a:gd name="connsiteY18" fmla="*/ 319310 h 4201882"/>
              <a:gd name="connsiteX19" fmla="*/ 4328556 w 9250439"/>
              <a:gd name="connsiteY19" fmla="*/ 295452 h 4201882"/>
              <a:gd name="connsiteX20" fmla="*/ 4270499 w 9250439"/>
              <a:gd name="connsiteY20" fmla="*/ 1388196 h 4201882"/>
              <a:gd name="connsiteX21" fmla="*/ 3035906 w 9250439"/>
              <a:gd name="connsiteY21" fmla="*/ 1400624 h 4201882"/>
              <a:gd name="connsiteX22" fmla="*/ 3137505 w 9250439"/>
              <a:gd name="connsiteY22" fmla="*/ 319310 h 4201882"/>
              <a:gd name="connsiteX23" fmla="*/ 2225536 w 9250439"/>
              <a:gd name="connsiteY23" fmla="*/ 3714226 h 4201882"/>
              <a:gd name="connsiteX24" fmla="*/ 2048935 w 9250439"/>
              <a:gd name="connsiteY24" fmla="*/ 4187367 h 4201882"/>
              <a:gd name="connsiteX25" fmla="*/ 1395792 w 9250439"/>
              <a:gd name="connsiteY25" fmla="*/ 4201882 h 4201882"/>
              <a:gd name="connsiteX26" fmla="*/ 1132471 w 9250439"/>
              <a:gd name="connsiteY26" fmla="*/ 3724642 h 4201882"/>
              <a:gd name="connsiteX27" fmla="*/ 1761183 w 9250439"/>
              <a:gd name="connsiteY27" fmla="*/ 3125933 h 4201882"/>
              <a:gd name="connsiteX28" fmla="*/ 2225536 w 9250439"/>
              <a:gd name="connsiteY28" fmla="*/ 3714226 h 4201882"/>
              <a:gd name="connsiteX29" fmla="*/ 6432248 w 9250439"/>
              <a:gd name="connsiteY29" fmla="*/ 4042225 h 4201882"/>
              <a:gd name="connsiteX30" fmla="*/ 6216381 w 9250439"/>
              <a:gd name="connsiteY30" fmla="*/ 3607073 h 4201882"/>
              <a:gd name="connsiteX31" fmla="*/ 6793258 w 9250439"/>
              <a:gd name="connsiteY31" fmla="*/ 3737701 h 4201882"/>
              <a:gd name="connsiteX32" fmla="*/ 6432248 w 9250439"/>
              <a:gd name="connsiteY32" fmla="*/ 4042225 h 4201882"/>
              <a:gd name="connsiteX33" fmla="*/ 7068119 w 9250439"/>
              <a:gd name="connsiteY33" fmla="*/ 3685197 h 4201882"/>
              <a:gd name="connsiteX34" fmla="*/ 6867678 w 9250439"/>
              <a:gd name="connsiteY34" fmla="*/ 4158339 h 4201882"/>
              <a:gd name="connsiteX35" fmla="*/ 6141964 w 9250439"/>
              <a:gd name="connsiteY35" fmla="*/ 4201881 h 4201882"/>
              <a:gd name="connsiteX36" fmla="*/ 5878171 w 9250439"/>
              <a:gd name="connsiteY36" fmla="*/ 3691989 h 4201882"/>
              <a:gd name="connsiteX37" fmla="*/ 6477853 w 9250439"/>
              <a:gd name="connsiteY37" fmla="*/ 3071499 h 4201882"/>
              <a:gd name="connsiteX38" fmla="*/ 7068119 w 9250439"/>
              <a:gd name="connsiteY38" fmla="*/ 3685197 h 4201882"/>
              <a:gd name="connsiteX39" fmla="*/ 154820 w 9250439"/>
              <a:gd name="connsiteY39" fmla="*/ 3294739 h 4201882"/>
              <a:gd name="connsiteX40" fmla="*/ 1787679 w 9250439"/>
              <a:gd name="connsiteY40" fmla="*/ 68941 h 4201882"/>
              <a:gd name="connsiteX41" fmla="*/ 8065106 w 9250439"/>
              <a:gd name="connsiteY41" fmla="*/ 0 h 4201882"/>
              <a:gd name="connsiteX42" fmla="*/ 8710991 w 9250439"/>
              <a:gd name="connsiteY42" fmla="*/ 3432624 h 4201882"/>
              <a:gd name="connsiteX43" fmla="*/ 7361164 w 9250439"/>
              <a:gd name="connsiteY43" fmla="*/ 3461653 h 4201882"/>
              <a:gd name="connsiteX44" fmla="*/ 5633964 w 9250439"/>
              <a:gd name="connsiteY44" fmla="*/ 3577767 h 4201882"/>
              <a:gd name="connsiteX45" fmla="*/ 2614991 w 9250439"/>
              <a:gd name="connsiteY45" fmla="*/ 3635824 h 4201882"/>
              <a:gd name="connsiteX46" fmla="*/ 858761 w 9250439"/>
              <a:gd name="connsiteY46" fmla="*/ 3588655 h 4201882"/>
              <a:gd name="connsiteX47" fmla="*/ 154820 w 9250439"/>
              <a:gd name="connsiteY47" fmla="*/ 3294739 h 4201882"/>
              <a:gd name="connsiteX0" fmla="*/ 1905001 w 9440335"/>
              <a:gd name="connsiteY0" fmla="*/ 290282 h 4201882"/>
              <a:gd name="connsiteX1" fmla="*/ 2847550 w 9440335"/>
              <a:gd name="connsiteY1" fmla="*/ 444767 h 4201882"/>
              <a:gd name="connsiteX2" fmla="*/ 1236464 w 9440335"/>
              <a:gd name="connsiteY2" fmla="*/ 2196824 h 4201882"/>
              <a:gd name="connsiteX3" fmla="*/ 1905001 w 9440335"/>
              <a:gd name="connsiteY3" fmla="*/ 290282 h 4201882"/>
              <a:gd name="connsiteX4" fmla="*/ 6401671 w 9440335"/>
              <a:gd name="connsiteY4" fmla="*/ 276898 h 4201882"/>
              <a:gd name="connsiteX5" fmla="*/ 6418944 w 9440335"/>
              <a:gd name="connsiteY5" fmla="*/ 1386110 h 4201882"/>
              <a:gd name="connsiteX6" fmla="*/ 5187292 w 9440335"/>
              <a:gd name="connsiteY6" fmla="*/ 1384378 h 4201882"/>
              <a:gd name="connsiteX7" fmla="*/ 5255267 w 9440335"/>
              <a:gd name="connsiteY7" fmla="*/ 270402 h 4201882"/>
              <a:gd name="connsiteX8" fmla="*/ 6401671 w 9440335"/>
              <a:gd name="connsiteY8" fmla="*/ 276898 h 4201882"/>
              <a:gd name="connsiteX9" fmla="*/ 7159173 w 9440335"/>
              <a:gd name="connsiteY9" fmla="*/ 239481 h 4201882"/>
              <a:gd name="connsiteX10" fmla="*/ 8303953 w 9440335"/>
              <a:gd name="connsiteY10" fmla="*/ 253718 h 4201882"/>
              <a:gd name="connsiteX11" fmla="*/ 8452791 w 9440335"/>
              <a:gd name="connsiteY11" fmla="*/ 1327775 h 4201882"/>
              <a:gd name="connsiteX12" fmla="*/ 7217230 w 9440335"/>
              <a:gd name="connsiteY12" fmla="*/ 1400624 h 4201882"/>
              <a:gd name="connsiteX13" fmla="*/ 7159173 w 9440335"/>
              <a:gd name="connsiteY13" fmla="*/ 239481 h 4201882"/>
              <a:gd name="connsiteX14" fmla="*/ 1602631 w 9440335"/>
              <a:gd name="connsiteY14" fmla="*/ 3702269 h 4201882"/>
              <a:gd name="connsiteX15" fmla="*/ 2270393 w 9440335"/>
              <a:gd name="connsiteY15" fmla="*/ 3739316 h 4201882"/>
              <a:gd name="connsiteX16" fmla="*/ 1859396 w 9440335"/>
              <a:gd name="connsiteY16" fmla="*/ 4025979 h 4201882"/>
              <a:gd name="connsiteX17" fmla="*/ 1602631 w 9440335"/>
              <a:gd name="connsiteY17" fmla="*/ 3702269 h 4201882"/>
              <a:gd name="connsiteX18" fmla="*/ 3327401 w 9440335"/>
              <a:gd name="connsiteY18" fmla="*/ 319310 h 4201882"/>
              <a:gd name="connsiteX19" fmla="*/ 4518452 w 9440335"/>
              <a:gd name="connsiteY19" fmla="*/ 295452 h 4201882"/>
              <a:gd name="connsiteX20" fmla="*/ 4460395 w 9440335"/>
              <a:gd name="connsiteY20" fmla="*/ 1388196 h 4201882"/>
              <a:gd name="connsiteX21" fmla="*/ 3225802 w 9440335"/>
              <a:gd name="connsiteY21" fmla="*/ 1400624 h 4201882"/>
              <a:gd name="connsiteX22" fmla="*/ 3327401 w 9440335"/>
              <a:gd name="connsiteY22" fmla="*/ 319310 h 4201882"/>
              <a:gd name="connsiteX23" fmla="*/ 2415432 w 9440335"/>
              <a:gd name="connsiteY23" fmla="*/ 3714226 h 4201882"/>
              <a:gd name="connsiteX24" fmla="*/ 2238831 w 9440335"/>
              <a:gd name="connsiteY24" fmla="*/ 4187367 h 4201882"/>
              <a:gd name="connsiteX25" fmla="*/ 1585688 w 9440335"/>
              <a:gd name="connsiteY25" fmla="*/ 4201882 h 4201882"/>
              <a:gd name="connsiteX26" fmla="*/ 1322367 w 9440335"/>
              <a:gd name="connsiteY26" fmla="*/ 3724642 h 4201882"/>
              <a:gd name="connsiteX27" fmla="*/ 1951079 w 9440335"/>
              <a:gd name="connsiteY27" fmla="*/ 3125933 h 4201882"/>
              <a:gd name="connsiteX28" fmla="*/ 2415432 w 9440335"/>
              <a:gd name="connsiteY28" fmla="*/ 3714226 h 4201882"/>
              <a:gd name="connsiteX29" fmla="*/ 6622144 w 9440335"/>
              <a:gd name="connsiteY29" fmla="*/ 4042225 h 4201882"/>
              <a:gd name="connsiteX30" fmla="*/ 6406277 w 9440335"/>
              <a:gd name="connsiteY30" fmla="*/ 3607073 h 4201882"/>
              <a:gd name="connsiteX31" fmla="*/ 6983154 w 9440335"/>
              <a:gd name="connsiteY31" fmla="*/ 3737701 h 4201882"/>
              <a:gd name="connsiteX32" fmla="*/ 6622144 w 9440335"/>
              <a:gd name="connsiteY32" fmla="*/ 4042225 h 4201882"/>
              <a:gd name="connsiteX33" fmla="*/ 7258015 w 9440335"/>
              <a:gd name="connsiteY33" fmla="*/ 3685197 h 4201882"/>
              <a:gd name="connsiteX34" fmla="*/ 7057574 w 9440335"/>
              <a:gd name="connsiteY34" fmla="*/ 4158339 h 4201882"/>
              <a:gd name="connsiteX35" fmla="*/ 6331860 w 9440335"/>
              <a:gd name="connsiteY35" fmla="*/ 4201881 h 4201882"/>
              <a:gd name="connsiteX36" fmla="*/ 6068067 w 9440335"/>
              <a:gd name="connsiteY36" fmla="*/ 3691989 h 4201882"/>
              <a:gd name="connsiteX37" fmla="*/ 6667749 w 9440335"/>
              <a:gd name="connsiteY37" fmla="*/ 3071499 h 4201882"/>
              <a:gd name="connsiteX38" fmla="*/ 7258015 w 9440335"/>
              <a:gd name="connsiteY38" fmla="*/ 3685197 h 4201882"/>
              <a:gd name="connsiteX39" fmla="*/ 344716 w 9440335"/>
              <a:gd name="connsiteY39" fmla="*/ 3294739 h 4201882"/>
              <a:gd name="connsiteX40" fmla="*/ 1977575 w 9440335"/>
              <a:gd name="connsiteY40" fmla="*/ 68941 h 4201882"/>
              <a:gd name="connsiteX41" fmla="*/ 8255002 w 9440335"/>
              <a:gd name="connsiteY41" fmla="*/ 0 h 4201882"/>
              <a:gd name="connsiteX42" fmla="*/ 8900887 w 9440335"/>
              <a:gd name="connsiteY42" fmla="*/ 3432624 h 4201882"/>
              <a:gd name="connsiteX43" fmla="*/ 7551060 w 9440335"/>
              <a:gd name="connsiteY43" fmla="*/ 3461653 h 4201882"/>
              <a:gd name="connsiteX44" fmla="*/ 5823860 w 9440335"/>
              <a:gd name="connsiteY44" fmla="*/ 3577767 h 4201882"/>
              <a:gd name="connsiteX45" fmla="*/ 2804887 w 9440335"/>
              <a:gd name="connsiteY45" fmla="*/ 3635824 h 4201882"/>
              <a:gd name="connsiteX46" fmla="*/ 410028 w 9440335"/>
              <a:gd name="connsiteY46" fmla="*/ 3603169 h 4201882"/>
              <a:gd name="connsiteX47" fmla="*/ 344716 w 9440335"/>
              <a:gd name="connsiteY47" fmla="*/ 3294739 h 4201882"/>
              <a:gd name="connsiteX0" fmla="*/ 1821543 w 9356877"/>
              <a:gd name="connsiteY0" fmla="*/ 290282 h 4201882"/>
              <a:gd name="connsiteX1" fmla="*/ 2764092 w 9356877"/>
              <a:gd name="connsiteY1" fmla="*/ 444767 h 4201882"/>
              <a:gd name="connsiteX2" fmla="*/ 1153006 w 9356877"/>
              <a:gd name="connsiteY2" fmla="*/ 2196824 h 4201882"/>
              <a:gd name="connsiteX3" fmla="*/ 1821543 w 9356877"/>
              <a:gd name="connsiteY3" fmla="*/ 290282 h 4201882"/>
              <a:gd name="connsiteX4" fmla="*/ 6318213 w 9356877"/>
              <a:gd name="connsiteY4" fmla="*/ 276898 h 4201882"/>
              <a:gd name="connsiteX5" fmla="*/ 6335486 w 9356877"/>
              <a:gd name="connsiteY5" fmla="*/ 1386110 h 4201882"/>
              <a:gd name="connsiteX6" fmla="*/ 5103834 w 9356877"/>
              <a:gd name="connsiteY6" fmla="*/ 1384378 h 4201882"/>
              <a:gd name="connsiteX7" fmla="*/ 5171809 w 9356877"/>
              <a:gd name="connsiteY7" fmla="*/ 270402 h 4201882"/>
              <a:gd name="connsiteX8" fmla="*/ 6318213 w 9356877"/>
              <a:gd name="connsiteY8" fmla="*/ 276898 h 4201882"/>
              <a:gd name="connsiteX9" fmla="*/ 7075715 w 9356877"/>
              <a:gd name="connsiteY9" fmla="*/ 239481 h 4201882"/>
              <a:gd name="connsiteX10" fmla="*/ 8220495 w 9356877"/>
              <a:gd name="connsiteY10" fmla="*/ 253718 h 4201882"/>
              <a:gd name="connsiteX11" fmla="*/ 8369333 w 9356877"/>
              <a:gd name="connsiteY11" fmla="*/ 1327775 h 4201882"/>
              <a:gd name="connsiteX12" fmla="*/ 7133772 w 9356877"/>
              <a:gd name="connsiteY12" fmla="*/ 1400624 h 4201882"/>
              <a:gd name="connsiteX13" fmla="*/ 7075715 w 9356877"/>
              <a:gd name="connsiteY13" fmla="*/ 239481 h 4201882"/>
              <a:gd name="connsiteX14" fmla="*/ 1519173 w 9356877"/>
              <a:gd name="connsiteY14" fmla="*/ 3702269 h 4201882"/>
              <a:gd name="connsiteX15" fmla="*/ 2186935 w 9356877"/>
              <a:gd name="connsiteY15" fmla="*/ 3739316 h 4201882"/>
              <a:gd name="connsiteX16" fmla="*/ 1775938 w 9356877"/>
              <a:gd name="connsiteY16" fmla="*/ 4025979 h 4201882"/>
              <a:gd name="connsiteX17" fmla="*/ 1519173 w 9356877"/>
              <a:gd name="connsiteY17" fmla="*/ 3702269 h 4201882"/>
              <a:gd name="connsiteX18" fmla="*/ 3243943 w 9356877"/>
              <a:gd name="connsiteY18" fmla="*/ 319310 h 4201882"/>
              <a:gd name="connsiteX19" fmla="*/ 4434994 w 9356877"/>
              <a:gd name="connsiteY19" fmla="*/ 295452 h 4201882"/>
              <a:gd name="connsiteX20" fmla="*/ 4376937 w 9356877"/>
              <a:gd name="connsiteY20" fmla="*/ 1388196 h 4201882"/>
              <a:gd name="connsiteX21" fmla="*/ 3142344 w 9356877"/>
              <a:gd name="connsiteY21" fmla="*/ 1400624 h 4201882"/>
              <a:gd name="connsiteX22" fmla="*/ 3243943 w 9356877"/>
              <a:gd name="connsiteY22" fmla="*/ 319310 h 4201882"/>
              <a:gd name="connsiteX23" fmla="*/ 2331974 w 9356877"/>
              <a:gd name="connsiteY23" fmla="*/ 3714226 h 4201882"/>
              <a:gd name="connsiteX24" fmla="*/ 2155373 w 9356877"/>
              <a:gd name="connsiteY24" fmla="*/ 4187367 h 4201882"/>
              <a:gd name="connsiteX25" fmla="*/ 1502230 w 9356877"/>
              <a:gd name="connsiteY25" fmla="*/ 4201882 h 4201882"/>
              <a:gd name="connsiteX26" fmla="*/ 1238909 w 9356877"/>
              <a:gd name="connsiteY26" fmla="*/ 3724642 h 4201882"/>
              <a:gd name="connsiteX27" fmla="*/ 1867621 w 9356877"/>
              <a:gd name="connsiteY27" fmla="*/ 3125933 h 4201882"/>
              <a:gd name="connsiteX28" fmla="*/ 2331974 w 9356877"/>
              <a:gd name="connsiteY28" fmla="*/ 3714226 h 4201882"/>
              <a:gd name="connsiteX29" fmla="*/ 6538686 w 9356877"/>
              <a:gd name="connsiteY29" fmla="*/ 4042225 h 4201882"/>
              <a:gd name="connsiteX30" fmla="*/ 6322819 w 9356877"/>
              <a:gd name="connsiteY30" fmla="*/ 3607073 h 4201882"/>
              <a:gd name="connsiteX31" fmla="*/ 6899696 w 9356877"/>
              <a:gd name="connsiteY31" fmla="*/ 3737701 h 4201882"/>
              <a:gd name="connsiteX32" fmla="*/ 6538686 w 9356877"/>
              <a:gd name="connsiteY32" fmla="*/ 4042225 h 4201882"/>
              <a:gd name="connsiteX33" fmla="*/ 7174557 w 9356877"/>
              <a:gd name="connsiteY33" fmla="*/ 3685197 h 4201882"/>
              <a:gd name="connsiteX34" fmla="*/ 6974116 w 9356877"/>
              <a:gd name="connsiteY34" fmla="*/ 4158339 h 4201882"/>
              <a:gd name="connsiteX35" fmla="*/ 6248402 w 9356877"/>
              <a:gd name="connsiteY35" fmla="*/ 4201881 h 4201882"/>
              <a:gd name="connsiteX36" fmla="*/ 5984609 w 9356877"/>
              <a:gd name="connsiteY36" fmla="*/ 3691989 h 4201882"/>
              <a:gd name="connsiteX37" fmla="*/ 6584291 w 9356877"/>
              <a:gd name="connsiteY37" fmla="*/ 3071499 h 4201882"/>
              <a:gd name="connsiteX38" fmla="*/ 7174557 w 9356877"/>
              <a:gd name="connsiteY38" fmla="*/ 3685197 h 4201882"/>
              <a:gd name="connsiteX39" fmla="*/ 261258 w 9356877"/>
              <a:gd name="connsiteY39" fmla="*/ 3294739 h 4201882"/>
              <a:gd name="connsiteX40" fmla="*/ 1894117 w 9356877"/>
              <a:gd name="connsiteY40" fmla="*/ 68941 h 4201882"/>
              <a:gd name="connsiteX41" fmla="*/ 8171544 w 9356877"/>
              <a:gd name="connsiteY41" fmla="*/ 0 h 4201882"/>
              <a:gd name="connsiteX42" fmla="*/ 8817429 w 9356877"/>
              <a:gd name="connsiteY42" fmla="*/ 3432624 h 4201882"/>
              <a:gd name="connsiteX43" fmla="*/ 7467602 w 9356877"/>
              <a:gd name="connsiteY43" fmla="*/ 3461653 h 4201882"/>
              <a:gd name="connsiteX44" fmla="*/ 5740402 w 9356877"/>
              <a:gd name="connsiteY44" fmla="*/ 3577767 h 4201882"/>
              <a:gd name="connsiteX45" fmla="*/ 2721429 w 9356877"/>
              <a:gd name="connsiteY45" fmla="*/ 3635824 h 4201882"/>
              <a:gd name="connsiteX46" fmla="*/ 1008745 w 9356877"/>
              <a:gd name="connsiteY46" fmla="*/ 3606795 h 4201882"/>
              <a:gd name="connsiteX47" fmla="*/ 326570 w 9356877"/>
              <a:gd name="connsiteY47" fmla="*/ 3603169 h 4201882"/>
              <a:gd name="connsiteX48" fmla="*/ 261258 w 9356877"/>
              <a:gd name="connsiteY48" fmla="*/ 3294739 h 4201882"/>
              <a:gd name="connsiteX0" fmla="*/ 1821543 w 9356877"/>
              <a:gd name="connsiteY0" fmla="*/ 290282 h 4201882"/>
              <a:gd name="connsiteX1" fmla="*/ 2764092 w 9356877"/>
              <a:gd name="connsiteY1" fmla="*/ 444767 h 4201882"/>
              <a:gd name="connsiteX2" fmla="*/ 1153006 w 9356877"/>
              <a:gd name="connsiteY2" fmla="*/ 2196824 h 4201882"/>
              <a:gd name="connsiteX3" fmla="*/ 1821543 w 9356877"/>
              <a:gd name="connsiteY3" fmla="*/ 290282 h 4201882"/>
              <a:gd name="connsiteX4" fmla="*/ 6318213 w 9356877"/>
              <a:gd name="connsiteY4" fmla="*/ 276898 h 4201882"/>
              <a:gd name="connsiteX5" fmla="*/ 6335486 w 9356877"/>
              <a:gd name="connsiteY5" fmla="*/ 1386110 h 4201882"/>
              <a:gd name="connsiteX6" fmla="*/ 5103834 w 9356877"/>
              <a:gd name="connsiteY6" fmla="*/ 1384378 h 4201882"/>
              <a:gd name="connsiteX7" fmla="*/ 5171809 w 9356877"/>
              <a:gd name="connsiteY7" fmla="*/ 270402 h 4201882"/>
              <a:gd name="connsiteX8" fmla="*/ 6318213 w 9356877"/>
              <a:gd name="connsiteY8" fmla="*/ 276898 h 4201882"/>
              <a:gd name="connsiteX9" fmla="*/ 7075715 w 9356877"/>
              <a:gd name="connsiteY9" fmla="*/ 239481 h 4201882"/>
              <a:gd name="connsiteX10" fmla="*/ 8220495 w 9356877"/>
              <a:gd name="connsiteY10" fmla="*/ 253718 h 4201882"/>
              <a:gd name="connsiteX11" fmla="*/ 8369333 w 9356877"/>
              <a:gd name="connsiteY11" fmla="*/ 1327775 h 4201882"/>
              <a:gd name="connsiteX12" fmla="*/ 7133772 w 9356877"/>
              <a:gd name="connsiteY12" fmla="*/ 1400624 h 4201882"/>
              <a:gd name="connsiteX13" fmla="*/ 7075715 w 9356877"/>
              <a:gd name="connsiteY13" fmla="*/ 239481 h 4201882"/>
              <a:gd name="connsiteX14" fmla="*/ 1519173 w 9356877"/>
              <a:gd name="connsiteY14" fmla="*/ 3702269 h 4201882"/>
              <a:gd name="connsiteX15" fmla="*/ 2186935 w 9356877"/>
              <a:gd name="connsiteY15" fmla="*/ 3739316 h 4201882"/>
              <a:gd name="connsiteX16" fmla="*/ 1775938 w 9356877"/>
              <a:gd name="connsiteY16" fmla="*/ 4025979 h 4201882"/>
              <a:gd name="connsiteX17" fmla="*/ 1519173 w 9356877"/>
              <a:gd name="connsiteY17" fmla="*/ 3702269 h 4201882"/>
              <a:gd name="connsiteX18" fmla="*/ 3243943 w 9356877"/>
              <a:gd name="connsiteY18" fmla="*/ 319310 h 4201882"/>
              <a:gd name="connsiteX19" fmla="*/ 4434994 w 9356877"/>
              <a:gd name="connsiteY19" fmla="*/ 295452 h 4201882"/>
              <a:gd name="connsiteX20" fmla="*/ 4376937 w 9356877"/>
              <a:gd name="connsiteY20" fmla="*/ 1388196 h 4201882"/>
              <a:gd name="connsiteX21" fmla="*/ 3142344 w 9356877"/>
              <a:gd name="connsiteY21" fmla="*/ 1400624 h 4201882"/>
              <a:gd name="connsiteX22" fmla="*/ 3243943 w 9356877"/>
              <a:gd name="connsiteY22" fmla="*/ 319310 h 4201882"/>
              <a:gd name="connsiteX23" fmla="*/ 2331974 w 9356877"/>
              <a:gd name="connsiteY23" fmla="*/ 3714226 h 4201882"/>
              <a:gd name="connsiteX24" fmla="*/ 2155373 w 9356877"/>
              <a:gd name="connsiteY24" fmla="*/ 4187367 h 4201882"/>
              <a:gd name="connsiteX25" fmla="*/ 1502230 w 9356877"/>
              <a:gd name="connsiteY25" fmla="*/ 4201882 h 4201882"/>
              <a:gd name="connsiteX26" fmla="*/ 1238909 w 9356877"/>
              <a:gd name="connsiteY26" fmla="*/ 3724642 h 4201882"/>
              <a:gd name="connsiteX27" fmla="*/ 1867621 w 9356877"/>
              <a:gd name="connsiteY27" fmla="*/ 3125933 h 4201882"/>
              <a:gd name="connsiteX28" fmla="*/ 2331974 w 9356877"/>
              <a:gd name="connsiteY28" fmla="*/ 3714226 h 4201882"/>
              <a:gd name="connsiteX29" fmla="*/ 6538686 w 9356877"/>
              <a:gd name="connsiteY29" fmla="*/ 4042225 h 4201882"/>
              <a:gd name="connsiteX30" fmla="*/ 6322819 w 9356877"/>
              <a:gd name="connsiteY30" fmla="*/ 3607073 h 4201882"/>
              <a:gd name="connsiteX31" fmla="*/ 6899696 w 9356877"/>
              <a:gd name="connsiteY31" fmla="*/ 3737701 h 4201882"/>
              <a:gd name="connsiteX32" fmla="*/ 6538686 w 9356877"/>
              <a:gd name="connsiteY32" fmla="*/ 4042225 h 4201882"/>
              <a:gd name="connsiteX33" fmla="*/ 7174557 w 9356877"/>
              <a:gd name="connsiteY33" fmla="*/ 3685197 h 4201882"/>
              <a:gd name="connsiteX34" fmla="*/ 6974116 w 9356877"/>
              <a:gd name="connsiteY34" fmla="*/ 4158339 h 4201882"/>
              <a:gd name="connsiteX35" fmla="*/ 6248402 w 9356877"/>
              <a:gd name="connsiteY35" fmla="*/ 4201881 h 4201882"/>
              <a:gd name="connsiteX36" fmla="*/ 5984609 w 9356877"/>
              <a:gd name="connsiteY36" fmla="*/ 3691989 h 4201882"/>
              <a:gd name="connsiteX37" fmla="*/ 6584291 w 9356877"/>
              <a:gd name="connsiteY37" fmla="*/ 3071499 h 4201882"/>
              <a:gd name="connsiteX38" fmla="*/ 7174557 w 9356877"/>
              <a:gd name="connsiteY38" fmla="*/ 3685197 h 4201882"/>
              <a:gd name="connsiteX39" fmla="*/ 261258 w 9356877"/>
              <a:gd name="connsiteY39" fmla="*/ 3294739 h 4201882"/>
              <a:gd name="connsiteX40" fmla="*/ 1894117 w 9356877"/>
              <a:gd name="connsiteY40" fmla="*/ 68941 h 4201882"/>
              <a:gd name="connsiteX41" fmla="*/ 8171544 w 9356877"/>
              <a:gd name="connsiteY41" fmla="*/ 0 h 4201882"/>
              <a:gd name="connsiteX42" fmla="*/ 8817429 w 9356877"/>
              <a:gd name="connsiteY42" fmla="*/ 3432624 h 4201882"/>
              <a:gd name="connsiteX43" fmla="*/ 7467602 w 9356877"/>
              <a:gd name="connsiteY43" fmla="*/ 3461653 h 4201882"/>
              <a:gd name="connsiteX44" fmla="*/ 5740402 w 9356877"/>
              <a:gd name="connsiteY44" fmla="*/ 3577767 h 4201882"/>
              <a:gd name="connsiteX45" fmla="*/ 2721429 w 9356877"/>
              <a:gd name="connsiteY45" fmla="*/ 3635824 h 4201882"/>
              <a:gd name="connsiteX46" fmla="*/ 1008745 w 9356877"/>
              <a:gd name="connsiteY46" fmla="*/ 3606795 h 4201882"/>
              <a:gd name="connsiteX47" fmla="*/ 326570 w 9356877"/>
              <a:gd name="connsiteY47" fmla="*/ 3603169 h 4201882"/>
              <a:gd name="connsiteX48" fmla="*/ 261258 w 9356877"/>
              <a:gd name="connsiteY48" fmla="*/ 3294739 h 4201882"/>
              <a:gd name="connsiteX0" fmla="*/ 1821543 w 9356877"/>
              <a:gd name="connsiteY0" fmla="*/ 290282 h 4201882"/>
              <a:gd name="connsiteX1" fmla="*/ 2764092 w 9356877"/>
              <a:gd name="connsiteY1" fmla="*/ 444767 h 4201882"/>
              <a:gd name="connsiteX2" fmla="*/ 1153006 w 9356877"/>
              <a:gd name="connsiteY2" fmla="*/ 2196824 h 4201882"/>
              <a:gd name="connsiteX3" fmla="*/ 1821543 w 9356877"/>
              <a:gd name="connsiteY3" fmla="*/ 290282 h 4201882"/>
              <a:gd name="connsiteX4" fmla="*/ 6318213 w 9356877"/>
              <a:gd name="connsiteY4" fmla="*/ 276898 h 4201882"/>
              <a:gd name="connsiteX5" fmla="*/ 6335486 w 9356877"/>
              <a:gd name="connsiteY5" fmla="*/ 1386110 h 4201882"/>
              <a:gd name="connsiteX6" fmla="*/ 5103834 w 9356877"/>
              <a:gd name="connsiteY6" fmla="*/ 1384378 h 4201882"/>
              <a:gd name="connsiteX7" fmla="*/ 5171809 w 9356877"/>
              <a:gd name="connsiteY7" fmla="*/ 270402 h 4201882"/>
              <a:gd name="connsiteX8" fmla="*/ 6318213 w 9356877"/>
              <a:gd name="connsiteY8" fmla="*/ 276898 h 4201882"/>
              <a:gd name="connsiteX9" fmla="*/ 7075715 w 9356877"/>
              <a:gd name="connsiteY9" fmla="*/ 239481 h 4201882"/>
              <a:gd name="connsiteX10" fmla="*/ 8220495 w 9356877"/>
              <a:gd name="connsiteY10" fmla="*/ 253718 h 4201882"/>
              <a:gd name="connsiteX11" fmla="*/ 8369333 w 9356877"/>
              <a:gd name="connsiteY11" fmla="*/ 1327775 h 4201882"/>
              <a:gd name="connsiteX12" fmla="*/ 7133772 w 9356877"/>
              <a:gd name="connsiteY12" fmla="*/ 1400624 h 4201882"/>
              <a:gd name="connsiteX13" fmla="*/ 7075715 w 9356877"/>
              <a:gd name="connsiteY13" fmla="*/ 239481 h 4201882"/>
              <a:gd name="connsiteX14" fmla="*/ 1519173 w 9356877"/>
              <a:gd name="connsiteY14" fmla="*/ 3702269 h 4201882"/>
              <a:gd name="connsiteX15" fmla="*/ 2186935 w 9356877"/>
              <a:gd name="connsiteY15" fmla="*/ 3739316 h 4201882"/>
              <a:gd name="connsiteX16" fmla="*/ 1775938 w 9356877"/>
              <a:gd name="connsiteY16" fmla="*/ 4025979 h 4201882"/>
              <a:gd name="connsiteX17" fmla="*/ 1519173 w 9356877"/>
              <a:gd name="connsiteY17" fmla="*/ 3702269 h 4201882"/>
              <a:gd name="connsiteX18" fmla="*/ 3243943 w 9356877"/>
              <a:gd name="connsiteY18" fmla="*/ 319310 h 4201882"/>
              <a:gd name="connsiteX19" fmla="*/ 4434994 w 9356877"/>
              <a:gd name="connsiteY19" fmla="*/ 295452 h 4201882"/>
              <a:gd name="connsiteX20" fmla="*/ 4376937 w 9356877"/>
              <a:gd name="connsiteY20" fmla="*/ 1388196 h 4201882"/>
              <a:gd name="connsiteX21" fmla="*/ 3142344 w 9356877"/>
              <a:gd name="connsiteY21" fmla="*/ 1400624 h 4201882"/>
              <a:gd name="connsiteX22" fmla="*/ 3243943 w 9356877"/>
              <a:gd name="connsiteY22" fmla="*/ 319310 h 4201882"/>
              <a:gd name="connsiteX23" fmla="*/ 2331974 w 9356877"/>
              <a:gd name="connsiteY23" fmla="*/ 3714226 h 4201882"/>
              <a:gd name="connsiteX24" fmla="*/ 2155373 w 9356877"/>
              <a:gd name="connsiteY24" fmla="*/ 4187367 h 4201882"/>
              <a:gd name="connsiteX25" fmla="*/ 1502230 w 9356877"/>
              <a:gd name="connsiteY25" fmla="*/ 4201882 h 4201882"/>
              <a:gd name="connsiteX26" fmla="*/ 1238909 w 9356877"/>
              <a:gd name="connsiteY26" fmla="*/ 3724642 h 4201882"/>
              <a:gd name="connsiteX27" fmla="*/ 1867621 w 9356877"/>
              <a:gd name="connsiteY27" fmla="*/ 3125933 h 4201882"/>
              <a:gd name="connsiteX28" fmla="*/ 2331974 w 9356877"/>
              <a:gd name="connsiteY28" fmla="*/ 3714226 h 4201882"/>
              <a:gd name="connsiteX29" fmla="*/ 6538686 w 9356877"/>
              <a:gd name="connsiteY29" fmla="*/ 4042225 h 4201882"/>
              <a:gd name="connsiteX30" fmla="*/ 6322819 w 9356877"/>
              <a:gd name="connsiteY30" fmla="*/ 3607073 h 4201882"/>
              <a:gd name="connsiteX31" fmla="*/ 6899696 w 9356877"/>
              <a:gd name="connsiteY31" fmla="*/ 3737701 h 4201882"/>
              <a:gd name="connsiteX32" fmla="*/ 6538686 w 9356877"/>
              <a:gd name="connsiteY32" fmla="*/ 4042225 h 4201882"/>
              <a:gd name="connsiteX33" fmla="*/ 7174557 w 9356877"/>
              <a:gd name="connsiteY33" fmla="*/ 3685197 h 4201882"/>
              <a:gd name="connsiteX34" fmla="*/ 6974116 w 9356877"/>
              <a:gd name="connsiteY34" fmla="*/ 4158339 h 4201882"/>
              <a:gd name="connsiteX35" fmla="*/ 6248402 w 9356877"/>
              <a:gd name="connsiteY35" fmla="*/ 4201881 h 4201882"/>
              <a:gd name="connsiteX36" fmla="*/ 5984609 w 9356877"/>
              <a:gd name="connsiteY36" fmla="*/ 3691989 h 4201882"/>
              <a:gd name="connsiteX37" fmla="*/ 6584291 w 9356877"/>
              <a:gd name="connsiteY37" fmla="*/ 3071499 h 4201882"/>
              <a:gd name="connsiteX38" fmla="*/ 7174557 w 9356877"/>
              <a:gd name="connsiteY38" fmla="*/ 3685197 h 4201882"/>
              <a:gd name="connsiteX39" fmla="*/ 261258 w 9356877"/>
              <a:gd name="connsiteY39" fmla="*/ 3294739 h 4201882"/>
              <a:gd name="connsiteX40" fmla="*/ 1894117 w 9356877"/>
              <a:gd name="connsiteY40" fmla="*/ 68941 h 4201882"/>
              <a:gd name="connsiteX41" fmla="*/ 8171544 w 9356877"/>
              <a:gd name="connsiteY41" fmla="*/ 0 h 4201882"/>
              <a:gd name="connsiteX42" fmla="*/ 8817429 w 9356877"/>
              <a:gd name="connsiteY42" fmla="*/ 3432624 h 4201882"/>
              <a:gd name="connsiteX43" fmla="*/ 7467602 w 9356877"/>
              <a:gd name="connsiteY43" fmla="*/ 3461653 h 4201882"/>
              <a:gd name="connsiteX44" fmla="*/ 5740402 w 9356877"/>
              <a:gd name="connsiteY44" fmla="*/ 3577767 h 4201882"/>
              <a:gd name="connsiteX45" fmla="*/ 2721429 w 9356877"/>
              <a:gd name="connsiteY45" fmla="*/ 3635824 h 4201882"/>
              <a:gd name="connsiteX46" fmla="*/ 1008745 w 9356877"/>
              <a:gd name="connsiteY46" fmla="*/ 3606795 h 4201882"/>
              <a:gd name="connsiteX47" fmla="*/ 326570 w 9356877"/>
              <a:gd name="connsiteY47" fmla="*/ 3603169 h 4201882"/>
              <a:gd name="connsiteX48" fmla="*/ 261258 w 9356877"/>
              <a:gd name="connsiteY48" fmla="*/ 3294739 h 4201882"/>
              <a:gd name="connsiteX0" fmla="*/ 1821543 w 9356877"/>
              <a:gd name="connsiteY0" fmla="*/ 290282 h 4201882"/>
              <a:gd name="connsiteX1" fmla="*/ 2764092 w 9356877"/>
              <a:gd name="connsiteY1" fmla="*/ 444767 h 4201882"/>
              <a:gd name="connsiteX2" fmla="*/ 1153006 w 9356877"/>
              <a:gd name="connsiteY2" fmla="*/ 2196824 h 4201882"/>
              <a:gd name="connsiteX3" fmla="*/ 1821543 w 9356877"/>
              <a:gd name="connsiteY3" fmla="*/ 290282 h 4201882"/>
              <a:gd name="connsiteX4" fmla="*/ 6318213 w 9356877"/>
              <a:gd name="connsiteY4" fmla="*/ 276898 h 4201882"/>
              <a:gd name="connsiteX5" fmla="*/ 6335486 w 9356877"/>
              <a:gd name="connsiteY5" fmla="*/ 1386110 h 4201882"/>
              <a:gd name="connsiteX6" fmla="*/ 5103834 w 9356877"/>
              <a:gd name="connsiteY6" fmla="*/ 1384378 h 4201882"/>
              <a:gd name="connsiteX7" fmla="*/ 5171809 w 9356877"/>
              <a:gd name="connsiteY7" fmla="*/ 270402 h 4201882"/>
              <a:gd name="connsiteX8" fmla="*/ 6318213 w 9356877"/>
              <a:gd name="connsiteY8" fmla="*/ 276898 h 4201882"/>
              <a:gd name="connsiteX9" fmla="*/ 7075715 w 9356877"/>
              <a:gd name="connsiteY9" fmla="*/ 239481 h 4201882"/>
              <a:gd name="connsiteX10" fmla="*/ 8220495 w 9356877"/>
              <a:gd name="connsiteY10" fmla="*/ 253718 h 4201882"/>
              <a:gd name="connsiteX11" fmla="*/ 8369333 w 9356877"/>
              <a:gd name="connsiteY11" fmla="*/ 1327775 h 4201882"/>
              <a:gd name="connsiteX12" fmla="*/ 7133772 w 9356877"/>
              <a:gd name="connsiteY12" fmla="*/ 1400624 h 4201882"/>
              <a:gd name="connsiteX13" fmla="*/ 7075715 w 9356877"/>
              <a:gd name="connsiteY13" fmla="*/ 239481 h 4201882"/>
              <a:gd name="connsiteX14" fmla="*/ 1519173 w 9356877"/>
              <a:gd name="connsiteY14" fmla="*/ 3702269 h 4201882"/>
              <a:gd name="connsiteX15" fmla="*/ 2186935 w 9356877"/>
              <a:gd name="connsiteY15" fmla="*/ 3739316 h 4201882"/>
              <a:gd name="connsiteX16" fmla="*/ 1775938 w 9356877"/>
              <a:gd name="connsiteY16" fmla="*/ 4025979 h 4201882"/>
              <a:gd name="connsiteX17" fmla="*/ 1519173 w 9356877"/>
              <a:gd name="connsiteY17" fmla="*/ 3702269 h 4201882"/>
              <a:gd name="connsiteX18" fmla="*/ 3243943 w 9356877"/>
              <a:gd name="connsiteY18" fmla="*/ 319310 h 4201882"/>
              <a:gd name="connsiteX19" fmla="*/ 4434994 w 9356877"/>
              <a:gd name="connsiteY19" fmla="*/ 295452 h 4201882"/>
              <a:gd name="connsiteX20" fmla="*/ 4376937 w 9356877"/>
              <a:gd name="connsiteY20" fmla="*/ 1388196 h 4201882"/>
              <a:gd name="connsiteX21" fmla="*/ 3142344 w 9356877"/>
              <a:gd name="connsiteY21" fmla="*/ 1400624 h 4201882"/>
              <a:gd name="connsiteX22" fmla="*/ 3243943 w 9356877"/>
              <a:gd name="connsiteY22" fmla="*/ 319310 h 4201882"/>
              <a:gd name="connsiteX23" fmla="*/ 2331974 w 9356877"/>
              <a:gd name="connsiteY23" fmla="*/ 3714226 h 4201882"/>
              <a:gd name="connsiteX24" fmla="*/ 2155373 w 9356877"/>
              <a:gd name="connsiteY24" fmla="*/ 4187367 h 4201882"/>
              <a:gd name="connsiteX25" fmla="*/ 1502230 w 9356877"/>
              <a:gd name="connsiteY25" fmla="*/ 4201882 h 4201882"/>
              <a:gd name="connsiteX26" fmla="*/ 1238909 w 9356877"/>
              <a:gd name="connsiteY26" fmla="*/ 3724642 h 4201882"/>
              <a:gd name="connsiteX27" fmla="*/ 1867621 w 9356877"/>
              <a:gd name="connsiteY27" fmla="*/ 3125933 h 4201882"/>
              <a:gd name="connsiteX28" fmla="*/ 2331974 w 9356877"/>
              <a:gd name="connsiteY28" fmla="*/ 3714226 h 4201882"/>
              <a:gd name="connsiteX29" fmla="*/ 6538686 w 9356877"/>
              <a:gd name="connsiteY29" fmla="*/ 4042225 h 4201882"/>
              <a:gd name="connsiteX30" fmla="*/ 6322819 w 9356877"/>
              <a:gd name="connsiteY30" fmla="*/ 3607073 h 4201882"/>
              <a:gd name="connsiteX31" fmla="*/ 6899696 w 9356877"/>
              <a:gd name="connsiteY31" fmla="*/ 3737701 h 4201882"/>
              <a:gd name="connsiteX32" fmla="*/ 6538686 w 9356877"/>
              <a:gd name="connsiteY32" fmla="*/ 4042225 h 4201882"/>
              <a:gd name="connsiteX33" fmla="*/ 7174557 w 9356877"/>
              <a:gd name="connsiteY33" fmla="*/ 3685197 h 4201882"/>
              <a:gd name="connsiteX34" fmla="*/ 6974116 w 9356877"/>
              <a:gd name="connsiteY34" fmla="*/ 4158339 h 4201882"/>
              <a:gd name="connsiteX35" fmla="*/ 6248402 w 9356877"/>
              <a:gd name="connsiteY35" fmla="*/ 4201881 h 4201882"/>
              <a:gd name="connsiteX36" fmla="*/ 5984609 w 9356877"/>
              <a:gd name="connsiteY36" fmla="*/ 3691989 h 4201882"/>
              <a:gd name="connsiteX37" fmla="*/ 6584291 w 9356877"/>
              <a:gd name="connsiteY37" fmla="*/ 3071499 h 4201882"/>
              <a:gd name="connsiteX38" fmla="*/ 7174557 w 9356877"/>
              <a:gd name="connsiteY38" fmla="*/ 3685197 h 4201882"/>
              <a:gd name="connsiteX39" fmla="*/ 261258 w 9356877"/>
              <a:gd name="connsiteY39" fmla="*/ 3294739 h 4201882"/>
              <a:gd name="connsiteX40" fmla="*/ 1894117 w 9356877"/>
              <a:gd name="connsiteY40" fmla="*/ 68941 h 4201882"/>
              <a:gd name="connsiteX41" fmla="*/ 8171544 w 9356877"/>
              <a:gd name="connsiteY41" fmla="*/ 0 h 4201882"/>
              <a:gd name="connsiteX42" fmla="*/ 8817429 w 9356877"/>
              <a:gd name="connsiteY42" fmla="*/ 3432624 h 4201882"/>
              <a:gd name="connsiteX43" fmla="*/ 7467602 w 9356877"/>
              <a:gd name="connsiteY43" fmla="*/ 3461653 h 4201882"/>
              <a:gd name="connsiteX44" fmla="*/ 5740402 w 9356877"/>
              <a:gd name="connsiteY44" fmla="*/ 3577767 h 4201882"/>
              <a:gd name="connsiteX45" fmla="*/ 2721429 w 9356877"/>
              <a:gd name="connsiteY45" fmla="*/ 3635824 h 4201882"/>
              <a:gd name="connsiteX46" fmla="*/ 1008745 w 9356877"/>
              <a:gd name="connsiteY46" fmla="*/ 3606795 h 4201882"/>
              <a:gd name="connsiteX47" fmla="*/ 326570 w 9356877"/>
              <a:gd name="connsiteY47" fmla="*/ 3603169 h 4201882"/>
              <a:gd name="connsiteX48" fmla="*/ 261258 w 9356877"/>
              <a:gd name="connsiteY48" fmla="*/ 3294739 h 4201882"/>
              <a:gd name="connsiteX0" fmla="*/ 1821543 w 9356877"/>
              <a:gd name="connsiteY0" fmla="*/ 290282 h 4201882"/>
              <a:gd name="connsiteX1" fmla="*/ 2764092 w 9356877"/>
              <a:gd name="connsiteY1" fmla="*/ 444767 h 4201882"/>
              <a:gd name="connsiteX2" fmla="*/ 1153006 w 9356877"/>
              <a:gd name="connsiteY2" fmla="*/ 2196824 h 4201882"/>
              <a:gd name="connsiteX3" fmla="*/ 1821543 w 9356877"/>
              <a:gd name="connsiteY3" fmla="*/ 290282 h 4201882"/>
              <a:gd name="connsiteX4" fmla="*/ 6318213 w 9356877"/>
              <a:gd name="connsiteY4" fmla="*/ 276898 h 4201882"/>
              <a:gd name="connsiteX5" fmla="*/ 6335486 w 9356877"/>
              <a:gd name="connsiteY5" fmla="*/ 1386110 h 4201882"/>
              <a:gd name="connsiteX6" fmla="*/ 5103834 w 9356877"/>
              <a:gd name="connsiteY6" fmla="*/ 1384378 h 4201882"/>
              <a:gd name="connsiteX7" fmla="*/ 5171809 w 9356877"/>
              <a:gd name="connsiteY7" fmla="*/ 270402 h 4201882"/>
              <a:gd name="connsiteX8" fmla="*/ 6318213 w 9356877"/>
              <a:gd name="connsiteY8" fmla="*/ 276898 h 4201882"/>
              <a:gd name="connsiteX9" fmla="*/ 7075715 w 9356877"/>
              <a:gd name="connsiteY9" fmla="*/ 239481 h 4201882"/>
              <a:gd name="connsiteX10" fmla="*/ 8220495 w 9356877"/>
              <a:gd name="connsiteY10" fmla="*/ 253718 h 4201882"/>
              <a:gd name="connsiteX11" fmla="*/ 8369333 w 9356877"/>
              <a:gd name="connsiteY11" fmla="*/ 1327775 h 4201882"/>
              <a:gd name="connsiteX12" fmla="*/ 7133772 w 9356877"/>
              <a:gd name="connsiteY12" fmla="*/ 1400624 h 4201882"/>
              <a:gd name="connsiteX13" fmla="*/ 7075715 w 9356877"/>
              <a:gd name="connsiteY13" fmla="*/ 239481 h 4201882"/>
              <a:gd name="connsiteX14" fmla="*/ 1519173 w 9356877"/>
              <a:gd name="connsiteY14" fmla="*/ 3702269 h 4201882"/>
              <a:gd name="connsiteX15" fmla="*/ 2186935 w 9356877"/>
              <a:gd name="connsiteY15" fmla="*/ 3739316 h 4201882"/>
              <a:gd name="connsiteX16" fmla="*/ 1775938 w 9356877"/>
              <a:gd name="connsiteY16" fmla="*/ 4025979 h 4201882"/>
              <a:gd name="connsiteX17" fmla="*/ 1519173 w 9356877"/>
              <a:gd name="connsiteY17" fmla="*/ 3702269 h 4201882"/>
              <a:gd name="connsiteX18" fmla="*/ 3243943 w 9356877"/>
              <a:gd name="connsiteY18" fmla="*/ 319310 h 4201882"/>
              <a:gd name="connsiteX19" fmla="*/ 4434994 w 9356877"/>
              <a:gd name="connsiteY19" fmla="*/ 295452 h 4201882"/>
              <a:gd name="connsiteX20" fmla="*/ 4376937 w 9356877"/>
              <a:gd name="connsiteY20" fmla="*/ 1388196 h 4201882"/>
              <a:gd name="connsiteX21" fmla="*/ 3142344 w 9356877"/>
              <a:gd name="connsiteY21" fmla="*/ 1400624 h 4201882"/>
              <a:gd name="connsiteX22" fmla="*/ 3243943 w 9356877"/>
              <a:gd name="connsiteY22" fmla="*/ 319310 h 4201882"/>
              <a:gd name="connsiteX23" fmla="*/ 2331974 w 9356877"/>
              <a:gd name="connsiteY23" fmla="*/ 3714226 h 4201882"/>
              <a:gd name="connsiteX24" fmla="*/ 2155373 w 9356877"/>
              <a:gd name="connsiteY24" fmla="*/ 4187367 h 4201882"/>
              <a:gd name="connsiteX25" fmla="*/ 1502230 w 9356877"/>
              <a:gd name="connsiteY25" fmla="*/ 4201882 h 4201882"/>
              <a:gd name="connsiteX26" fmla="*/ 1238909 w 9356877"/>
              <a:gd name="connsiteY26" fmla="*/ 3724642 h 4201882"/>
              <a:gd name="connsiteX27" fmla="*/ 1867621 w 9356877"/>
              <a:gd name="connsiteY27" fmla="*/ 3125933 h 4201882"/>
              <a:gd name="connsiteX28" fmla="*/ 2331974 w 9356877"/>
              <a:gd name="connsiteY28" fmla="*/ 3714226 h 4201882"/>
              <a:gd name="connsiteX29" fmla="*/ 6538686 w 9356877"/>
              <a:gd name="connsiteY29" fmla="*/ 4042225 h 4201882"/>
              <a:gd name="connsiteX30" fmla="*/ 6322819 w 9356877"/>
              <a:gd name="connsiteY30" fmla="*/ 3607073 h 4201882"/>
              <a:gd name="connsiteX31" fmla="*/ 6899696 w 9356877"/>
              <a:gd name="connsiteY31" fmla="*/ 3737701 h 4201882"/>
              <a:gd name="connsiteX32" fmla="*/ 6538686 w 9356877"/>
              <a:gd name="connsiteY32" fmla="*/ 4042225 h 4201882"/>
              <a:gd name="connsiteX33" fmla="*/ 7174557 w 9356877"/>
              <a:gd name="connsiteY33" fmla="*/ 3685197 h 4201882"/>
              <a:gd name="connsiteX34" fmla="*/ 6974116 w 9356877"/>
              <a:gd name="connsiteY34" fmla="*/ 4158339 h 4201882"/>
              <a:gd name="connsiteX35" fmla="*/ 6248402 w 9356877"/>
              <a:gd name="connsiteY35" fmla="*/ 4201881 h 4201882"/>
              <a:gd name="connsiteX36" fmla="*/ 5984609 w 9356877"/>
              <a:gd name="connsiteY36" fmla="*/ 3691989 h 4201882"/>
              <a:gd name="connsiteX37" fmla="*/ 6584291 w 9356877"/>
              <a:gd name="connsiteY37" fmla="*/ 3071499 h 4201882"/>
              <a:gd name="connsiteX38" fmla="*/ 7174557 w 9356877"/>
              <a:gd name="connsiteY38" fmla="*/ 3685197 h 4201882"/>
              <a:gd name="connsiteX39" fmla="*/ 261258 w 9356877"/>
              <a:gd name="connsiteY39" fmla="*/ 3294739 h 4201882"/>
              <a:gd name="connsiteX40" fmla="*/ 1894117 w 9356877"/>
              <a:gd name="connsiteY40" fmla="*/ 68941 h 4201882"/>
              <a:gd name="connsiteX41" fmla="*/ 8171544 w 9356877"/>
              <a:gd name="connsiteY41" fmla="*/ 0 h 4201882"/>
              <a:gd name="connsiteX42" fmla="*/ 8817429 w 9356877"/>
              <a:gd name="connsiteY42" fmla="*/ 3432624 h 4201882"/>
              <a:gd name="connsiteX43" fmla="*/ 7467602 w 9356877"/>
              <a:gd name="connsiteY43" fmla="*/ 3461653 h 4201882"/>
              <a:gd name="connsiteX44" fmla="*/ 5740402 w 9356877"/>
              <a:gd name="connsiteY44" fmla="*/ 3577767 h 4201882"/>
              <a:gd name="connsiteX45" fmla="*/ 2721429 w 9356877"/>
              <a:gd name="connsiteY45" fmla="*/ 3635824 h 4201882"/>
              <a:gd name="connsiteX46" fmla="*/ 1008745 w 9356877"/>
              <a:gd name="connsiteY46" fmla="*/ 3606795 h 4201882"/>
              <a:gd name="connsiteX47" fmla="*/ 326570 w 9356877"/>
              <a:gd name="connsiteY47" fmla="*/ 3603169 h 4201882"/>
              <a:gd name="connsiteX48" fmla="*/ 261258 w 9356877"/>
              <a:gd name="connsiteY48" fmla="*/ 3294739 h 4201882"/>
              <a:gd name="connsiteX0" fmla="*/ 1821543 w 9356877"/>
              <a:gd name="connsiteY0" fmla="*/ 290282 h 4201882"/>
              <a:gd name="connsiteX1" fmla="*/ 2764092 w 9356877"/>
              <a:gd name="connsiteY1" fmla="*/ 444767 h 4201882"/>
              <a:gd name="connsiteX2" fmla="*/ 1153006 w 9356877"/>
              <a:gd name="connsiteY2" fmla="*/ 2196824 h 4201882"/>
              <a:gd name="connsiteX3" fmla="*/ 1821543 w 9356877"/>
              <a:gd name="connsiteY3" fmla="*/ 290282 h 4201882"/>
              <a:gd name="connsiteX4" fmla="*/ 6318213 w 9356877"/>
              <a:gd name="connsiteY4" fmla="*/ 276898 h 4201882"/>
              <a:gd name="connsiteX5" fmla="*/ 6335486 w 9356877"/>
              <a:gd name="connsiteY5" fmla="*/ 1386110 h 4201882"/>
              <a:gd name="connsiteX6" fmla="*/ 5103834 w 9356877"/>
              <a:gd name="connsiteY6" fmla="*/ 1384378 h 4201882"/>
              <a:gd name="connsiteX7" fmla="*/ 5171809 w 9356877"/>
              <a:gd name="connsiteY7" fmla="*/ 270402 h 4201882"/>
              <a:gd name="connsiteX8" fmla="*/ 6318213 w 9356877"/>
              <a:gd name="connsiteY8" fmla="*/ 276898 h 4201882"/>
              <a:gd name="connsiteX9" fmla="*/ 7075715 w 9356877"/>
              <a:gd name="connsiteY9" fmla="*/ 239481 h 4201882"/>
              <a:gd name="connsiteX10" fmla="*/ 8220495 w 9356877"/>
              <a:gd name="connsiteY10" fmla="*/ 253718 h 4201882"/>
              <a:gd name="connsiteX11" fmla="*/ 8369333 w 9356877"/>
              <a:gd name="connsiteY11" fmla="*/ 1327775 h 4201882"/>
              <a:gd name="connsiteX12" fmla="*/ 7133772 w 9356877"/>
              <a:gd name="connsiteY12" fmla="*/ 1400624 h 4201882"/>
              <a:gd name="connsiteX13" fmla="*/ 7075715 w 9356877"/>
              <a:gd name="connsiteY13" fmla="*/ 239481 h 4201882"/>
              <a:gd name="connsiteX14" fmla="*/ 1519173 w 9356877"/>
              <a:gd name="connsiteY14" fmla="*/ 3702269 h 4201882"/>
              <a:gd name="connsiteX15" fmla="*/ 2186935 w 9356877"/>
              <a:gd name="connsiteY15" fmla="*/ 3739316 h 4201882"/>
              <a:gd name="connsiteX16" fmla="*/ 1775938 w 9356877"/>
              <a:gd name="connsiteY16" fmla="*/ 4025979 h 4201882"/>
              <a:gd name="connsiteX17" fmla="*/ 1519173 w 9356877"/>
              <a:gd name="connsiteY17" fmla="*/ 3702269 h 4201882"/>
              <a:gd name="connsiteX18" fmla="*/ 3243943 w 9356877"/>
              <a:gd name="connsiteY18" fmla="*/ 319310 h 4201882"/>
              <a:gd name="connsiteX19" fmla="*/ 4434994 w 9356877"/>
              <a:gd name="connsiteY19" fmla="*/ 295452 h 4201882"/>
              <a:gd name="connsiteX20" fmla="*/ 4376937 w 9356877"/>
              <a:gd name="connsiteY20" fmla="*/ 1388196 h 4201882"/>
              <a:gd name="connsiteX21" fmla="*/ 3142344 w 9356877"/>
              <a:gd name="connsiteY21" fmla="*/ 1400624 h 4201882"/>
              <a:gd name="connsiteX22" fmla="*/ 3243943 w 9356877"/>
              <a:gd name="connsiteY22" fmla="*/ 319310 h 4201882"/>
              <a:gd name="connsiteX23" fmla="*/ 2331974 w 9356877"/>
              <a:gd name="connsiteY23" fmla="*/ 3714226 h 4201882"/>
              <a:gd name="connsiteX24" fmla="*/ 2155373 w 9356877"/>
              <a:gd name="connsiteY24" fmla="*/ 4187367 h 4201882"/>
              <a:gd name="connsiteX25" fmla="*/ 1502230 w 9356877"/>
              <a:gd name="connsiteY25" fmla="*/ 4201882 h 4201882"/>
              <a:gd name="connsiteX26" fmla="*/ 1238909 w 9356877"/>
              <a:gd name="connsiteY26" fmla="*/ 3724642 h 4201882"/>
              <a:gd name="connsiteX27" fmla="*/ 1867621 w 9356877"/>
              <a:gd name="connsiteY27" fmla="*/ 3125933 h 4201882"/>
              <a:gd name="connsiteX28" fmla="*/ 2331974 w 9356877"/>
              <a:gd name="connsiteY28" fmla="*/ 3714226 h 4201882"/>
              <a:gd name="connsiteX29" fmla="*/ 6538686 w 9356877"/>
              <a:gd name="connsiteY29" fmla="*/ 4042225 h 4201882"/>
              <a:gd name="connsiteX30" fmla="*/ 6322819 w 9356877"/>
              <a:gd name="connsiteY30" fmla="*/ 3607073 h 4201882"/>
              <a:gd name="connsiteX31" fmla="*/ 6899696 w 9356877"/>
              <a:gd name="connsiteY31" fmla="*/ 3737701 h 4201882"/>
              <a:gd name="connsiteX32" fmla="*/ 6538686 w 9356877"/>
              <a:gd name="connsiteY32" fmla="*/ 4042225 h 4201882"/>
              <a:gd name="connsiteX33" fmla="*/ 7174557 w 9356877"/>
              <a:gd name="connsiteY33" fmla="*/ 3685197 h 4201882"/>
              <a:gd name="connsiteX34" fmla="*/ 6974116 w 9356877"/>
              <a:gd name="connsiteY34" fmla="*/ 4158339 h 4201882"/>
              <a:gd name="connsiteX35" fmla="*/ 6248402 w 9356877"/>
              <a:gd name="connsiteY35" fmla="*/ 4201881 h 4201882"/>
              <a:gd name="connsiteX36" fmla="*/ 5984609 w 9356877"/>
              <a:gd name="connsiteY36" fmla="*/ 3691989 h 4201882"/>
              <a:gd name="connsiteX37" fmla="*/ 6584291 w 9356877"/>
              <a:gd name="connsiteY37" fmla="*/ 3071499 h 4201882"/>
              <a:gd name="connsiteX38" fmla="*/ 7174557 w 9356877"/>
              <a:gd name="connsiteY38" fmla="*/ 3685197 h 4201882"/>
              <a:gd name="connsiteX39" fmla="*/ 261258 w 9356877"/>
              <a:gd name="connsiteY39" fmla="*/ 3294739 h 4201882"/>
              <a:gd name="connsiteX40" fmla="*/ 1894117 w 9356877"/>
              <a:gd name="connsiteY40" fmla="*/ 68941 h 4201882"/>
              <a:gd name="connsiteX41" fmla="*/ 8171544 w 9356877"/>
              <a:gd name="connsiteY41" fmla="*/ 0 h 4201882"/>
              <a:gd name="connsiteX42" fmla="*/ 8817429 w 9356877"/>
              <a:gd name="connsiteY42" fmla="*/ 3432624 h 4201882"/>
              <a:gd name="connsiteX43" fmla="*/ 7467602 w 9356877"/>
              <a:gd name="connsiteY43" fmla="*/ 3461653 h 4201882"/>
              <a:gd name="connsiteX44" fmla="*/ 5740402 w 9356877"/>
              <a:gd name="connsiteY44" fmla="*/ 3577767 h 4201882"/>
              <a:gd name="connsiteX45" fmla="*/ 2677886 w 9356877"/>
              <a:gd name="connsiteY45" fmla="*/ 3606795 h 4201882"/>
              <a:gd name="connsiteX46" fmla="*/ 1008745 w 9356877"/>
              <a:gd name="connsiteY46" fmla="*/ 3606795 h 4201882"/>
              <a:gd name="connsiteX47" fmla="*/ 326570 w 9356877"/>
              <a:gd name="connsiteY47" fmla="*/ 3603169 h 4201882"/>
              <a:gd name="connsiteX48" fmla="*/ 261258 w 9356877"/>
              <a:gd name="connsiteY48" fmla="*/ 3294739 h 4201882"/>
              <a:gd name="connsiteX0" fmla="*/ 1821543 w 9356877"/>
              <a:gd name="connsiteY0" fmla="*/ 290282 h 4201882"/>
              <a:gd name="connsiteX1" fmla="*/ 2764092 w 9356877"/>
              <a:gd name="connsiteY1" fmla="*/ 444767 h 4201882"/>
              <a:gd name="connsiteX2" fmla="*/ 1153006 w 9356877"/>
              <a:gd name="connsiteY2" fmla="*/ 2196824 h 4201882"/>
              <a:gd name="connsiteX3" fmla="*/ 1821543 w 9356877"/>
              <a:gd name="connsiteY3" fmla="*/ 290282 h 4201882"/>
              <a:gd name="connsiteX4" fmla="*/ 6318213 w 9356877"/>
              <a:gd name="connsiteY4" fmla="*/ 276898 h 4201882"/>
              <a:gd name="connsiteX5" fmla="*/ 6335486 w 9356877"/>
              <a:gd name="connsiteY5" fmla="*/ 1386110 h 4201882"/>
              <a:gd name="connsiteX6" fmla="*/ 5103834 w 9356877"/>
              <a:gd name="connsiteY6" fmla="*/ 1384378 h 4201882"/>
              <a:gd name="connsiteX7" fmla="*/ 5171809 w 9356877"/>
              <a:gd name="connsiteY7" fmla="*/ 270402 h 4201882"/>
              <a:gd name="connsiteX8" fmla="*/ 6318213 w 9356877"/>
              <a:gd name="connsiteY8" fmla="*/ 276898 h 4201882"/>
              <a:gd name="connsiteX9" fmla="*/ 7075715 w 9356877"/>
              <a:gd name="connsiteY9" fmla="*/ 239481 h 4201882"/>
              <a:gd name="connsiteX10" fmla="*/ 8220495 w 9356877"/>
              <a:gd name="connsiteY10" fmla="*/ 253718 h 4201882"/>
              <a:gd name="connsiteX11" fmla="*/ 8369333 w 9356877"/>
              <a:gd name="connsiteY11" fmla="*/ 1327775 h 4201882"/>
              <a:gd name="connsiteX12" fmla="*/ 7133772 w 9356877"/>
              <a:gd name="connsiteY12" fmla="*/ 1400624 h 4201882"/>
              <a:gd name="connsiteX13" fmla="*/ 7075715 w 9356877"/>
              <a:gd name="connsiteY13" fmla="*/ 239481 h 4201882"/>
              <a:gd name="connsiteX14" fmla="*/ 1519173 w 9356877"/>
              <a:gd name="connsiteY14" fmla="*/ 3702269 h 4201882"/>
              <a:gd name="connsiteX15" fmla="*/ 2186935 w 9356877"/>
              <a:gd name="connsiteY15" fmla="*/ 3739316 h 4201882"/>
              <a:gd name="connsiteX16" fmla="*/ 1775938 w 9356877"/>
              <a:gd name="connsiteY16" fmla="*/ 4025979 h 4201882"/>
              <a:gd name="connsiteX17" fmla="*/ 1519173 w 9356877"/>
              <a:gd name="connsiteY17" fmla="*/ 3702269 h 4201882"/>
              <a:gd name="connsiteX18" fmla="*/ 3243943 w 9356877"/>
              <a:gd name="connsiteY18" fmla="*/ 319310 h 4201882"/>
              <a:gd name="connsiteX19" fmla="*/ 4434994 w 9356877"/>
              <a:gd name="connsiteY19" fmla="*/ 295452 h 4201882"/>
              <a:gd name="connsiteX20" fmla="*/ 4376937 w 9356877"/>
              <a:gd name="connsiteY20" fmla="*/ 1388196 h 4201882"/>
              <a:gd name="connsiteX21" fmla="*/ 3142344 w 9356877"/>
              <a:gd name="connsiteY21" fmla="*/ 1400624 h 4201882"/>
              <a:gd name="connsiteX22" fmla="*/ 3243943 w 9356877"/>
              <a:gd name="connsiteY22" fmla="*/ 319310 h 4201882"/>
              <a:gd name="connsiteX23" fmla="*/ 2331974 w 9356877"/>
              <a:gd name="connsiteY23" fmla="*/ 3714226 h 4201882"/>
              <a:gd name="connsiteX24" fmla="*/ 2155373 w 9356877"/>
              <a:gd name="connsiteY24" fmla="*/ 4187367 h 4201882"/>
              <a:gd name="connsiteX25" fmla="*/ 1502230 w 9356877"/>
              <a:gd name="connsiteY25" fmla="*/ 4201882 h 4201882"/>
              <a:gd name="connsiteX26" fmla="*/ 1238909 w 9356877"/>
              <a:gd name="connsiteY26" fmla="*/ 3724642 h 4201882"/>
              <a:gd name="connsiteX27" fmla="*/ 1867621 w 9356877"/>
              <a:gd name="connsiteY27" fmla="*/ 3125933 h 4201882"/>
              <a:gd name="connsiteX28" fmla="*/ 2331974 w 9356877"/>
              <a:gd name="connsiteY28" fmla="*/ 3714226 h 4201882"/>
              <a:gd name="connsiteX29" fmla="*/ 6538686 w 9356877"/>
              <a:gd name="connsiteY29" fmla="*/ 4042225 h 4201882"/>
              <a:gd name="connsiteX30" fmla="*/ 6322819 w 9356877"/>
              <a:gd name="connsiteY30" fmla="*/ 3607073 h 4201882"/>
              <a:gd name="connsiteX31" fmla="*/ 6899696 w 9356877"/>
              <a:gd name="connsiteY31" fmla="*/ 3737701 h 4201882"/>
              <a:gd name="connsiteX32" fmla="*/ 6538686 w 9356877"/>
              <a:gd name="connsiteY32" fmla="*/ 4042225 h 4201882"/>
              <a:gd name="connsiteX33" fmla="*/ 7174557 w 9356877"/>
              <a:gd name="connsiteY33" fmla="*/ 3685197 h 4201882"/>
              <a:gd name="connsiteX34" fmla="*/ 6974116 w 9356877"/>
              <a:gd name="connsiteY34" fmla="*/ 4158339 h 4201882"/>
              <a:gd name="connsiteX35" fmla="*/ 6248402 w 9356877"/>
              <a:gd name="connsiteY35" fmla="*/ 4201881 h 4201882"/>
              <a:gd name="connsiteX36" fmla="*/ 5984609 w 9356877"/>
              <a:gd name="connsiteY36" fmla="*/ 3691989 h 4201882"/>
              <a:gd name="connsiteX37" fmla="*/ 6584291 w 9356877"/>
              <a:gd name="connsiteY37" fmla="*/ 3071499 h 4201882"/>
              <a:gd name="connsiteX38" fmla="*/ 7174557 w 9356877"/>
              <a:gd name="connsiteY38" fmla="*/ 3685197 h 4201882"/>
              <a:gd name="connsiteX39" fmla="*/ 261258 w 9356877"/>
              <a:gd name="connsiteY39" fmla="*/ 3294739 h 4201882"/>
              <a:gd name="connsiteX40" fmla="*/ 1894117 w 9356877"/>
              <a:gd name="connsiteY40" fmla="*/ 68941 h 4201882"/>
              <a:gd name="connsiteX41" fmla="*/ 8171544 w 9356877"/>
              <a:gd name="connsiteY41" fmla="*/ 0 h 4201882"/>
              <a:gd name="connsiteX42" fmla="*/ 8817429 w 9356877"/>
              <a:gd name="connsiteY42" fmla="*/ 3432624 h 4201882"/>
              <a:gd name="connsiteX43" fmla="*/ 7467602 w 9356877"/>
              <a:gd name="connsiteY43" fmla="*/ 3461653 h 4201882"/>
              <a:gd name="connsiteX44" fmla="*/ 5740402 w 9356877"/>
              <a:gd name="connsiteY44" fmla="*/ 3577767 h 4201882"/>
              <a:gd name="connsiteX45" fmla="*/ 2677886 w 9356877"/>
              <a:gd name="connsiteY45" fmla="*/ 3606795 h 4201882"/>
              <a:gd name="connsiteX46" fmla="*/ 1008745 w 9356877"/>
              <a:gd name="connsiteY46" fmla="*/ 3606795 h 4201882"/>
              <a:gd name="connsiteX47" fmla="*/ 326570 w 9356877"/>
              <a:gd name="connsiteY47" fmla="*/ 3603169 h 4201882"/>
              <a:gd name="connsiteX48" fmla="*/ 261258 w 9356877"/>
              <a:gd name="connsiteY48" fmla="*/ 3294739 h 4201882"/>
              <a:gd name="connsiteX0" fmla="*/ 1821543 w 9356877"/>
              <a:gd name="connsiteY0" fmla="*/ 290282 h 4201882"/>
              <a:gd name="connsiteX1" fmla="*/ 2764092 w 9356877"/>
              <a:gd name="connsiteY1" fmla="*/ 444767 h 4201882"/>
              <a:gd name="connsiteX2" fmla="*/ 1153006 w 9356877"/>
              <a:gd name="connsiteY2" fmla="*/ 2196824 h 4201882"/>
              <a:gd name="connsiteX3" fmla="*/ 1821543 w 9356877"/>
              <a:gd name="connsiteY3" fmla="*/ 290282 h 4201882"/>
              <a:gd name="connsiteX4" fmla="*/ 6318213 w 9356877"/>
              <a:gd name="connsiteY4" fmla="*/ 276898 h 4201882"/>
              <a:gd name="connsiteX5" fmla="*/ 6335486 w 9356877"/>
              <a:gd name="connsiteY5" fmla="*/ 1386110 h 4201882"/>
              <a:gd name="connsiteX6" fmla="*/ 5103834 w 9356877"/>
              <a:gd name="connsiteY6" fmla="*/ 1384378 h 4201882"/>
              <a:gd name="connsiteX7" fmla="*/ 5171809 w 9356877"/>
              <a:gd name="connsiteY7" fmla="*/ 270402 h 4201882"/>
              <a:gd name="connsiteX8" fmla="*/ 6318213 w 9356877"/>
              <a:gd name="connsiteY8" fmla="*/ 276898 h 4201882"/>
              <a:gd name="connsiteX9" fmla="*/ 7075715 w 9356877"/>
              <a:gd name="connsiteY9" fmla="*/ 239481 h 4201882"/>
              <a:gd name="connsiteX10" fmla="*/ 8220495 w 9356877"/>
              <a:gd name="connsiteY10" fmla="*/ 253718 h 4201882"/>
              <a:gd name="connsiteX11" fmla="*/ 8369333 w 9356877"/>
              <a:gd name="connsiteY11" fmla="*/ 1327775 h 4201882"/>
              <a:gd name="connsiteX12" fmla="*/ 7133772 w 9356877"/>
              <a:gd name="connsiteY12" fmla="*/ 1400624 h 4201882"/>
              <a:gd name="connsiteX13" fmla="*/ 7075715 w 9356877"/>
              <a:gd name="connsiteY13" fmla="*/ 239481 h 4201882"/>
              <a:gd name="connsiteX14" fmla="*/ 1519173 w 9356877"/>
              <a:gd name="connsiteY14" fmla="*/ 3702269 h 4201882"/>
              <a:gd name="connsiteX15" fmla="*/ 2186935 w 9356877"/>
              <a:gd name="connsiteY15" fmla="*/ 3739316 h 4201882"/>
              <a:gd name="connsiteX16" fmla="*/ 1775938 w 9356877"/>
              <a:gd name="connsiteY16" fmla="*/ 4025979 h 4201882"/>
              <a:gd name="connsiteX17" fmla="*/ 1519173 w 9356877"/>
              <a:gd name="connsiteY17" fmla="*/ 3702269 h 4201882"/>
              <a:gd name="connsiteX18" fmla="*/ 3243943 w 9356877"/>
              <a:gd name="connsiteY18" fmla="*/ 319310 h 4201882"/>
              <a:gd name="connsiteX19" fmla="*/ 4434994 w 9356877"/>
              <a:gd name="connsiteY19" fmla="*/ 295452 h 4201882"/>
              <a:gd name="connsiteX20" fmla="*/ 4376937 w 9356877"/>
              <a:gd name="connsiteY20" fmla="*/ 1388196 h 4201882"/>
              <a:gd name="connsiteX21" fmla="*/ 3142344 w 9356877"/>
              <a:gd name="connsiteY21" fmla="*/ 1400624 h 4201882"/>
              <a:gd name="connsiteX22" fmla="*/ 3243943 w 9356877"/>
              <a:gd name="connsiteY22" fmla="*/ 319310 h 4201882"/>
              <a:gd name="connsiteX23" fmla="*/ 2331974 w 9356877"/>
              <a:gd name="connsiteY23" fmla="*/ 3714226 h 4201882"/>
              <a:gd name="connsiteX24" fmla="*/ 2155373 w 9356877"/>
              <a:gd name="connsiteY24" fmla="*/ 4187367 h 4201882"/>
              <a:gd name="connsiteX25" fmla="*/ 1502230 w 9356877"/>
              <a:gd name="connsiteY25" fmla="*/ 4201882 h 4201882"/>
              <a:gd name="connsiteX26" fmla="*/ 1238909 w 9356877"/>
              <a:gd name="connsiteY26" fmla="*/ 3724642 h 4201882"/>
              <a:gd name="connsiteX27" fmla="*/ 1867621 w 9356877"/>
              <a:gd name="connsiteY27" fmla="*/ 3125933 h 4201882"/>
              <a:gd name="connsiteX28" fmla="*/ 2331974 w 9356877"/>
              <a:gd name="connsiteY28" fmla="*/ 3714226 h 4201882"/>
              <a:gd name="connsiteX29" fmla="*/ 6538686 w 9356877"/>
              <a:gd name="connsiteY29" fmla="*/ 4042225 h 4201882"/>
              <a:gd name="connsiteX30" fmla="*/ 6322819 w 9356877"/>
              <a:gd name="connsiteY30" fmla="*/ 3607073 h 4201882"/>
              <a:gd name="connsiteX31" fmla="*/ 6899696 w 9356877"/>
              <a:gd name="connsiteY31" fmla="*/ 3737701 h 4201882"/>
              <a:gd name="connsiteX32" fmla="*/ 6538686 w 9356877"/>
              <a:gd name="connsiteY32" fmla="*/ 4042225 h 4201882"/>
              <a:gd name="connsiteX33" fmla="*/ 7174557 w 9356877"/>
              <a:gd name="connsiteY33" fmla="*/ 3685197 h 4201882"/>
              <a:gd name="connsiteX34" fmla="*/ 6974116 w 9356877"/>
              <a:gd name="connsiteY34" fmla="*/ 4158339 h 4201882"/>
              <a:gd name="connsiteX35" fmla="*/ 6248402 w 9356877"/>
              <a:gd name="connsiteY35" fmla="*/ 4201881 h 4201882"/>
              <a:gd name="connsiteX36" fmla="*/ 5984609 w 9356877"/>
              <a:gd name="connsiteY36" fmla="*/ 3691989 h 4201882"/>
              <a:gd name="connsiteX37" fmla="*/ 6584291 w 9356877"/>
              <a:gd name="connsiteY37" fmla="*/ 3071499 h 4201882"/>
              <a:gd name="connsiteX38" fmla="*/ 7174557 w 9356877"/>
              <a:gd name="connsiteY38" fmla="*/ 3685197 h 4201882"/>
              <a:gd name="connsiteX39" fmla="*/ 261258 w 9356877"/>
              <a:gd name="connsiteY39" fmla="*/ 3294739 h 4201882"/>
              <a:gd name="connsiteX40" fmla="*/ 1894117 w 9356877"/>
              <a:gd name="connsiteY40" fmla="*/ 68941 h 4201882"/>
              <a:gd name="connsiteX41" fmla="*/ 8171544 w 9356877"/>
              <a:gd name="connsiteY41" fmla="*/ 0 h 4201882"/>
              <a:gd name="connsiteX42" fmla="*/ 8817429 w 9356877"/>
              <a:gd name="connsiteY42" fmla="*/ 3432624 h 4201882"/>
              <a:gd name="connsiteX43" fmla="*/ 7467602 w 9356877"/>
              <a:gd name="connsiteY43" fmla="*/ 3461653 h 4201882"/>
              <a:gd name="connsiteX44" fmla="*/ 5740402 w 9356877"/>
              <a:gd name="connsiteY44" fmla="*/ 3577767 h 4201882"/>
              <a:gd name="connsiteX45" fmla="*/ 2677886 w 9356877"/>
              <a:gd name="connsiteY45" fmla="*/ 3606795 h 4201882"/>
              <a:gd name="connsiteX46" fmla="*/ 1008745 w 9356877"/>
              <a:gd name="connsiteY46" fmla="*/ 3606795 h 4201882"/>
              <a:gd name="connsiteX47" fmla="*/ 326570 w 9356877"/>
              <a:gd name="connsiteY47" fmla="*/ 3603169 h 4201882"/>
              <a:gd name="connsiteX48" fmla="*/ 261258 w 9356877"/>
              <a:gd name="connsiteY48" fmla="*/ 3294739 h 4201882"/>
              <a:gd name="connsiteX0" fmla="*/ 1821543 w 9356877"/>
              <a:gd name="connsiteY0" fmla="*/ 290282 h 4201882"/>
              <a:gd name="connsiteX1" fmla="*/ 2764092 w 9356877"/>
              <a:gd name="connsiteY1" fmla="*/ 444767 h 4201882"/>
              <a:gd name="connsiteX2" fmla="*/ 1153006 w 9356877"/>
              <a:gd name="connsiteY2" fmla="*/ 2196824 h 4201882"/>
              <a:gd name="connsiteX3" fmla="*/ 1821543 w 9356877"/>
              <a:gd name="connsiteY3" fmla="*/ 290282 h 4201882"/>
              <a:gd name="connsiteX4" fmla="*/ 6318213 w 9356877"/>
              <a:gd name="connsiteY4" fmla="*/ 276898 h 4201882"/>
              <a:gd name="connsiteX5" fmla="*/ 6335486 w 9356877"/>
              <a:gd name="connsiteY5" fmla="*/ 1386110 h 4201882"/>
              <a:gd name="connsiteX6" fmla="*/ 5103834 w 9356877"/>
              <a:gd name="connsiteY6" fmla="*/ 1384378 h 4201882"/>
              <a:gd name="connsiteX7" fmla="*/ 5171809 w 9356877"/>
              <a:gd name="connsiteY7" fmla="*/ 270402 h 4201882"/>
              <a:gd name="connsiteX8" fmla="*/ 6318213 w 9356877"/>
              <a:gd name="connsiteY8" fmla="*/ 276898 h 4201882"/>
              <a:gd name="connsiteX9" fmla="*/ 7075715 w 9356877"/>
              <a:gd name="connsiteY9" fmla="*/ 239481 h 4201882"/>
              <a:gd name="connsiteX10" fmla="*/ 8220495 w 9356877"/>
              <a:gd name="connsiteY10" fmla="*/ 253718 h 4201882"/>
              <a:gd name="connsiteX11" fmla="*/ 8369333 w 9356877"/>
              <a:gd name="connsiteY11" fmla="*/ 1327775 h 4201882"/>
              <a:gd name="connsiteX12" fmla="*/ 7133772 w 9356877"/>
              <a:gd name="connsiteY12" fmla="*/ 1400624 h 4201882"/>
              <a:gd name="connsiteX13" fmla="*/ 7075715 w 9356877"/>
              <a:gd name="connsiteY13" fmla="*/ 239481 h 4201882"/>
              <a:gd name="connsiteX14" fmla="*/ 1519173 w 9356877"/>
              <a:gd name="connsiteY14" fmla="*/ 3702269 h 4201882"/>
              <a:gd name="connsiteX15" fmla="*/ 2186935 w 9356877"/>
              <a:gd name="connsiteY15" fmla="*/ 3739316 h 4201882"/>
              <a:gd name="connsiteX16" fmla="*/ 1775938 w 9356877"/>
              <a:gd name="connsiteY16" fmla="*/ 4025979 h 4201882"/>
              <a:gd name="connsiteX17" fmla="*/ 1519173 w 9356877"/>
              <a:gd name="connsiteY17" fmla="*/ 3702269 h 4201882"/>
              <a:gd name="connsiteX18" fmla="*/ 3243943 w 9356877"/>
              <a:gd name="connsiteY18" fmla="*/ 319310 h 4201882"/>
              <a:gd name="connsiteX19" fmla="*/ 4434994 w 9356877"/>
              <a:gd name="connsiteY19" fmla="*/ 295452 h 4201882"/>
              <a:gd name="connsiteX20" fmla="*/ 4376937 w 9356877"/>
              <a:gd name="connsiteY20" fmla="*/ 1388196 h 4201882"/>
              <a:gd name="connsiteX21" fmla="*/ 3142344 w 9356877"/>
              <a:gd name="connsiteY21" fmla="*/ 1400624 h 4201882"/>
              <a:gd name="connsiteX22" fmla="*/ 3243943 w 9356877"/>
              <a:gd name="connsiteY22" fmla="*/ 319310 h 4201882"/>
              <a:gd name="connsiteX23" fmla="*/ 2331974 w 9356877"/>
              <a:gd name="connsiteY23" fmla="*/ 3714226 h 4201882"/>
              <a:gd name="connsiteX24" fmla="*/ 2155373 w 9356877"/>
              <a:gd name="connsiteY24" fmla="*/ 4187367 h 4201882"/>
              <a:gd name="connsiteX25" fmla="*/ 1502230 w 9356877"/>
              <a:gd name="connsiteY25" fmla="*/ 4201882 h 4201882"/>
              <a:gd name="connsiteX26" fmla="*/ 1238909 w 9356877"/>
              <a:gd name="connsiteY26" fmla="*/ 3724642 h 4201882"/>
              <a:gd name="connsiteX27" fmla="*/ 1867621 w 9356877"/>
              <a:gd name="connsiteY27" fmla="*/ 3125933 h 4201882"/>
              <a:gd name="connsiteX28" fmla="*/ 2331974 w 9356877"/>
              <a:gd name="connsiteY28" fmla="*/ 3714226 h 4201882"/>
              <a:gd name="connsiteX29" fmla="*/ 6538686 w 9356877"/>
              <a:gd name="connsiteY29" fmla="*/ 4042225 h 4201882"/>
              <a:gd name="connsiteX30" fmla="*/ 6322819 w 9356877"/>
              <a:gd name="connsiteY30" fmla="*/ 3607073 h 4201882"/>
              <a:gd name="connsiteX31" fmla="*/ 6899696 w 9356877"/>
              <a:gd name="connsiteY31" fmla="*/ 3737701 h 4201882"/>
              <a:gd name="connsiteX32" fmla="*/ 6538686 w 9356877"/>
              <a:gd name="connsiteY32" fmla="*/ 4042225 h 4201882"/>
              <a:gd name="connsiteX33" fmla="*/ 7174557 w 9356877"/>
              <a:gd name="connsiteY33" fmla="*/ 3685197 h 4201882"/>
              <a:gd name="connsiteX34" fmla="*/ 6974116 w 9356877"/>
              <a:gd name="connsiteY34" fmla="*/ 4158339 h 4201882"/>
              <a:gd name="connsiteX35" fmla="*/ 6248402 w 9356877"/>
              <a:gd name="connsiteY35" fmla="*/ 4201881 h 4201882"/>
              <a:gd name="connsiteX36" fmla="*/ 5984609 w 9356877"/>
              <a:gd name="connsiteY36" fmla="*/ 3691989 h 4201882"/>
              <a:gd name="connsiteX37" fmla="*/ 6584291 w 9356877"/>
              <a:gd name="connsiteY37" fmla="*/ 3071499 h 4201882"/>
              <a:gd name="connsiteX38" fmla="*/ 7174557 w 9356877"/>
              <a:gd name="connsiteY38" fmla="*/ 3685197 h 4201882"/>
              <a:gd name="connsiteX39" fmla="*/ 261258 w 9356877"/>
              <a:gd name="connsiteY39" fmla="*/ 3294739 h 4201882"/>
              <a:gd name="connsiteX40" fmla="*/ 1894117 w 9356877"/>
              <a:gd name="connsiteY40" fmla="*/ 68941 h 4201882"/>
              <a:gd name="connsiteX41" fmla="*/ 8171544 w 9356877"/>
              <a:gd name="connsiteY41" fmla="*/ 0 h 4201882"/>
              <a:gd name="connsiteX42" fmla="*/ 8817429 w 9356877"/>
              <a:gd name="connsiteY42" fmla="*/ 3432624 h 4201882"/>
              <a:gd name="connsiteX43" fmla="*/ 7467602 w 9356877"/>
              <a:gd name="connsiteY43" fmla="*/ 3461653 h 4201882"/>
              <a:gd name="connsiteX44" fmla="*/ 5740402 w 9356877"/>
              <a:gd name="connsiteY44" fmla="*/ 3577767 h 4201882"/>
              <a:gd name="connsiteX45" fmla="*/ 2677886 w 9356877"/>
              <a:gd name="connsiteY45" fmla="*/ 3606795 h 4201882"/>
              <a:gd name="connsiteX46" fmla="*/ 1008745 w 9356877"/>
              <a:gd name="connsiteY46" fmla="*/ 3606795 h 4201882"/>
              <a:gd name="connsiteX47" fmla="*/ 326570 w 9356877"/>
              <a:gd name="connsiteY47" fmla="*/ 3603169 h 4201882"/>
              <a:gd name="connsiteX48" fmla="*/ 261258 w 9356877"/>
              <a:gd name="connsiteY48" fmla="*/ 3294739 h 4201882"/>
              <a:gd name="connsiteX0" fmla="*/ 1821543 w 9356877"/>
              <a:gd name="connsiteY0" fmla="*/ 290282 h 4201882"/>
              <a:gd name="connsiteX1" fmla="*/ 2764092 w 9356877"/>
              <a:gd name="connsiteY1" fmla="*/ 444767 h 4201882"/>
              <a:gd name="connsiteX2" fmla="*/ 1153006 w 9356877"/>
              <a:gd name="connsiteY2" fmla="*/ 2196824 h 4201882"/>
              <a:gd name="connsiteX3" fmla="*/ 1821543 w 9356877"/>
              <a:gd name="connsiteY3" fmla="*/ 290282 h 4201882"/>
              <a:gd name="connsiteX4" fmla="*/ 6318213 w 9356877"/>
              <a:gd name="connsiteY4" fmla="*/ 276898 h 4201882"/>
              <a:gd name="connsiteX5" fmla="*/ 6335486 w 9356877"/>
              <a:gd name="connsiteY5" fmla="*/ 1386110 h 4201882"/>
              <a:gd name="connsiteX6" fmla="*/ 5103834 w 9356877"/>
              <a:gd name="connsiteY6" fmla="*/ 1384378 h 4201882"/>
              <a:gd name="connsiteX7" fmla="*/ 5171809 w 9356877"/>
              <a:gd name="connsiteY7" fmla="*/ 270402 h 4201882"/>
              <a:gd name="connsiteX8" fmla="*/ 6318213 w 9356877"/>
              <a:gd name="connsiteY8" fmla="*/ 276898 h 4201882"/>
              <a:gd name="connsiteX9" fmla="*/ 7075715 w 9356877"/>
              <a:gd name="connsiteY9" fmla="*/ 239481 h 4201882"/>
              <a:gd name="connsiteX10" fmla="*/ 8220495 w 9356877"/>
              <a:gd name="connsiteY10" fmla="*/ 253718 h 4201882"/>
              <a:gd name="connsiteX11" fmla="*/ 8369333 w 9356877"/>
              <a:gd name="connsiteY11" fmla="*/ 1327775 h 4201882"/>
              <a:gd name="connsiteX12" fmla="*/ 7133772 w 9356877"/>
              <a:gd name="connsiteY12" fmla="*/ 1400624 h 4201882"/>
              <a:gd name="connsiteX13" fmla="*/ 7075715 w 9356877"/>
              <a:gd name="connsiteY13" fmla="*/ 239481 h 4201882"/>
              <a:gd name="connsiteX14" fmla="*/ 1519173 w 9356877"/>
              <a:gd name="connsiteY14" fmla="*/ 3702269 h 4201882"/>
              <a:gd name="connsiteX15" fmla="*/ 2186935 w 9356877"/>
              <a:gd name="connsiteY15" fmla="*/ 3739316 h 4201882"/>
              <a:gd name="connsiteX16" fmla="*/ 1775938 w 9356877"/>
              <a:gd name="connsiteY16" fmla="*/ 4025979 h 4201882"/>
              <a:gd name="connsiteX17" fmla="*/ 1519173 w 9356877"/>
              <a:gd name="connsiteY17" fmla="*/ 3702269 h 4201882"/>
              <a:gd name="connsiteX18" fmla="*/ 3243943 w 9356877"/>
              <a:gd name="connsiteY18" fmla="*/ 319310 h 4201882"/>
              <a:gd name="connsiteX19" fmla="*/ 4434994 w 9356877"/>
              <a:gd name="connsiteY19" fmla="*/ 295452 h 4201882"/>
              <a:gd name="connsiteX20" fmla="*/ 4376937 w 9356877"/>
              <a:gd name="connsiteY20" fmla="*/ 1388196 h 4201882"/>
              <a:gd name="connsiteX21" fmla="*/ 3142344 w 9356877"/>
              <a:gd name="connsiteY21" fmla="*/ 1400624 h 4201882"/>
              <a:gd name="connsiteX22" fmla="*/ 3243943 w 9356877"/>
              <a:gd name="connsiteY22" fmla="*/ 319310 h 4201882"/>
              <a:gd name="connsiteX23" fmla="*/ 2331974 w 9356877"/>
              <a:gd name="connsiteY23" fmla="*/ 3714226 h 4201882"/>
              <a:gd name="connsiteX24" fmla="*/ 2155373 w 9356877"/>
              <a:gd name="connsiteY24" fmla="*/ 4187367 h 4201882"/>
              <a:gd name="connsiteX25" fmla="*/ 1502230 w 9356877"/>
              <a:gd name="connsiteY25" fmla="*/ 4201882 h 4201882"/>
              <a:gd name="connsiteX26" fmla="*/ 1238909 w 9356877"/>
              <a:gd name="connsiteY26" fmla="*/ 3724642 h 4201882"/>
              <a:gd name="connsiteX27" fmla="*/ 1867621 w 9356877"/>
              <a:gd name="connsiteY27" fmla="*/ 3125933 h 4201882"/>
              <a:gd name="connsiteX28" fmla="*/ 2331974 w 9356877"/>
              <a:gd name="connsiteY28" fmla="*/ 3714226 h 4201882"/>
              <a:gd name="connsiteX29" fmla="*/ 6538686 w 9356877"/>
              <a:gd name="connsiteY29" fmla="*/ 4042225 h 4201882"/>
              <a:gd name="connsiteX30" fmla="*/ 6322819 w 9356877"/>
              <a:gd name="connsiteY30" fmla="*/ 3607073 h 4201882"/>
              <a:gd name="connsiteX31" fmla="*/ 6899696 w 9356877"/>
              <a:gd name="connsiteY31" fmla="*/ 3737701 h 4201882"/>
              <a:gd name="connsiteX32" fmla="*/ 6538686 w 9356877"/>
              <a:gd name="connsiteY32" fmla="*/ 4042225 h 4201882"/>
              <a:gd name="connsiteX33" fmla="*/ 7174557 w 9356877"/>
              <a:gd name="connsiteY33" fmla="*/ 3685197 h 4201882"/>
              <a:gd name="connsiteX34" fmla="*/ 6974116 w 9356877"/>
              <a:gd name="connsiteY34" fmla="*/ 4158339 h 4201882"/>
              <a:gd name="connsiteX35" fmla="*/ 6248402 w 9356877"/>
              <a:gd name="connsiteY35" fmla="*/ 4201881 h 4201882"/>
              <a:gd name="connsiteX36" fmla="*/ 5984609 w 9356877"/>
              <a:gd name="connsiteY36" fmla="*/ 3691989 h 4201882"/>
              <a:gd name="connsiteX37" fmla="*/ 6584291 w 9356877"/>
              <a:gd name="connsiteY37" fmla="*/ 3071499 h 4201882"/>
              <a:gd name="connsiteX38" fmla="*/ 7174557 w 9356877"/>
              <a:gd name="connsiteY38" fmla="*/ 3685197 h 4201882"/>
              <a:gd name="connsiteX39" fmla="*/ 261258 w 9356877"/>
              <a:gd name="connsiteY39" fmla="*/ 3294739 h 4201882"/>
              <a:gd name="connsiteX40" fmla="*/ 1894117 w 9356877"/>
              <a:gd name="connsiteY40" fmla="*/ 68941 h 4201882"/>
              <a:gd name="connsiteX41" fmla="*/ 8171544 w 9356877"/>
              <a:gd name="connsiteY41" fmla="*/ 0 h 4201882"/>
              <a:gd name="connsiteX42" fmla="*/ 8817429 w 9356877"/>
              <a:gd name="connsiteY42" fmla="*/ 3432624 h 4201882"/>
              <a:gd name="connsiteX43" fmla="*/ 7380517 w 9356877"/>
              <a:gd name="connsiteY43" fmla="*/ 3418110 h 4201882"/>
              <a:gd name="connsiteX44" fmla="*/ 5740402 w 9356877"/>
              <a:gd name="connsiteY44" fmla="*/ 3577767 h 4201882"/>
              <a:gd name="connsiteX45" fmla="*/ 2677886 w 9356877"/>
              <a:gd name="connsiteY45" fmla="*/ 3606795 h 4201882"/>
              <a:gd name="connsiteX46" fmla="*/ 1008745 w 9356877"/>
              <a:gd name="connsiteY46" fmla="*/ 3606795 h 4201882"/>
              <a:gd name="connsiteX47" fmla="*/ 326570 w 9356877"/>
              <a:gd name="connsiteY47" fmla="*/ 3603169 h 4201882"/>
              <a:gd name="connsiteX48" fmla="*/ 261258 w 9356877"/>
              <a:gd name="connsiteY48" fmla="*/ 3294739 h 4201882"/>
              <a:gd name="connsiteX0" fmla="*/ 1821543 w 9356877"/>
              <a:gd name="connsiteY0" fmla="*/ 290282 h 4201882"/>
              <a:gd name="connsiteX1" fmla="*/ 2764092 w 9356877"/>
              <a:gd name="connsiteY1" fmla="*/ 444767 h 4201882"/>
              <a:gd name="connsiteX2" fmla="*/ 1153006 w 9356877"/>
              <a:gd name="connsiteY2" fmla="*/ 2196824 h 4201882"/>
              <a:gd name="connsiteX3" fmla="*/ 1821543 w 9356877"/>
              <a:gd name="connsiteY3" fmla="*/ 290282 h 4201882"/>
              <a:gd name="connsiteX4" fmla="*/ 6318213 w 9356877"/>
              <a:gd name="connsiteY4" fmla="*/ 276898 h 4201882"/>
              <a:gd name="connsiteX5" fmla="*/ 6335486 w 9356877"/>
              <a:gd name="connsiteY5" fmla="*/ 1386110 h 4201882"/>
              <a:gd name="connsiteX6" fmla="*/ 5103834 w 9356877"/>
              <a:gd name="connsiteY6" fmla="*/ 1384378 h 4201882"/>
              <a:gd name="connsiteX7" fmla="*/ 5171809 w 9356877"/>
              <a:gd name="connsiteY7" fmla="*/ 270402 h 4201882"/>
              <a:gd name="connsiteX8" fmla="*/ 6318213 w 9356877"/>
              <a:gd name="connsiteY8" fmla="*/ 276898 h 4201882"/>
              <a:gd name="connsiteX9" fmla="*/ 7075715 w 9356877"/>
              <a:gd name="connsiteY9" fmla="*/ 239481 h 4201882"/>
              <a:gd name="connsiteX10" fmla="*/ 8220495 w 9356877"/>
              <a:gd name="connsiteY10" fmla="*/ 253718 h 4201882"/>
              <a:gd name="connsiteX11" fmla="*/ 8369333 w 9356877"/>
              <a:gd name="connsiteY11" fmla="*/ 1327775 h 4201882"/>
              <a:gd name="connsiteX12" fmla="*/ 7133772 w 9356877"/>
              <a:gd name="connsiteY12" fmla="*/ 1400624 h 4201882"/>
              <a:gd name="connsiteX13" fmla="*/ 7075715 w 9356877"/>
              <a:gd name="connsiteY13" fmla="*/ 239481 h 4201882"/>
              <a:gd name="connsiteX14" fmla="*/ 1519173 w 9356877"/>
              <a:gd name="connsiteY14" fmla="*/ 3702269 h 4201882"/>
              <a:gd name="connsiteX15" fmla="*/ 2186935 w 9356877"/>
              <a:gd name="connsiteY15" fmla="*/ 3739316 h 4201882"/>
              <a:gd name="connsiteX16" fmla="*/ 1775938 w 9356877"/>
              <a:gd name="connsiteY16" fmla="*/ 4025979 h 4201882"/>
              <a:gd name="connsiteX17" fmla="*/ 1519173 w 9356877"/>
              <a:gd name="connsiteY17" fmla="*/ 3702269 h 4201882"/>
              <a:gd name="connsiteX18" fmla="*/ 3243943 w 9356877"/>
              <a:gd name="connsiteY18" fmla="*/ 319310 h 4201882"/>
              <a:gd name="connsiteX19" fmla="*/ 4434994 w 9356877"/>
              <a:gd name="connsiteY19" fmla="*/ 295452 h 4201882"/>
              <a:gd name="connsiteX20" fmla="*/ 4376937 w 9356877"/>
              <a:gd name="connsiteY20" fmla="*/ 1388196 h 4201882"/>
              <a:gd name="connsiteX21" fmla="*/ 3142344 w 9356877"/>
              <a:gd name="connsiteY21" fmla="*/ 1400624 h 4201882"/>
              <a:gd name="connsiteX22" fmla="*/ 3243943 w 9356877"/>
              <a:gd name="connsiteY22" fmla="*/ 319310 h 4201882"/>
              <a:gd name="connsiteX23" fmla="*/ 2331974 w 9356877"/>
              <a:gd name="connsiteY23" fmla="*/ 3714226 h 4201882"/>
              <a:gd name="connsiteX24" fmla="*/ 2155373 w 9356877"/>
              <a:gd name="connsiteY24" fmla="*/ 4187367 h 4201882"/>
              <a:gd name="connsiteX25" fmla="*/ 1502230 w 9356877"/>
              <a:gd name="connsiteY25" fmla="*/ 4201882 h 4201882"/>
              <a:gd name="connsiteX26" fmla="*/ 1238909 w 9356877"/>
              <a:gd name="connsiteY26" fmla="*/ 3724642 h 4201882"/>
              <a:gd name="connsiteX27" fmla="*/ 1867621 w 9356877"/>
              <a:gd name="connsiteY27" fmla="*/ 3125933 h 4201882"/>
              <a:gd name="connsiteX28" fmla="*/ 2331974 w 9356877"/>
              <a:gd name="connsiteY28" fmla="*/ 3714226 h 4201882"/>
              <a:gd name="connsiteX29" fmla="*/ 6538686 w 9356877"/>
              <a:gd name="connsiteY29" fmla="*/ 4042225 h 4201882"/>
              <a:gd name="connsiteX30" fmla="*/ 6322819 w 9356877"/>
              <a:gd name="connsiteY30" fmla="*/ 3607073 h 4201882"/>
              <a:gd name="connsiteX31" fmla="*/ 6899696 w 9356877"/>
              <a:gd name="connsiteY31" fmla="*/ 3737701 h 4201882"/>
              <a:gd name="connsiteX32" fmla="*/ 6538686 w 9356877"/>
              <a:gd name="connsiteY32" fmla="*/ 4042225 h 4201882"/>
              <a:gd name="connsiteX33" fmla="*/ 7174557 w 9356877"/>
              <a:gd name="connsiteY33" fmla="*/ 3685197 h 4201882"/>
              <a:gd name="connsiteX34" fmla="*/ 6974116 w 9356877"/>
              <a:gd name="connsiteY34" fmla="*/ 4158339 h 4201882"/>
              <a:gd name="connsiteX35" fmla="*/ 6248402 w 9356877"/>
              <a:gd name="connsiteY35" fmla="*/ 4201881 h 4201882"/>
              <a:gd name="connsiteX36" fmla="*/ 5984609 w 9356877"/>
              <a:gd name="connsiteY36" fmla="*/ 3691989 h 4201882"/>
              <a:gd name="connsiteX37" fmla="*/ 6584291 w 9356877"/>
              <a:gd name="connsiteY37" fmla="*/ 3071499 h 4201882"/>
              <a:gd name="connsiteX38" fmla="*/ 7174557 w 9356877"/>
              <a:gd name="connsiteY38" fmla="*/ 3685197 h 4201882"/>
              <a:gd name="connsiteX39" fmla="*/ 261258 w 9356877"/>
              <a:gd name="connsiteY39" fmla="*/ 3294739 h 4201882"/>
              <a:gd name="connsiteX40" fmla="*/ 1894117 w 9356877"/>
              <a:gd name="connsiteY40" fmla="*/ 68941 h 4201882"/>
              <a:gd name="connsiteX41" fmla="*/ 8171544 w 9356877"/>
              <a:gd name="connsiteY41" fmla="*/ 0 h 4201882"/>
              <a:gd name="connsiteX42" fmla="*/ 8817429 w 9356877"/>
              <a:gd name="connsiteY42" fmla="*/ 3432624 h 4201882"/>
              <a:gd name="connsiteX43" fmla="*/ 7380517 w 9356877"/>
              <a:gd name="connsiteY43" fmla="*/ 3418110 h 4201882"/>
              <a:gd name="connsiteX44" fmla="*/ 5740402 w 9356877"/>
              <a:gd name="connsiteY44" fmla="*/ 3577767 h 4201882"/>
              <a:gd name="connsiteX45" fmla="*/ 2677886 w 9356877"/>
              <a:gd name="connsiteY45" fmla="*/ 3606795 h 4201882"/>
              <a:gd name="connsiteX46" fmla="*/ 1008745 w 9356877"/>
              <a:gd name="connsiteY46" fmla="*/ 3606795 h 4201882"/>
              <a:gd name="connsiteX47" fmla="*/ 326570 w 9356877"/>
              <a:gd name="connsiteY47" fmla="*/ 3603169 h 4201882"/>
              <a:gd name="connsiteX48" fmla="*/ 261258 w 9356877"/>
              <a:gd name="connsiteY48" fmla="*/ 3294739 h 4201882"/>
              <a:gd name="connsiteX0" fmla="*/ 1821543 w 9356877"/>
              <a:gd name="connsiteY0" fmla="*/ 290282 h 4201882"/>
              <a:gd name="connsiteX1" fmla="*/ 2764092 w 9356877"/>
              <a:gd name="connsiteY1" fmla="*/ 444767 h 4201882"/>
              <a:gd name="connsiteX2" fmla="*/ 1153006 w 9356877"/>
              <a:gd name="connsiteY2" fmla="*/ 2196824 h 4201882"/>
              <a:gd name="connsiteX3" fmla="*/ 1821543 w 9356877"/>
              <a:gd name="connsiteY3" fmla="*/ 290282 h 4201882"/>
              <a:gd name="connsiteX4" fmla="*/ 6318213 w 9356877"/>
              <a:gd name="connsiteY4" fmla="*/ 276898 h 4201882"/>
              <a:gd name="connsiteX5" fmla="*/ 6335486 w 9356877"/>
              <a:gd name="connsiteY5" fmla="*/ 1386110 h 4201882"/>
              <a:gd name="connsiteX6" fmla="*/ 5103834 w 9356877"/>
              <a:gd name="connsiteY6" fmla="*/ 1384378 h 4201882"/>
              <a:gd name="connsiteX7" fmla="*/ 5171809 w 9356877"/>
              <a:gd name="connsiteY7" fmla="*/ 270402 h 4201882"/>
              <a:gd name="connsiteX8" fmla="*/ 6318213 w 9356877"/>
              <a:gd name="connsiteY8" fmla="*/ 276898 h 4201882"/>
              <a:gd name="connsiteX9" fmla="*/ 7075715 w 9356877"/>
              <a:gd name="connsiteY9" fmla="*/ 239481 h 4201882"/>
              <a:gd name="connsiteX10" fmla="*/ 8220495 w 9356877"/>
              <a:gd name="connsiteY10" fmla="*/ 253718 h 4201882"/>
              <a:gd name="connsiteX11" fmla="*/ 8369333 w 9356877"/>
              <a:gd name="connsiteY11" fmla="*/ 1327775 h 4201882"/>
              <a:gd name="connsiteX12" fmla="*/ 7133772 w 9356877"/>
              <a:gd name="connsiteY12" fmla="*/ 1400624 h 4201882"/>
              <a:gd name="connsiteX13" fmla="*/ 7075715 w 9356877"/>
              <a:gd name="connsiteY13" fmla="*/ 239481 h 4201882"/>
              <a:gd name="connsiteX14" fmla="*/ 1519173 w 9356877"/>
              <a:gd name="connsiteY14" fmla="*/ 3702269 h 4201882"/>
              <a:gd name="connsiteX15" fmla="*/ 2186935 w 9356877"/>
              <a:gd name="connsiteY15" fmla="*/ 3739316 h 4201882"/>
              <a:gd name="connsiteX16" fmla="*/ 1775938 w 9356877"/>
              <a:gd name="connsiteY16" fmla="*/ 4025979 h 4201882"/>
              <a:gd name="connsiteX17" fmla="*/ 1519173 w 9356877"/>
              <a:gd name="connsiteY17" fmla="*/ 3702269 h 4201882"/>
              <a:gd name="connsiteX18" fmla="*/ 3243943 w 9356877"/>
              <a:gd name="connsiteY18" fmla="*/ 319310 h 4201882"/>
              <a:gd name="connsiteX19" fmla="*/ 4434994 w 9356877"/>
              <a:gd name="connsiteY19" fmla="*/ 295452 h 4201882"/>
              <a:gd name="connsiteX20" fmla="*/ 4376937 w 9356877"/>
              <a:gd name="connsiteY20" fmla="*/ 1388196 h 4201882"/>
              <a:gd name="connsiteX21" fmla="*/ 3142344 w 9356877"/>
              <a:gd name="connsiteY21" fmla="*/ 1400624 h 4201882"/>
              <a:gd name="connsiteX22" fmla="*/ 3243943 w 9356877"/>
              <a:gd name="connsiteY22" fmla="*/ 319310 h 4201882"/>
              <a:gd name="connsiteX23" fmla="*/ 2331974 w 9356877"/>
              <a:gd name="connsiteY23" fmla="*/ 3714226 h 4201882"/>
              <a:gd name="connsiteX24" fmla="*/ 2155373 w 9356877"/>
              <a:gd name="connsiteY24" fmla="*/ 4187367 h 4201882"/>
              <a:gd name="connsiteX25" fmla="*/ 1502230 w 9356877"/>
              <a:gd name="connsiteY25" fmla="*/ 4201882 h 4201882"/>
              <a:gd name="connsiteX26" fmla="*/ 1238909 w 9356877"/>
              <a:gd name="connsiteY26" fmla="*/ 3724642 h 4201882"/>
              <a:gd name="connsiteX27" fmla="*/ 1867621 w 9356877"/>
              <a:gd name="connsiteY27" fmla="*/ 3125933 h 4201882"/>
              <a:gd name="connsiteX28" fmla="*/ 2331974 w 9356877"/>
              <a:gd name="connsiteY28" fmla="*/ 3714226 h 4201882"/>
              <a:gd name="connsiteX29" fmla="*/ 6538686 w 9356877"/>
              <a:gd name="connsiteY29" fmla="*/ 4042225 h 4201882"/>
              <a:gd name="connsiteX30" fmla="*/ 6322819 w 9356877"/>
              <a:gd name="connsiteY30" fmla="*/ 3607073 h 4201882"/>
              <a:gd name="connsiteX31" fmla="*/ 6899696 w 9356877"/>
              <a:gd name="connsiteY31" fmla="*/ 3737701 h 4201882"/>
              <a:gd name="connsiteX32" fmla="*/ 6538686 w 9356877"/>
              <a:gd name="connsiteY32" fmla="*/ 4042225 h 4201882"/>
              <a:gd name="connsiteX33" fmla="*/ 7174557 w 9356877"/>
              <a:gd name="connsiteY33" fmla="*/ 3685197 h 4201882"/>
              <a:gd name="connsiteX34" fmla="*/ 6974116 w 9356877"/>
              <a:gd name="connsiteY34" fmla="*/ 4158339 h 4201882"/>
              <a:gd name="connsiteX35" fmla="*/ 6248402 w 9356877"/>
              <a:gd name="connsiteY35" fmla="*/ 4201881 h 4201882"/>
              <a:gd name="connsiteX36" fmla="*/ 5984609 w 9356877"/>
              <a:gd name="connsiteY36" fmla="*/ 3691989 h 4201882"/>
              <a:gd name="connsiteX37" fmla="*/ 6584291 w 9356877"/>
              <a:gd name="connsiteY37" fmla="*/ 3071499 h 4201882"/>
              <a:gd name="connsiteX38" fmla="*/ 7174557 w 9356877"/>
              <a:gd name="connsiteY38" fmla="*/ 3685197 h 4201882"/>
              <a:gd name="connsiteX39" fmla="*/ 261258 w 9356877"/>
              <a:gd name="connsiteY39" fmla="*/ 3294739 h 4201882"/>
              <a:gd name="connsiteX40" fmla="*/ 1894117 w 9356877"/>
              <a:gd name="connsiteY40" fmla="*/ 68941 h 4201882"/>
              <a:gd name="connsiteX41" fmla="*/ 8171544 w 9356877"/>
              <a:gd name="connsiteY41" fmla="*/ 0 h 4201882"/>
              <a:gd name="connsiteX42" fmla="*/ 8817429 w 9356877"/>
              <a:gd name="connsiteY42" fmla="*/ 3432624 h 4201882"/>
              <a:gd name="connsiteX43" fmla="*/ 7380517 w 9356877"/>
              <a:gd name="connsiteY43" fmla="*/ 3418110 h 4201882"/>
              <a:gd name="connsiteX44" fmla="*/ 5740402 w 9356877"/>
              <a:gd name="connsiteY44" fmla="*/ 3577767 h 4201882"/>
              <a:gd name="connsiteX45" fmla="*/ 2677886 w 9356877"/>
              <a:gd name="connsiteY45" fmla="*/ 3606795 h 4201882"/>
              <a:gd name="connsiteX46" fmla="*/ 1008745 w 9356877"/>
              <a:gd name="connsiteY46" fmla="*/ 3606795 h 4201882"/>
              <a:gd name="connsiteX47" fmla="*/ 326570 w 9356877"/>
              <a:gd name="connsiteY47" fmla="*/ 3603169 h 4201882"/>
              <a:gd name="connsiteX48" fmla="*/ 261258 w 9356877"/>
              <a:gd name="connsiteY48" fmla="*/ 3294739 h 4201882"/>
              <a:gd name="connsiteX0" fmla="*/ 1821543 w 9356877"/>
              <a:gd name="connsiteY0" fmla="*/ 290282 h 4201882"/>
              <a:gd name="connsiteX1" fmla="*/ 2764092 w 9356877"/>
              <a:gd name="connsiteY1" fmla="*/ 444767 h 4201882"/>
              <a:gd name="connsiteX2" fmla="*/ 1153006 w 9356877"/>
              <a:gd name="connsiteY2" fmla="*/ 2196824 h 4201882"/>
              <a:gd name="connsiteX3" fmla="*/ 1821543 w 9356877"/>
              <a:gd name="connsiteY3" fmla="*/ 290282 h 4201882"/>
              <a:gd name="connsiteX4" fmla="*/ 6318213 w 9356877"/>
              <a:gd name="connsiteY4" fmla="*/ 276898 h 4201882"/>
              <a:gd name="connsiteX5" fmla="*/ 6335486 w 9356877"/>
              <a:gd name="connsiteY5" fmla="*/ 1386110 h 4201882"/>
              <a:gd name="connsiteX6" fmla="*/ 5103834 w 9356877"/>
              <a:gd name="connsiteY6" fmla="*/ 1384378 h 4201882"/>
              <a:gd name="connsiteX7" fmla="*/ 5171809 w 9356877"/>
              <a:gd name="connsiteY7" fmla="*/ 270402 h 4201882"/>
              <a:gd name="connsiteX8" fmla="*/ 6318213 w 9356877"/>
              <a:gd name="connsiteY8" fmla="*/ 276898 h 4201882"/>
              <a:gd name="connsiteX9" fmla="*/ 7075715 w 9356877"/>
              <a:gd name="connsiteY9" fmla="*/ 239481 h 4201882"/>
              <a:gd name="connsiteX10" fmla="*/ 8220495 w 9356877"/>
              <a:gd name="connsiteY10" fmla="*/ 253718 h 4201882"/>
              <a:gd name="connsiteX11" fmla="*/ 8369333 w 9356877"/>
              <a:gd name="connsiteY11" fmla="*/ 1327775 h 4201882"/>
              <a:gd name="connsiteX12" fmla="*/ 7133772 w 9356877"/>
              <a:gd name="connsiteY12" fmla="*/ 1400624 h 4201882"/>
              <a:gd name="connsiteX13" fmla="*/ 7075715 w 9356877"/>
              <a:gd name="connsiteY13" fmla="*/ 239481 h 4201882"/>
              <a:gd name="connsiteX14" fmla="*/ 1519173 w 9356877"/>
              <a:gd name="connsiteY14" fmla="*/ 3702269 h 4201882"/>
              <a:gd name="connsiteX15" fmla="*/ 2186935 w 9356877"/>
              <a:gd name="connsiteY15" fmla="*/ 3739316 h 4201882"/>
              <a:gd name="connsiteX16" fmla="*/ 1775938 w 9356877"/>
              <a:gd name="connsiteY16" fmla="*/ 4025979 h 4201882"/>
              <a:gd name="connsiteX17" fmla="*/ 1519173 w 9356877"/>
              <a:gd name="connsiteY17" fmla="*/ 3702269 h 4201882"/>
              <a:gd name="connsiteX18" fmla="*/ 3243943 w 9356877"/>
              <a:gd name="connsiteY18" fmla="*/ 319310 h 4201882"/>
              <a:gd name="connsiteX19" fmla="*/ 4434994 w 9356877"/>
              <a:gd name="connsiteY19" fmla="*/ 295452 h 4201882"/>
              <a:gd name="connsiteX20" fmla="*/ 4376937 w 9356877"/>
              <a:gd name="connsiteY20" fmla="*/ 1388196 h 4201882"/>
              <a:gd name="connsiteX21" fmla="*/ 3142344 w 9356877"/>
              <a:gd name="connsiteY21" fmla="*/ 1400624 h 4201882"/>
              <a:gd name="connsiteX22" fmla="*/ 3243943 w 9356877"/>
              <a:gd name="connsiteY22" fmla="*/ 319310 h 4201882"/>
              <a:gd name="connsiteX23" fmla="*/ 2331974 w 9356877"/>
              <a:gd name="connsiteY23" fmla="*/ 3714226 h 4201882"/>
              <a:gd name="connsiteX24" fmla="*/ 2155373 w 9356877"/>
              <a:gd name="connsiteY24" fmla="*/ 4187367 h 4201882"/>
              <a:gd name="connsiteX25" fmla="*/ 1502230 w 9356877"/>
              <a:gd name="connsiteY25" fmla="*/ 4201882 h 4201882"/>
              <a:gd name="connsiteX26" fmla="*/ 1238909 w 9356877"/>
              <a:gd name="connsiteY26" fmla="*/ 3724642 h 4201882"/>
              <a:gd name="connsiteX27" fmla="*/ 1867621 w 9356877"/>
              <a:gd name="connsiteY27" fmla="*/ 3125933 h 4201882"/>
              <a:gd name="connsiteX28" fmla="*/ 2331974 w 9356877"/>
              <a:gd name="connsiteY28" fmla="*/ 3714226 h 4201882"/>
              <a:gd name="connsiteX29" fmla="*/ 6538686 w 9356877"/>
              <a:gd name="connsiteY29" fmla="*/ 4042225 h 4201882"/>
              <a:gd name="connsiteX30" fmla="*/ 6322819 w 9356877"/>
              <a:gd name="connsiteY30" fmla="*/ 3607073 h 4201882"/>
              <a:gd name="connsiteX31" fmla="*/ 6899696 w 9356877"/>
              <a:gd name="connsiteY31" fmla="*/ 3737701 h 4201882"/>
              <a:gd name="connsiteX32" fmla="*/ 6538686 w 9356877"/>
              <a:gd name="connsiteY32" fmla="*/ 4042225 h 4201882"/>
              <a:gd name="connsiteX33" fmla="*/ 7174557 w 9356877"/>
              <a:gd name="connsiteY33" fmla="*/ 3685197 h 4201882"/>
              <a:gd name="connsiteX34" fmla="*/ 6974116 w 9356877"/>
              <a:gd name="connsiteY34" fmla="*/ 4158339 h 4201882"/>
              <a:gd name="connsiteX35" fmla="*/ 6248402 w 9356877"/>
              <a:gd name="connsiteY35" fmla="*/ 4201881 h 4201882"/>
              <a:gd name="connsiteX36" fmla="*/ 5984609 w 9356877"/>
              <a:gd name="connsiteY36" fmla="*/ 3691989 h 4201882"/>
              <a:gd name="connsiteX37" fmla="*/ 6584291 w 9356877"/>
              <a:gd name="connsiteY37" fmla="*/ 3071499 h 4201882"/>
              <a:gd name="connsiteX38" fmla="*/ 7174557 w 9356877"/>
              <a:gd name="connsiteY38" fmla="*/ 3685197 h 4201882"/>
              <a:gd name="connsiteX39" fmla="*/ 261258 w 9356877"/>
              <a:gd name="connsiteY39" fmla="*/ 3294739 h 4201882"/>
              <a:gd name="connsiteX40" fmla="*/ 1894117 w 9356877"/>
              <a:gd name="connsiteY40" fmla="*/ 68941 h 4201882"/>
              <a:gd name="connsiteX41" fmla="*/ 8171544 w 9356877"/>
              <a:gd name="connsiteY41" fmla="*/ 0 h 4201882"/>
              <a:gd name="connsiteX42" fmla="*/ 8817429 w 9356877"/>
              <a:gd name="connsiteY42" fmla="*/ 3432624 h 4201882"/>
              <a:gd name="connsiteX43" fmla="*/ 7380517 w 9356877"/>
              <a:gd name="connsiteY43" fmla="*/ 3418110 h 4201882"/>
              <a:gd name="connsiteX44" fmla="*/ 5740402 w 9356877"/>
              <a:gd name="connsiteY44" fmla="*/ 3577767 h 4201882"/>
              <a:gd name="connsiteX45" fmla="*/ 2677886 w 9356877"/>
              <a:gd name="connsiteY45" fmla="*/ 3606795 h 4201882"/>
              <a:gd name="connsiteX46" fmla="*/ 1008745 w 9356877"/>
              <a:gd name="connsiteY46" fmla="*/ 3606795 h 4201882"/>
              <a:gd name="connsiteX47" fmla="*/ 326570 w 9356877"/>
              <a:gd name="connsiteY47" fmla="*/ 3603169 h 4201882"/>
              <a:gd name="connsiteX48" fmla="*/ 261258 w 9356877"/>
              <a:gd name="connsiteY48" fmla="*/ 3294739 h 4201882"/>
              <a:gd name="connsiteX0" fmla="*/ 1821543 w 9356877"/>
              <a:gd name="connsiteY0" fmla="*/ 290282 h 4201882"/>
              <a:gd name="connsiteX1" fmla="*/ 2764092 w 9356877"/>
              <a:gd name="connsiteY1" fmla="*/ 444767 h 4201882"/>
              <a:gd name="connsiteX2" fmla="*/ 1153006 w 9356877"/>
              <a:gd name="connsiteY2" fmla="*/ 2196824 h 4201882"/>
              <a:gd name="connsiteX3" fmla="*/ 1821543 w 9356877"/>
              <a:gd name="connsiteY3" fmla="*/ 290282 h 4201882"/>
              <a:gd name="connsiteX4" fmla="*/ 6318213 w 9356877"/>
              <a:gd name="connsiteY4" fmla="*/ 276898 h 4201882"/>
              <a:gd name="connsiteX5" fmla="*/ 6335486 w 9356877"/>
              <a:gd name="connsiteY5" fmla="*/ 1386110 h 4201882"/>
              <a:gd name="connsiteX6" fmla="*/ 5103834 w 9356877"/>
              <a:gd name="connsiteY6" fmla="*/ 1384378 h 4201882"/>
              <a:gd name="connsiteX7" fmla="*/ 5171809 w 9356877"/>
              <a:gd name="connsiteY7" fmla="*/ 270402 h 4201882"/>
              <a:gd name="connsiteX8" fmla="*/ 6318213 w 9356877"/>
              <a:gd name="connsiteY8" fmla="*/ 276898 h 4201882"/>
              <a:gd name="connsiteX9" fmla="*/ 7075715 w 9356877"/>
              <a:gd name="connsiteY9" fmla="*/ 239481 h 4201882"/>
              <a:gd name="connsiteX10" fmla="*/ 8220495 w 9356877"/>
              <a:gd name="connsiteY10" fmla="*/ 253718 h 4201882"/>
              <a:gd name="connsiteX11" fmla="*/ 8369333 w 9356877"/>
              <a:gd name="connsiteY11" fmla="*/ 1327775 h 4201882"/>
              <a:gd name="connsiteX12" fmla="*/ 7133772 w 9356877"/>
              <a:gd name="connsiteY12" fmla="*/ 1400624 h 4201882"/>
              <a:gd name="connsiteX13" fmla="*/ 7075715 w 9356877"/>
              <a:gd name="connsiteY13" fmla="*/ 239481 h 4201882"/>
              <a:gd name="connsiteX14" fmla="*/ 1519173 w 9356877"/>
              <a:gd name="connsiteY14" fmla="*/ 3702269 h 4201882"/>
              <a:gd name="connsiteX15" fmla="*/ 2186935 w 9356877"/>
              <a:gd name="connsiteY15" fmla="*/ 3739316 h 4201882"/>
              <a:gd name="connsiteX16" fmla="*/ 1775938 w 9356877"/>
              <a:gd name="connsiteY16" fmla="*/ 4025979 h 4201882"/>
              <a:gd name="connsiteX17" fmla="*/ 1519173 w 9356877"/>
              <a:gd name="connsiteY17" fmla="*/ 3702269 h 4201882"/>
              <a:gd name="connsiteX18" fmla="*/ 3243943 w 9356877"/>
              <a:gd name="connsiteY18" fmla="*/ 319310 h 4201882"/>
              <a:gd name="connsiteX19" fmla="*/ 4434994 w 9356877"/>
              <a:gd name="connsiteY19" fmla="*/ 295452 h 4201882"/>
              <a:gd name="connsiteX20" fmla="*/ 4376937 w 9356877"/>
              <a:gd name="connsiteY20" fmla="*/ 1388196 h 4201882"/>
              <a:gd name="connsiteX21" fmla="*/ 3142344 w 9356877"/>
              <a:gd name="connsiteY21" fmla="*/ 1400624 h 4201882"/>
              <a:gd name="connsiteX22" fmla="*/ 3243943 w 9356877"/>
              <a:gd name="connsiteY22" fmla="*/ 319310 h 4201882"/>
              <a:gd name="connsiteX23" fmla="*/ 2331974 w 9356877"/>
              <a:gd name="connsiteY23" fmla="*/ 3714226 h 4201882"/>
              <a:gd name="connsiteX24" fmla="*/ 2155373 w 9356877"/>
              <a:gd name="connsiteY24" fmla="*/ 4187367 h 4201882"/>
              <a:gd name="connsiteX25" fmla="*/ 1502230 w 9356877"/>
              <a:gd name="connsiteY25" fmla="*/ 4201882 h 4201882"/>
              <a:gd name="connsiteX26" fmla="*/ 1238909 w 9356877"/>
              <a:gd name="connsiteY26" fmla="*/ 3724642 h 4201882"/>
              <a:gd name="connsiteX27" fmla="*/ 1867621 w 9356877"/>
              <a:gd name="connsiteY27" fmla="*/ 3125933 h 4201882"/>
              <a:gd name="connsiteX28" fmla="*/ 2331974 w 9356877"/>
              <a:gd name="connsiteY28" fmla="*/ 3714226 h 4201882"/>
              <a:gd name="connsiteX29" fmla="*/ 6538686 w 9356877"/>
              <a:gd name="connsiteY29" fmla="*/ 4042225 h 4201882"/>
              <a:gd name="connsiteX30" fmla="*/ 6322819 w 9356877"/>
              <a:gd name="connsiteY30" fmla="*/ 3607073 h 4201882"/>
              <a:gd name="connsiteX31" fmla="*/ 6899696 w 9356877"/>
              <a:gd name="connsiteY31" fmla="*/ 3737701 h 4201882"/>
              <a:gd name="connsiteX32" fmla="*/ 6538686 w 9356877"/>
              <a:gd name="connsiteY32" fmla="*/ 4042225 h 4201882"/>
              <a:gd name="connsiteX33" fmla="*/ 7174557 w 9356877"/>
              <a:gd name="connsiteY33" fmla="*/ 3685197 h 4201882"/>
              <a:gd name="connsiteX34" fmla="*/ 6974116 w 9356877"/>
              <a:gd name="connsiteY34" fmla="*/ 4158339 h 4201882"/>
              <a:gd name="connsiteX35" fmla="*/ 6248402 w 9356877"/>
              <a:gd name="connsiteY35" fmla="*/ 4201881 h 4201882"/>
              <a:gd name="connsiteX36" fmla="*/ 5984609 w 9356877"/>
              <a:gd name="connsiteY36" fmla="*/ 3691989 h 4201882"/>
              <a:gd name="connsiteX37" fmla="*/ 6584291 w 9356877"/>
              <a:gd name="connsiteY37" fmla="*/ 3071499 h 4201882"/>
              <a:gd name="connsiteX38" fmla="*/ 7174557 w 9356877"/>
              <a:gd name="connsiteY38" fmla="*/ 3685197 h 4201882"/>
              <a:gd name="connsiteX39" fmla="*/ 261258 w 9356877"/>
              <a:gd name="connsiteY39" fmla="*/ 3294739 h 4201882"/>
              <a:gd name="connsiteX40" fmla="*/ 1894117 w 9356877"/>
              <a:gd name="connsiteY40" fmla="*/ 68941 h 4201882"/>
              <a:gd name="connsiteX41" fmla="*/ 8171544 w 9356877"/>
              <a:gd name="connsiteY41" fmla="*/ 0 h 4201882"/>
              <a:gd name="connsiteX42" fmla="*/ 8817429 w 9356877"/>
              <a:gd name="connsiteY42" fmla="*/ 3432624 h 4201882"/>
              <a:gd name="connsiteX43" fmla="*/ 7380517 w 9356877"/>
              <a:gd name="connsiteY43" fmla="*/ 3418110 h 4201882"/>
              <a:gd name="connsiteX44" fmla="*/ 5740402 w 9356877"/>
              <a:gd name="connsiteY44" fmla="*/ 3577767 h 4201882"/>
              <a:gd name="connsiteX45" fmla="*/ 2677886 w 9356877"/>
              <a:gd name="connsiteY45" fmla="*/ 3606795 h 4201882"/>
              <a:gd name="connsiteX46" fmla="*/ 1008745 w 9356877"/>
              <a:gd name="connsiteY46" fmla="*/ 3606795 h 4201882"/>
              <a:gd name="connsiteX47" fmla="*/ 326570 w 9356877"/>
              <a:gd name="connsiteY47" fmla="*/ 3603169 h 4201882"/>
              <a:gd name="connsiteX48" fmla="*/ 261258 w 9356877"/>
              <a:gd name="connsiteY48" fmla="*/ 3294739 h 4201882"/>
              <a:gd name="connsiteX0" fmla="*/ 1821543 w 9344782"/>
              <a:gd name="connsiteY0" fmla="*/ 290282 h 4201882"/>
              <a:gd name="connsiteX1" fmla="*/ 2764092 w 9344782"/>
              <a:gd name="connsiteY1" fmla="*/ 444767 h 4201882"/>
              <a:gd name="connsiteX2" fmla="*/ 1153006 w 9344782"/>
              <a:gd name="connsiteY2" fmla="*/ 2196824 h 4201882"/>
              <a:gd name="connsiteX3" fmla="*/ 1821543 w 9344782"/>
              <a:gd name="connsiteY3" fmla="*/ 290282 h 4201882"/>
              <a:gd name="connsiteX4" fmla="*/ 6318213 w 9344782"/>
              <a:gd name="connsiteY4" fmla="*/ 276898 h 4201882"/>
              <a:gd name="connsiteX5" fmla="*/ 6335486 w 9344782"/>
              <a:gd name="connsiteY5" fmla="*/ 1386110 h 4201882"/>
              <a:gd name="connsiteX6" fmla="*/ 5103834 w 9344782"/>
              <a:gd name="connsiteY6" fmla="*/ 1384378 h 4201882"/>
              <a:gd name="connsiteX7" fmla="*/ 5171809 w 9344782"/>
              <a:gd name="connsiteY7" fmla="*/ 270402 h 4201882"/>
              <a:gd name="connsiteX8" fmla="*/ 6318213 w 9344782"/>
              <a:gd name="connsiteY8" fmla="*/ 276898 h 4201882"/>
              <a:gd name="connsiteX9" fmla="*/ 7075715 w 9344782"/>
              <a:gd name="connsiteY9" fmla="*/ 239481 h 4201882"/>
              <a:gd name="connsiteX10" fmla="*/ 8220495 w 9344782"/>
              <a:gd name="connsiteY10" fmla="*/ 253718 h 4201882"/>
              <a:gd name="connsiteX11" fmla="*/ 8369333 w 9344782"/>
              <a:gd name="connsiteY11" fmla="*/ 1327775 h 4201882"/>
              <a:gd name="connsiteX12" fmla="*/ 7133772 w 9344782"/>
              <a:gd name="connsiteY12" fmla="*/ 1400624 h 4201882"/>
              <a:gd name="connsiteX13" fmla="*/ 7075715 w 9344782"/>
              <a:gd name="connsiteY13" fmla="*/ 239481 h 4201882"/>
              <a:gd name="connsiteX14" fmla="*/ 1519173 w 9344782"/>
              <a:gd name="connsiteY14" fmla="*/ 3702269 h 4201882"/>
              <a:gd name="connsiteX15" fmla="*/ 2186935 w 9344782"/>
              <a:gd name="connsiteY15" fmla="*/ 3739316 h 4201882"/>
              <a:gd name="connsiteX16" fmla="*/ 1775938 w 9344782"/>
              <a:gd name="connsiteY16" fmla="*/ 4025979 h 4201882"/>
              <a:gd name="connsiteX17" fmla="*/ 1519173 w 9344782"/>
              <a:gd name="connsiteY17" fmla="*/ 3702269 h 4201882"/>
              <a:gd name="connsiteX18" fmla="*/ 3243943 w 9344782"/>
              <a:gd name="connsiteY18" fmla="*/ 319310 h 4201882"/>
              <a:gd name="connsiteX19" fmla="*/ 4434994 w 9344782"/>
              <a:gd name="connsiteY19" fmla="*/ 295452 h 4201882"/>
              <a:gd name="connsiteX20" fmla="*/ 4376937 w 9344782"/>
              <a:gd name="connsiteY20" fmla="*/ 1388196 h 4201882"/>
              <a:gd name="connsiteX21" fmla="*/ 3142344 w 9344782"/>
              <a:gd name="connsiteY21" fmla="*/ 1400624 h 4201882"/>
              <a:gd name="connsiteX22" fmla="*/ 3243943 w 9344782"/>
              <a:gd name="connsiteY22" fmla="*/ 319310 h 4201882"/>
              <a:gd name="connsiteX23" fmla="*/ 2331974 w 9344782"/>
              <a:gd name="connsiteY23" fmla="*/ 3714226 h 4201882"/>
              <a:gd name="connsiteX24" fmla="*/ 2155373 w 9344782"/>
              <a:gd name="connsiteY24" fmla="*/ 4187367 h 4201882"/>
              <a:gd name="connsiteX25" fmla="*/ 1502230 w 9344782"/>
              <a:gd name="connsiteY25" fmla="*/ 4201882 h 4201882"/>
              <a:gd name="connsiteX26" fmla="*/ 1238909 w 9344782"/>
              <a:gd name="connsiteY26" fmla="*/ 3724642 h 4201882"/>
              <a:gd name="connsiteX27" fmla="*/ 1867621 w 9344782"/>
              <a:gd name="connsiteY27" fmla="*/ 3125933 h 4201882"/>
              <a:gd name="connsiteX28" fmla="*/ 2331974 w 9344782"/>
              <a:gd name="connsiteY28" fmla="*/ 3714226 h 4201882"/>
              <a:gd name="connsiteX29" fmla="*/ 6538686 w 9344782"/>
              <a:gd name="connsiteY29" fmla="*/ 4042225 h 4201882"/>
              <a:gd name="connsiteX30" fmla="*/ 6322819 w 9344782"/>
              <a:gd name="connsiteY30" fmla="*/ 3607073 h 4201882"/>
              <a:gd name="connsiteX31" fmla="*/ 6899696 w 9344782"/>
              <a:gd name="connsiteY31" fmla="*/ 3737701 h 4201882"/>
              <a:gd name="connsiteX32" fmla="*/ 6538686 w 9344782"/>
              <a:gd name="connsiteY32" fmla="*/ 4042225 h 4201882"/>
              <a:gd name="connsiteX33" fmla="*/ 7174557 w 9344782"/>
              <a:gd name="connsiteY33" fmla="*/ 3685197 h 4201882"/>
              <a:gd name="connsiteX34" fmla="*/ 6974116 w 9344782"/>
              <a:gd name="connsiteY34" fmla="*/ 4158339 h 4201882"/>
              <a:gd name="connsiteX35" fmla="*/ 6248402 w 9344782"/>
              <a:gd name="connsiteY35" fmla="*/ 4201881 h 4201882"/>
              <a:gd name="connsiteX36" fmla="*/ 5984609 w 9344782"/>
              <a:gd name="connsiteY36" fmla="*/ 3691989 h 4201882"/>
              <a:gd name="connsiteX37" fmla="*/ 6584291 w 9344782"/>
              <a:gd name="connsiteY37" fmla="*/ 3071499 h 4201882"/>
              <a:gd name="connsiteX38" fmla="*/ 7174557 w 9344782"/>
              <a:gd name="connsiteY38" fmla="*/ 3685197 h 4201882"/>
              <a:gd name="connsiteX39" fmla="*/ 261258 w 9344782"/>
              <a:gd name="connsiteY39" fmla="*/ 3294739 h 4201882"/>
              <a:gd name="connsiteX40" fmla="*/ 1894117 w 9344782"/>
              <a:gd name="connsiteY40" fmla="*/ 68941 h 4201882"/>
              <a:gd name="connsiteX41" fmla="*/ 8171544 w 9344782"/>
              <a:gd name="connsiteY41" fmla="*/ 0 h 4201882"/>
              <a:gd name="connsiteX42" fmla="*/ 8788402 w 9344782"/>
              <a:gd name="connsiteY42" fmla="*/ 3098795 h 4201882"/>
              <a:gd name="connsiteX43" fmla="*/ 8817429 w 9344782"/>
              <a:gd name="connsiteY43" fmla="*/ 3432624 h 4201882"/>
              <a:gd name="connsiteX44" fmla="*/ 7380517 w 9344782"/>
              <a:gd name="connsiteY44" fmla="*/ 3418110 h 4201882"/>
              <a:gd name="connsiteX45" fmla="*/ 5740402 w 9344782"/>
              <a:gd name="connsiteY45" fmla="*/ 3577767 h 4201882"/>
              <a:gd name="connsiteX46" fmla="*/ 2677886 w 9344782"/>
              <a:gd name="connsiteY46" fmla="*/ 3606795 h 4201882"/>
              <a:gd name="connsiteX47" fmla="*/ 1008745 w 9344782"/>
              <a:gd name="connsiteY47" fmla="*/ 3606795 h 4201882"/>
              <a:gd name="connsiteX48" fmla="*/ 326570 w 9344782"/>
              <a:gd name="connsiteY48" fmla="*/ 3603169 h 4201882"/>
              <a:gd name="connsiteX49" fmla="*/ 261258 w 9344782"/>
              <a:gd name="connsiteY49" fmla="*/ 3294739 h 4201882"/>
              <a:gd name="connsiteX0" fmla="*/ 1821543 w 9344782"/>
              <a:gd name="connsiteY0" fmla="*/ 290282 h 4201882"/>
              <a:gd name="connsiteX1" fmla="*/ 2764092 w 9344782"/>
              <a:gd name="connsiteY1" fmla="*/ 444767 h 4201882"/>
              <a:gd name="connsiteX2" fmla="*/ 1153006 w 9344782"/>
              <a:gd name="connsiteY2" fmla="*/ 2196824 h 4201882"/>
              <a:gd name="connsiteX3" fmla="*/ 1821543 w 9344782"/>
              <a:gd name="connsiteY3" fmla="*/ 290282 h 4201882"/>
              <a:gd name="connsiteX4" fmla="*/ 6318213 w 9344782"/>
              <a:gd name="connsiteY4" fmla="*/ 276898 h 4201882"/>
              <a:gd name="connsiteX5" fmla="*/ 6335486 w 9344782"/>
              <a:gd name="connsiteY5" fmla="*/ 1386110 h 4201882"/>
              <a:gd name="connsiteX6" fmla="*/ 5103834 w 9344782"/>
              <a:gd name="connsiteY6" fmla="*/ 1384378 h 4201882"/>
              <a:gd name="connsiteX7" fmla="*/ 5171809 w 9344782"/>
              <a:gd name="connsiteY7" fmla="*/ 270402 h 4201882"/>
              <a:gd name="connsiteX8" fmla="*/ 6318213 w 9344782"/>
              <a:gd name="connsiteY8" fmla="*/ 276898 h 4201882"/>
              <a:gd name="connsiteX9" fmla="*/ 7075715 w 9344782"/>
              <a:gd name="connsiteY9" fmla="*/ 239481 h 4201882"/>
              <a:gd name="connsiteX10" fmla="*/ 8220495 w 9344782"/>
              <a:gd name="connsiteY10" fmla="*/ 253718 h 4201882"/>
              <a:gd name="connsiteX11" fmla="*/ 8369333 w 9344782"/>
              <a:gd name="connsiteY11" fmla="*/ 1327775 h 4201882"/>
              <a:gd name="connsiteX12" fmla="*/ 7133772 w 9344782"/>
              <a:gd name="connsiteY12" fmla="*/ 1400624 h 4201882"/>
              <a:gd name="connsiteX13" fmla="*/ 7075715 w 9344782"/>
              <a:gd name="connsiteY13" fmla="*/ 239481 h 4201882"/>
              <a:gd name="connsiteX14" fmla="*/ 1519173 w 9344782"/>
              <a:gd name="connsiteY14" fmla="*/ 3702269 h 4201882"/>
              <a:gd name="connsiteX15" fmla="*/ 2186935 w 9344782"/>
              <a:gd name="connsiteY15" fmla="*/ 3739316 h 4201882"/>
              <a:gd name="connsiteX16" fmla="*/ 1775938 w 9344782"/>
              <a:gd name="connsiteY16" fmla="*/ 4025979 h 4201882"/>
              <a:gd name="connsiteX17" fmla="*/ 1519173 w 9344782"/>
              <a:gd name="connsiteY17" fmla="*/ 3702269 h 4201882"/>
              <a:gd name="connsiteX18" fmla="*/ 3243943 w 9344782"/>
              <a:gd name="connsiteY18" fmla="*/ 319310 h 4201882"/>
              <a:gd name="connsiteX19" fmla="*/ 4434994 w 9344782"/>
              <a:gd name="connsiteY19" fmla="*/ 295452 h 4201882"/>
              <a:gd name="connsiteX20" fmla="*/ 4376937 w 9344782"/>
              <a:gd name="connsiteY20" fmla="*/ 1388196 h 4201882"/>
              <a:gd name="connsiteX21" fmla="*/ 3142344 w 9344782"/>
              <a:gd name="connsiteY21" fmla="*/ 1400624 h 4201882"/>
              <a:gd name="connsiteX22" fmla="*/ 3243943 w 9344782"/>
              <a:gd name="connsiteY22" fmla="*/ 319310 h 4201882"/>
              <a:gd name="connsiteX23" fmla="*/ 2331974 w 9344782"/>
              <a:gd name="connsiteY23" fmla="*/ 3714226 h 4201882"/>
              <a:gd name="connsiteX24" fmla="*/ 2155373 w 9344782"/>
              <a:gd name="connsiteY24" fmla="*/ 4187367 h 4201882"/>
              <a:gd name="connsiteX25" fmla="*/ 1502230 w 9344782"/>
              <a:gd name="connsiteY25" fmla="*/ 4201882 h 4201882"/>
              <a:gd name="connsiteX26" fmla="*/ 1238909 w 9344782"/>
              <a:gd name="connsiteY26" fmla="*/ 3724642 h 4201882"/>
              <a:gd name="connsiteX27" fmla="*/ 1867621 w 9344782"/>
              <a:gd name="connsiteY27" fmla="*/ 3125933 h 4201882"/>
              <a:gd name="connsiteX28" fmla="*/ 2331974 w 9344782"/>
              <a:gd name="connsiteY28" fmla="*/ 3714226 h 4201882"/>
              <a:gd name="connsiteX29" fmla="*/ 6538686 w 9344782"/>
              <a:gd name="connsiteY29" fmla="*/ 4042225 h 4201882"/>
              <a:gd name="connsiteX30" fmla="*/ 6322819 w 9344782"/>
              <a:gd name="connsiteY30" fmla="*/ 3607073 h 4201882"/>
              <a:gd name="connsiteX31" fmla="*/ 6899696 w 9344782"/>
              <a:gd name="connsiteY31" fmla="*/ 3737701 h 4201882"/>
              <a:gd name="connsiteX32" fmla="*/ 6538686 w 9344782"/>
              <a:gd name="connsiteY32" fmla="*/ 4042225 h 4201882"/>
              <a:gd name="connsiteX33" fmla="*/ 7174557 w 9344782"/>
              <a:gd name="connsiteY33" fmla="*/ 3685197 h 4201882"/>
              <a:gd name="connsiteX34" fmla="*/ 6974116 w 9344782"/>
              <a:gd name="connsiteY34" fmla="*/ 4158339 h 4201882"/>
              <a:gd name="connsiteX35" fmla="*/ 6248402 w 9344782"/>
              <a:gd name="connsiteY35" fmla="*/ 4201881 h 4201882"/>
              <a:gd name="connsiteX36" fmla="*/ 5984609 w 9344782"/>
              <a:gd name="connsiteY36" fmla="*/ 3691989 h 4201882"/>
              <a:gd name="connsiteX37" fmla="*/ 6584291 w 9344782"/>
              <a:gd name="connsiteY37" fmla="*/ 3071499 h 4201882"/>
              <a:gd name="connsiteX38" fmla="*/ 7174557 w 9344782"/>
              <a:gd name="connsiteY38" fmla="*/ 3685197 h 4201882"/>
              <a:gd name="connsiteX39" fmla="*/ 261258 w 9344782"/>
              <a:gd name="connsiteY39" fmla="*/ 3294739 h 4201882"/>
              <a:gd name="connsiteX40" fmla="*/ 1894117 w 9344782"/>
              <a:gd name="connsiteY40" fmla="*/ 68941 h 4201882"/>
              <a:gd name="connsiteX41" fmla="*/ 8171544 w 9344782"/>
              <a:gd name="connsiteY41" fmla="*/ 0 h 4201882"/>
              <a:gd name="connsiteX42" fmla="*/ 8788402 w 9344782"/>
              <a:gd name="connsiteY42" fmla="*/ 3098795 h 4201882"/>
              <a:gd name="connsiteX43" fmla="*/ 8817429 w 9344782"/>
              <a:gd name="connsiteY43" fmla="*/ 3432624 h 4201882"/>
              <a:gd name="connsiteX44" fmla="*/ 7380517 w 9344782"/>
              <a:gd name="connsiteY44" fmla="*/ 3418110 h 4201882"/>
              <a:gd name="connsiteX45" fmla="*/ 5740402 w 9344782"/>
              <a:gd name="connsiteY45" fmla="*/ 3577767 h 4201882"/>
              <a:gd name="connsiteX46" fmla="*/ 2677886 w 9344782"/>
              <a:gd name="connsiteY46" fmla="*/ 3606795 h 4201882"/>
              <a:gd name="connsiteX47" fmla="*/ 1008745 w 9344782"/>
              <a:gd name="connsiteY47" fmla="*/ 3606795 h 4201882"/>
              <a:gd name="connsiteX48" fmla="*/ 326570 w 9344782"/>
              <a:gd name="connsiteY48" fmla="*/ 3603169 h 4201882"/>
              <a:gd name="connsiteX49" fmla="*/ 261258 w 9344782"/>
              <a:gd name="connsiteY49" fmla="*/ 3294739 h 4201882"/>
              <a:gd name="connsiteX0" fmla="*/ 1821543 w 9344782"/>
              <a:gd name="connsiteY0" fmla="*/ 290282 h 4201882"/>
              <a:gd name="connsiteX1" fmla="*/ 2764092 w 9344782"/>
              <a:gd name="connsiteY1" fmla="*/ 444767 h 4201882"/>
              <a:gd name="connsiteX2" fmla="*/ 1153006 w 9344782"/>
              <a:gd name="connsiteY2" fmla="*/ 2196824 h 4201882"/>
              <a:gd name="connsiteX3" fmla="*/ 1821543 w 9344782"/>
              <a:gd name="connsiteY3" fmla="*/ 290282 h 4201882"/>
              <a:gd name="connsiteX4" fmla="*/ 6318213 w 9344782"/>
              <a:gd name="connsiteY4" fmla="*/ 276898 h 4201882"/>
              <a:gd name="connsiteX5" fmla="*/ 6335486 w 9344782"/>
              <a:gd name="connsiteY5" fmla="*/ 1386110 h 4201882"/>
              <a:gd name="connsiteX6" fmla="*/ 5103834 w 9344782"/>
              <a:gd name="connsiteY6" fmla="*/ 1384378 h 4201882"/>
              <a:gd name="connsiteX7" fmla="*/ 5171809 w 9344782"/>
              <a:gd name="connsiteY7" fmla="*/ 270402 h 4201882"/>
              <a:gd name="connsiteX8" fmla="*/ 6318213 w 9344782"/>
              <a:gd name="connsiteY8" fmla="*/ 276898 h 4201882"/>
              <a:gd name="connsiteX9" fmla="*/ 7075715 w 9344782"/>
              <a:gd name="connsiteY9" fmla="*/ 239481 h 4201882"/>
              <a:gd name="connsiteX10" fmla="*/ 8220495 w 9344782"/>
              <a:gd name="connsiteY10" fmla="*/ 253718 h 4201882"/>
              <a:gd name="connsiteX11" fmla="*/ 8369333 w 9344782"/>
              <a:gd name="connsiteY11" fmla="*/ 1327775 h 4201882"/>
              <a:gd name="connsiteX12" fmla="*/ 7133772 w 9344782"/>
              <a:gd name="connsiteY12" fmla="*/ 1400624 h 4201882"/>
              <a:gd name="connsiteX13" fmla="*/ 7075715 w 9344782"/>
              <a:gd name="connsiteY13" fmla="*/ 239481 h 4201882"/>
              <a:gd name="connsiteX14" fmla="*/ 1519173 w 9344782"/>
              <a:gd name="connsiteY14" fmla="*/ 3702269 h 4201882"/>
              <a:gd name="connsiteX15" fmla="*/ 2186935 w 9344782"/>
              <a:gd name="connsiteY15" fmla="*/ 3739316 h 4201882"/>
              <a:gd name="connsiteX16" fmla="*/ 1775938 w 9344782"/>
              <a:gd name="connsiteY16" fmla="*/ 4025979 h 4201882"/>
              <a:gd name="connsiteX17" fmla="*/ 1519173 w 9344782"/>
              <a:gd name="connsiteY17" fmla="*/ 3702269 h 4201882"/>
              <a:gd name="connsiteX18" fmla="*/ 3243943 w 9344782"/>
              <a:gd name="connsiteY18" fmla="*/ 319310 h 4201882"/>
              <a:gd name="connsiteX19" fmla="*/ 4434994 w 9344782"/>
              <a:gd name="connsiteY19" fmla="*/ 295452 h 4201882"/>
              <a:gd name="connsiteX20" fmla="*/ 4376937 w 9344782"/>
              <a:gd name="connsiteY20" fmla="*/ 1388196 h 4201882"/>
              <a:gd name="connsiteX21" fmla="*/ 3142344 w 9344782"/>
              <a:gd name="connsiteY21" fmla="*/ 1400624 h 4201882"/>
              <a:gd name="connsiteX22" fmla="*/ 3243943 w 9344782"/>
              <a:gd name="connsiteY22" fmla="*/ 319310 h 4201882"/>
              <a:gd name="connsiteX23" fmla="*/ 2331974 w 9344782"/>
              <a:gd name="connsiteY23" fmla="*/ 3714226 h 4201882"/>
              <a:gd name="connsiteX24" fmla="*/ 2155373 w 9344782"/>
              <a:gd name="connsiteY24" fmla="*/ 4187367 h 4201882"/>
              <a:gd name="connsiteX25" fmla="*/ 1502230 w 9344782"/>
              <a:gd name="connsiteY25" fmla="*/ 4201882 h 4201882"/>
              <a:gd name="connsiteX26" fmla="*/ 1238909 w 9344782"/>
              <a:gd name="connsiteY26" fmla="*/ 3724642 h 4201882"/>
              <a:gd name="connsiteX27" fmla="*/ 1867621 w 9344782"/>
              <a:gd name="connsiteY27" fmla="*/ 3125933 h 4201882"/>
              <a:gd name="connsiteX28" fmla="*/ 2331974 w 9344782"/>
              <a:gd name="connsiteY28" fmla="*/ 3714226 h 4201882"/>
              <a:gd name="connsiteX29" fmla="*/ 6538686 w 9344782"/>
              <a:gd name="connsiteY29" fmla="*/ 4042225 h 4201882"/>
              <a:gd name="connsiteX30" fmla="*/ 6322819 w 9344782"/>
              <a:gd name="connsiteY30" fmla="*/ 3607073 h 4201882"/>
              <a:gd name="connsiteX31" fmla="*/ 6899696 w 9344782"/>
              <a:gd name="connsiteY31" fmla="*/ 3737701 h 4201882"/>
              <a:gd name="connsiteX32" fmla="*/ 6538686 w 9344782"/>
              <a:gd name="connsiteY32" fmla="*/ 4042225 h 4201882"/>
              <a:gd name="connsiteX33" fmla="*/ 7174557 w 9344782"/>
              <a:gd name="connsiteY33" fmla="*/ 3685197 h 4201882"/>
              <a:gd name="connsiteX34" fmla="*/ 6974116 w 9344782"/>
              <a:gd name="connsiteY34" fmla="*/ 4158339 h 4201882"/>
              <a:gd name="connsiteX35" fmla="*/ 6248402 w 9344782"/>
              <a:gd name="connsiteY35" fmla="*/ 4201881 h 4201882"/>
              <a:gd name="connsiteX36" fmla="*/ 5984609 w 9344782"/>
              <a:gd name="connsiteY36" fmla="*/ 3691989 h 4201882"/>
              <a:gd name="connsiteX37" fmla="*/ 6584291 w 9344782"/>
              <a:gd name="connsiteY37" fmla="*/ 3071499 h 4201882"/>
              <a:gd name="connsiteX38" fmla="*/ 7174557 w 9344782"/>
              <a:gd name="connsiteY38" fmla="*/ 3685197 h 4201882"/>
              <a:gd name="connsiteX39" fmla="*/ 261258 w 9344782"/>
              <a:gd name="connsiteY39" fmla="*/ 3294739 h 4201882"/>
              <a:gd name="connsiteX40" fmla="*/ 1894117 w 9344782"/>
              <a:gd name="connsiteY40" fmla="*/ 68941 h 4201882"/>
              <a:gd name="connsiteX41" fmla="*/ 8171544 w 9344782"/>
              <a:gd name="connsiteY41" fmla="*/ 0 h 4201882"/>
              <a:gd name="connsiteX42" fmla="*/ 8788402 w 9344782"/>
              <a:gd name="connsiteY42" fmla="*/ 3098795 h 4201882"/>
              <a:gd name="connsiteX43" fmla="*/ 8817429 w 9344782"/>
              <a:gd name="connsiteY43" fmla="*/ 3432624 h 4201882"/>
              <a:gd name="connsiteX44" fmla="*/ 7380517 w 9344782"/>
              <a:gd name="connsiteY44" fmla="*/ 3418110 h 4201882"/>
              <a:gd name="connsiteX45" fmla="*/ 5740402 w 9344782"/>
              <a:gd name="connsiteY45" fmla="*/ 3577767 h 4201882"/>
              <a:gd name="connsiteX46" fmla="*/ 2677886 w 9344782"/>
              <a:gd name="connsiteY46" fmla="*/ 3606795 h 4201882"/>
              <a:gd name="connsiteX47" fmla="*/ 1008745 w 9344782"/>
              <a:gd name="connsiteY47" fmla="*/ 3606795 h 4201882"/>
              <a:gd name="connsiteX48" fmla="*/ 326570 w 9344782"/>
              <a:gd name="connsiteY48" fmla="*/ 3603169 h 4201882"/>
              <a:gd name="connsiteX49" fmla="*/ 261258 w 9344782"/>
              <a:gd name="connsiteY49" fmla="*/ 3294739 h 4201882"/>
              <a:gd name="connsiteX0" fmla="*/ 1821543 w 9344782"/>
              <a:gd name="connsiteY0" fmla="*/ 290282 h 4201882"/>
              <a:gd name="connsiteX1" fmla="*/ 2764092 w 9344782"/>
              <a:gd name="connsiteY1" fmla="*/ 444767 h 4201882"/>
              <a:gd name="connsiteX2" fmla="*/ 1153006 w 9344782"/>
              <a:gd name="connsiteY2" fmla="*/ 2196824 h 4201882"/>
              <a:gd name="connsiteX3" fmla="*/ 1821543 w 9344782"/>
              <a:gd name="connsiteY3" fmla="*/ 290282 h 4201882"/>
              <a:gd name="connsiteX4" fmla="*/ 6318213 w 9344782"/>
              <a:gd name="connsiteY4" fmla="*/ 276898 h 4201882"/>
              <a:gd name="connsiteX5" fmla="*/ 6335486 w 9344782"/>
              <a:gd name="connsiteY5" fmla="*/ 1386110 h 4201882"/>
              <a:gd name="connsiteX6" fmla="*/ 5103834 w 9344782"/>
              <a:gd name="connsiteY6" fmla="*/ 1384378 h 4201882"/>
              <a:gd name="connsiteX7" fmla="*/ 5171809 w 9344782"/>
              <a:gd name="connsiteY7" fmla="*/ 270402 h 4201882"/>
              <a:gd name="connsiteX8" fmla="*/ 6318213 w 9344782"/>
              <a:gd name="connsiteY8" fmla="*/ 276898 h 4201882"/>
              <a:gd name="connsiteX9" fmla="*/ 7075715 w 9344782"/>
              <a:gd name="connsiteY9" fmla="*/ 239481 h 4201882"/>
              <a:gd name="connsiteX10" fmla="*/ 8220495 w 9344782"/>
              <a:gd name="connsiteY10" fmla="*/ 253718 h 4201882"/>
              <a:gd name="connsiteX11" fmla="*/ 8369333 w 9344782"/>
              <a:gd name="connsiteY11" fmla="*/ 1327775 h 4201882"/>
              <a:gd name="connsiteX12" fmla="*/ 7133772 w 9344782"/>
              <a:gd name="connsiteY12" fmla="*/ 1400624 h 4201882"/>
              <a:gd name="connsiteX13" fmla="*/ 7075715 w 9344782"/>
              <a:gd name="connsiteY13" fmla="*/ 239481 h 4201882"/>
              <a:gd name="connsiteX14" fmla="*/ 1519173 w 9344782"/>
              <a:gd name="connsiteY14" fmla="*/ 3702269 h 4201882"/>
              <a:gd name="connsiteX15" fmla="*/ 2186935 w 9344782"/>
              <a:gd name="connsiteY15" fmla="*/ 3739316 h 4201882"/>
              <a:gd name="connsiteX16" fmla="*/ 1775938 w 9344782"/>
              <a:gd name="connsiteY16" fmla="*/ 4025979 h 4201882"/>
              <a:gd name="connsiteX17" fmla="*/ 1519173 w 9344782"/>
              <a:gd name="connsiteY17" fmla="*/ 3702269 h 4201882"/>
              <a:gd name="connsiteX18" fmla="*/ 3243943 w 9344782"/>
              <a:gd name="connsiteY18" fmla="*/ 319310 h 4201882"/>
              <a:gd name="connsiteX19" fmla="*/ 4434994 w 9344782"/>
              <a:gd name="connsiteY19" fmla="*/ 295452 h 4201882"/>
              <a:gd name="connsiteX20" fmla="*/ 4376937 w 9344782"/>
              <a:gd name="connsiteY20" fmla="*/ 1388196 h 4201882"/>
              <a:gd name="connsiteX21" fmla="*/ 3142344 w 9344782"/>
              <a:gd name="connsiteY21" fmla="*/ 1400624 h 4201882"/>
              <a:gd name="connsiteX22" fmla="*/ 3243943 w 9344782"/>
              <a:gd name="connsiteY22" fmla="*/ 319310 h 4201882"/>
              <a:gd name="connsiteX23" fmla="*/ 2331974 w 9344782"/>
              <a:gd name="connsiteY23" fmla="*/ 3714226 h 4201882"/>
              <a:gd name="connsiteX24" fmla="*/ 2155373 w 9344782"/>
              <a:gd name="connsiteY24" fmla="*/ 4187367 h 4201882"/>
              <a:gd name="connsiteX25" fmla="*/ 1502230 w 9344782"/>
              <a:gd name="connsiteY25" fmla="*/ 4201882 h 4201882"/>
              <a:gd name="connsiteX26" fmla="*/ 1238909 w 9344782"/>
              <a:gd name="connsiteY26" fmla="*/ 3724642 h 4201882"/>
              <a:gd name="connsiteX27" fmla="*/ 1867621 w 9344782"/>
              <a:gd name="connsiteY27" fmla="*/ 3125933 h 4201882"/>
              <a:gd name="connsiteX28" fmla="*/ 2331974 w 9344782"/>
              <a:gd name="connsiteY28" fmla="*/ 3714226 h 4201882"/>
              <a:gd name="connsiteX29" fmla="*/ 6538686 w 9344782"/>
              <a:gd name="connsiteY29" fmla="*/ 4042225 h 4201882"/>
              <a:gd name="connsiteX30" fmla="*/ 6322819 w 9344782"/>
              <a:gd name="connsiteY30" fmla="*/ 3607073 h 4201882"/>
              <a:gd name="connsiteX31" fmla="*/ 6899696 w 9344782"/>
              <a:gd name="connsiteY31" fmla="*/ 3737701 h 4201882"/>
              <a:gd name="connsiteX32" fmla="*/ 6538686 w 9344782"/>
              <a:gd name="connsiteY32" fmla="*/ 4042225 h 4201882"/>
              <a:gd name="connsiteX33" fmla="*/ 7174557 w 9344782"/>
              <a:gd name="connsiteY33" fmla="*/ 3685197 h 4201882"/>
              <a:gd name="connsiteX34" fmla="*/ 6974116 w 9344782"/>
              <a:gd name="connsiteY34" fmla="*/ 4158339 h 4201882"/>
              <a:gd name="connsiteX35" fmla="*/ 6248402 w 9344782"/>
              <a:gd name="connsiteY35" fmla="*/ 4201881 h 4201882"/>
              <a:gd name="connsiteX36" fmla="*/ 5984609 w 9344782"/>
              <a:gd name="connsiteY36" fmla="*/ 3691989 h 4201882"/>
              <a:gd name="connsiteX37" fmla="*/ 6584291 w 9344782"/>
              <a:gd name="connsiteY37" fmla="*/ 3071499 h 4201882"/>
              <a:gd name="connsiteX38" fmla="*/ 7174557 w 9344782"/>
              <a:gd name="connsiteY38" fmla="*/ 3685197 h 4201882"/>
              <a:gd name="connsiteX39" fmla="*/ 261258 w 9344782"/>
              <a:gd name="connsiteY39" fmla="*/ 3294739 h 4201882"/>
              <a:gd name="connsiteX40" fmla="*/ 1894117 w 9344782"/>
              <a:gd name="connsiteY40" fmla="*/ 68941 h 4201882"/>
              <a:gd name="connsiteX41" fmla="*/ 8171544 w 9344782"/>
              <a:gd name="connsiteY41" fmla="*/ 0 h 4201882"/>
              <a:gd name="connsiteX42" fmla="*/ 8788402 w 9344782"/>
              <a:gd name="connsiteY42" fmla="*/ 3098795 h 4201882"/>
              <a:gd name="connsiteX43" fmla="*/ 8817429 w 9344782"/>
              <a:gd name="connsiteY43" fmla="*/ 3432624 h 4201882"/>
              <a:gd name="connsiteX44" fmla="*/ 7380517 w 9344782"/>
              <a:gd name="connsiteY44" fmla="*/ 3418110 h 4201882"/>
              <a:gd name="connsiteX45" fmla="*/ 5740402 w 9344782"/>
              <a:gd name="connsiteY45" fmla="*/ 3577767 h 4201882"/>
              <a:gd name="connsiteX46" fmla="*/ 2677886 w 9344782"/>
              <a:gd name="connsiteY46" fmla="*/ 3606795 h 4201882"/>
              <a:gd name="connsiteX47" fmla="*/ 1008745 w 9344782"/>
              <a:gd name="connsiteY47" fmla="*/ 3606795 h 4201882"/>
              <a:gd name="connsiteX48" fmla="*/ 326570 w 9344782"/>
              <a:gd name="connsiteY48" fmla="*/ 3603169 h 4201882"/>
              <a:gd name="connsiteX49" fmla="*/ 261258 w 9344782"/>
              <a:gd name="connsiteY49" fmla="*/ 3294739 h 4201882"/>
              <a:gd name="connsiteX0" fmla="*/ 1821543 w 9344782"/>
              <a:gd name="connsiteY0" fmla="*/ 290282 h 4201882"/>
              <a:gd name="connsiteX1" fmla="*/ 2764092 w 9344782"/>
              <a:gd name="connsiteY1" fmla="*/ 444767 h 4201882"/>
              <a:gd name="connsiteX2" fmla="*/ 1153006 w 9344782"/>
              <a:gd name="connsiteY2" fmla="*/ 2196824 h 4201882"/>
              <a:gd name="connsiteX3" fmla="*/ 1821543 w 9344782"/>
              <a:gd name="connsiteY3" fmla="*/ 290282 h 4201882"/>
              <a:gd name="connsiteX4" fmla="*/ 6318213 w 9344782"/>
              <a:gd name="connsiteY4" fmla="*/ 276898 h 4201882"/>
              <a:gd name="connsiteX5" fmla="*/ 6335486 w 9344782"/>
              <a:gd name="connsiteY5" fmla="*/ 1386110 h 4201882"/>
              <a:gd name="connsiteX6" fmla="*/ 5103834 w 9344782"/>
              <a:gd name="connsiteY6" fmla="*/ 1384378 h 4201882"/>
              <a:gd name="connsiteX7" fmla="*/ 5171809 w 9344782"/>
              <a:gd name="connsiteY7" fmla="*/ 270402 h 4201882"/>
              <a:gd name="connsiteX8" fmla="*/ 6318213 w 9344782"/>
              <a:gd name="connsiteY8" fmla="*/ 276898 h 4201882"/>
              <a:gd name="connsiteX9" fmla="*/ 7075715 w 9344782"/>
              <a:gd name="connsiteY9" fmla="*/ 239481 h 4201882"/>
              <a:gd name="connsiteX10" fmla="*/ 8220495 w 9344782"/>
              <a:gd name="connsiteY10" fmla="*/ 253718 h 4201882"/>
              <a:gd name="connsiteX11" fmla="*/ 8369333 w 9344782"/>
              <a:gd name="connsiteY11" fmla="*/ 1327775 h 4201882"/>
              <a:gd name="connsiteX12" fmla="*/ 7133772 w 9344782"/>
              <a:gd name="connsiteY12" fmla="*/ 1400624 h 4201882"/>
              <a:gd name="connsiteX13" fmla="*/ 7075715 w 9344782"/>
              <a:gd name="connsiteY13" fmla="*/ 239481 h 4201882"/>
              <a:gd name="connsiteX14" fmla="*/ 1519173 w 9344782"/>
              <a:gd name="connsiteY14" fmla="*/ 3702269 h 4201882"/>
              <a:gd name="connsiteX15" fmla="*/ 2186935 w 9344782"/>
              <a:gd name="connsiteY15" fmla="*/ 3739316 h 4201882"/>
              <a:gd name="connsiteX16" fmla="*/ 1775938 w 9344782"/>
              <a:gd name="connsiteY16" fmla="*/ 4025979 h 4201882"/>
              <a:gd name="connsiteX17" fmla="*/ 1519173 w 9344782"/>
              <a:gd name="connsiteY17" fmla="*/ 3702269 h 4201882"/>
              <a:gd name="connsiteX18" fmla="*/ 3243943 w 9344782"/>
              <a:gd name="connsiteY18" fmla="*/ 319310 h 4201882"/>
              <a:gd name="connsiteX19" fmla="*/ 4434994 w 9344782"/>
              <a:gd name="connsiteY19" fmla="*/ 295452 h 4201882"/>
              <a:gd name="connsiteX20" fmla="*/ 4376937 w 9344782"/>
              <a:gd name="connsiteY20" fmla="*/ 1388196 h 4201882"/>
              <a:gd name="connsiteX21" fmla="*/ 3142344 w 9344782"/>
              <a:gd name="connsiteY21" fmla="*/ 1400624 h 4201882"/>
              <a:gd name="connsiteX22" fmla="*/ 3243943 w 9344782"/>
              <a:gd name="connsiteY22" fmla="*/ 319310 h 4201882"/>
              <a:gd name="connsiteX23" fmla="*/ 2331974 w 9344782"/>
              <a:gd name="connsiteY23" fmla="*/ 3714226 h 4201882"/>
              <a:gd name="connsiteX24" fmla="*/ 2155373 w 9344782"/>
              <a:gd name="connsiteY24" fmla="*/ 4187367 h 4201882"/>
              <a:gd name="connsiteX25" fmla="*/ 1502230 w 9344782"/>
              <a:gd name="connsiteY25" fmla="*/ 4201882 h 4201882"/>
              <a:gd name="connsiteX26" fmla="*/ 1238909 w 9344782"/>
              <a:gd name="connsiteY26" fmla="*/ 3724642 h 4201882"/>
              <a:gd name="connsiteX27" fmla="*/ 1867621 w 9344782"/>
              <a:gd name="connsiteY27" fmla="*/ 3125933 h 4201882"/>
              <a:gd name="connsiteX28" fmla="*/ 2331974 w 9344782"/>
              <a:gd name="connsiteY28" fmla="*/ 3714226 h 4201882"/>
              <a:gd name="connsiteX29" fmla="*/ 6538686 w 9344782"/>
              <a:gd name="connsiteY29" fmla="*/ 4042225 h 4201882"/>
              <a:gd name="connsiteX30" fmla="*/ 6322819 w 9344782"/>
              <a:gd name="connsiteY30" fmla="*/ 3607073 h 4201882"/>
              <a:gd name="connsiteX31" fmla="*/ 6899696 w 9344782"/>
              <a:gd name="connsiteY31" fmla="*/ 3737701 h 4201882"/>
              <a:gd name="connsiteX32" fmla="*/ 6538686 w 9344782"/>
              <a:gd name="connsiteY32" fmla="*/ 4042225 h 4201882"/>
              <a:gd name="connsiteX33" fmla="*/ 7174557 w 9344782"/>
              <a:gd name="connsiteY33" fmla="*/ 3685197 h 4201882"/>
              <a:gd name="connsiteX34" fmla="*/ 6974116 w 9344782"/>
              <a:gd name="connsiteY34" fmla="*/ 4158339 h 4201882"/>
              <a:gd name="connsiteX35" fmla="*/ 6248402 w 9344782"/>
              <a:gd name="connsiteY35" fmla="*/ 4201881 h 4201882"/>
              <a:gd name="connsiteX36" fmla="*/ 5984609 w 9344782"/>
              <a:gd name="connsiteY36" fmla="*/ 3691989 h 4201882"/>
              <a:gd name="connsiteX37" fmla="*/ 6584291 w 9344782"/>
              <a:gd name="connsiteY37" fmla="*/ 3071499 h 4201882"/>
              <a:gd name="connsiteX38" fmla="*/ 7174557 w 9344782"/>
              <a:gd name="connsiteY38" fmla="*/ 3685197 h 4201882"/>
              <a:gd name="connsiteX39" fmla="*/ 261258 w 9344782"/>
              <a:gd name="connsiteY39" fmla="*/ 3294739 h 4201882"/>
              <a:gd name="connsiteX40" fmla="*/ 1894117 w 9344782"/>
              <a:gd name="connsiteY40" fmla="*/ 68941 h 4201882"/>
              <a:gd name="connsiteX41" fmla="*/ 8171544 w 9344782"/>
              <a:gd name="connsiteY41" fmla="*/ 0 h 4201882"/>
              <a:gd name="connsiteX42" fmla="*/ 8788402 w 9344782"/>
              <a:gd name="connsiteY42" fmla="*/ 3098795 h 4201882"/>
              <a:gd name="connsiteX43" fmla="*/ 8686800 w 9344782"/>
              <a:gd name="connsiteY43" fmla="*/ 3418109 h 4201882"/>
              <a:gd name="connsiteX44" fmla="*/ 7380517 w 9344782"/>
              <a:gd name="connsiteY44" fmla="*/ 3418110 h 4201882"/>
              <a:gd name="connsiteX45" fmla="*/ 5740402 w 9344782"/>
              <a:gd name="connsiteY45" fmla="*/ 3577767 h 4201882"/>
              <a:gd name="connsiteX46" fmla="*/ 2677886 w 9344782"/>
              <a:gd name="connsiteY46" fmla="*/ 3606795 h 4201882"/>
              <a:gd name="connsiteX47" fmla="*/ 1008745 w 9344782"/>
              <a:gd name="connsiteY47" fmla="*/ 3606795 h 4201882"/>
              <a:gd name="connsiteX48" fmla="*/ 326570 w 9344782"/>
              <a:gd name="connsiteY48" fmla="*/ 3603169 h 4201882"/>
              <a:gd name="connsiteX49" fmla="*/ 261258 w 9344782"/>
              <a:gd name="connsiteY49" fmla="*/ 3294739 h 4201882"/>
              <a:gd name="connsiteX0" fmla="*/ 1821543 w 9344782"/>
              <a:gd name="connsiteY0" fmla="*/ 290282 h 4201882"/>
              <a:gd name="connsiteX1" fmla="*/ 2764092 w 9344782"/>
              <a:gd name="connsiteY1" fmla="*/ 444767 h 4201882"/>
              <a:gd name="connsiteX2" fmla="*/ 1153006 w 9344782"/>
              <a:gd name="connsiteY2" fmla="*/ 2196824 h 4201882"/>
              <a:gd name="connsiteX3" fmla="*/ 1821543 w 9344782"/>
              <a:gd name="connsiteY3" fmla="*/ 290282 h 4201882"/>
              <a:gd name="connsiteX4" fmla="*/ 6318213 w 9344782"/>
              <a:gd name="connsiteY4" fmla="*/ 276898 h 4201882"/>
              <a:gd name="connsiteX5" fmla="*/ 6335486 w 9344782"/>
              <a:gd name="connsiteY5" fmla="*/ 1386110 h 4201882"/>
              <a:gd name="connsiteX6" fmla="*/ 5103834 w 9344782"/>
              <a:gd name="connsiteY6" fmla="*/ 1384378 h 4201882"/>
              <a:gd name="connsiteX7" fmla="*/ 5171809 w 9344782"/>
              <a:gd name="connsiteY7" fmla="*/ 270402 h 4201882"/>
              <a:gd name="connsiteX8" fmla="*/ 6318213 w 9344782"/>
              <a:gd name="connsiteY8" fmla="*/ 276898 h 4201882"/>
              <a:gd name="connsiteX9" fmla="*/ 7075715 w 9344782"/>
              <a:gd name="connsiteY9" fmla="*/ 239481 h 4201882"/>
              <a:gd name="connsiteX10" fmla="*/ 8220495 w 9344782"/>
              <a:gd name="connsiteY10" fmla="*/ 253718 h 4201882"/>
              <a:gd name="connsiteX11" fmla="*/ 8369333 w 9344782"/>
              <a:gd name="connsiteY11" fmla="*/ 1327775 h 4201882"/>
              <a:gd name="connsiteX12" fmla="*/ 7133772 w 9344782"/>
              <a:gd name="connsiteY12" fmla="*/ 1400624 h 4201882"/>
              <a:gd name="connsiteX13" fmla="*/ 7075715 w 9344782"/>
              <a:gd name="connsiteY13" fmla="*/ 239481 h 4201882"/>
              <a:gd name="connsiteX14" fmla="*/ 1519173 w 9344782"/>
              <a:gd name="connsiteY14" fmla="*/ 3702269 h 4201882"/>
              <a:gd name="connsiteX15" fmla="*/ 2186935 w 9344782"/>
              <a:gd name="connsiteY15" fmla="*/ 3739316 h 4201882"/>
              <a:gd name="connsiteX16" fmla="*/ 1775938 w 9344782"/>
              <a:gd name="connsiteY16" fmla="*/ 4025979 h 4201882"/>
              <a:gd name="connsiteX17" fmla="*/ 1519173 w 9344782"/>
              <a:gd name="connsiteY17" fmla="*/ 3702269 h 4201882"/>
              <a:gd name="connsiteX18" fmla="*/ 3243943 w 9344782"/>
              <a:gd name="connsiteY18" fmla="*/ 319310 h 4201882"/>
              <a:gd name="connsiteX19" fmla="*/ 4434994 w 9344782"/>
              <a:gd name="connsiteY19" fmla="*/ 295452 h 4201882"/>
              <a:gd name="connsiteX20" fmla="*/ 4376937 w 9344782"/>
              <a:gd name="connsiteY20" fmla="*/ 1388196 h 4201882"/>
              <a:gd name="connsiteX21" fmla="*/ 3142344 w 9344782"/>
              <a:gd name="connsiteY21" fmla="*/ 1400624 h 4201882"/>
              <a:gd name="connsiteX22" fmla="*/ 3243943 w 9344782"/>
              <a:gd name="connsiteY22" fmla="*/ 319310 h 4201882"/>
              <a:gd name="connsiteX23" fmla="*/ 2331974 w 9344782"/>
              <a:gd name="connsiteY23" fmla="*/ 3714226 h 4201882"/>
              <a:gd name="connsiteX24" fmla="*/ 2155373 w 9344782"/>
              <a:gd name="connsiteY24" fmla="*/ 4187367 h 4201882"/>
              <a:gd name="connsiteX25" fmla="*/ 1502230 w 9344782"/>
              <a:gd name="connsiteY25" fmla="*/ 4201882 h 4201882"/>
              <a:gd name="connsiteX26" fmla="*/ 1238909 w 9344782"/>
              <a:gd name="connsiteY26" fmla="*/ 3724642 h 4201882"/>
              <a:gd name="connsiteX27" fmla="*/ 1867621 w 9344782"/>
              <a:gd name="connsiteY27" fmla="*/ 3125933 h 4201882"/>
              <a:gd name="connsiteX28" fmla="*/ 2331974 w 9344782"/>
              <a:gd name="connsiteY28" fmla="*/ 3714226 h 4201882"/>
              <a:gd name="connsiteX29" fmla="*/ 6538686 w 9344782"/>
              <a:gd name="connsiteY29" fmla="*/ 4042225 h 4201882"/>
              <a:gd name="connsiteX30" fmla="*/ 6322819 w 9344782"/>
              <a:gd name="connsiteY30" fmla="*/ 3607073 h 4201882"/>
              <a:gd name="connsiteX31" fmla="*/ 6899696 w 9344782"/>
              <a:gd name="connsiteY31" fmla="*/ 3737701 h 4201882"/>
              <a:gd name="connsiteX32" fmla="*/ 6538686 w 9344782"/>
              <a:gd name="connsiteY32" fmla="*/ 4042225 h 4201882"/>
              <a:gd name="connsiteX33" fmla="*/ 7174557 w 9344782"/>
              <a:gd name="connsiteY33" fmla="*/ 3685197 h 4201882"/>
              <a:gd name="connsiteX34" fmla="*/ 6974116 w 9344782"/>
              <a:gd name="connsiteY34" fmla="*/ 4158339 h 4201882"/>
              <a:gd name="connsiteX35" fmla="*/ 6248402 w 9344782"/>
              <a:gd name="connsiteY35" fmla="*/ 4201881 h 4201882"/>
              <a:gd name="connsiteX36" fmla="*/ 5984609 w 9344782"/>
              <a:gd name="connsiteY36" fmla="*/ 3691989 h 4201882"/>
              <a:gd name="connsiteX37" fmla="*/ 6584291 w 9344782"/>
              <a:gd name="connsiteY37" fmla="*/ 3071499 h 4201882"/>
              <a:gd name="connsiteX38" fmla="*/ 7174557 w 9344782"/>
              <a:gd name="connsiteY38" fmla="*/ 3685197 h 4201882"/>
              <a:gd name="connsiteX39" fmla="*/ 261258 w 9344782"/>
              <a:gd name="connsiteY39" fmla="*/ 3294739 h 4201882"/>
              <a:gd name="connsiteX40" fmla="*/ 1894117 w 9344782"/>
              <a:gd name="connsiteY40" fmla="*/ 68941 h 4201882"/>
              <a:gd name="connsiteX41" fmla="*/ 8171544 w 9344782"/>
              <a:gd name="connsiteY41" fmla="*/ 0 h 4201882"/>
              <a:gd name="connsiteX42" fmla="*/ 8788402 w 9344782"/>
              <a:gd name="connsiteY42" fmla="*/ 3098795 h 4201882"/>
              <a:gd name="connsiteX43" fmla="*/ 8686800 w 9344782"/>
              <a:gd name="connsiteY43" fmla="*/ 3418109 h 4201882"/>
              <a:gd name="connsiteX44" fmla="*/ 7380517 w 9344782"/>
              <a:gd name="connsiteY44" fmla="*/ 3418110 h 4201882"/>
              <a:gd name="connsiteX45" fmla="*/ 5740402 w 9344782"/>
              <a:gd name="connsiteY45" fmla="*/ 3577767 h 4201882"/>
              <a:gd name="connsiteX46" fmla="*/ 2677886 w 9344782"/>
              <a:gd name="connsiteY46" fmla="*/ 3606795 h 4201882"/>
              <a:gd name="connsiteX47" fmla="*/ 1008745 w 9344782"/>
              <a:gd name="connsiteY47" fmla="*/ 3606795 h 4201882"/>
              <a:gd name="connsiteX48" fmla="*/ 326570 w 9344782"/>
              <a:gd name="connsiteY48" fmla="*/ 3603169 h 4201882"/>
              <a:gd name="connsiteX49" fmla="*/ 261258 w 9344782"/>
              <a:gd name="connsiteY49" fmla="*/ 3294739 h 4201882"/>
              <a:gd name="connsiteX0" fmla="*/ 1821543 w 9344782"/>
              <a:gd name="connsiteY0" fmla="*/ 290282 h 4201882"/>
              <a:gd name="connsiteX1" fmla="*/ 2764092 w 9344782"/>
              <a:gd name="connsiteY1" fmla="*/ 444767 h 4201882"/>
              <a:gd name="connsiteX2" fmla="*/ 1153006 w 9344782"/>
              <a:gd name="connsiteY2" fmla="*/ 2196824 h 4201882"/>
              <a:gd name="connsiteX3" fmla="*/ 1821543 w 9344782"/>
              <a:gd name="connsiteY3" fmla="*/ 290282 h 4201882"/>
              <a:gd name="connsiteX4" fmla="*/ 6318213 w 9344782"/>
              <a:gd name="connsiteY4" fmla="*/ 276898 h 4201882"/>
              <a:gd name="connsiteX5" fmla="*/ 6335486 w 9344782"/>
              <a:gd name="connsiteY5" fmla="*/ 1386110 h 4201882"/>
              <a:gd name="connsiteX6" fmla="*/ 5103834 w 9344782"/>
              <a:gd name="connsiteY6" fmla="*/ 1384378 h 4201882"/>
              <a:gd name="connsiteX7" fmla="*/ 5171809 w 9344782"/>
              <a:gd name="connsiteY7" fmla="*/ 270402 h 4201882"/>
              <a:gd name="connsiteX8" fmla="*/ 6318213 w 9344782"/>
              <a:gd name="connsiteY8" fmla="*/ 276898 h 4201882"/>
              <a:gd name="connsiteX9" fmla="*/ 7075715 w 9344782"/>
              <a:gd name="connsiteY9" fmla="*/ 239481 h 4201882"/>
              <a:gd name="connsiteX10" fmla="*/ 8220495 w 9344782"/>
              <a:gd name="connsiteY10" fmla="*/ 253718 h 4201882"/>
              <a:gd name="connsiteX11" fmla="*/ 8369333 w 9344782"/>
              <a:gd name="connsiteY11" fmla="*/ 1327775 h 4201882"/>
              <a:gd name="connsiteX12" fmla="*/ 7133772 w 9344782"/>
              <a:gd name="connsiteY12" fmla="*/ 1400624 h 4201882"/>
              <a:gd name="connsiteX13" fmla="*/ 7075715 w 9344782"/>
              <a:gd name="connsiteY13" fmla="*/ 239481 h 4201882"/>
              <a:gd name="connsiteX14" fmla="*/ 1519173 w 9344782"/>
              <a:gd name="connsiteY14" fmla="*/ 3702269 h 4201882"/>
              <a:gd name="connsiteX15" fmla="*/ 2186935 w 9344782"/>
              <a:gd name="connsiteY15" fmla="*/ 3739316 h 4201882"/>
              <a:gd name="connsiteX16" fmla="*/ 1775938 w 9344782"/>
              <a:gd name="connsiteY16" fmla="*/ 4025979 h 4201882"/>
              <a:gd name="connsiteX17" fmla="*/ 1519173 w 9344782"/>
              <a:gd name="connsiteY17" fmla="*/ 3702269 h 4201882"/>
              <a:gd name="connsiteX18" fmla="*/ 3243943 w 9344782"/>
              <a:gd name="connsiteY18" fmla="*/ 319310 h 4201882"/>
              <a:gd name="connsiteX19" fmla="*/ 4434994 w 9344782"/>
              <a:gd name="connsiteY19" fmla="*/ 295452 h 4201882"/>
              <a:gd name="connsiteX20" fmla="*/ 4376937 w 9344782"/>
              <a:gd name="connsiteY20" fmla="*/ 1388196 h 4201882"/>
              <a:gd name="connsiteX21" fmla="*/ 3142344 w 9344782"/>
              <a:gd name="connsiteY21" fmla="*/ 1400624 h 4201882"/>
              <a:gd name="connsiteX22" fmla="*/ 3243943 w 9344782"/>
              <a:gd name="connsiteY22" fmla="*/ 319310 h 4201882"/>
              <a:gd name="connsiteX23" fmla="*/ 2331974 w 9344782"/>
              <a:gd name="connsiteY23" fmla="*/ 3714226 h 4201882"/>
              <a:gd name="connsiteX24" fmla="*/ 2155373 w 9344782"/>
              <a:gd name="connsiteY24" fmla="*/ 4187367 h 4201882"/>
              <a:gd name="connsiteX25" fmla="*/ 1502230 w 9344782"/>
              <a:gd name="connsiteY25" fmla="*/ 4201882 h 4201882"/>
              <a:gd name="connsiteX26" fmla="*/ 1238909 w 9344782"/>
              <a:gd name="connsiteY26" fmla="*/ 3724642 h 4201882"/>
              <a:gd name="connsiteX27" fmla="*/ 1867621 w 9344782"/>
              <a:gd name="connsiteY27" fmla="*/ 3125933 h 4201882"/>
              <a:gd name="connsiteX28" fmla="*/ 2331974 w 9344782"/>
              <a:gd name="connsiteY28" fmla="*/ 3714226 h 4201882"/>
              <a:gd name="connsiteX29" fmla="*/ 6538686 w 9344782"/>
              <a:gd name="connsiteY29" fmla="*/ 4042225 h 4201882"/>
              <a:gd name="connsiteX30" fmla="*/ 6322819 w 9344782"/>
              <a:gd name="connsiteY30" fmla="*/ 3607073 h 4201882"/>
              <a:gd name="connsiteX31" fmla="*/ 6899696 w 9344782"/>
              <a:gd name="connsiteY31" fmla="*/ 3737701 h 4201882"/>
              <a:gd name="connsiteX32" fmla="*/ 6538686 w 9344782"/>
              <a:gd name="connsiteY32" fmla="*/ 4042225 h 4201882"/>
              <a:gd name="connsiteX33" fmla="*/ 7174557 w 9344782"/>
              <a:gd name="connsiteY33" fmla="*/ 3685197 h 4201882"/>
              <a:gd name="connsiteX34" fmla="*/ 6974116 w 9344782"/>
              <a:gd name="connsiteY34" fmla="*/ 4158339 h 4201882"/>
              <a:gd name="connsiteX35" fmla="*/ 6248402 w 9344782"/>
              <a:gd name="connsiteY35" fmla="*/ 4201881 h 4201882"/>
              <a:gd name="connsiteX36" fmla="*/ 5984609 w 9344782"/>
              <a:gd name="connsiteY36" fmla="*/ 3691989 h 4201882"/>
              <a:gd name="connsiteX37" fmla="*/ 6584291 w 9344782"/>
              <a:gd name="connsiteY37" fmla="*/ 3071499 h 4201882"/>
              <a:gd name="connsiteX38" fmla="*/ 7174557 w 9344782"/>
              <a:gd name="connsiteY38" fmla="*/ 3685197 h 4201882"/>
              <a:gd name="connsiteX39" fmla="*/ 261258 w 9344782"/>
              <a:gd name="connsiteY39" fmla="*/ 3294739 h 4201882"/>
              <a:gd name="connsiteX40" fmla="*/ 1894117 w 9344782"/>
              <a:gd name="connsiteY40" fmla="*/ 68941 h 4201882"/>
              <a:gd name="connsiteX41" fmla="*/ 8171544 w 9344782"/>
              <a:gd name="connsiteY41" fmla="*/ 0 h 4201882"/>
              <a:gd name="connsiteX42" fmla="*/ 8773888 w 9344782"/>
              <a:gd name="connsiteY42" fmla="*/ 3156852 h 4201882"/>
              <a:gd name="connsiteX43" fmla="*/ 8686800 w 9344782"/>
              <a:gd name="connsiteY43" fmla="*/ 3418109 h 4201882"/>
              <a:gd name="connsiteX44" fmla="*/ 7380517 w 9344782"/>
              <a:gd name="connsiteY44" fmla="*/ 3418110 h 4201882"/>
              <a:gd name="connsiteX45" fmla="*/ 5740402 w 9344782"/>
              <a:gd name="connsiteY45" fmla="*/ 3577767 h 4201882"/>
              <a:gd name="connsiteX46" fmla="*/ 2677886 w 9344782"/>
              <a:gd name="connsiteY46" fmla="*/ 3606795 h 4201882"/>
              <a:gd name="connsiteX47" fmla="*/ 1008745 w 9344782"/>
              <a:gd name="connsiteY47" fmla="*/ 3606795 h 4201882"/>
              <a:gd name="connsiteX48" fmla="*/ 326570 w 9344782"/>
              <a:gd name="connsiteY48" fmla="*/ 3603169 h 4201882"/>
              <a:gd name="connsiteX49" fmla="*/ 261258 w 9344782"/>
              <a:gd name="connsiteY49" fmla="*/ 3294739 h 4201882"/>
              <a:gd name="connsiteX0" fmla="*/ 1821543 w 9344782"/>
              <a:gd name="connsiteY0" fmla="*/ 290282 h 4201882"/>
              <a:gd name="connsiteX1" fmla="*/ 2764092 w 9344782"/>
              <a:gd name="connsiteY1" fmla="*/ 444767 h 4201882"/>
              <a:gd name="connsiteX2" fmla="*/ 1153006 w 9344782"/>
              <a:gd name="connsiteY2" fmla="*/ 2196824 h 4201882"/>
              <a:gd name="connsiteX3" fmla="*/ 1821543 w 9344782"/>
              <a:gd name="connsiteY3" fmla="*/ 290282 h 4201882"/>
              <a:gd name="connsiteX4" fmla="*/ 6318213 w 9344782"/>
              <a:gd name="connsiteY4" fmla="*/ 276898 h 4201882"/>
              <a:gd name="connsiteX5" fmla="*/ 6335486 w 9344782"/>
              <a:gd name="connsiteY5" fmla="*/ 1386110 h 4201882"/>
              <a:gd name="connsiteX6" fmla="*/ 5103834 w 9344782"/>
              <a:gd name="connsiteY6" fmla="*/ 1384378 h 4201882"/>
              <a:gd name="connsiteX7" fmla="*/ 5171809 w 9344782"/>
              <a:gd name="connsiteY7" fmla="*/ 270402 h 4201882"/>
              <a:gd name="connsiteX8" fmla="*/ 6318213 w 9344782"/>
              <a:gd name="connsiteY8" fmla="*/ 276898 h 4201882"/>
              <a:gd name="connsiteX9" fmla="*/ 7075715 w 9344782"/>
              <a:gd name="connsiteY9" fmla="*/ 239481 h 4201882"/>
              <a:gd name="connsiteX10" fmla="*/ 8220495 w 9344782"/>
              <a:gd name="connsiteY10" fmla="*/ 253718 h 4201882"/>
              <a:gd name="connsiteX11" fmla="*/ 8369333 w 9344782"/>
              <a:gd name="connsiteY11" fmla="*/ 1327775 h 4201882"/>
              <a:gd name="connsiteX12" fmla="*/ 7133772 w 9344782"/>
              <a:gd name="connsiteY12" fmla="*/ 1400624 h 4201882"/>
              <a:gd name="connsiteX13" fmla="*/ 7075715 w 9344782"/>
              <a:gd name="connsiteY13" fmla="*/ 239481 h 4201882"/>
              <a:gd name="connsiteX14" fmla="*/ 1519173 w 9344782"/>
              <a:gd name="connsiteY14" fmla="*/ 3702269 h 4201882"/>
              <a:gd name="connsiteX15" fmla="*/ 2186935 w 9344782"/>
              <a:gd name="connsiteY15" fmla="*/ 3739316 h 4201882"/>
              <a:gd name="connsiteX16" fmla="*/ 1775938 w 9344782"/>
              <a:gd name="connsiteY16" fmla="*/ 4025979 h 4201882"/>
              <a:gd name="connsiteX17" fmla="*/ 1519173 w 9344782"/>
              <a:gd name="connsiteY17" fmla="*/ 3702269 h 4201882"/>
              <a:gd name="connsiteX18" fmla="*/ 3243943 w 9344782"/>
              <a:gd name="connsiteY18" fmla="*/ 319310 h 4201882"/>
              <a:gd name="connsiteX19" fmla="*/ 4434994 w 9344782"/>
              <a:gd name="connsiteY19" fmla="*/ 295452 h 4201882"/>
              <a:gd name="connsiteX20" fmla="*/ 4376937 w 9344782"/>
              <a:gd name="connsiteY20" fmla="*/ 1388196 h 4201882"/>
              <a:gd name="connsiteX21" fmla="*/ 3142344 w 9344782"/>
              <a:gd name="connsiteY21" fmla="*/ 1400624 h 4201882"/>
              <a:gd name="connsiteX22" fmla="*/ 3243943 w 9344782"/>
              <a:gd name="connsiteY22" fmla="*/ 319310 h 4201882"/>
              <a:gd name="connsiteX23" fmla="*/ 2331974 w 9344782"/>
              <a:gd name="connsiteY23" fmla="*/ 3714226 h 4201882"/>
              <a:gd name="connsiteX24" fmla="*/ 2155373 w 9344782"/>
              <a:gd name="connsiteY24" fmla="*/ 4187367 h 4201882"/>
              <a:gd name="connsiteX25" fmla="*/ 1502230 w 9344782"/>
              <a:gd name="connsiteY25" fmla="*/ 4201882 h 4201882"/>
              <a:gd name="connsiteX26" fmla="*/ 1238909 w 9344782"/>
              <a:gd name="connsiteY26" fmla="*/ 3724642 h 4201882"/>
              <a:gd name="connsiteX27" fmla="*/ 1867621 w 9344782"/>
              <a:gd name="connsiteY27" fmla="*/ 3125933 h 4201882"/>
              <a:gd name="connsiteX28" fmla="*/ 2331974 w 9344782"/>
              <a:gd name="connsiteY28" fmla="*/ 3714226 h 4201882"/>
              <a:gd name="connsiteX29" fmla="*/ 6538686 w 9344782"/>
              <a:gd name="connsiteY29" fmla="*/ 4042225 h 4201882"/>
              <a:gd name="connsiteX30" fmla="*/ 6322819 w 9344782"/>
              <a:gd name="connsiteY30" fmla="*/ 3607073 h 4201882"/>
              <a:gd name="connsiteX31" fmla="*/ 6899696 w 9344782"/>
              <a:gd name="connsiteY31" fmla="*/ 3737701 h 4201882"/>
              <a:gd name="connsiteX32" fmla="*/ 6538686 w 9344782"/>
              <a:gd name="connsiteY32" fmla="*/ 4042225 h 4201882"/>
              <a:gd name="connsiteX33" fmla="*/ 7174557 w 9344782"/>
              <a:gd name="connsiteY33" fmla="*/ 3685197 h 4201882"/>
              <a:gd name="connsiteX34" fmla="*/ 6974116 w 9344782"/>
              <a:gd name="connsiteY34" fmla="*/ 4158339 h 4201882"/>
              <a:gd name="connsiteX35" fmla="*/ 6248402 w 9344782"/>
              <a:gd name="connsiteY35" fmla="*/ 4201881 h 4201882"/>
              <a:gd name="connsiteX36" fmla="*/ 5984609 w 9344782"/>
              <a:gd name="connsiteY36" fmla="*/ 3691989 h 4201882"/>
              <a:gd name="connsiteX37" fmla="*/ 6584291 w 9344782"/>
              <a:gd name="connsiteY37" fmla="*/ 3071499 h 4201882"/>
              <a:gd name="connsiteX38" fmla="*/ 7174557 w 9344782"/>
              <a:gd name="connsiteY38" fmla="*/ 3685197 h 4201882"/>
              <a:gd name="connsiteX39" fmla="*/ 261258 w 9344782"/>
              <a:gd name="connsiteY39" fmla="*/ 3294739 h 4201882"/>
              <a:gd name="connsiteX40" fmla="*/ 1894117 w 9344782"/>
              <a:gd name="connsiteY40" fmla="*/ 68941 h 4201882"/>
              <a:gd name="connsiteX41" fmla="*/ 8171544 w 9344782"/>
              <a:gd name="connsiteY41" fmla="*/ 0 h 4201882"/>
              <a:gd name="connsiteX42" fmla="*/ 8773888 w 9344782"/>
              <a:gd name="connsiteY42" fmla="*/ 3156852 h 4201882"/>
              <a:gd name="connsiteX43" fmla="*/ 8686800 w 9344782"/>
              <a:gd name="connsiteY43" fmla="*/ 3418109 h 4201882"/>
              <a:gd name="connsiteX44" fmla="*/ 7380517 w 9344782"/>
              <a:gd name="connsiteY44" fmla="*/ 3418110 h 4201882"/>
              <a:gd name="connsiteX45" fmla="*/ 5740402 w 9344782"/>
              <a:gd name="connsiteY45" fmla="*/ 3577767 h 4201882"/>
              <a:gd name="connsiteX46" fmla="*/ 2677886 w 9344782"/>
              <a:gd name="connsiteY46" fmla="*/ 3606795 h 4201882"/>
              <a:gd name="connsiteX47" fmla="*/ 1008745 w 9344782"/>
              <a:gd name="connsiteY47" fmla="*/ 3606795 h 4201882"/>
              <a:gd name="connsiteX48" fmla="*/ 326570 w 9344782"/>
              <a:gd name="connsiteY48" fmla="*/ 3603169 h 4201882"/>
              <a:gd name="connsiteX49" fmla="*/ 261258 w 9344782"/>
              <a:gd name="connsiteY49" fmla="*/ 3294739 h 4201882"/>
              <a:gd name="connsiteX0" fmla="*/ 1821543 w 9344782"/>
              <a:gd name="connsiteY0" fmla="*/ 290282 h 4201882"/>
              <a:gd name="connsiteX1" fmla="*/ 2764092 w 9344782"/>
              <a:gd name="connsiteY1" fmla="*/ 444767 h 4201882"/>
              <a:gd name="connsiteX2" fmla="*/ 1153006 w 9344782"/>
              <a:gd name="connsiteY2" fmla="*/ 2196824 h 4201882"/>
              <a:gd name="connsiteX3" fmla="*/ 1821543 w 9344782"/>
              <a:gd name="connsiteY3" fmla="*/ 290282 h 4201882"/>
              <a:gd name="connsiteX4" fmla="*/ 6318213 w 9344782"/>
              <a:gd name="connsiteY4" fmla="*/ 276898 h 4201882"/>
              <a:gd name="connsiteX5" fmla="*/ 6335486 w 9344782"/>
              <a:gd name="connsiteY5" fmla="*/ 1386110 h 4201882"/>
              <a:gd name="connsiteX6" fmla="*/ 5103834 w 9344782"/>
              <a:gd name="connsiteY6" fmla="*/ 1384378 h 4201882"/>
              <a:gd name="connsiteX7" fmla="*/ 5171809 w 9344782"/>
              <a:gd name="connsiteY7" fmla="*/ 270402 h 4201882"/>
              <a:gd name="connsiteX8" fmla="*/ 6318213 w 9344782"/>
              <a:gd name="connsiteY8" fmla="*/ 276898 h 4201882"/>
              <a:gd name="connsiteX9" fmla="*/ 7075715 w 9344782"/>
              <a:gd name="connsiteY9" fmla="*/ 239481 h 4201882"/>
              <a:gd name="connsiteX10" fmla="*/ 8220495 w 9344782"/>
              <a:gd name="connsiteY10" fmla="*/ 253718 h 4201882"/>
              <a:gd name="connsiteX11" fmla="*/ 8369333 w 9344782"/>
              <a:gd name="connsiteY11" fmla="*/ 1327775 h 4201882"/>
              <a:gd name="connsiteX12" fmla="*/ 7133772 w 9344782"/>
              <a:gd name="connsiteY12" fmla="*/ 1400624 h 4201882"/>
              <a:gd name="connsiteX13" fmla="*/ 7075715 w 9344782"/>
              <a:gd name="connsiteY13" fmla="*/ 239481 h 4201882"/>
              <a:gd name="connsiteX14" fmla="*/ 1519173 w 9344782"/>
              <a:gd name="connsiteY14" fmla="*/ 3702269 h 4201882"/>
              <a:gd name="connsiteX15" fmla="*/ 2186935 w 9344782"/>
              <a:gd name="connsiteY15" fmla="*/ 3739316 h 4201882"/>
              <a:gd name="connsiteX16" fmla="*/ 1775938 w 9344782"/>
              <a:gd name="connsiteY16" fmla="*/ 4025979 h 4201882"/>
              <a:gd name="connsiteX17" fmla="*/ 1519173 w 9344782"/>
              <a:gd name="connsiteY17" fmla="*/ 3702269 h 4201882"/>
              <a:gd name="connsiteX18" fmla="*/ 3243943 w 9344782"/>
              <a:gd name="connsiteY18" fmla="*/ 319310 h 4201882"/>
              <a:gd name="connsiteX19" fmla="*/ 4434994 w 9344782"/>
              <a:gd name="connsiteY19" fmla="*/ 295452 h 4201882"/>
              <a:gd name="connsiteX20" fmla="*/ 4376937 w 9344782"/>
              <a:gd name="connsiteY20" fmla="*/ 1388196 h 4201882"/>
              <a:gd name="connsiteX21" fmla="*/ 3142344 w 9344782"/>
              <a:gd name="connsiteY21" fmla="*/ 1400624 h 4201882"/>
              <a:gd name="connsiteX22" fmla="*/ 3243943 w 9344782"/>
              <a:gd name="connsiteY22" fmla="*/ 319310 h 4201882"/>
              <a:gd name="connsiteX23" fmla="*/ 2331974 w 9344782"/>
              <a:gd name="connsiteY23" fmla="*/ 3714226 h 4201882"/>
              <a:gd name="connsiteX24" fmla="*/ 2155373 w 9344782"/>
              <a:gd name="connsiteY24" fmla="*/ 4187367 h 4201882"/>
              <a:gd name="connsiteX25" fmla="*/ 1502230 w 9344782"/>
              <a:gd name="connsiteY25" fmla="*/ 4201882 h 4201882"/>
              <a:gd name="connsiteX26" fmla="*/ 1238909 w 9344782"/>
              <a:gd name="connsiteY26" fmla="*/ 3724642 h 4201882"/>
              <a:gd name="connsiteX27" fmla="*/ 1867621 w 9344782"/>
              <a:gd name="connsiteY27" fmla="*/ 3125933 h 4201882"/>
              <a:gd name="connsiteX28" fmla="*/ 2331974 w 9344782"/>
              <a:gd name="connsiteY28" fmla="*/ 3714226 h 4201882"/>
              <a:gd name="connsiteX29" fmla="*/ 6538686 w 9344782"/>
              <a:gd name="connsiteY29" fmla="*/ 4042225 h 4201882"/>
              <a:gd name="connsiteX30" fmla="*/ 6322819 w 9344782"/>
              <a:gd name="connsiteY30" fmla="*/ 3607073 h 4201882"/>
              <a:gd name="connsiteX31" fmla="*/ 6899696 w 9344782"/>
              <a:gd name="connsiteY31" fmla="*/ 3737701 h 4201882"/>
              <a:gd name="connsiteX32" fmla="*/ 6538686 w 9344782"/>
              <a:gd name="connsiteY32" fmla="*/ 4042225 h 4201882"/>
              <a:gd name="connsiteX33" fmla="*/ 7174557 w 9344782"/>
              <a:gd name="connsiteY33" fmla="*/ 3685197 h 4201882"/>
              <a:gd name="connsiteX34" fmla="*/ 6974116 w 9344782"/>
              <a:gd name="connsiteY34" fmla="*/ 4158339 h 4201882"/>
              <a:gd name="connsiteX35" fmla="*/ 6248402 w 9344782"/>
              <a:gd name="connsiteY35" fmla="*/ 4201881 h 4201882"/>
              <a:gd name="connsiteX36" fmla="*/ 5984609 w 9344782"/>
              <a:gd name="connsiteY36" fmla="*/ 3691989 h 4201882"/>
              <a:gd name="connsiteX37" fmla="*/ 6584291 w 9344782"/>
              <a:gd name="connsiteY37" fmla="*/ 3071499 h 4201882"/>
              <a:gd name="connsiteX38" fmla="*/ 7174557 w 9344782"/>
              <a:gd name="connsiteY38" fmla="*/ 3685197 h 4201882"/>
              <a:gd name="connsiteX39" fmla="*/ 261258 w 9344782"/>
              <a:gd name="connsiteY39" fmla="*/ 3294739 h 4201882"/>
              <a:gd name="connsiteX40" fmla="*/ 1894117 w 9344782"/>
              <a:gd name="connsiteY40" fmla="*/ 68941 h 4201882"/>
              <a:gd name="connsiteX41" fmla="*/ 8171544 w 9344782"/>
              <a:gd name="connsiteY41" fmla="*/ 0 h 4201882"/>
              <a:gd name="connsiteX42" fmla="*/ 8773888 w 9344782"/>
              <a:gd name="connsiteY42" fmla="*/ 3156852 h 4201882"/>
              <a:gd name="connsiteX43" fmla="*/ 8686800 w 9344782"/>
              <a:gd name="connsiteY43" fmla="*/ 3418109 h 4201882"/>
              <a:gd name="connsiteX44" fmla="*/ 7380517 w 9344782"/>
              <a:gd name="connsiteY44" fmla="*/ 3418110 h 4201882"/>
              <a:gd name="connsiteX45" fmla="*/ 5740402 w 9344782"/>
              <a:gd name="connsiteY45" fmla="*/ 3577767 h 4201882"/>
              <a:gd name="connsiteX46" fmla="*/ 2677886 w 9344782"/>
              <a:gd name="connsiteY46" fmla="*/ 3606795 h 4201882"/>
              <a:gd name="connsiteX47" fmla="*/ 1008745 w 9344782"/>
              <a:gd name="connsiteY47" fmla="*/ 3606795 h 4201882"/>
              <a:gd name="connsiteX48" fmla="*/ 326570 w 9344782"/>
              <a:gd name="connsiteY48" fmla="*/ 3603169 h 4201882"/>
              <a:gd name="connsiteX49" fmla="*/ 261258 w 9344782"/>
              <a:gd name="connsiteY49" fmla="*/ 3294739 h 4201882"/>
              <a:gd name="connsiteX0" fmla="*/ 1821543 w 9335106"/>
              <a:gd name="connsiteY0" fmla="*/ 290282 h 4201882"/>
              <a:gd name="connsiteX1" fmla="*/ 2764092 w 9335106"/>
              <a:gd name="connsiteY1" fmla="*/ 444767 h 4201882"/>
              <a:gd name="connsiteX2" fmla="*/ 1153006 w 9335106"/>
              <a:gd name="connsiteY2" fmla="*/ 2196824 h 4201882"/>
              <a:gd name="connsiteX3" fmla="*/ 1821543 w 9335106"/>
              <a:gd name="connsiteY3" fmla="*/ 290282 h 4201882"/>
              <a:gd name="connsiteX4" fmla="*/ 6318213 w 9335106"/>
              <a:gd name="connsiteY4" fmla="*/ 276898 h 4201882"/>
              <a:gd name="connsiteX5" fmla="*/ 6335486 w 9335106"/>
              <a:gd name="connsiteY5" fmla="*/ 1386110 h 4201882"/>
              <a:gd name="connsiteX6" fmla="*/ 5103834 w 9335106"/>
              <a:gd name="connsiteY6" fmla="*/ 1384378 h 4201882"/>
              <a:gd name="connsiteX7" fmla="*/ 5171809 w 9335106"/>
              <a:gd name="connsiteY7" fmla="*/ 270402 h 4201882"/>
              <a:gd name="connsiteX8" fmla="*/ 6318213 w 9335106"/>
              <a:gd name="connsiteY8" fmla="*/ 276898 h 4201882"/>
              <a:gd name="connsiteX9" fmla="*/ 7075715 w 9335106"/>
              <a:gd name="connsiteY9" fmla="*/ 239481 h 4201882"/>
              <a:gd name="connsiteX10" fmla="*/ 8220495 w 9335106"/>
              <a:gd name="connsiteY10" fmla="*/ 253718 h 4201882"/>
              <a:gd name="connsiteX11" fmla="*/ 8369333 w 9335106"/>
              <a:gd name="connsiteY11" fmla="*/ 1327775 h 4201882"/>
              <a:gd name="connsiteX12" fmla="*/ 7133772 w 9335106"/>
              <a:gd name="connsiteY12" fmla="*/ 1400624 h 4201882"/>
              <a:gd name="connsiteX13" fmla="*/ 7075715 w 9335106"/>
              <a:gd name="connsiteY13" fmla="*/ 239481 h 4201882"/>
              <a:gd name="connsiteX14" fmla="*/ 1519173 w 9335106"/>
              <a:gd name="connsiteY14" fmla="*/ 3702269 h 4201882"/>
              <a:gd name="connsiteX15" fmla="*/ 2186935 w 9335106"/>
              <a:gd name="connsiteY15" fmla="*/ 3739316 h 4201882"/>
              <a:gd name="connsiteX16" fmla="*/ 1775938 w 9335106"/>
              <a:gd name="connsiteY16" fmla="*/ 4025979 h 4201882"/>
              <a:gd name="connsiteX17" fmla="*/ 1519173 w 9335106"/>
              <a:gd name="connsiteY17" fmla="*/ 3702269 h 4201882"/>
              <a:gd name="connsiteX18" fmla="*/ 3243943 w 9335106"/>
              <a:gd name="connsiteY18" fmla="*/ 319310 h 4201882"/>
              <a:gd name="connsiteX19" fmla="*/ 4434994 w 9335106"/>
              <a:gd name="connsiteY19" fmla="*/ 295452 h 4201882"/>
              <a:gd name="connsiteX20" fmla="*/ 4376937 w 9335106"/>
              <a:gd name="connsiteY20" fmla="*/ 1388196 h 4201882"/>
              <a:gd name="connsiteX21" fmla="*/ 3142344 w 9335106"/>
              <a:gd name="connsiteY21" fmla="*/ 1400624 h 4201882"/>
              <a:gd name="connsiteX22" fmla="*/ 3243943 w 9335106"/>
              <a:gd name="connsiteY22" fmla="*/ 319310 h 4201882"/>
              <a:gd name="connsiteX23" fmla="*/ 2331974 w 9335106"/>
              <a:gd name="connsiteY23" fmla="*/ 3714226 h 4201882"/>
              <a:gd name="connsiteX24" fmla="*/ 2155373 w 9335106"/>
              <a:gd name="connsiteY24" fmla="*/ 4187367 h 4201882"/>
              <a:gd name="connsiteX25" fmla="*/ 1502230 w 9335106"/>
              <a:gd name="connsiteY25" fmla="*/ 4201882 h 4201882"/>
              <a:gd name="connsiteX26" fmla="*/ 1238909 w 9335106"/>
              <a:gd name="connsiteY26" fmla="*/ 3724642 h 4201882"/>
              <a:gd name="connsiteX27" fmla="*/ 1867621 w 9335106"/>
              <a:gd name="connsiteY27" fmla="*/ 3125933 h 4201882"/>
              <a:gd name="connsiteX28" fmla="*/ 2331974 w 9335106"/>
              <a:gd name="connsiteY28" fmla="*/ 3714226 h 4201882"/>
              <a:gd name="connsiteX29" fmla="*/ 6538686 w 9335106"/>
              <a:gd name="connsiteY29" fmla="*/ 4042225 h 4201882"/>
              <a:gd name="connsiteX30" fmla="*/ 6322819 w 9335106"/>
              <a:gd name="connsiteY30" fmla="*/ 3607073 h 4201882"/>
              <a:gd name="connsiteX31" fmla="*/ 6899696 w 9335106"/>
              <a:gd name="connsiteY31" fmla="*/ 3737701 h 4201882"/>
              <a:gd name="connsiteX32" fmla="*/ 6538686 w 9335106"/>
              <a:gd name="connsiteY32" fmla="*/ 4042225 h 4201882"/>
              <a:gd name="connsiteX33" fmla="*/ 7174557 w 9335106"/>
              <a:gd name="connsiteY33" fmla="*/ 3685197 h 4201882"/>
              <a:gd name="connsiteX34" fmla="*/ 6974116 w 9335106"/>
              <a:gd name="connsiteY34" fmla="*/ 4158339 h 4201882"/>
              <a:gd name="connsiteX35" fmla="*/ 6248402 w 9335106"/>
              <a:gd name="connsiteY35" fmla="*/ 4201881 h 4201882"/>
              <a:gd name="connsiteX36" fmla="*/ 5984609 w 9335106"/>
              <a:gd name="connsiteY36" fmla="*/ 3691989 h 4201882"/>
              <a:gd name="connsiteX37" fmla="*/ 6584291 w 9335106"/>
              <a:gd name="connsiteY37" fmla="*/ 3071499 h 4201882"/>
              <a:gd name="connsiteX38" fmla="*/ 7174557 w 9335106"/>
              <a:gd name="connsiteY38" fmla="*/ 3685197 h 4201882"/>
              <a:gd name="connsiteX39" fmla="*/ 261258 w 9335106"/>
              <a:gd name="connsiteY39" fmla="*/ 3294739 h 4201882"/>
              <a:gd name="connsiteX40" fmla="*/ 1894117 w 9335106"/>
              <a:gd name="connsiteY40" fmla="*/ 68941 h 4201882"/>
              <a:gd name="connsiteX41" fmla="*/ 8171544 w 9335106"/>
              <a:gd name="connsiteY41" fmla="*/ 0 h 4201882"/>
              <a:gd name="connsiteX42" fmla="*/ 8715830 w 9335106"/>
              <a:gd name="connsiteY42" fmla="*/ 616852 h 4201882"/>
              <a:gd name="connsiteX43" fmla="*/ 8773888 w 9335106"/>
              <a:gd name="connsiteY43" fmla="*/ 3156852 h 4201882"/>
              <a:gd name="connsiteX44" fmla="*/ 8686800 w 9335106"/>
              <a:gd name="connsiteY44" fmla="*/ 3418109 h 4201882"/>
              <a:gd name="connsiteX45" fmla="*/ 7380517 w 9335106"/>
              <a:gd name="connsiteY45" fmla="*/ 3418110 h 4201882"/>
              <a:gd name="connsiteX46" fmla="*/ 5740402 w 9335106"/>
              <a:gd name="connsiteY46" fmla="*/ 3577767 h 4201882"/>
              <a:gd name="connsiteX47" fmla="*/ 2677886 w 9335106"/>
              <a:gd name="connsiteY47" fmla="*/ 3606795 h 4201882"/>
              <a:gd name="connsiteX48" fmla="*/ 1008745 w 9335106"/>
              <a:gd name="connsiteY48" fmla="*/ 3606795 h 4201882"/>
              <a:gd name="connsiteX49" fmla="*/ 326570 w 9335106"/>
              <a:gd name="connsiteY49" fmla="*/ 3603169 h 4201882"/>
              <a:gd name="connsiteX50" fmla="*/ 261258 w 9335106"/>
              <a:gd name="connsiteY50" fmla="*/ 3294739 h 4201882"/>
              <a:gd name="connsiteX0" fmla="*/ 1821543 w 9335106"/>
              <a:gd name="connsiteY0" fmla="*/ 290282 h 4201882"/>
              <a:gd name="connsiteX1" fmla="*/ 2764092 w 9335106"/>
              <a:gd name="connsiteY1" fmla="*/ 444767 h 4201882"/>
              <a:gd name="connsiteX2" fmla="*/ 1153006 w 9335106"/>
              <a:gd name="connsiteY2" fmla="*/ 2196824 h 4201882"/>
              <a:gd name="connsiteX3" fmla="*/ 1821543 w 9335106"/>
              <a:gd name="connsiteY3" fmla="*/ 290282 h 4201882"/>
              <a:gd name="connsiteX4" fmla="*/ 6318213 w 9335106"/>
              <a:gd name="connsiteY4" fmla="*/ 276898 h 4201882"/>
              <a:gd name="connsiteX5" fmla="*/ 6335486 w 9335106"/>
              <a:gd name="connsiteY5" fmla="*/ 1386110 h 4201882"/>
              <a:gd name="connsiteX6" fmla="*/ 5103834 w 9335106"/>
              <a:gd name="connsiteY6" fmla="*/ 1384378 h 4201882"/>
              <a:gd name="connsiteX7" fmla="*/ 5171809 w 9335106"/>
              <a:gd name="connsiteY7" fmla="*/ 270402 h 4201882"/>
              <a:gd name="connsiteX8" fmla="*/ 6318213 w 9335106"/>
              <a:gd name="connsiteY8" fmla="*/ 276898 h 4201882"/>
              <a:gd name="connsiteX9" fmla="*/ 7075715 w 9335106"/>
              <a:gd name="connsiteY9" fmla="*/ 239481 h 4201882"/>
              <a:gd name="connsiteX10" fmla="*/ 8220495 w 9335106"/>
              <a:gd name="connsiteY10" fmla="*/ 253718 h 4201882"/>
              <a:gd name="connsiteX11" fmla="*/ 8369333 w 9335106"/>
              <a:gd name="connsiteY11" fmla="*/ 1327775 h 4201882"/>
              <a:gd name="connsiteX12" fmla="*/ 7133772 w 9335106"/>
              <a:gd name="connsiteY12" fmla="*/ 1400624 h 4201882"/>
              <a:gd name="connsiteX13" fmla="*/ 7075715 w 9335106"/>
              <a:gd name="connsiteY13" fmla="*/ 239481 h 4201882"/>
              <a:gd name="connsiteX14" fmla="*/ 1519173 w 9335106"/>
              <a:gd name="connsiteY14" fmla="*/ 3702269 h 4201882"/>
              <a:gd name="connsiteX15" fmla="*/ 2186935 w 9335106"/>
              <a:gd name="connsiteY15" fmla="*/ 3739316 h 4201882"/>
              <a:gd name="connsiteX16" fmla="*/ 1775938 w 9335106"/>
              <a:gd name="connsiteY16" fmla="*/ 4025979 h 4201882"/>
              <a:gd name="connsiteX17" fmla="*/ 1519173 w 9335106"/>
              <a:gd name="connsiteY17" fmla="*/ 3702269 h 4201882"/>
              <a:gd name="connsiteX18" fmla="*/ 3243943 w 9335106"/>
              <a:gd name="connsiteY18" fmla="*/ 319310 h 4201882"/>
              <a:gd name="connsiteX19" fmla="*/ 4434994 w 9335106"/>
              <a:gd name="connsiteY19" fmla="*/ 295452 h 4201882"/>
              <a:gd name="connsiteX20" fmla="*/ 4376937 w 9335106"/>
              <a:gd name="connsiteY20" fmla="*/ 1388196 h 4201882"/>
              <a:gd name="connsiteX21" fmla="*/ 3142344 w 9335106"/>
              <a:gd name="connsiteY21" fmla="*/ 1400624 h 4201882"/>
              <a:gd name="connsiteX22" fmla="*/ 3243943 w 9335106"/>
              <a:gd name="connsiteY22" fmla="*/ 319310 h 4201882"/>
              <a:gd name="connsiteX23" fmla="*/ 2331974 w 9335106"/>
              <a:gd name="connsiteY23" fmla="*/ 3714226 h 4201882"/>
              <a:gd name="connsiteX24" fmla="*/ 2155373 w 9335106"/>
              <a:gd name="connsiteY24" fmla="*/ 4187367 h 4201882"/>
              <a:gd name="connsiteX25" fmla="*/ 1502230 w 9335106"/>
              <a:gd name="connsiteY25" fmla="*/ 4201882 h 4201882"/>
              <a:gd name="connsiteX26" fmla="*/ 1238909 w 9335106"/>
              <a:gd name="connsiteY26" fmla="*/ 3724642 h 4201882"/>
              <a:gd name="connsiteX27" fmla="*/ 1867621 w 9335106"/>
              <a:gd name="connsiteY27" fmla="*/ 3125933 h 4201882"/>
              <a:gd name="connsiteX28" fmla="*/ 2331974 w 9335106"/>
              <a:gd name="connsiteY28" fmla="*/ 3714226 h 4201882"/>
              <a:gd name="connsiteX29" fmla="*/ 6538686 w 9335106"/>
              <a:gd name="connsiteY29" fmla="*/ 4042225 h 4201882"/>
              <a:gd name="connsiteX30" fmla="*/ 6322819 w 9335106"/>
              <a:gd name="connsiteY30" fmla="*/ 3607073 h 4201882"/>
              <a:gd name="connsiteX31" fmla="*/ 6899696 w 9335106"/>
              <a:gd name="connsiteY31" fmla="*/ 3737701 h 4201882"/>
              <a:gd name="connsiteX32" fmla="*/ 6538686 w 9335106"/>
              <a:gd name="connsiteY32" fmla="*/ 4042225 h 4201882"/>
              <a:gd name="connsiteX33" fmla="*/ 7174557 w 9335106"/>
              <a:gd name="connsiteY33" fmla="*/ 3685197 h 4201882"/>
              <a:gd name="connsiteX34" fmla="*/ 6974116 w 9335106"/>
              <a:gd name="connsiteY34" fmla="*/ 4158339 h 4201882"/>
              <a:gd name="connsiteX35" fmla="*/ 6248402 w 9335106"/>
              <a:gd name="connsiteY35" fmla="*/ 4201881 h 4201882"/>
              <a:gd name="connsiteX36" fmla="*/ 5984609 w 9335106"/>
              <a:gd name="connsiteY36" fmla="*/ 3691989 h 4201882"/>
              <a:gd name="connsiteX37" fmla="*/ 6584291 w 9335106"/>
              <a:gd name="connsiteY37" fmla="*/ 3071499 h 4201882"/>
              <a:gd name="connsiteX38" fmla="*/ 7174557 w 9335106"/>
              <a:gd name="connsiteY38" fmla="*/ 3685197 h 4201882"/>
              <a:gd name="connsiteX39" fmla="*/ 261258 w 9335106"/>
              <a:gd name="connsiteY39" fmla="*/ 3294739 h 4201882"/>
              <a:gd name="connsiteX40" fmla="*/ 1894117 w 9335106"/>
              <a:gd name="connsiteY40" fmla="*/ 68941 h 4201882"/>
              <a:gd name="connsiteX41" fmla="*/ 8171544 w 9335106"/>
              <a:gd name="connsiteY41" fmla="*/ 0 h 4201882"/>
              <a:gd name="connsiteX42" fmla="*/ 8715830 w 9335106"/>
              <a:gd name="connsiteY42" fmla="*/ 616852 h 4201882"/>
              <a:gd name="connsiteX43" fmla="*/ 8773888 w 9335106"/>
              <a:gd name="connsiteY43" fmla="*/ 3156852 h 4201882"/>
              <a:gd name="connsiteX44" fmla="*/ 8686800 w 9335106"/>
              <a:gd name="connsiteY44" fmla="*/ 3418109 h 4201882"/>
              <a:gd name="connsiteX45" fmla="*/ 7380517 w 9335106"/>
              <a:gd name="connsiteY45" fmla="*/ 3418110 h 4201882"/>
              <a:gd name="connsiteX46" fmla="*/ 5740402 w 9335106"/>
              <a:gd name="connsiteY46" fmla="*/ 3577767 h 4201882"/>
              <a:gd name="connsiteX47" fmla="*/ 2677886 w 9335106"/>
              <a:gd name="connsiteY47" fmla="*/ 3606795 h 4201882"/>
              <a:gd name="connsiteX48" fmla="*/ 1008745 w 9335106"/>
              <a:gd name="connsiteY48" fmla="*/ 3606795 h 4201882"/>
              <a:gd name="connsiteX49" fmla="*/ 326570 w 9335106"/>
              <a:gd name="connsiteY49" fmla="*/ 3603169 h 4201882"/>
              <a:gd name="connsiteX50" fmla="*/ 261258 w 9335106"/>
              <a:gd name="connsiteY50" fmla="*/ 3294739 h 4201882"/>
              <a:gd name="connsiteX0" fmla="*/ 1821543 w 9335106"/>
              <a:gd name="connsiteY0" fmla="*/ 290282 h 4201882"/>
              <a:gd name="connsiteX1" fmla="*/ 2764092 w 9335106"/>
              <a:gd name="connsiteY1" fmla="*/ 444767 h 4201882"/>
              <a:gd name="connsiteX2" fmla="*/ 1153006 w 9335106"/>
              <a:gd name="connsiteY2" fmla="*/ 2196824 h 4201882"/>
              <a:gd name="connsiteX3" fmla="*/ 1821543 w 9335106"/>
              <a:gd name="connsiteY3" fmla="*/ 290282 h 4201882"/>
              <a:gd name="connsiteX4" fmla="*/ 6318213 w 9335106"/>
              <a:gd name="connsiteY4" fmla="*/ 276898 h 4201882"/>
              <a:gd name="connsiteX5" fmla="*/ 6335486 w 9335106"/>
              <a:gd name="connsiteY5" fmla="*/ 1386110 h 4201882"/>
              <a:gd name="connsiteX6" fmla="*/ 5103834 w 9335106"/>
              <a:gd name="connsiteY6" fmla="*/ 1384378 h 4201882"/>
              <a:gd name="connsiteX7" fmla="*/ 5171809 w 9335106"/>
              <a:gd name="connsiteY7" fmla="*/ 270402 h 4201882"/>
              <a:gd name="connsiteX8" fmla="*/ 6318213 w 9335106"/>
              <a:gd name="connsiteY8" fmla="*/ 276898 h 4201882"/>
              <a:gd name="connsiteX9" fmla="*/ 7075715 w 9335106"/>
              <a:gd name="connsiteY9" fmla="*/ 239481 h 4201882"/>
              <a:gd name="connsiteX10" fmla="*/ 8220495 w 9335106"/>
              <a:gd name="connsiteY10" fmla="*/ 253718 h 4201882"/>
              <a:gd name="connsiteX11" fmla="*/ 8369333 w 9335106"/>
              <a:gd name="connsiteY11" fmla="*/ 1327775 h 4201882"/>
              <a:gd name="connsiteX12" fmla="*/ 7133772 w 9335106"/>
              <a:gd name="connsiteY12" fmla="*/ 1400624 h 4201882"/>
              <a:gd name="connsiteX13" fmla="*/ 7075715 w 9335106"/>
              <a:gd name="connsiteY13" fmla="*/ 239481 h 4201882"/>
              <a:gd name="connsiteX14" fmla="*/ 1519173 w 9335106"/>
              <a:gd name="connsiteY14" fmla="*/ 3702269 h 4201882"/>
              <a:gd name="connsiteX15" fmla="*/ 2186935 w 9335106"/>
              <a:gd name="connsiteY15" fmla="*/ 3739316 h 4201882"/>
              <a:gd name="connsiteX16" fmla="*/ 1775938 w 9335106"/>
              <a:gd name="connsiteY16" fmla="*/ 4025979 h 4201882"/>
              <a:gd name="connsiteX17" fmla="*/ 1519173 w 9335106"/>
              <a:gd name="connsiteY17" fmla="*/ 3702269 h 4201882"/>
              <a:gd name="connsiteX18" fmla="*/ 3243943 w 9335106"/>
              <a:gd name="connsiteY18" fmla="*/ 319310 h 4201882"/>
              <a:gd name="connsiteX19" fmla="*/ 4434994 w 9335106"/>
              <a:gd name="connsiteY19" fmla="*/ 295452 h 4201882"/>
              <a:gd name="connsiteX20" fmla="*/ 4376937 w 9335106"/>
              <a:gd name="connsiteY20" fmla="*/ 1388196 h 4201882"/>
              <a:gd name="connsiteX21" fmla="*/ 3142344 w 9335106"/>
              <a:gd name="connsiteY21" fmla="*/ 1400624 h 4201882"/>
              <a:gd name="connsiteX22" fmla="*/ 3243943 w 9335106"/>
              <a:gd name="connsiteY22" fmla="*/ 319310 h 4201882"/>
              <a:gd name="connsiteX23" fmla="*/ 2331974 w 9335106"/>
              <a:gd name="connsiteY23" fmla="*/ 3714226 h 4201882"/>
              <a:gd name="connsiteX24" fmla="*/ 2155373 w 9335106"/>
              <a:gd name="connsiteY24" fmla="*/ 4187367 h 4201882"/>
              <a:gd name="connsiteX25" fmla="*/ 1502230 w 9335106"/>
              <a:gd name="connsiteY25" fmla="*/ 4201882 h 4201882"/>
              <a:gd name="connsiteX26" fmla="*/ 1238909 w 9335106"/>
              <a:gd name="connsiteY26" fmla="*/ 3724642 h 4201882"/>
              <a:gd name="connsiteX27" fmla="*/ 1867621 w 9335106"/>
              <a:gd name="connsiteY27" fmla="*/ 3125933 h 4201882"/>
              <a:gd name="connsiteX28" fmla="*/ 2331974 w 9335106"/>
              <a:gd name="connsiteY28" fmla="*/ 3714226 h 4201882"/>
              <a:gd name="connsiteX29" fmla="*/ 6538686 w 9335106"/>
              <a:gd name="connsiteY29" fmla="*/ 4042225 h 4201882"/>
              <a:gd name="connsiteX30" fmla="*/ 6322819 w 9335106"/>
              <a:gd name="connsiteY30" fmla="*/ 3607073 h 4201882"/>
              <a:gd name="connsiteX31" fmla="*/ 6899696 w 9335106"/>
              <a:gd name="connsiteY31" fmla="*/ 3737701 h 4201882"/>
              <a:gd name="connsiteX32" fmla="*/ 6538686 w 9335106"/>
              <a:gd name="connsiteY32" fmla="*/ 4042225 h 4201882"/>
              <a:gd name="connsiteX33" fmla="*/ 7174557 w 9335106"/>
              <a:gd name="connsiteY33" fmla="*/ 3685197 h 4201882"/>
              <a:gd name="connsiteX34" fmla="*/ 6974116 w 9335106"/>
              <a:gd name="connsiteY34" fmla="*/ 4158339 h 4201882"/>
              <a:gd name="connsiteX35" fmla="*/ 6248402 w 9335106"/>
              <a:gd name="connsiteY35" fmla="*/ 4201881 h 4201882"/>
              <a:gd name="connsiteX36" fmla="*/ 5984609 w 9335106"/>
              <a:gd name="connsiteY36" fmla="*/ 3691989 h 4201882"/>
              <a:gd name="connsiteX37" fmla="*/ 6584291 w 9335106"/>
              <a:gd name="connsiteY37" fmla="*/ 3071499 h 4201882"/>
              <a:gd name="connsiteX38" fmla="*/ 7174557 w 9335106"/>
              <a:gd name="connsiteY38" fmla="*/ 3685197 h 4201882"/>
              <a:gd name="connsiteX39" fmla="*/ 261258 w 9335106"/>
              <a:gd name="connsiteY39" fmla="*/ 3294739 h 4201882"/>
              <a:gd name="connsiteX40" fmla="*/ 1894117 w 9335106"/>
              <a:gd name="connsiteY40" fmla="*/ 68941 h 4201882"/>
              <a:gd name="connsiteX41" fmla="*/ 8171544 w 9335106"/>
              <a:gd name="connsiteY41" fmla="*/ 0 h 4201882"/>
              <a:gd name="connsiteX42" fmla="*/ 8715830 w 9335106"/>
              <a:gd name="connsiteY42" fmla="*/ 616852 h 4201882"/>
              <a:gd name="connsiteX43" fmla="*/ 8773888 w 9335106"/>
              <a:gd name="connsiteY43" fmla="*/ 3156852 h 4201882"/>
              <a:gd name="connsiteX44" fmla="*/ 8686800 w 9335106"/>
              <a:gd name="connsiteY44" fmla="*/ 3418109 h 4201882"/>
              <a:gd name="connsiteX45" fmla="*/ 7380517 w 9335106"/>
              <a:gd name="connsiteY45" fmla="*/ 3418110 h 4201882"/>
              <a:gd name="connsiteX46" fmla="*/ 5740402 w 9335106"/>
              <a:gd name="connsiteY46" fmla="*/ 3577767 h 4201882"/>
              <a:gd name="connsiteX47" fmla="*/ 2677886 w 9335106"/>
              <a:gd name="connsiteY47" fmla="*/ 3606795 h 4201882"/>
              <a:gd name="connsiteX48" fmla="*/ 1008745 w 9335106"/>
              <a:gd name="connsiteY48" fmla="*/ 3606795 h 4201882"/>
              <a:gd name="connsiteX49" fmla="*/ 326570 w 9335106"/>
              <a:gd name="connsiteY49" fmla="*/ 3603169 h 4201882"/>
              <a:gd name="connsiteX50" fmla="*/ 261258 w 9335106"/>
              <a:gd name="connsiteY50" fmla="*/ 3294739 h 4201882"/>
              <a:gd name="connsiteX0" fmla="*/ 1821543 w 9335106"/>
              <a:gd name="connsiteY0" fmla="*/ 290282 h 4201882"/>
              <a:gd name="connsiteX1" fmla="*/ 2764092 w 9335106"/>
              <a:gd name="connsiteY1" fmla="*/ 444767 h 4201882"/>
              <a:gd name="connsiteX2" fmla="*/ 1153006 w 9335106"/>
              <a:gd name="connsiteY2" fmla="*/ 2196824 h 4201882"/>
              <a:gd name="connsiteX3" fmla="*/ 1821543 w 9335106"/>
              <a:gd name="connsiteY3" fmla="*/ 290282 h 4201882"/>
              <a:gd name="connsiteX4" fmla="*/ 6318213 w 9335106"/>
              <a:gd name="connsiteY4" fmla="*/ 276898 h 4201882"/>
              <a:gd name="connsiteX5" fmla="*/ 6335486 w 9335106"/>
              <a:gd name="connsiteY5" fmla="*/ 1386110 h 4201882"/>
              <a:gd name="connsiteX6" fmla="*/ 5103834 w 9335106"/>
              <a:gd name="connsiteY6" fmla="*/ 1384378 h 4201882"/>
              <a:gd name="connsiteX7" fmla="*/ 5171809 w 9335106"/>
              <a:gd name="connsiteY7" fmla="*/ 270402 h 4201882"/>
              <a:gd name="connsiteX8" fmla="*/ 6318213 w 9335106"/>
              <a:gd name="connsiteY8" fmla="*/ 276898 h 4201882"/>
              <a:gd name="connsiteX9" fmla="*/ 7075715 w 9335106"/>
              <a:gd name="connsiteY9" fmla="*/ 239481 h 4201882"/>
              <a:gd name="connsiteX10" fmla="*/ 8220495 w 9335106"/>
              <a:gd name="connsiteY10" fmla="*/ 253718 h 4201882"/>
              <a:gd name="connsiteX11" fmla="*/ 8369333 w 9335106"/>
              <a:gd name="connsiteY11" fmla="*/ 1327775 h 4201882"/>
              <a:gd name="connsiteX12" fmla="*/ 7133772 w 9335106"/>
              <a:gd name="connsiteY12" fmla="*/ 1400624 h 4201882"/>
              <a:gd name="connsiteX13" fmla="*/ 7075715 w 9335106"/>
              <a:gd name="connsiteY13" fmla="*/ 239481 h 4201882"/>
              <a:gd name="connsiteX14" fmla="*/ 1519173 w 9335106"/>
              <a:gd name="connsiteY14" fmla="*/ 3702269 h 4201882"/>
              <a:gd name="connsiteX15" fmla="*/ 2186935 w 9335106"/>
              <a:gd name="connsiteY15" fmla="*/ 3739316 h 4201882"/>
              <a:gd name="connsiteX16" fmla="*/ 1775938 w 9335106"/>
              <a:gd name="connsiteY16" fmla="*/ 4025979 h 4201882"/>
              <a:gd name="connsiteX17" fmla="*/ 1519173 w 9335106"/>
              <a:gd name="connsiteY17" fmla="*/ 3702269 h 4201882"/>
              <a:gd name="connsiteX18" fmla="*/ 3243943 w 9335106"/>
              <a:gd name="connsiteY18" fmla="*/ 319310 h 4201882"/>
              <a:gd name="connsiteX19" fmla="*/ 4434994 w 9335106"/>
              <a:gd name="connsiteY19" fmla="*/ 295452 h 4201882"/>
              <a:gd name="connsiteX20" fmla="*/ 4376937 w 9335106"/>
              <a:gd name="connsiteY20" fmla="*/ 1388196 h 4201882"/>
              <a:gd name="connsiteX21" fmla="*/ 3142344 w 9335106"/>
              <a:gd name="connsiteY21" fmla="*/ 1400624 h 4201882"/>
              <a:gd name="connsiteX22" fmla="*/ 3243943 w 9335106"/>
              <a:gd name="connsiteY22" fmla="*/ 319310 h 4201882"/>
              <a:gd name="connsiteX23" fmla="*/ 2331974 w 9335106"/>
              <a:gd name="connsiteY23" fmla="*/ 3714226 h 4201882"/>
              <a:gd name="connsiteX24" fmla="*/ 2155373 w 9335106"/>
              <a:gd name="connsiteY24" fmla="*/ 4187367 h 4201882"/>
              <a:gd name="connsiteX25" fmla="*/ 1502230 w 9335106"/>
              <a:gd name="connsiteY25" fmla="*/ 4201882 h 4201882"/>
              <a:gd name="connsiteX26" fmla="*/ 1238909 w 9335106"/>
              <a:gd name="connsiteY26" fmla="*/ 3724642 h 4201882"/>
              <a:gd name="connsiteX27" fmla="*/ 1867621 w 9335106"/>
              <a:gd name="connsiteY27" fmla="*/ 3125933 h 4201882"/>
              <a:gd name="connsiteX28" fmla="*/ 2331974 w 9335106"/>
              <a:gd name="connsiteY28" fmla="*/ 3714226 h 4201882"/>
              <a:gd name="connsiteX29" fmla="*/ 6538686 w 9335106"/>
              <a:gd name="connsiteY29" fmla="*/ 4042225 h 4201882"/>
              <a:gd name="connsiteX30" fmla="*/ 6322819 w 9335106"/>
              <a:gd name="connsiteY30" fmla="*/ 3607073 h 4201882"/>
              <a:gd name="connsiteX31" fmla="*/ 6899696 w 9335106"/>
              <a:gd name="connsiteY31" fmla="*/ 3737701 h 4201882"/>
              <a:gd name="connsiteX32" fmla="*/ 6538686 w 9335106"/>
              <a:gd name="connsiteY32" fmla="*/ 4042225 h 4201882"/>
              <a:gd name="connsiteX33" fmla="*/ 7174557 w 9335106"/>
              <a:gd name="connsiteY33" fmla="*/ 3685197 h 4201882"/>
              <a:gd name="connsiteX34" fmla="*/ 6974116 w 9335106"/>
              <a:gd name="connsiteY34" fmla="*/ 4158339 h 4201882"/>
              <a:gd name="connsiteX35" fmla="*/ 6248402 w 9335106"/>
              <a:gd name="connsiteY35" fmla="*/ 4201881 h 4201882"/>
              <a:gd name="connsiteX36" fmla="*/ 5984609 w 9335106"/>
              <a:gd name="connsiteY36" fmla="*/ 3691989 h 4201882"/>
              <a:gd name="connsiteX37" fmla="*/ 6584291 w 9335106"/>
              <a:gd name="connsiteY37" fmla="*/ 3071499 h 4201882"/>
              <a:gd name="connsiteX38" fmla="*/ 7174557 w 9335106"/>
              <a:gd name="connsiteY38" fmla="*/ 3685197 h 4201882"/>
              <a:gd name="connsiteX39" fmla="*/ 261258 w 9335106"/>
              <a:gd name="connsiteY39" fmla="*/ 3294739 h 4201882"/>
              <a:gd name="connsiteX40" fmla="*/ 1894117 w 9335106"/>
              <a:gd name="connsiteY40" fmla="*/ 68941 h 4201882"/>
              <a:gd name="connsiteX41" fmla="*/ 8171544 w 9335106"/>
              <a:gd name="connsiteY41" fmla="*/ 0 h 4201882"/>
              <a:gd name="connsiteX42" fmla="*/ 8715830 w 9335106"/>
              <a:gd name="connsiteY42" fmla="*/ 616852 h 4201882"/>
              <a:gd name="connsiteX43" fmla="*/ 8773888 w 9335106"/>
              <a:gd name="connsiteY43" fmla="*/ 3156852 h 4201882"/>
              <a:gd name="connsiteX44" fmla="*/ 8686800 w 9335106"/>
              <a:gd name="connsiteY44" fmla="*/ 3418109 h 4201882"/>
              <a:gd name="connsiteX45" fmla="*/ 7380517 w 9335106"/>
              <a:gd name="connsiteY45" fmla="*/ 3418110 h 4201882"/>
              <a:gd name="connsiteX46" fmla="*/ 5740402 w 9335106"/>
              <a:gd name="connsiteY46" fmla="*/ 3577767 h 4201882"/>
              <a:gd name="connsiteX47" fmla="*/ 2677886 w 9335106"/>
              <a:gd name="connsiteY47" fmla="*/ 3606795 h 4201882"/>
              <a:gd name="connsiteX48" fmla="*/ 1008745 w 9335106"/>
              <a:gd name="connsiteY48" fmla="*/ 3606795 h 4201882"/>
              <a:gd name="connsiteX49" fmla="*/ 326570 w 9335106"/>
              <a:gd name="connsiteY49" fmla="*/ 3603169 h 4201882"/>
              <a:gd name="connsiteX50" fmla="*/ 261258 w 9335106"/>
              <a:gd name="connsiteY50" fmla="*/ 3294739 h 4201882"/>
              <a:gd name="connsiteX0" fmla="*/ 1821543 w 9335106"/>
              <a:gd name="connsiteY0" fmla="*/ 290282 h 4201882"/>
              <a:gd name="connsiteX1" fmla="*/ 2764092 w 9335106"/>
              <a:gd name="connsiteY1" fmla="*/ 444767 h 4201882"/>
              <a:gd name="connsiteX2" fmla="*/ 1153006 w 9335106"/>
              <a:gd name="connsiteY2" fmla="*/ 2196824 h 4201882"/>
              <a:gd name="connsiteX3" fmla="*/ 1821543 w 9335106"/>
              <a:gd name="connsiteY3" fmla="*/ 290282 h 4201882"/>
              <a:gd name="connsiteX4" fmla="*/ 6318213 w 9335106"/>
              <a:gd name="connsiteY4" fmla="*/ 276898 h 4201882"/>
              <a:gd name="connsiteX5" fmla="*/ 6335486 w 9335106"/>
              <a:gd name="connsiteY5" fmla="*/ 1386110 h 4201882"/>
              <a:gd name="connsiteX6" fmla="*/ 5103834 w 9335106"/>
              <a:gd name="connsiteY6" fmla="*/ 1384378 h 4201882"/>
              <a:gd name="connsiteX7" fmla="*/ 5171809 w 9335106"/>
              <a:gd name="connsiteY7" fmla="*/ 270402 h 4201882"/>
              <a:gd name="connsiteX8" fmla="*/ 6318213 w 9335106"/>
              <a:gd name="connsiteY8" fmla="*/ 276898 h 4201882"/>
              <a:gd name="connsiteX9" fmla="*/ 7075715 w 9335106"/>
              <a:gd name="connsiteY9" fmla="*/ 239481 h 4201882"/>
              <a:gd name="connsiteX10" fmla="*/ 8220495 w 9335106"/>
              <a:gd name="connsiteY10" fmla="*/ 253718 h 4201882"/>
              <a:gd name="connsiteX11" fmla="*/ 8369333 w 9335106"/>
              <a:gd name="connsiteY11" fmla="*/ 1327775 h 4201882"/>
              <a:gd name="connsiteX12" fmla="*/ 7133772 w 9335106"/>
              <a:gd name="connsiteY12" fmla="*/ 1400624 h 4201882"/>
              <a:gd name="connsiteX13" fmla="*/ 7075715 w 9335106"/>
              <a:gd name="connsiteY13" fmla="*/ 239481 h 4201882"/>
              <a:gd name="connsiteX14" fmla="*/ 1519173 w 9335106"/>
              <a:gd name="connsiteY14" fmla="*/ 3702269 h 4201882"/>
              <a:gd name="connsiteX15" fmla="*/ 2186935 w 9335106"/>
              <a:gd name="connsiteY15" fmla="*/ 3739316 h 4201882"/>
              <a:gd name="connsiteX16" fmla="*/ 1775938 w 9335106"/>
              <a:gd name="connsiteY16" fmla="*/ 4025979 h 4201882"/>
              <a:gd name="connsiteX17" fmla="*/ 1519173 w 9335106"/>
              <a:gd name="connsiteY17" fmla="*/ 3702269 h 4201882"/>
              <a:gd name="connsiteX18" fmla="*/ 3243943 w 9335106"/>
              <a:gd name="connsiteY18" fmla="*/ 319310 h 4201882"/>
              <a:gd name="connsiteX19" fmla="*/ 4434994 w 9335106"/>
              <a:gd name="connsiteY19" fmla="*/ 295452 h 4201882"/>
              <a:gd name="connsiteX20" fmla="*/ 4376937 w 9335106"/>
              <a:gd name="connsiteY20" fmla="*/ 1388196 h 4201882"/>
              <a:gd name="connsiteX21" fmla="*/ 3142344 w 9335106"/>
              <a:gd name="connsiteY21" fmla="*/ 1400624 h 4201882"/>
              <a:gd name="connsiteX22" fmla="*/ 3243943 w 9335106"/>
              <a:gd name="connsiteY22" fmla="*/ 319310 h 4201882"/>
              <a:gd name="connsiteX23" fmla="*/ 2331974 w 9335106"/>
              <a:gd name="connsiteY23" fmla="*/ 3714226 h 4201882"/>
              <a:gd name="connsiteX24" fmla="*/ 2155373 w 9335106"/>
              <a:gd name="connsiteY24" fmla="*/ 4187367 h 4201882"/>
              <a:gd name="connsiteX25" fmla="*/ 1502230 w 9335106"/>
              <a:gd name="connsiteY25" fmla="*/ 4201882 h 4201882"/>
              <a:gd name="connsiteX26" fmla="*/ 1238909 w 9335106"/>
              <a:gd name="connsiteY26" fmla="*/ 3724642 h 4201882"/>
              <a:gd name="connsiteX27" fmla="*/ 1867621 w 9335106"/>
              <a:gd name="connsiteY27" fmla="*/ 3125933 h 4201882"/>
              <a:gd name="connsiteX28" fmla="*/ 2331974 w 9335106"/>
              <a:gd name="connsiteY28" fmla="*/ 3714226 h 4201882"/>
              <a:gd name="connsiteX29" fmla="*/ 6538686 w 9335106"/>
              <a:gd name="connsiteY29" fmla="*/ 4042225 h 4201882"/>
              <a:gd name="connsiteX30" fmla="*/ 6322819 w 9335106"/>
              <a:gd name="connsiteY30" fmla="*/ 3607073 h 4201882"/>
              <a:gd name="connsiteX31" fmla="*/ 6899696 w 9335106"/>
              <a:gd name="connsiteY31" fmla="*/ 3737701 h 4201882"/>
              <a:gd name="connsiteX32" fmla="*/ 6538686 w 9335106"/>
              <a:gd name="connsiteY32" fmla="*/ 4042225 h 4201882"/>
              <a:gd name="connsiteX33" fmla="*/ 7174557 w 9335106"/>
              <a:gd name="connsiteY33" fmla="*/ 3685197 h 4201882"/>
              <a:gd name="connsiteX34" fmla="*/ 6974116 w 9335106"/>
              <a:gd name="connsiteY34" fmla="*/ 4158339 h 4201882"/>
              <a:gd name="connsiteX35" fmla="*/ 6248402 w 9335106"/>
              <a:gd name="connsiteY35" fmla="*/ 4201881 h 4201882"/>
              <a:gd name="connsiteX36" fmla="*/ 5984609 w 9335106"/>
              <a:gd name="connsiteY36" fmla="*/ 3691989 h 4201882"/>
              <a:gd name="connsiteX37" fmla="*/ 6584291 w 9335106"/>
              <a:gd name="connsiteY37" fmla="*/ 3071499 h 4201882"/>
              <a:gd name="connsiteX38" fmla="*/ 7174557 w 9335106"/>
              <a:gd name="connsiteY38" fmla="*/ 3685197 h 4201882"/>
              <a:gd name="connsiteX39" fmla="*/ 261258 w 9335106"/>
              <a:gd name="connsiteY39" fmla="*/ 3294739 h 4201882"/>
              <a:gd name="connsiteX40" fmla="*/ 1894117 w 9335106"/>
              <a:gd name="connsiteY40" fmla="*/ 68941 h 4201882"/>
              <a:gd name="connsiteX41" fmla="*/ 8171544 w 9335106"/>
              <a:gd name="connsiteY41" fmla="*/ 0 h 4201882"/>
              <a:gd name="connsiteX42" fmla="*/ 8715830 w 9335106"/>
              <a:gd name="connsiteY42" fmla="*/ 616852 h 4201882"/>
              <a:gd name="connsiteX43" fmla="*/ 8773888 w 9335106"/>
              <a:gd name="connsiteY43" fmla="*/ 3156852 h 4201882"/>
              <a:gd name="connsiteX44" fmla="*/ 8686800 w 9335106"/>
              <a:gd name="connsiteY44" fmla="*/ 3418109 h 4201882"/>
              <a:gd name="connsiteX45" fmla="*/ 7380517 w 9335106"/>
              <a:gd name="connsiteY45" fmla="*/ 3418110 h 4201882"/>
              <a:gd name="connsiteX46" fmla="*/ 5740402 w 9335106"/>
              <a:gd name="connsiteY46" fmla="*/ 3577767 h 4201882"/>
              <a:gd name="connsiteX47" fmla="*/ 2677886 w 9335106"/>
              <a:gd name="connsiteY47" fmla="*/ 3606795 h 4201882"/>
              <a:gd name="connsiteX48" fmla="*/ 1008745 w 9335106"/>
              <a:gd name="connsiteY48" fmla="*/ 3606795 h 4201882"/>
              <a:gd name="connsiteX49" fmla="*/ 326570 w 9335106"/>
              <a:gd name="connsiteY49" fmla="*/ 3603169 h 4201882"/>
              <a:gd name="connsiteX50" fmla="*/ 261258 w 9335106"/>
              <a:gd name="connsiteY50"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76270 w 9393163"/>
              <a:gd name="connsiteY4" fmla="*/ 276898 h 4201882"/>
              <a:gd name="connsiteX5" fmla="*/ 6393543 w 9393163"/>
              <a:gd name="connsiteY5" fmla="*/ 1386110 h 4201882"/>
              <a:gd name="connsiteX6" fmla="*/ 5161891 w 9393163"/>
              <a:gd name="connsiteY6" fmla="*/ 1384378 h 4201882"/>
              <a:gd name="connsiteX7" fmla="*/ 5229866 w 9393163"/>
              <a:gd name="connsiteY7" fmla="*/ 270402 h 4201882"/>
              <a:gd name="connsiteX8" fmla="*/ 6376270 w 9393163"/>
              <a:gd name="connsiteY8" fmla="*/ 276898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302000 w 9393163"/>
              <a:gd name="connsiteY18" fmla="*/ 319310 h 4201882"/>
              <a:gd name="connsiteX19" fmla="*/ 4493051 w 9393163"/>
              <a:gd name="connsiteY19" fmla="*/ 295452 h 4201882"/>
              <a:gd name="connsiteX20" fmla="*/ 4434994 w 9393163"/>
              <a:gd name="connsiteY20" fmla="*/ 1388196 h 4201882"/>
              <a:gd name="connsiteX21" fmla="*/ 3200401 w 9393163"/>
              <a:gd name="connsiteY21" fmla="*/ 1400624 h 4201882"/>
              <a:gd name="connsiteX22" fmla="*/ 3302000 w 9393163"/>
              <a:gd name="connsiteY22" fmla="*/ 319310 h 4201882"/>
              <a:gd name="connsiteX23" fmla="*/ 2390031 w 9393163"/>
              <a:gd name="connsiteY23" fmla="*/ 3714226 h 4201882"/>
              <a:gd name="connsiteX24" fmla="*/ 2213430 w 9393163"/>
              <a:gd name="connsiteY24" fmla="*/ 4187367 h 4201882"/>
              <a:gd name="connsiteX25" fmla="*/ 1560287 w 9393163"/>
              <a:gd name="connsiteY25" fmla="*/ 4201882 h 4201882"/>
              <a:gd name="connsiteX26" fmla="*/ 1296966 w 9393163"/>
              <a:gd name="connsiteY26" fmla="*/ 3724642 h 4201882"/>
              <a:gd name="connsiteX27" fmla="*/ 1925678 w 9393163"/>
              <a:gd name="connsiteY27" fmla="*/ 3125933 h 4201882"/>
              <a:gd name="connsiteX28" fmla="*/ 2390031 w 9393163"/>
              <a:gd name="connsiteY28" fmla="*/ 3714226 h 4201882"/>
              <a:gd name="connsiteX29" fmla="*/ 6596743 w 9393163"/>
              <a:gd name="connsiteY29" fmla="*/ 4042225 h 4201882"/>
              <a:gd name="connsiteX30" fmla="*/ 6380876 w 9393163"/>
              <a:gd name="connsiteY30" fmla="*/ 3607073 h 4201882"/>
              <a:gd name="connsiteX31" fmla="*/ 6957753 w 9393163"/>
              <a:gd name="connsiteY31" fmla="*/ 3737701 h 4201882"/>
              <a:gd name="connsiteX32" fmla="*/ 6596743 w 9393163"/>
              <a:gd name="connsiteY32" fmla="*/ 4042225 h 4201882"/>
              <a:gd name="connsiteX33" fmla="*/ 7232614 w 9393163"/>
              <a:gd name="connsiteY33" fmla="*/ 3685197 h 4201882"/>
              <a:gd name="connsiteX34" fmla="*/ 7032173 w 9393163"/>
              <a:gd name="connsiteY34" fmla="*/ 4158339 h 4201882"/>
              <a:gd name="connsiteX35" fmla="*/ 6306459 w 9393163"/>
              <a:gd name="connsiteY35" fmla="*/ 4201881 h 4201882"/>
              <a:gd name="connsiteX36" fmla="*/ 6042666 w 9393163"/>
              <a:gd name="connsiteY36" fmla="*/ 3691989 h 4201882"/>
              <a:gd name="connsiteX37" fmla="*/ 6642348 w 9393163"/>
              <a:gd name="connsiteY37" fmla="*/ 3071499 h 4201882"/>
              <a:gd name="connsiteX38" fmla="*/ 7232614 w 9393163"/>
              <a:gd name="connsiteY38" fmla="*/ 3685197 h 4201882"/>
              <a:gd name="connsiteX39" fmla="*/ 319315 w 9393163"/>
              <a:gd name="connsiteY39" fmla="*/ 3294739 h 4201882"/>
              <a:gd name="connsiteX40" fmla="*/ 1952174 w 9393163"/>
              <a:gd name="connsiteY40" fmla="*/ 68941 h 4201882"/>
              <a:gd name="connsiteX41" fmla="*/ 8229601 w 9393163"/>
              <a:gd name="connsiteY41" fmla="*/ 0 h 4201882"/>
              <a:gd name="connsiteX42" fmla="*/ 8773887 w 9393163"/>
              <a:gd name="connsiteY42" fmla="*/ 616852 h 4201882"/>
              <a:gd name="connsiteX43" fmla="*/ 8831945 w 9393163"/>
              <a:gd name="connsiteY43" fmla="*/ 3156852 h 4201882"/>
              <a:gd name="connsiteX44" fmla="*/ 8744857 w 9393163"/>
              <a:gd name="connsiteY44" fmla="*/ 3418109 h 4201882"/>
              <a:gd name="connsiteX45" fmla="*/ 7438574 w 9393163"/>
              <a:gd name="connsiteY45" fmla="*/ 3418110 h 4201882"/>
              <a:gd name="connsiteX46" fmla="*/ 5798459 w 9393163"/>
              <a:gd name="connsiteY46" fmla="*/ 3577767 h 4201882"/>
              <a:gd name="connsiteX47" fmla="*/ 2735943 w 9393163"/>
              <a:gd name="connsiteY47" fmla="*/ 3606795 h 4201882"/>
              <a:gd name="connsiteX48" fmla="*/ 1066802 w 9393163"/>
              <a:gd name="connsiteY48" fmla="*/ 3606795 h 4201882"/>
              <a:gd name="connsiteX49" fmla="*/ 384627 w 9393163"/>
              <a:gd name="connsiteY49" fmla="*/ 3603169 h 4201882"/>
              <a:gd name="connsiteX50" fmla="*/ 319315 w 9393163"/>
              <a:gd name="connsiteY50"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76270 w 9393163"/>
              <a:gd name="connsiteY4" fmla="*/ 276898 h 4201882"/>
              <a:gd name="connsiteX5" fmla="*/ 6393543 w 9393163"/>
              <a:gd name="connsiteY5" fmla="*/ 1386110 h 4201882"/>
              <a:gd name="connsiteX6" fmla="*/ 5161891 w 9393163"/>
              <a:gd name="connsiteY6" fmla="*/ 1384378 h 4201882"/>
              <a:gd name="connsiteX7" fmla="*/ 5229866 w 9393163"/>
              <a:gd name="connsiteY7" fmla="*/ 270402 h 4201882"/>
              <a:gd name="connsiteX8" fmla="*/ 6376270 w 9393163"/>
              <a:gd name="connsiteY8" fmla="*/ 276898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302000 w 9393163"/>
              <a:gd name="connsiteY18" fmla="*/ 319310 h 4201882"/>
              <a:gd name="connsiteX19" fmla="*/ 4493051 w 9393163"/>
              <a:gd name="connsiteY19" fmla="*/ 295452 h 4201882"/>
              <a:gd name="connsiteX20" fmla="*/ 4434994 w 9393163"/>
              <a:gd name="connsiteY20" fmla="*/ 1388196 h 4201882"/>
              <a:gd name="connsiteX21" fmla="*/ 3200401 w 9393163"/>
              <a:gd name="connsiteY21" fmla="*/ 1400624 h 4201882"/>
              <a:gd name="connsiteX22" fmla="*/ 3302000 w 9393163"/>
              <a:gd name="connsiteY22" fmla="*/ 319310 h 4201882"/>
              <a:gd name="connsiteX23" fmla="*/ 2390031 w 9393163"/>
              <a:gd name="connsiteY23" fmla="*/ 3714226 h 4201882"/>
              <a:gd name="connsiteX24" fmla="*/ 2213430 w 9393163"/>
              <a:gd name="connsiteY24" fmla="*/ 4187367 h 4201882"/>
              <a:gd name="connsiteX25" fmla="*/ 1560287 w 9393163"/>
              <a:gd name="connsiteY25" fmla="*/ 4201882 h 4201882"/>
              <a:gd name="connsiteX26" fmla="*/ 1296966 w 9393163"/>
              <a:gd name="connsiteY26" fmla="*/ 3724642 h 4201882"/>
              <a:gd name="connsiteX27" fmla="*/ 1925678 w 9393163"/>
              <a:gd name="connsiteY27" fmla="*/ 3125933 h 4201882"/>
              <a:gd name="connsiteX28" fmla="*/ 2390031 w 9393163"/>
              <a:gd name="connsiteY28" fmla="*/ 3714226 h 4201882"/>
              <a:gd name="connsiteX29" fmla="*/ 6596743 w 9393163"/>
              <a:gd name="connsiteY29" fmla="*/ 4042225 h 4201882"/>
              <a:gd name="connsiteX30" fmla="*/ 6380876 w 9393163"/>
              <a:gd name="connsiteY30" fmla="*/ 3607073 h 4201882"/>
              <a:gd name="connsiteX31" fmla="*/ 6957753 w 9393163"/>
              <a:gd name="connsiteY31" fmla="*/ 3737701 h 4201882"/>
              <a:gd name="connsiteX32" fmla="*/ 6596743 w 9393163"/>
              <a:gd name="connsiteY32" fmla="*/ 4042225 h 4201882"/>
              <a:gd name="connsiteX33" fmla="*/ 7232614 w 9393163"/>
              <a:gd name="connsiteY33" fmla="*/ 3685197 h 4201882"/>
              <a:gd name="connsiteX34" fmla="*/ 7032173 w 9393163"/>
              <a:gd name="connsiteY34" fmla="*/ 4158339 h 4201882"/>
              <a:gd name="connsiteX35" fmla="*/ 6306459 w 9393163"/>
              <a:gd name="connsiteY35" fmla="*/ 4201881 h 4201882"/>
              <a:gd name="connsiteX36" fmla="*/ 6042666 w 9393163"/>
              <a:gd name="connsiteY36" fmla="*/ 3691989 h 4201882"/>
              <a:gd name="connsiteX37" fmla="*/ 6642348 w 9393163"/>
              <a:gd name="connsiteY37" fmla="*/ 3071499 h 4201882"/>
              <a:gd name="connsiteX38" fmla="*/ 7232614 w 9393163"/>
              <a:gd name="connsiteY38" fmla="*/ 3685197 h 4201882"/>
              <a:gd name="connsiteX39" fmla="*/ 319315 w 9393163"/>
              <a:gd name="connsiteY39" fmla="*/ 3294739 h 4201882"/>
              <a:gd name="connsiteX40" fmla="*/ 1952174 w 9393163"/>
              <a:gd name="connsiteY40" fmla="*/ 68941 h 4201882"/>
              <a:gd name="connsiteX41" fmla="*/ 8229601 w 9393163"/>
              <a:gd name="connsiteY41" fmla="*/ 0 h 4201882"/>
              <a:gd name="connsiteX42" fmla="*/ 8773887 w 9393163"/>
              <a:gd name="connsiteY42" fmla="*/ 616852 h 4201882"/>
              <a:gd name="connsiteX43" fmla="*/ 8831945 w 9393163"/>
              <a:gd name="connsiteY43" fmla="*/ 3156852 h 4201882"/>
              <a:gd name="connsiteX44" fmla="*/ 8744857 w 9393163"/>
              <a:gd name="connsiteY44" fmla="*/ 3418109 h 4201882"/>
              <a:gd name="connsiteX45" fmla="*/ 7438574 w 9393163"/>
              <a:gd name="connsiteY45" fmla="*/ 3418110 h 4201882"/>
              <a:gd name="connsiteX46" fmla="*/ 5798459 w 9393163"/>
              <a:gd name="connsiteY46" fmla="*/ 3577767 h 4201882"/>
              <a:gd name="connsiteX47" fmla="*/ 2735943 w 9393163"/>
              <a:gd name="connsiteY47" fmla="*/ 3606795 h 4201882"/>
              <a:gd name="connsiteX48" fmla="*/ 1066802 w 9393163"/>
              <a:gd name="connsiteY48" fmla="*/ 3606795 h 4201882"/>
              <a:gd name="connsiteX49" fmla="*/ 384627 w 9393163"/>
              <a:gd name="connsiteY49" fmla="*/ 3603169 h 4201882"/>
              <a:gd name="connsiteX50" fmla="*/ 319315 w 9393163"/>
              <a:gd name="connsiteY50"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76270 w 9393163"/>
              <a:gd name="connsiteY4" fmla="*/ 276898 h 4201882"/>
              <a:gd name="connsiteX5" fmla="*/ 6393543 w 9393163"/>
              <a:gd name="connsiteY5" fmla="*/ 1386110 h 4201882"/>
              <a:gd name="connsiteX6" fmla="*/ 5161891 w 9393163"/>
              <a:gd name="connsiteY6" fmla="*/ 1384378 h 4201882"/>
              <a:gd name="connsiteX7" fmla="*/ 5229866 w 9393163"/>
              <a:gd name="connsiteY7" fmla="*/ 270402 h 4201882"/>
              <a:gd name="connsiteX8" fmla="*/ 6376270 w 9393163"/>
              <a:gd name="connsiteY8" fmla="*/ 276898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302000 w 9393163"/>
              <a:gd name="connsiteY18" fmla="*/ 319310 h 4201882"/>
              <a:gd name="connsiteX19" fmla="*/ 4493051 w 9393163"/>
              <a:gd name="connsiteY19" fmla="*/ 295452 h 4201882"/>
              <a:gd name="connsiteX20" fmla="*/ 4434994 w 9393163"/>
              <a:gd name="connsiteY20" fmla="*/ 1388196 h 4201882"/>
              <a:gd name="connsiteX21" fmla="*/ 3200401 w 9393163"/>
              <a:gd name="connsiteY21" fmla="*/ 1400624 h 4201882"/>
              <a:gd name="connsiteX22" fmla="*/ 3302000 w 9393163"/>
              <a:gd name="connsiteY22" fmla="*/ 319310 h 4201882"/>
              <a:gd name="connsiteX23" fmla="*/ 2390031 w 9393163"/>
              <a:gd name="connsiteY23" fmla="*/ 3714226 h 4201882"/>
              <a:gd name="connsiteX24" fmla="*/ 2213430 w 9393163"/>
              <a:gd name="connsiteY24" fmla="*/ 4187367 h 4201882"/>
              <a:gd name="connsiteX25" fmla="*/ 1560287 w 9393163"/>
              <a:gd name="connsiteY25" fmla="*/ 4201882 h 4201882"/>
              <a:gd name="connsiteX26" fmla="*/ 1296966 w 9393163"/>
              <a:gd name="connsiteY26" fmla="*/ 3724642 h 4201882"/>
              <a:gd name="connsiteX27" fmla="*/ 1925678 w 9393163"/>
              <a:gd name="connsiteY27" fmla="*/ 3125933 h 4201882"/>
              <a:gd name="connsiteX28" fmla="*/ 2390031 w 9393163"/>
              <a:gd name="connsiteY28" fmla="*/ 3714226 h 4201882"/>
              <a:gd name="connsiteX29" fmla="*/ 6596743 w 9393163"/>
              <a:gd name="connsiteY29" fmla="*/ 4042225 h 4201882"/>
              <a:gd name="connsiteX30" fmla="*/ 6380876 w 9393163"/>
              <a:gd name="connsiteY30" fmla="*/ 3607073 h 4201882"/>
              <a:gd name="connsiteX31" fmla="*/ 6957753 w 9393163"/>
              <a:gd name="connsiteY31" fmla="*/ 3737701 h 4201882"/>
              <a:gd name="connsiteX32" fmla="*/ 6596743 w 9393163"/>
              <a:gd name="connsiteY32" fmla="*/ 4042225 h 4201882"/>
              <a:gd name="connsiteX33" fmla="*/ 7232614 w 9393163"/>
              <a:gd name="connsiteY33" fmla="*/ 3685197 h 4201882"/>
              <a:gd name="connsiteX34" fmla="*/ 7032173 w 9393163"/>
              <a:gd name="connsiteY34" fmla="*/ 4158339 h 4201882"/>
              <a:gd name="connsiteX35" fmla="*/ 6306459 w 9393163"/>
              <a:gd name="connsiteY35" fmla="*/ 4201881 h 4201882"/>
              <a:gd name="connsiteX36" fmla="*/ 6042666 w 9393163"/>
              <a:gd name="connsiteY36" fmla="*/ 3691989 h 4201882"/>
              <a:gd name="connsiteX37" fmla="*/ 6642348 w 9393163"/>
              <a:gd name="connsiteY37" fmla="*/ 3071499 h 4201882"/>
              <a:gd name="connsiteX38" fmla="*/ 7232614 w 9393163"/>
              <a:gd name="connsiteY38" fmla="*/ 3685197 h 4201882"/>
              <a:gd name="connsiteX39" fmla="*/ 319315 w 9393163"/>
              <a:gd name="connsiteY39" fmla="*/ 3294739 h 4201882"/>
              <a:gd name="connsiteX40" fmla="*/ 1952174 w 9393163"/>
              <a:gd name="connsiteY40" fmla="*/ 68941 h 4201882"/>
              <a:gd name="connsiteX41" fmla="*/ 8229601 w 9393163"/>
              <a:gd name="connsiteY41" fmla="*/ 0 h 4201882"/>
              <a:gd name="connsiteX42" fmla="*/ 8773887 w 9393163"/>
              <a:gd name="connsiteY42" fmla="*/ 616852 h 4201882"/>
              <a:gd name="connsiteX43" fmla="*/ 8831945 w 9393163"/>
              <a:gd name="connsiteY43" fmla="*/ 3156852 h 4201882"/>
              <a:gd name="connsiteX44" fmla="*/ 8744857 w 9393163"/>
              <a:gd name="connsiteY44" fmla="*/ 3418109 h 4201882"/>
              <a:gd name="connsiteX45" fmla="*/ 7438574 w 9393163"/>
              <a:gd name="connsiteY45" fmla="*/ 3418110 h 4201882"/>
              <a:gd name="connsiteX46" fmla="*/ 5798459 w 9393163"/>
              <a:gd name="connsiteY46" fmla="*/ 3577767 h 4201882"/>
              <a:gd name="connsiteX47" fmla="*/ 2735943 w 9393163"/>
              <a:gd name="connsiteY47" fmla="*/ 3606795 h 4201882"/>
              <a:gd name="connsiteX48" fmla="*/ 1023259 w 9393163"/>
              <a:gd name="connsiteY48" fmla="*/ 3621309 h 4201882"/>
              <a:gd name="connsiteX49" fmla="*/ 384627 w 9393163"/>
              <a:gd name="connsiteY49" fmla="*/ 3603169 h 4201882"/>
              <a:gd name="connsiteX50" fmla="*/ 319315 w 9393163"/>
              <a:gd name="connsiteY50"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76270 w 9393163"/>
              <a:gd name="connsiteY4" fmla="*/ 276898 h 4201882"/>
              <a:gd name="connsiteX5" fmla="*/ 6393543 w 9393163"/>
              <a:gd name="connsiteY5" fmla="*/ 1386110 h 4201882"/>
              <a:gd name="connsiteX6" fmla="*/ 5161891 w 9393163"/>
              <a:gd name="connsiteY6" fmla="*/ 1384378 h 4201882"/>
              <a:gd name="connsiteX7" fmla="*/ 5229866 w 9393163"/>
              <a:gd name="connsiteY7" fmla="*/ 270402 h 4201882"/>
              <a:gd name="connsiteX8" fmla="*/ 6376270 w 9393163"/>
              <a:gd name="connsiteY8" fmla="*/ 276898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75767 h 4201882"/>
              <a:gd name="connsiteX19" fmla="*/ 4493051 w 9393163"/>
              <a:gd name="connsiteY19" fmla="*/ 295452 h 4201882"/>
              <a:gd name="connsiteX20" fmla="*/ 4434994 w 9393163"/>
              <a:gd name="connsiteY20" fmla="*/ 1388196 h 4201882"/>
              <a:gd name="connsiteX21" fmla="*/ 3200401 w 9393163"/>
              <a:gd name="connsiteY21" fmla="*/ 1400624 h 4201882"/>
              <a:gd name="connsiteX22" fmla="*/ 3287486 w 9393163"/>
              <a:gd name="connsiteY22" fmla="*/ 275767 h 4201882"/>
              <a:gd name="connsiteX23" fmla="*/ 2390031 w 9393163"/>
              <a:gd name="connsiteY23" fmla="*/ 3714226 h 4201882"/>
              <a:gd name="connsiteX24" fmla="*/ 2213430 w 9393163"/>
              <a:gd name="connsiteY24" fmla="*/ 4187367 h 4201882"/>
              <a:gd name="connsiteX25" fmla="*/ 1560287 w 9393163"/>
              <a:gd name="connsiteY25" fmla="*/ 4201882 h 4201882"/>
              <a:gd name="connsiteX26" fmla="*/ 1296966 w 9393163"/>
              <a:gd name="connsiteY26" fmla="*/ 3724642 h 4201882"/>
              <a:gd name="connsiteX27" fmla="*/ 1925678 w 9393163"/>
              <a:gd name="connsiteY27" fmla="*/ 3125933 h 4201882"/>
              <a:gd name="connsiteX28" fmla="*/ 2390031 w 9393163"/>
              <a:gd name="connsiteY28" fmla="*/ 3714226 h 4201882"/>
              <a:gd name="connsiteX29" fmla="*/ 6596743 w 9393163"/>
              <a:gd name="connsiteY29" fmla="*/ 4042225 h 4201882"/>
              <a:gd name="connsiteX30" fmla="*/ 6380876 w 9393163"/>
              <a:gd name="connsiteY30" fmla="*/ 3607073 h 4201882"/>
              <a:gd name="connsiteX31" fmla="*/ 6957753 w 9393163"/>
              <a:gd name="connsiteY31" fmla="*/ 3737701 h 4201882"/>
              <a:gd name="connsiteX32" fmla="*/ 6596743 w 9393163"/>
              <a:gd name="connsiteY32" fmla="*/ 4042225 h 4201882"/>
              <a:gd name="connsiteX33" fmla="*/ 7232614 w 9393163"/>
              <a:gd name="connsiteY33" fmla="*/ 3685197 h 4201882"/>
              <a:gd name="connsiteX34" fmla="*/ 7032173 w 9393163"/>
              <a:gd name="connsiteY34" fmla="*/ 4158339 h 4201882"/>
              <a:gd name="connsiteX35" fmla="*/ 6306459 w 9393163"/>
              <a:gd name="connsiteY35" fmla="*/ 4201881 h 4201882"/>
              <a:gd name="connsiteX36" fmla="*/ 6042666 w 9393163"/>
              <a:gd name="connsiteY36" fmla="*/ 3691989 h 4201882"/>
              <a:gd name="connsiteX37" fmla="*/ 6642348 w 9393163"/>
              <a:gd name="connsiteY37" fmla="*/ 3071499 h 4201882"/>
              <a:gd name="connsiteX38" fmla="*/ 7232614 w 9393163"/>
              <a:gd name="connsiteY38" fmla="*/ 3685197 h 4201882"/>
              <a:gd name="connsiteX39" fmla="*/ 319315 w 9393163"/>
              <a:gd name="connsiteY39" fmla="*/ 3294739 h 4201882"/>
              <a:gd name="connsiteX40" fmla="*/ 1952174 w 9393163"/>
              <a:gd name="connsiteY40" fmla="*/ 68941 h 4201882"/>
              <a:gd name="connsiteX41" fmla="*/ 8229601 w 9393163"/>
              <a:gd name="connsiteY41" fmla="*/ 0 h 4201882"/>
              <a:gd name="connsiteX42" fmla="*/ 8773887 w 9393163"/>
              <a:gd name="connsiteY42" fmla="*/ 616852 h 4201882"/>
              <a:gd name="connsiteX43" fmla="*/ 8831945 w 9393163"/>
              <a:gd name="connsiteY43" fmla="*/ 3156852 h 4201882"/>
              <a:gd name="connsiteX44" fmla="*/ 8744857 w 9393163"/>
              <a:gd name="connsiteY44" fmla="*/ 3418109 h 4201882"/>
              <a:gd name="connsiteX45" fmla="*/ 7438574 w 9393163"/>
              <a:gd name="connsiteY45" fmla="*/ 3418110 h 4201882"/>
              <a:gd name="connsiteX46" fmla="*/ 5798459 w 9393163"/>
              <a:gd name="connsiteY46" fmla="*/ 3577767 h 4201882"/>
              <a:gd name="connsiteX47" fmla="*/ 2735943 w 9393163"/>
              <a:gd name="connsiteY47" fmla="*/ 3606795 h 4201882"/>
              <a:gd name="connsiteX48" fmla="*/ 1023259 w 9393163"/>
              <a:gd name="connsiteY48" fmla="*/ 3621309 h 4201882"/>
              <a:gd name="connsiteX49" fmla="*/ 384627 w 9393163"/>
              <a:gd name="connsiteY49" fmla="*/ 3603169 h 4201882"/>
              <a:gd name="connsiteX50" fmla="*/ 319315 w 9393163"/>
              <a:gd name="connsiteY50"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76270 w 9393163"/>
              <a:gd name="connsiteY4" fmla="*/ 276898 h 4201882"/>
              <a:gd name="connsiteX5" fmla="*/ 6393543 w 9393163"/>
              <a:gd name="connsiteY5" fmla="*/ 1386110 h 4201882"/>
              <a:gd name="connsiteX6" fmla="*/ 5161891 w 9393163"/>
              <a:gd name="connsiteY6" fmla="*/ 1384378 h 4201882"/>
              <a:gd name="connsiteX7" fmla="*/ 5229866 w 9393163"/>
              <a:gd name="connsiteY7" fmla="*/ 270402 h 4201882"/>
              <a:gd name="connsiteX8" fmla="*/ 6376270 w 9393163"/>
              <a:gd name="connsiteY8" fmla="*/ 276898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75767 h 4201882"/>
              <a:gd name="connsiteX19" fmla="*/ 4434994 w 9393163"/>
              <a:gd name="connsiteY19" fmla="*/ 222880 h 4201882"/>
              <a:gd name="connsiteX20" fmla="*/ 4434994 w 9393163"/>
              <a:gd name="connsiteY20" fmla="*/ 1388196 h 4201882"/>
              <a:gd name="connsiteX21" fmla="*/ 3200401 w 9393163"/>
              <a:gd name="connsiteY21" fmla="*/ 1400624 h 4201882"/>
              <a:gd name="connsiteX22" fmla="*/ 3287486 w 9393163"/>
              <a:gd name="connsiteY22" fmla="*/ 275767 h 4201882"/>
              <a:gd name="connsiteX23" fmla="*/ 2390031 w 9393163"/>
              <a:gd name="connsiteY23" fmla="*/ 3714226 h 4201882"/>
              <a:gd name="connsiteX24" fmla="*/ 2213430 w 9393163"/>
              <a:gd name="connsiteY24" fmla="*/ 4187367 h 4201882"/>
              <a:gd name="connsiteX25" fmla="*/ 1560287 w 9393163"/>
              <a:gd name="connsiteY25" fmla="*/ 4201882 h 4201882"/>
              <a:gd name="connsiteX26" fmla="*/ 1296966 w 9393163"/>
              <a:gd name="connsiteY26" fmla="*/ 3724642 h 4201882"/>
              <a:gd name="connsiteX27" fmla="*/ 1925678 w 9393163"/>
              <a:gd name="connsiteY27" fmla="*/ 3125933 h 4201882"/>
              <a:gd name="connsiteX28" fmla="*/ 2390031 w 9393163"/>
              <a:gd name="connsiteY28" fmla="*/ 3714226 h 4201882"/>
              <a:gd name="connsiteX29" fmla="*/ 6596743 w 9393163"/>
              <a:gd name="connsiteY29" fmla="*/ 4042225 h 4201882"/>
              <a:gd name="connsiteX30" fmla="*/ 6380876 w 9393163"/>
              <a:gd name="connsiteY30" fmla="*/ 3607073 h 4201882"/>
              <a:gd name="connsiteX31" fmla="*/ 6957753 w 9393163"/>
              <a:gd name="connsiteY31" fmla="*/ 3737701 h 4201882"/>
              <a:gd name="connsiteX32" fmla="*/ 6596743 w 9393163"/>
              <a:gd name="connsiteY32" fmla="*/ 4042225 h 4201882"/>
              <a:gd name="connsiteX33" fmla="*/ 7232614 w 9393163"/>
              <a:gd name="connsiteY33" fmla="*/ 3685197 h 4201882"/>
              <a:gd name="connsiteX34" fmla="*/ 7032173 w 9393163"/>
              <a:gd name="connsiteY34" fmla="*/ 4158339 h 4201882"/>
              <a:gd name="connsiteX35" fmla="*/ 6306459 w 9393163"/>
              <a:gd name="connsiteY35" fmla="*/ 4201881 h 4201882"/>
              <a:gd name="connsiteX36" fmla="*/ 6042666 w 9393163"/>
              <a:gd name="connsiteY36" fmla="*/ 3691989 h 4201882"/>
              <a:gd name="connsiteX37" fmla="*/ 6642348 w 9393163"/>
              <a:gd name="connsiteY37" fmla="*/ 3071499 h 4201882"/>
              <a:gd name="connsiteX38" fmla="*/ 7232614 w 9393163"/>
              <a:gd name="connsiteY38" fmla="*/ 3685197 h 4201882"/>
              <a:gd name="connsiteX39" fmla="*/ 319315 w 9393163"/>
              <a:gd name="connsiteY39" fmla="*/ 3294739 h 4201882"/>
              <a:gd name="connsiteX40" fmla="*/ 1952174 w 9393163"/>
              <a:gd name="connsiteY40" fmla="*/ 68941 h 4201882"/>
              <a:gd name="connsiteX41" fmla="*/ 8229601 w 9393163"/>
              <a:gd name="connsiteY41" fmla="*/ 0 h 4201882"/>
              <a:gd name="connsiteX42" fmla="*/ 8773887 w 9393163"/>
              <a:gd name="connsiteY42" fmla="*/ 616852 h 4201882"/>
              <a:gd name="connsiteX43" fmla="*/ 8831945 w 9393163"/>
              <a:gd name="connsiteY43" fmla="*/ 3156852 h 4201882"/>
              <a:gd name="connsiteX44" fmla="*/ 8744857 w 9393163"/>
              <a:gd name="connsiteY44" fmla="*/ 3418109 h 4201882"/>
              <a:gd name="connsiteX45" fmla="*/ 7438574 w 9393163"/>
              <a:gd name="connsiteY45" fmla="*/ 3418110 h 4201882"/>
              <a:gd name="connsiteX46" fmla="*/ 5798459 w 9393163"/>
              <a:gd name="connsiteY46" fmla="*/ 3577767 h 4201882"/>
              <a:gd name="connsiteX47" fmla="*/ 2735943 w 9393163"/>
              <a:gd name="connsiteY47" fmla="*/ 3606795 h 4201882"/>
              <a:gd name="connsiteX48" fmla="*/ 1023259 w 9393163"/>
              <a:gd name="connsiteY48" fmla="*/ 3621309 h 4201882"/>
              <a:gd name="connsiteX49" fmla="*/ 384627 w 9393163"/>
              <a:gd name="connsiteY49" fmla="*/ 3603169 h 4201882"/>
              <a:gd name="connsiteX50" fmla="*/ 319315 w 9393163"/>
              <a:gd name="connsiteY50"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76270 w 9393163"/>
              <a:gd name="connsiteY4" fmla="*/ 276898 h 4201882"/>
              <a:gd name="connsiteX5" fmla="*/ 6393543 w 9393163"/>
              <a:gd name="connsiteY5" fmla="*/ 1386110 h 4201882"/>
              <a:gd name="connsiteX6" fmla="*/ 5161891 w 9393163"/>
              <a:gd name="connsiteY6" fmla="*/ 1384378 h 4201882"/>
              <a:gd name="connsiteX7" fmla="*/ 5229866 w 9393163"/>
              <a:gd name="connsiteY7" fmla="*/ 270402 h 4201882"/>
              <a:gd name="connsiteX8" fmla="*/ 6376270 w 9393163"/>
              <a:gd name="connsiteY8" fmla="*/ 276898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75767 h 4201882"/>
              <a:gd name="connsiteX19" fmla="*/ 4434994 w 9393163"/>
              <a:gd name="connsiteY19" fmla="*/ 222880 h 4201882"/>
              <a:gd name="connsiteX20" fmla="*/ 4767945 w 9393163"/>
              <a:gd name="connsiteY20" fmla="*/ 558795 h 4201882"/>
              <a:gd name="connsiteX21" fmla="*/ 4434994 w 9393163"/>
              <a:gd name="connsiteY21" fmla="*/ 1388196 h 4201882"/>
              <a:gd name="connsiteX22" fmla="*/ 3200401 w 9393163"/>
              <a:gd name="connsiteY22" fmla="*/ 1400624 h 4201882"/>
              <a:gd name="connsiteX23" fmla="*/ 3287486 w 9393163"/>
              <a:gd name="connsiteY23" fmla="*/ 275767 h 4201882"/>
              <a:gd name="connsiteX24" fmla="*/ 2390031 w 9393163"/>
              <a:gd name="connsiteY24" fmla="*/ 3714226 h 4201882"/>
              <a:gd name="connsiteX25" fmla="*/ 2213430 w 9393163"/>
              <a:gd name="connsiteY25" fmla="*/ 4187367 h 4201882"/>
              <a:gd name="connsiteX26" fmla="*/ 1560287 w 9393163"/>
              <a:gd name="connsiteY26" fmla="*/ 4201882 h 4201882"/>
              <a:gd name="connsiteX27" fmla="*/ 1296966 w 9393163"/>
              <a:gd name="connsiteY27" fmla="*/ 3724642 h 4201882"/>
              <a:gd name="connsiteX28" fmla="*/ 1925678 w 9393163"/>
              <a:gd name="connsiteY28" fmla="*/ 3125933 h 4201882"/>
              <a:gd name="connsiteX29" fmla="*/ 2390031 w 9393163"/>
              <a:gd name="connsiteY29" fmla="*/ 3714226 h 4201882"/>
              <a:gd name="connsiteX30" fmla="*/ 6596743 w 9393163"/>
              <a:gd name="connsiteY30" fmla="*/ 4042225 h 4201882"/>
              <a:gd name="connsiteX31" fmla="*/ 6380876 w 9393163"/>
              <a:gd name="connsiteY31" fmla="*/ 3607073 h 4201882"/>
              <a:gd name="connsiteX32" fmla="*/ 6957753 w 9393163"/>
              <a:gd name="connsiteY32" fmla="*/ 3737701 h 4201882"/>
              <a:gd name="connsiteX33" fmla="*/ 6596743 w 9393163"/>
              <a:gd name="connsiteY33" fmla="*/ 4042225 h 4201882"/>
              <a:gd name="connsiteX34" fmla="*/ 7232614 w 9393163"/>
              <a:gd name="connsiteY34" fmla="*/ 3685197 h 4201882"/>
              <a:gd name="connsiteX35" fmla="*/ 7032173 w 9393163"/>
              <a:gd name="connsiteY35" fmla="*/ 4158339 h 4201882"/>
              <a:gd name="connsiteX36" fmla="*/ 6306459 w 9393163"/>
              <a:gd name="connsiteY36" fmla="*/ 4201881 h 4201882"/>
              <a:gd name="connsiteX37" fmla="*/ 6042666 w 9393163"/>
              <a:gd name="connsiteY37" fmla="*/ 3691989 h 4201882"/>
              <a:gd name="connsiteX38" fmla="*/ 6642348 w 9393163"/>
              <a:gd name="connsiteY38" fmla="*/ 3071499 h 4201882"/>
              <a:gd name="connsiteX39" fmla="*/ 7232614 w 9393163"/>
              <a:gd name="connsiteY39" fmla="*/ 3685197 h 4201882"/>
              <a:gd name="connsiteX40" fmla="*/ 319315 w 9393163"/>
              <a:gd name="connsiteY40" fmla="*/ 3294739 h 4201882"/>
              <a:gd name="connsiteX41" fmla="*/ 1952174 w 9393163"/>
              <a:gd name="connsiteY41" fmla="*/ 68941 h 4201882"/>
              <a:gd name="connsiteX42" fmla="*/ 8229601 w 9393163"/>
              <a:gd name="connsiteY42" fmla="*/ 0 h 4201882"/>
              <a:gd name="connsiteX43" fmla="*/ 8773887 w 9393163"/>
              <a:gd name="connsiteY43" fmla="*/ 616852 h 4201882"/>
              <a:gd name="connsiteX44" fmla="*/ 8831945 w 9393163"/>
              <a:gd name="connsiteY44" fmla="*/ 3156852 h 4201882"/>
              <a:gd name="connsiteX45" fmla="*/ 8744857 w 9393163"/>
              <a:gd name="connsiteY45" fmla="*/ 3418109 h 4201882"/>
              <a:gd name="connsiteX46" fmla="*/ 7438574 w 9393163"/>
              <a:gd name="connsiteY46" fmla="*/ 3418110 h 4201882"/>
              <a:gd name="connsiteX47" fmla="*/ 5798459 w 9393163"/>
              <a:gd name="connsiteY47" fmla="*/ 3577767 h 4201882"/>
              <a:gd name="connsiteX48" fmla="*/ 2735943 w 9393163"/>
              <a:gd name="connsiteY48" fmla="*/ 3606795 h 4201882"/>
              <a:gd name="connsiteX49" fmla="*/ 1023259 w 9393163"/>
              <a:gd name="connsiteY49" fmla="*/ 3621309 h 4201882"/>
              <a:gd name="connsiteX50" fmla="*/ 384627 w 9393163"/>
              <a:gd name="connsiteY50" fmla="*/ 3603169 h 4201882"/>
              <a:gd name="connsiteX51" fmla="*/ 319315 w 9393163"/>
              <a:gd name="connsiteY51"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76270 w 9393163"/>
              <a:gd name="connsiteY4" fmla="*/ 276898 h 4201882"/>
              <a:gd name="connsiteX5" fmla="*/ 6393543 w 9393163"/>
              <a:gd name="connsiteY5" fmla="*/ 1386110 h 4201882"/>
              <a:gd name="connsiteX6" fmla="*/ 5161891 w 9393163"/>
              <a:gd name="connsiteY6" fmla="*/ 1384378 h 4201882"/>
              <a:gd name="connsiteX7" fmla="*/ 5229866 w 9393163"/>
              <a:gd name="connsiteY7" fmla="*/ 270402 h 4201882"/>
              <a:gd name="connsiteX8" fmla="*/ 6376270 w 9393163"/>
              <a:gd name="connsiteY8" fmla="*/ 276898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75767 h 4201882"/>
              <a:gd name="connsiteX19" fmla="*/ 4434994 w 9393163"/>
              <a:gd name="connsiteY19" fmla="*/ 222880 h 4201882"/>
              <a:gd name="connsiteX20" fmla="*/ 4767945 w 9393163"/>
              <a:gd name="connsiteY20" fmla="*/ 558795 h 4201882"/>
              <a:gd name="connsiteX21" fmla="*/ 4738917 w 9393163"/>
              <a:gd name="connsiteY21" fmla="*/ 1081309 h 4201882"/>
              <a:gd name="connsiteX22" fmla="*/ 4434994 w 9393163"/>
              <a:gd name="connsiteY22" fmla="*/ 1388196 h 4201882"/>
              <a:gd name="connsiteX23" fmla="*/ 3200401 w 9393163"/>
              <a:gd name="connsiteY23" fmla="*/ 1400624 h 4201882"/>
              <a:gd name="connsiteX24" fmla="*/ 3287486 w 9393163"/>
              <a:gd name="connsiteY24" fmla="*/ 275767 h 4201882"/>
              <a:gd name="connsiteX25" fmla="*/ 2390031 w 9393163"/>
              <a:gd name="connsiteY25" fmla="*/ 3714226 h 4201882"/>
              <a:gd name="connsiteX26" fmla="*/ 2213430 w 9393163"/>
              <a:gd name="connsiteY26" fmla="*/ 4187367 h 4201882"/>
              <a:gd name="connsiteX27" fmla="*/ 1560287 w 9393163"/>
              <a:gd name="connsiteY27" fmla="*/ 4201882 h 4201882"/>
              <a:gd name="connsiteX28" fmla="*/ 1296966 w 9393163"/>
              <a:gd name="connsiteY28" fmla="*/ 3724642 h 4201882"/>
              <a:gd name="connsiteX29" fmla="*/ 1925678 w 9393163"/>
              <a:gd name="connsiteY29" fmla="*/ 3125933 h 4201882"/>
              <a:gd name="connsiteX30" fmla="*/ 2390031 w 9393163"/>
              <a:gd name="connsiteY30" fmla="*/ 3714226 h 4201882"/>
              <a:gd name="connsiteX31" fmla="*/ 6596743 w 9393163"/>
              <a:gd name="connsiteY31" fmla="*/ 4042225 h 4201882"/>
              <a:gd name="connsiteX32" fmla="*/ 6380876 w 9393163"/>
              <a:gd name="connsiteY32" fmla="*/ 3607073 h 4201882"/>
              <a:gd name="connsiteX33" fmla="*/ 6957753 w 9393163"/>
              <a:gd name="connsiteY33" fmla="*/ 3737701 h 4201882"/>
              <a:gd name="connsiteX34" fmla="*/ 6596743 w 9393163"/>
              <a:gd name="connsiteY34" fmla="*/ 4042225 h 4201882"/>
              <a:gd name="connsiteX35" fmla="*/ 7232614 w 9393163"/>
              <a:gd name="connsiteY35" fmla="*/ 3685197 h 4201882"/>
              <a:gd name="connsiteX36" fmla="*/ 7032173 w 9393163"/>
              <a:gd name="connsiteY36" fmla="*/ 4158339 h 4201882"/>
              <a:gd name="connsiteX37" fmla="*/ 6306459 w 9393163"/>
              <a:gd name="connsiteY37" fmla="*/ 4201881 h 4201882"/>
              <a:gd name="connsiteX38" fmla="*/ 6042666 w 9393163"/>
              <a:gd name="connsiteY38" fmla="*/ 3691989 h 4201882"/>
              <a:gd name="connsiteX39" fmla="*/ 6642348 w 9393163"/>
              <a:gd name="connsiteY39" fmla="*/ 3071499 h 4201882"/>
              <a:gd name="connsiteX40" fmla="*/ 7232614 w 9393163"/>
              <a:gd name="connsiteY40" fmla="*/ 3685197 h 4201882"/>
              <a:gd name="connsiteX41" fmla="*/ 319315 w 9393163"/>
              <a:gd name="connsiteY41" fmla="*/ 3294739 h 4201882"/>
              <a:gd name="connsiteX42" fmla="*/ 1952174 w 9393163"/>
              <a:gd name="connsiteY42" fmla="*/ 68941 h 4201882"/>
              <a:gd name="connsiteX43" fmla="*/ 8229601 w 9393163"/>
              <a:gd name="connsiteY43" fmla="*/ 0 h 4201882"/>
              <a:gd name="connsiteX44" fmla="*/ 8773887 w 9393163"/>
              <a:gd name="connsiteY44" fmla="*/ 616852 h 4201882"/>
              <a:gd name="connsiteX45" fmla="*/ 8831945 w 9393163"/>
              <a:gd name="connsiteY45" fmla="*/ 3156852 h 4201882"/>
              <a:gd name="connsiteX46" fmla="*/ 8744857 w 9393163"/>
              <a:gd name="connsiteY46" fmla="*/ 3418109 h 4201882"/>
              <a:gd name="connsiteX47" fmla="*/ 7438574 w 9393163"/>
              <a:gd name="connsiteY47" fmla="*/ 3418110 h 4201882"/>
              <a:gd name="connsiteX48" fmla="*/ 5798459 w 9393163"/>
              <a:gd name="connsiteY48" fmla="*/ 3577767 h 4201882"/>
              <a:gd name="connsiteX49" fmla="*/ 2735943 w 9393163"/>
              <a:gd name="connsiteY49" fmla="*/ 3606795 h 4201882"/>
              <a:gd name="connsiteX50" fmla="*/ 1023259 w 9393163"/>
              <a:gd name="connsiteY50" fmla="*/ 3621309 h 4201882"/>
              <a:gd name="connsiteX51" fmla="*/ 384627 w 9393163"/>
              <a:gd name="connsiteY51" fmla="*/ 3603169 h 4201882"/>
              <a:gd name="connsiteX52" fmla="*/ 319315 w 9393163"/>
              <a:gd name="connsiteY52"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76270 w 9393163"/>
              <a:gd name="connsiteY4" fmla="*/ 276898 h 4201882"/>
              <a:gd name="connsiteX5" fmla="*/ 6393543 w 9393163"/>
              <a:gd name="connsiteY5" fmla="*/ 1386110 h 4201882"/>
              <a:gd name="connsiteX6" fmla="*/ 5161891 w 9393163"/>
              <a:gd name="connsiteY6" fmla="*/ 1384378 h 4201882"/>
              <a:gd name="connsiteX7" fmla="*/ 5229866 w 9393163"/>
              <a:gd name="connsiteY7" fmla="*/ 270402 h 4201882"/>
              <a:gd name="connsiteX8" fmla="*/ 6376270 w 9393163"/>
              <a:gd name="connsiteY8" fmla="*/ 276898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75767 h 4201882"/>
              <a:gd name="connsiteX19" fmla="*/ 4434994 w 9393163"/>
              <a:gd name="connsiteY19" fmla="*/ 222880 h 4201882"/>
              <a:gd name="connsiteX20" fmla="*/ 4767945 w 9393163"/>
              <a:gd name="connsiteY20" fmla="*/ 558795 h 4201882"/>
              <a:gd name="connsiteX21" fmla="*/ 4738917 w 9393163"/>
              <a:gd name="connsiteY21" fmla="*/ 1081309 h 4201882"/>
              <a:gd name="connsiteX22" fmla="*/ 4434994 w 9393163"/>
              <a:gd name="connsiteY22" fmla="*/ 1388196 h 4201882"/>
              <a:gd name="connsiteX23" fmla="*/ 3200401 w 9393163"/>
              <a:gd name="connsiteY23" fmla="*/ 1400624 h 4201882"/>
              <a:gd name="connsiteX24" fmla="*/ 3011717 w 9393163"/>
              <a:gd name="connsiteY24" fmla="*/ 558795 h 4201882"/>
              <a:gd name="connsiteX25" fmla="*/ 3287486 w 9393163"/>
              <a:gd name="connsiteY25" fmla="*/ 275767 h 4201882"/>
              <a:gd name="connsiteX26" fmla="*/ 2390031 w 9393163"/>
              <a:gd name="connsiteY26" fmla="*/ 3714226 h 4201882"/>
              <a:gd name="connsiteX27" fmla="*/ 2213430 w 9393163"/>
              <a:gd name="connsiteY27" fmla="*/ 4187367 h 4201882"/>
              <a:gd name="connsiteX28" fmla="*/ 1560287 w 9393163"/>
              <a:gd name="connsiteY28" fmla="*/ 4201882 h 4201882"/>
              <a:gd name="connsiteX29" fmla="*/ 1296966 w 9393163"/>
              <a:gd name="connsiteY29" fmla="*/ 3724642 h 4201882"/>
              <a:gd name="connsiteX30" fmla="*/ 1925678 w 9393163"/>
              <a:gd name="connsiteY30" fmla="*/ 3125933 h 4201882"/>
              <a:gd name="connsiteX31" fmla="*/ 2390031 w 9393163"/>
              <a:gd name="connsiteY31" fmla="*/ 3714226 h 4201882"/>
              <a:gd name="connsiteX32" fmla="*/ 6596743 w 9393163"/>
              <a:gd name="connsiteY32" fmla="*/ 4042225 h 4201882"/>
              <a:gd name="connsiteX33" fmla="*/ 6380876 w 9393163"/>
              <a:gd name="connsiteY33" fmla="*/ 3607073 h 4201882"/>
              <a:gd name="connsiteX34" fmla="*/ 6957753 w 9393163"/>
              <a:gd name="connsiteY34" fmla="*/ 3737701 h 4201882"/>
              <a:gd name="connsiteX35" fmla="*/ 6596743 w 9393163"/>
              <a:gd name="connsiteY35" fmla="*/ 4042225 h 4201882"/>
              <a:gd name="connsiteX36" fmla="*/ 7232614 w 9393163"/>
              <a:gd name="connsiteY36" fmla="*/ 3685197 h 4201882"/>
              <a:gd name="connsiteX37" fmla="*/ 7032173 w 9393163"/>
              <a:gd name="connsiteY37" fmla="*/ 4158339 h 4201882"/>
              <a:gd name="connsiteX38" fmla="*/ 6306459 w 9393163"/>
              <a:gd name="connsiteY38" fmla="*/ 4201881 h 4201882"/>
              <a:gd name="connsiteX39" fmla="*/ 6042666 w 9393163"/>
              <a:gd name="connsiteY39" fmla="*/ 3691989 h 4201882"/>
              <a:gd name="connsiteX40" fmla="*/ 6642348 w 9393163"/>
              <a:gd name="connsiteY40" fmla="*/ 3071499 h 4201882"/>
              <a:gd name="connsiteX41" fmla="*/ 7232614 w 9393163"/>
              <a:gd name="connsiteY41" fmla="*/ 3685197 h 4201882"/>
              <a:gd name="connsiteX42" fmla="*/ 319315 w 9393163"/>
              <a:gd name="connsiteY42" fmla="*/ 3294739 h 4201882"/>
              <a:gd name="connsiteX43" fmla="*/ 1952174 w 9393163"/>
              <a:gd name="connsiteY43" fmla="*/ 68941 h 4201882"/>
              <a:gd name="connsiteX44" fmla="*/ 8229601 w 9393163"/>
              <a:gd name="connsiteY44" fmla="*/ 0 h 4201882"/>
              <a:gd name="connsiteX45" fmla="*/ 8773887 w 9393163"/>
              <a:gd name="connsiteY45" fmla="*/ 616852 h 4201882"/>
              <a:gd name="connsiteX46" fmla="*/ 8831945 w 9393163"/>
              <a:gd name="connsiteY46" fmla="*/ 3156852 h 4201882"/>
              <a:gd name="connsiteX47" fmla="*/ 8744857 w 9393163"/>
              <a:gd name="connsiteY47" fmla="*/ 3418109 h 4201882"/>
              <a:gd name="connsiteX48" fmla="*/ 7438574 w 9393163"/>
              <a:gd name="connsiteY48" fmla="*/ 3418110 h 4201882"/>
              <a:gd name="connsiteX49" fmla="*/ 5798459 w 9393163"/>
              <a:gd name="connsiteY49" fmla="*/ 3577767 h 4201882"/>
              <a:gd name="connsiteX50" fmla="*/ 2735943 w 9393163"/>
              <a:gd name="connsiteY50" fmla="*/ 3606795 h 4201882"/>
              <a:gd name="connsiteX51" fmla="*/ 1023259 w 9393163"/>
              <a:gd name="connsiteY51" fmla="*/ 3621309 h 4201882"/>
              <a:gd name="connsiteX52" fmla="*/ 384627 w 9393163"/>
              <a:gd name="connsiteY52" fmla="*/ 3603169 h 4201882"/>
              <a:gd name="connsiteX53" fmla="*/ 319315 w 9393163"/>
              <a:gd name="connsiteY53"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76270 w 9393163"/>
              <a:gd name="connsiteY4" fmla="*/ 276898 h 4201882"/>
              <a:gd name="connsiteX5" fmla="*/ 6393543 w 9393163"/>
              <a:gd name="connsiteY5" fmla="*/ 1386110 h 4201882"/>
              <a:gd name="connsiteX6" fmla="*/ 5161891 w 9393163"/>
              <a:gd name="connsiteY6" fmla="*/ 1384378 h 4201882"/>
              <a:gd name="connsiteX7" fmla="*/ 5229866 w 9393163"/>
              <a:gd name="connsiteY7" fmla="*/ 270402 h 4201882"/>
              <a:gd name="connsiteX8" fmla="*/ 6376270 w 9393163"/>
              <a:gd name="connsiteY8" fmla="*/ 276898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75767 h 4201882"/>
              <a:gd name="connsiteX19" fmla="*/ 4434994 w 9393163"/>
              <a:gd name="connsiteY19" fmla="*/ 222880 h 4201882"/>
              <a:gd name="connsiteX20" fmla="*/ 4767945 w 9393163"/>
              <a:gd name="connsiteY20" fmla="*/ 558795 h 4201882"/>
              <a:gd name="connsiteX21" fmla="*/ 4738917 w 9393163"/>
              <a:gd name="connsiteY21" fmla="*/ 1081309 h 4201882"/>
              <a:gd name="connsiteX22" fmla="*/ 4434994 w 9393163"/>
              <a:gd name="connsiteY22" fmla="*/ 1388196 h 4201882"/>
              <a:gd name="connsiteX23" fmla="*/ 3200401 w 9393163"/>
              <a:gd name="connsiteY23" fmla="*/ 1400624 h 4201882"/>
              <a:gd name="connsiteX24" fmla="*/ 2997203 w 9393163"/>
              <a:gd name="connsiteY24" fmla="*/ 1226452 h 4201882"/>
              <a:gd name="connsiteX25" fmla="*/ 3011717 w 9393163"/>
              <a:gd name="connsiteY25" fmla="*/ 558795 h 4201882"/>
              <a:gd name="connsiteX26" fmla="*/ 3287486 w 9393163"/>
              <a:gd name="connsiteY26" fmla="*/ 275767 h 4201882"/>
              <a:gd name="connsiteX27" fmla="*/ 2390031 w 9393163"/>
              <a:gd name="connsiteY27" fmla="*/ 3714226 h 4201882"/>
              <a:gd name="connsiteX28" fmla="*/ 2213430 w 9393163"/>
              <a:gd name="connsiteY28" fmla="*/ 4187367 h 4201882"/>
              <a:gd name="connsiteX29" fmla="*/ 1560287 w 9393163"/>
              <a:gd name="connsiteY29" fmla="*/ 4201882 h 4201882"/>
              <a:gd name="connsiteX30" fmla="*/ 1296966 w 9393163"/>
              <a:gd name="connsiteY30" fmla="*/ 3724642 h 4201882"/>
              <a:gd name="connsiteX31" fmla="*/ 1925678 w 9393163"/>
              <a:gd name="connsiteY31" fmla="*/ 3125933 h 4201882"/>
              <a:gd name="connsiteX32" fmla="*/ 2390031 w 9393163"/>
              <a:gd name="connsiteY32" fmla="*/ 3714226 h 4201882"/>
              <a:gd name="connsiteX33" fmla="*/ 6596743 w 9393163"/>
              <a:gd name="connsiteY33" fmla="*/ 4042225 h 4201882"/>
              <a:gd name="connsiteX34" fmla="*/ 6380876 w 9393163"/>
              <a:gd name="connsiteY34" fmla="*/ 3607073 h 4201882"/>
              <a:gd name="connsiteX35" fmla="*/ 6957753 w 9393163"/>
              <a:gd name="connsiteY35" fmla="*/ 3737701 h 4201882"/>
              <a:gd name="connsiteX36" fmla="*/ 6596743 w 9393163"/>
              <a:gd name="connsiteY36" fmla="*/ 4042225 h 4201882"/>
              <a:gd name="connsiteX37" fmla="*/ 7232614 w 9393163"/>
              <a:gd name="connsiteY37" fmla="*/ 3685197 h 4201882"/>
              <a:gd name="connsiteX38" fmla="*/ 7032173 w 9393163"/>
              <a:gd name="connsiteY38" fmla="*/ 4158339 h 4201882"/>
              <a:gd name="connsiteX39" fmla="*/ 6306459 w 9393163"/>
              <a:gd name="connsiteY39" fmla="*/ 4201881 h 4201882"/>
              <a:gd name="connsiteX40" fmla="*/ 6042666 w 9393163"/>
              <a:gd name="connsiteY40" fmla="*/ 3691989 h 4201882"/>
              <a:gd name="connsiteX41" fmla="*/ 6642348 w 9393163"/>
              <a:gd name="connsiteY41" fmla="*/ 3071499 h 4201882"/>
              <a:gd name="connsiteX42" fmla="*/ 7232614 w 9393163"/>
              <a:gd name="connsiteY42" fmla="*/ 3685197 h 4201882"/>
              <a:gd name="connsiteX43" fmla="*/ 319315 w 9393163"/>
              <a:gd name="connsiteY43" fmla="*/ 3294739 h 4201882"/>
              <a:gd name="connsiteX44" fmla="*/ 1952174 w 9393163"/>
              <a:gd name="connsiteY44" fmla="*/ 68941 h 4201882"/>
              <a:gd name="connsiteX45" fmla="*/ 8229601 w 9393163"/>
              <a:gd name="connsiteY45" fmla="*/ 0 h 4201882"/>
              <a:gd name="connsiteX46" fmla="*/ 8773887 w 9393163"/>
              <a:gd name="connsiteY46" fmla="*/ 616852 h 4201882"/>
              <a:gd name="connsiteX47" fmla="*/ 8831945 w 9393163"/>
              <a:gd name="connsiteY47" fmla="*/ 3156852 h 4201882"/>
              <a:gd name="connsiteX48" fmla="*/ 8744857 w 9393163"/>
              <a:gd name="connsiteY48" fmla="*/ 3418109 h 4201882"/>
              <a:gd name="connsiteX49" fmla="*/ 7438574 w 9393163"/>
              <a:gd name="connsiteY49" fmla="*/ 3418110 h 4201882"/>
              <a:gd name="connsiteX50" fmla="*/ 5798459 w 9393163"/>
              <a:gd name="connsiteY50" fmla="*/ 3577767 h 4201882"/>
              <a:gd name="connsiteX51" fmla="*/ 2735943 w 9393163"/>
              <a:gd name="connsiteY51" fmla="*/ 3606795 h 4201882"/>
              <a:gd name="connsiteX52" fmla="*/ 1023259 w 9393163"/>
              <a:gd name="connsiteY52" fmla="*/ 3621309 h 4201882"/>
              <a:gd name="connsiteX53" fmla="*/ 384627 w 9393163"/>
              <a:gd name="connsiteY53" fmla="*/ 3603169 h 4201882"/>
              <a:gd name="connsiteX54" fmla="*/ 319315 w 9393163"/>
              <a:gd name="connsiteY54"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76270 w 9393163"/>
              <a:gd name="connsiteY4" fmla="*/ 276898 h 4201882"/>
              <a:gd name="connsiteX5" fmla="*/ 6393543 w 9393163"/>
              <a:gd name="connsiteY5" fmla="*/ 1386110 h 4201882"/>
              <a:gd name="connsiteX6" fmla="*/ 5161891 w 9393163"/>
              <a:gd name="connsiteY6" fmla="*/ 1384378 h 4201882"/>
              <a:gd name="connsiteX7" fmla="*/ 5229866 w 9393163"/>
              <a:gd name="connsiteY7" fmla="*/ 270402 h 4201882"/>
              <a:gd name="connsiteX8" fmla="*/ 6376270 w 9393163"/>
              <a:gd name="connsiteY8" fmla="*/ 276898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75767 h 4201882"/>
              <a:gd name="connsiteX19" fmla="*/ 4434994 w 9393163"/>
              <a:gd name="connsiteY19" fmla="*/ 222880 h 4201882"/>
              <a:gd name="connsiteX20" fmla="*/ 4767945 w 9393163"/>
              <a:gd name="connsiteY20" fmla="*/ 558795 h 4201882"/>
              <a:gd name="connsiteX21" fmla="*/ 4738917 w 9393163"/>
              <a:gd name="connsiteY21" fmla="*/ 1081309 h 4201882"/>
              <a:gd name="connsiteX22" fmla="*/ 4434994 w 9393163"/>
              <a:gd name="connsiteY22" fmla="*/ 1388196 h 4201882"/>
              <a:gd name="connsiteX23" fmla="*/ 3200401 w 9393163"/>
              <a:gd name="connsiteY23" fmla="*/ 1400624 h 4201882"/>
              <a:gd name="connsiteX24" fmla="*/ 2997203 w 9393163"/>
              <a:gd name="connsiteY24" fmla="*/ 1226452 h 4201882"/>
              <a:gd name="connsiteX25" fmla="*/ 3011717 w 9393163"/>
              <a:gd name="connsiteY25" fmla="*/ 558795 h 4201882"/>
              <a:gd name="connsiteX26" fmla="*/ 3287486 w 9393163"/>
              <a:gd name="connsiteY26" fmla="*/ 275767 h 4201882"/>
              <a:gd name="connsiteX27" fmla="*/ 2390031 w 9393163"/>
              <a:gd name="connsiteY27" fmla="*/ 3714226 h 4201882"/>
              <a:gd name="connsiteX28" fmla="*/ 2213430 w 9393163"/>
              <a:gd name="connsiteY28" fmla="*/ 4187367 h 4201882"/>
              <a:gd name="connsiteX29" fmla="*/ 1560287 w 9393163"/>
              <a:gd name="connsiteY29" fmla="*/ 4201882 h 4201882"/>
              <a:gd name="connsiteX30" fmla="*/ 1296966 w 9393163"/>
              <a:gd name="connsiteY30" fmla="*/ 3724642 h 4201882"/>
              <a:gd name="connsiteX31" fmla="*/ 1925678 w 9393163"/>
              <a:gd name="connsiteY31" fmla="*/ 3125933 h 4201882"/>
              <a:gd name="connsiteX32" fmla="*/ 2390031 w 9393163"/>
              <a:gd name="connsiteY32" fmla="*/ 3714226 h 4201882"/>
              <a:gd name="connsiteX33" fmla="*/ 6596743 w 9393163"/>
              <a:gd name="connsiteY33" fmla="*/ 4042225 h 4201882"/>
              <a:gd name="connsiteX34" fmla="*/ 6380876 w 9393163"/>
              <a:gd name="connsiteY34" fmla="*/ 3607073 h 4201882"/>
              <a:gd name="connsiteX35" fmla="*/ 6957753 w 9393163"/>
              <a:gd name="connsiteY35" fmla="*/ 3737701 h 4201882"/>
              <a:gd name="connsiteX36" fmla="*/ 6596743 w 9393163"/>
              <a:gd name="connsiteY36" fmla="*/ 4042225 h 4201882"/>
              <a:gd name="connsiteX37" fmla="*/ 7232614 w 9393163"/>
              <a:gd name="connsiteY37" fmla="*/ 3685197 h 4201882"/>
              <a:gd name="connsiteX38" fmla="*/ 7032173 w 9393163"/>
              <a:gd name="connsiteY38" fmla="*/ 4158339 h 4201882"/>
              <a:gd name="connsiteX39" fmla="*/ 6306459 w 9393163"/>
              <a:gd name="connsiteY39" fmla="*/ 4201881 h 4201882"/>
              <a:gd name="connsiteX40" fmla="*/ 6042666 w 9393163"/>
              <a:gd name="connsiteY40" fmla="*/ 3691989 h 4201882"/>
              <a:gd name="connsiteX41" fmla="*/ 6642348 w 9393163"/>
              <a:gd name="connsiteY41" fmla="*/ 3071499 h 4201882"/>
              <a:gd name="connsiteX42" fmla="*/ 7232614 w 9393163"/>
              <a:gd name="connsiteY42" fmla="*/ 3685197 h 4201882"/>
              <a:gd name="connsiteX43" fmla="*/ 319315 w 9393163"/>
              <a:gd name="connsiteY43" fmla="*/ 3294739 h 4201882"/>
              <a:gd name="connsiteX44" fmla="*/ 1952174 w 9393163"/>
              <a:gd name="connsiteY44" fmla="*/ 68941 h 4201882"/>
              <a:gd name="connsiteX45" fmla="*/ 8229601 w 9393163"/>
              <a:gd name="connsiteY45" fmla="*/ 0 h 4201882"/>
              <a:gd name="connsiteX46" fmla="*/ 8773887 w 9393163"/>
              <a:gd name="connsiteY46" fmla="*/ 616852 h 4201882"/>
              <a:gd name="connsiteX47" fmla="*/ 8831945 w 9393163"/>
              <a:gd name="connsiteY47" fmla="*/ 3156852 h 4201882"/>
              <a:gd name="connsiteX48" fmla="*/ 8744857 w 9393163"/>
              <a:gd name="connsiteY48" fmla="*/ 3418109 h 4201882"/>
              <a:gd name="connsiteX49" fmla="*/ 7438574 w 9393163"/>
              <a:gd name="connsiteY49" fmla="*/ 3418110 h 4201882"/>
              <a:gd name="connsiteX50" fmla="*/ 5798459 w 9393163"/>
              <a:gd name="connsiteY50" fmla="*/ 3577767 h 4201882"/>
              <a:gd name="connsiteX51" fmla="*/ 2735943 w 9393163"/>
              <a:gd name="connsiteY51" fmla="*/ 3606795 h 4201882"/>
              <a:gd name="connsiteX52" fmla="*/ 1023259 w 9393163"/>
              <a:gd name="connsiteY52" fmla="*/ 3621309 h 4201882"/>
              <a:gd name="connsiteX53" fmla="*/ 384627 w 9393163"/>
              <a:gd name="connsiteY53" fmla="*/ 3603169 h 4201882"/>
              <a:gd name="connsiteX54" fmla="*/ 319315 w 9393163"/>
              <a:gd name="connsiteY54"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76270 w 9393163"/>
              <a:gd name="connsiteY4" fmla="*/ 276898 h 4201882"/>
              <a:gd name="connsiteX5" fmla="*/ 6393543 w 9393163"/>
              <a:gd name="connsiteY5" fmla="*/ 1386110 h 4201882"/>
              <a:gd name="connsiteX6" fmla="*/ 5161891 w 9393163"/>
              <a:gd name="connsiteY6" fmla="*/ 1384378 h 4201882"/>
              <a:gd name="connsiteX7" fmla="*/ 5229866 w 9393163"/>
              <a:gd name="connsiteY7" fmla="*/ 270402 h 4201882"/>
              <a:gd name="connsiteX8" fmla="*/ 6376270 w 9393163"/>
              <a:gd name="connsiteY8" fmla="*/ 276898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75767 h 4201882"/>
              <a:gd name="connsiteX19" fmla="*/ 4434994 w 9393163"/>
              <a:gd name="connsiteY19" fmla="*/ 222880 h 4201882"/>
              <a:gd name="connsiteX20" fmla="*/ 4767945 w 9393163"/>
              <a:gd name="connsiteY20" fmla="*/ 558795 h 4201882"/>
              <a:gd name="connsiteX21" fmla="*/ 4738917 w 9393163"/>
              <a:gd name="connsiteY21" fmla="*/ 1081309 h 4201882"/>
              <a:gd name="connsiteX22" fmla="*/ 4434994 w 9393163"/>
              <a:gd name="connsiteY22" fmla="*/ 1388196 h 4201882"/>
              <a:gd name="connsiteX23" fmla="*/ 3200401 w 9393163"/>
              <a:gd name="connsiteY23" fmla="*/ 1400624 h 4201882"/>
              <a:gd name="connsiteX24" fmla="*/ 2997203 w 9393163"/>
              <a:gd name="connsiteY24" fmla="*/ 1226452 h 4201882"/>
              <a:gd name="connsiteX25" fmla="*/ 3011717 w 9393163"/>
              <a:gd name="connsiteY25" fmla="*/ 558795 h 4201882"/>
              <a:gd name="connsiteX26" fmla="*/ 3287486 w 9393163"/>
              <a:gd name="connsiteY26" fmla="*/ 275767 h 4201882"/>
              <a:gd name="connsiteX27" fmla="*/ 2390031 w 9393163"/>
              <a:gd name="connsiteY27" fmla="*/ 3714226 h 4201882"/>
              <a:gd name="connsiteX28" fmla="*/ 2213430 w 9393163"/>
              <a:gd name="connsiteY28" fmla="*/ 4187367 h 4201882"/>
              <a:gd name="connsiteX29" fmla="*/ 1560287 w 9393163"/>
              <a:gd name="connsiteY29" fmla="*/ 4201882 h 4201882"/>
              <a:gd name="connsiteX30" fmla="*/ 1296966 w 9393163"/>
              <a:gd name="connsiteY30" fmla="*/ 3724642 h 4201882"/>
              <a:gd name="connsiteX31" fmla="*/ 1925678 w 9393163"/>
              <a:gd name="connsiteY31" fmla="*/ 3125933 h 4201882"/>
              <a:gd name="connsiteX32" fmla="*/ 2390031 w 9393163"/>
              <a:gd name="connsiteY32" fmla="*/ 3714226 h 4201882"/>
              <a:gd name="connsiteX33" fmla="*/ 6596743 w 9393163"/>
              <a:gd name="connsiteY33" fmla="*/ 4042225 h 4201882"/>
              <a:gd name="connsiteX34" fmla="*/ 6380876 w 9393163"/>
              <a:gd name="connsiteY34" fmla="*/ 3607073 h 4201882"/>
              <a:gd name="connsiteX35" fmla="*/ 6957753 w 9393163"/>
              <a:gd name="connsiteY35" fmla="*/ 3737701 h 4201882"/>
              <a:gd name="connsiteX36" fmla="*/ 6596743 w 9393163"/>
              <a:gd name="connsiteY36" fmla="*/ 4042225 h 4201882"/>
              <a:gd name="connsiteX37" fmla="*/ 7232614 w 9393163"/>
              <a:gd name="connsiteY37" fmla="*/ 3685197 h 4201882"/>
              <a:gd name="connsiteX38" fmla="*/ 7032173 w 9393163"/>
              <a:gd name="connsiteY38" fmla="*/ 4158339 h 4201882"/>
              <a:gd name="connsiteX39" fmla="*/ 6306459 w 9393163"/>
              <a:gd name="connsiteY39" fmla="*/ 4201881 h 4201882"/>
              <a:gd name="connsiteX40" fmla="*/ 6042666 w 9393163"/>
              <a:gd name="connsiteY40" fmla="*/ 3691989 h 4201882"/>
              <a:gd name="connsiteX41" fmla="*/ 6642348 w 9393163"/>
              <a:gd name="connsiteY41" fmla="*/ 3071499 h 4201882"/>
              <a:gd name="connsiteX42" fmla="*/ 7232614 w 9393163"/>
              <a:gd name="connsiteY42" fmla="*/ 3685197 h 4201882"/>
              <a:gd name="connsiteX43" fmla="*/ 319315 w 9393163"/>
              <a:gd name="connsiteY43" fmla="*/ 3294739 h 4201882"/>
              <a:gd name="connsiteX44" fmla="*/ 1952174 w 9393163"/>
              <a:gd name="connsiteY44" fmla="*/ 68941 h 4201882"/>
              <a:gd name="connsiteX45" fmla="*/ 8229601 w 9393163"/>
              <a:gd name="connsiteY45" fmla="*/ 0 h 4201882"/>
              <a:gd name="connsiteX46" fmla="*/ 8773887 w 9393163"/>
              <a:gd name="connsiteY46" fmla="*/ 616852 h 4201882"/>
              <a:gd name="connsiteX47" fmla="*/ 8831945 w 9393163"/>
              <a:gd name="connsiteY47" fmla="*/ 3156852 h 4201882"/>
              <a:gd name="connsiteX48" fmla="*/ 8744857 w 9393163"/>
              <a:gd name="connsiteY48" fmla="*/ 3418109 h 4201882"/>
              <a:gd name="connsiteX49" fmla="*/ 7438574 w 9393163"/>
              <a:gd name="connsiteY49" fmla="*/ 3418110 h 4201882"/>
              <a:gd name="connsiteX50" fmla="*/ 5798459 w 9393163"/>
              <a:gd name="connsiteY50" fmla="*/ 3577767 h 4201882"/>
              <a:gd name="connsiteX51" fmla="*/ 2735943 w 9393163"/>
              <a:gd name="connsiteY51" fmla="*/ 3606795 h 4201882"/>
              <a:gd name="connsiteX52" fmla="*/ 1023259 w 9393163"/>
              <a:gd name="connsiteY52" fmla="*/ 3621309 h 4201882"/>
              <a:gd name="connsiteX53" fmla="*/ 384627 w 9393163"/>
              <a:gd name="connsiteY53" fmla="*/ 3603169 h 4201882"/>
              <a:gd name="connsiteX54" fmla="*/ 319315 w 9393163"/>
              <a:gd name="connsiteY54"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76270 w 9393163"/>
              <a:gd name="connsiteY4" fmla="*/ 276898 h 4201882"/>
              <a:gd name="connsiteX5" fmla="*/ 6393543 w 9393163"/>
              <a:gd name="connsiteY5" fmla="*/ 1386110 h 4201882"/>
              <a:gd name="connsiteX6" fmla="*/ 5161891 w 9393163"/>
              <a:gd name="connsiteY6" fmla="*/ 1384378 h 4201882"/>
              <a:gd name="connsiteX7" fmla="*/ 5229866 w 9393163"/>
              <a:gd name="connsiteY7" fmla="*/ 270402 h 4201882"/>
              <a:gd name="connsiteX8" fmla="*/ 6376270 w 9393163"/>
              <a:gd name="connsiteY8" fmla="*/ 276898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75767 h 4201882"/>
              <a:gd name="connsiteX19" fmla="*/ 4434994 w 9393163"/>
              <a:gd name="connsiteY19" fmla="*/ 222880 h 4201882"/>
              <a:gd name="connsiteX20" fmla="*/ 4767945 w 9393163"/>
              <a:gd name="connsiteY20" fmla="*/ 558795 h 4201882"/>
              <a:gd name="connsiteX21" fmla="*/ 4738917 w 9393163"/>
              <a:gd name="connsiteY21" fmla="*/ 1081309 h 4201882"/>
              <a:gd name="connsiteX22" fmla="*/ 4434994 w 9393163"/>
              <a:gd name="connsiteY22" fmla="*/ 1388196 h 4201882"/>
              <a:gd name="connsiteX23" fmla="*/ 3200401 w 9393163"/>
              <a:gd name="connsiteY23" fmla="*/ 1400624 h 4201882"/>
              <a:gd name="connsiteX24" fmla="*/ 2997203 w 9393163"/>
              <a:gd name="connsiteY24" fmla="*/ 1226452 h 4201882"/>
              <a:gd name="connsiteX25" fmla="*/ 3011717 w 9393163"/>
              <a:gd name="connsiteY25" fmla="*/ 558795 h 4201882"/>
              <a:gd name="connsiteX26" fmla="*/ 3287486 w 9393163"/>
              <a:gd name="connsiteY26" fmla="*/ 275767 h 4201882"/>
              <a:gd name="connsiteX27" fmla="*/ 2390031 w 9393163"/>
              <a:gd name="connsiteY27" fmla="*/ 3714226 h 4201882"/>
              <a:gd name="connsiteX28" fmla="*/ 2213430 w 9393163"/>
              <a:gd name="connsiteY28" fmla="*/ 4187367 h 4201882"/>
              <a:gd name="connsiteX29" fmla="*/ 1560287 w 9393163"/>
              <a:gd name="connsiteY29" fmla="*/ 4201882 h 4201882"/>
              <a:gd name="connsiteX30" fmla="*/ 1296966 w 9393163"/>
              <a:gd name="connsiteY30" fmla="*/ 3724642 h 4201882"/>
              <a:gd name="connsiteX31" fmla="*/ 1925678 w 9393163"/>
              <a:gd name="connsiteY31" fmla="*/ 3125933 h 4201882"/>
              <a:gd name="connsiteX32" fmla="*/ 2390031 w 9393163"/>
              <a:gd name="connsiteY32" fmla="*/ 3714226 h 4201882"/>
              <a:gd name="connsiteX33" fmla="*/ 6596743 w 9393163"/>
              <a:gd name="connsiteY33" fmla="*/ 4042225 h 4201882"/>
              <a:gd name="connsiteX34" fmla="*/ 6380876 w 9393163"/>
              <a:gd name="connsiteY34" fmla="*/ 3607073 h 4201882"/>
              <a:gd name="connsiteX35" fmla="*/ 6957753 w 9393163"/>
              <a:gd name="connsiteY35" fmla="*/ 3737701 h 4201882"/>
              <a:gd name="connsiteX36" fmla="*/ 6596743 w 9393163"/>
              <a:gd name="connsiteY36" fmla="*/ 4042225 h 4201882"/>
              <a:gd name="connsiteX37" fmla="*/ 7232614 w 9393163"/>
              <a:gd name="connsiteY37" fmla="*/ 3685197 h 4201882"/>
              <a:gd name="connsiteX38" fmla="*/ 7032173 w 9393163"/>
              <a:gd name="connsiteY38" fmla="*/ 4158339 h 4201882"/>
              <a:gd name="connsiteX39" fmla="*/ 6306459 w 9393163"/>
              <a:gd name="connsiteY39" fmla="*/ 4201881 h 4201882"/>
              <a:gd name="connsiteX40" fmla="*/ 6042666 w 9393163"/>
              <a:gd name="connsiteY40" fmla="*/ 3691989 h 4201882"/>
              <a:gd name="connsiteX41" fmla="*/ 6642348 w 9393163"/>
              <a:gd name="connsiteY41" fmla="*/ 3071499 h 4201882"/>
              <a:gd name="connsiteX42" fmla="*/ 7232614 w 9393163"/>
              <a:gd name="connsiteY42" fmla="*/ 3685197 h 4201882"/>
              <a:gd name="connsiteX43" fmla="*/ 319315 w 9393163"/>
              <a:gd name="connsiteY43" fmla="*/ 3294739 h 4201882"/>
              <a:gd name="connsiteX44" fmla="*/ 1952174 w 9393163"/>
              <a:gd name="connsiteY44" fmla="*/ 68941 h 4201882"/>
              <a:gd name="connsiteX45" fmla="*/ 8229601 w 9393163"/>
              <a:gd name="connsiteY45" fmla="*/ 0 h 4201882"/>
              <a:gd name="connsiteX46" fmla="*/ 8773887 w 9393163"/>
              <a:gd name="connsiteY46" fmla="*/ 616852 h 4201882"/>
              <a:gd name="connsiteX47" fmla="*/ 8831945 w 9393163"/>
              <a:gd name="connsiteY47" fmla="*/ 3156852 h 4201882"/>
              <a:gd name="connsiteX48" fmla="*/ 8744857 w 9393163"/>
              <a:gd name="connsiteY48" fmla="*/ 3418109 h 4201882"/>
              <a:gd name="connsiteX49" fmla="*/ 7438574 w 9393163"/>
              <a:gd name="connsiteY49" fmla="*/ 3418110 h 4201882"/>
              <a:gd name="connsiteX50" fmla="*/ 5798459 w 9393163"/>
              <a:gd name="connsiteY50" fmla="*/ 3577767 h 4201882"/>
              <a:gd name="connsiteX51" fmla="*/ 2735943 w 9393163"/>
              <a:gd name="connsiteY51" fmla="*/ 3606795 h 4201882"/>
              <a:gd name="connsiteX52" fmla="*/ 1023259 w 9393163"/>
              <a:gd name="connsiteY52" fmla="*/ 3621309 h 4201882"/>
              <a:gd name="connsiteX53" fmla="*/ 384627 w 9393163"/>
              <a:gd name="connsiteY53" fmla="*/ 3603169 h 4201882"/>
              <a:gd name="connsiteX54" fmla="*/ 319315 w 9393163"/>
              <a:gd name="connsiteY54"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76270 w 9393163"/>
              <a:gd name="connsiteY4" fmla="*/ 276898 h 4201882"/>
              <a:gd name="connsiteX5" fmla="*/ 6393543 w 9393163"/>
              <a:gd name="connsiteY5" fmla="*/ 1386110 h 4201882"/>
              <a:gd name="connsiteX6" fmla="*/ 5161891 w 9393163"/>
              <a:gd name="connsiteY6" fmla="*/ 1384378 h 4201882"/>
              <a:gd name="connsiteX7" fmla="*/ 5229866 w 9393163"/>
              <a:gd name="connsiteY7" fmla="*/ 270402 h 4201882"/>
              <a:gd name="connsiteX8" fmla="*/ 6376270 w 9393163"/>
              <a:gd name="connsiteY8" fmla="*/ 276898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75767 h 4201882"/>
              <a:gd name="connsiteX19" fmla="*/ 4434994 w 9393163"/>
              <a:gd name="connsiteY19" fmla="*/ 222880 h 4201882"/>
              <a:gd name="connsiteX20" fmla="*/ 4767945 w 9393163"/>
              <a:gd name="connsiteY20" fmla="*/ 558795 h 4201882"/>
              <a:gd name="connsiteX21" fmla="*/ 4738917 w 9393163"/>
              <a:gd name="connsiteY21" fmla="*/ 1081309 h 4201882"/>
              <a:gd name="connsiteX22" fmla="*/ 4434994 w 9393163"/>
              <a:gd name="connsiteY22" fmla="*/ 1388196 h 4201882"/>
              <a:gd name="connsiteX23" fmla="*/ 3200401 w 9393163"/>
              <a:gd name="connsiteY23" fmla="*/ 1400624 h 4201882"/>
              <a:gd name="connsiteX24" fmla="*/ 2997203 w 9393163"/>
              <a:gd name="connsiteY24" fmla="*/ 1226452 h 4201882"/>
              <a:gd name="connsiteX25" fmla="*/ 3011717 w 9393163"/>
              <a:gd name="connsiteY25" fmla="*/ 558795 h 4201882"/>
              <a:gd name="connsiteX26" fmla="*/ 3287486 w 9393163"/>
              <a:gd name="connsiteY26" fmla="*/ 275767 h 4201882"/>
              <a:gd name="connsiteX27" fmla="*/ 2390031 w 9393163"/>
              <a:gd name="connsiteY27" fmla="*/ 3714226 h 4201882"/>
              <a:gd name="connsiteX28" fmla="*/ 2213430 w 9393163"/>
              <a:gd name="connsiteY28" fmla="*/ 4187367 h 4201882"/>
              <a:gd name="connsiteX29" fmla="*/ 1560287 w 9393163"/>
              <a:gd name="connsiteY29" fmla="*/ 4201882 h 4201882"/>
              <a:gd name="connsiteX30" fmla="*/ 1296966 w 9393163"/>
              <a:gd name="connsiteY30" fmla="*/ 3724642 h 4201882"/>
              <a:gd name="connsiteX31" fmla="*/ 1925678 w 9393163"/>
              <a:gd name="connsiteY31" fmla="*/ 3125933 h 4201882"/>
              <a:gd name="connsiteX32" fmla="*/ 2390031 w 9393163"/>
              <a:gd name="connsiteY32" fmla="*/ 3714226 h 4201882"/>
              <a:gd name="connsiteX33" fmla="*/ 6596743 w 9393163"/>
              <a:gd name="connsiteY33" fmla="*/ 4042225 h 4201882"/>
              <a:gd name="connsiteX34" fmla="*/ 6380876 w 9393163"/>
              <a:gd name="connsiteY34" fmla="*/ 3607073 h 4201882"/>
              <a:gd name="connsiteX35" fmla="*/ 6957753 w 9393163"/>
              <a:gd name="connsiteY35" fmla="*/ 3737701 h 4201882"/>
              <a:gd name="connsiteX36" fmla="*/ 6596743 w 9393163"/>
              <a:gd name="connsiteY36" fmla="*/ 4042225 h 4201882"/>
              <a:gd name="connsiteX37" fmla="*/ 7232614 w 9393163"/>
              <a:gd name="connsiteY37" fmla="*/ 3685197 h 4201882"/>
              <a:gd name="connsiteX38" fmla="*/ 7032173 w 9393163"/>
              <a:gd name="connsiteY38" fmla="*/ 4158339 h 4201882"/>
              <a:gd name="connsiteX39" fmla="*/ 6306459 w 9393163"/>
              <a:gd name="connsiteY39" fmla="*/ 4201881 h 4201882"/>
              <a:gd name="connsiteX40" fmla="*/ 6042666 w 9393163"/>
              <a:gd name="connsiteY40" fmla="*/ 3691989 h 4201882"/>
              <a:gd name="connsiteX41" fmla="*/ 6642348 w 9393163"/>
              <a:gd name="connsiteY41" fmla="*/ 3071499 h 4201882"/>
              <a:gd name="connsiteX42" fmla="*/ 7232614 w 9393163"/>
              <a:gd name="connsiteY42" fmla="*/ 3685197 h 4201882"/>
              <a:gd name="connsiteX43" fmla="*/ 319315 w 9393163"/>
              <a:gd name="connsiteY43" fmla="*/ 3294739 h 4201882"/>
              <a:gd name="connsiteX44" fmla="*/ 1952174 w 9393163"/>
              <a:gd name="connsiteY44" fmla="*/ 68941 h 4201882"/>
              <a:gd name="connsiteX45" fmla="*/ 8229601 w 9393163"/>
              <a:gd name="connsiteY45" fmla="*/ 0 h 4201882"/>
              <a:gd name="connsiteX46" fmla="*/ 8773887 w 9393163"/>
              <a:gd name="connsiteY46" fmla="*/ 616852 h 4201882"/>
              <a:gd name="connsiteX47" fmla="*/ 8831945 w 9393163"/>
              <a:gd name="connsiteY47" fmla="*/ 3156852 h 4201882"/>
              <a:gd name="connsiteX48" fmla="*/ 8744857 w 9393163"/>
              <a:gd name="connsiteY48" fmla="*/ 3418109 h 4201882"/>
              <a:gd name="connsiteX49" fmla="*/ 7438574 w 9393163"/>
              <a:gd name="connsiteY49" fmla="*/ 3418110 h 4201882"/>
              <a:gd name="connsiteX50" fmla="*/ 5798459 w 9393163"/>
              <a:gd name="connsiteY50" fmla="*/ 3577767 h 4201882"/>
              <a:gd name="connsiteX51" fmla="*/ 2735943 w 9393163"/>
              <a:gd name="connsiteY51" fmla="*/ 3606795 h 4201882"/>
              <a:gd name="connsiteX52" fmla="*/ 1023259 w 9393163"/>
              <a:gd name="connsiteY52" fmla="*/ 3621309 h 4201882"/>
              <a:gd name="connsiteX53" fmla="*/ 384627 w 9393163"/>
              <a:gd name="connsiteY53" fmla="*/ 3603169 h 4201882"/>
              <a:gd name="connsiteX54" fmla="*/ 319315 w 9393163"/>
              <a:gd name="connsiteY54"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76270 w 9393163"/>
              <a:gd name="connsiteY4" fmla="*/ 276898 h 4201882"/>
              <a:gd name="connsiteX5" fmla="*/ 6393543 w 9393163"/>
              <a:gd name="connsiteY5" fmla="*/ 1386110 h 4201882"/>
              <a:gd name="connsiteX6" fmla="*/ 5161891 w 9393163"/>
              <a:gd name="connsiteY6" fmla="*/ 1384378 h 4201882"/>
              <a:gd name="connsiteX7" fmla="*/ 5229866 w 9393163"/>
              <a:gd name="connsiteY7" fmla="*/ 270402 h 4201882"/>
              <a:gd name="connsiteX8" fmla="*/ 6376270 w 9393163"/>
              <a:gd name="connsiteY8" fmla="*/ 276898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32225 h 4201882"/>
              <a:gd name="connsiteX19" fmla="*/ 4434994 w 9393163"/>
              <a:gd name="connsiteY19" fmla="*/ 222880 h 4201882"/>
              <a:gd name="connsiteX20" fmla="*/ 4767945 w 9393163"/>
              <a:gd name="connsiteY20" fmla="*/ 558795 h 4201882"/>
              <a:gd name="connsiteX21" fmla="*/ 4738917 w 9393163"/>
              <a:gd name="connsiteY21" fmla="*/ 1081309 h 4201882"/>
              <a:gd name="connsiteX22" fmla="*/ 4434994 w 9393163"/>
              <a:gd name="connsiteY22" fmla="*/ 1388196 h 4201882"/>
              <a:gd name="connsiteX23" fmla="*/ 3200401 w 9393163"/>
              <a:gd name="connsiteY23" fmla="*/ 1400624 h 4201882"/>
              <a:gd name="connsiteX24" fmla="*/ 2997203 w 9393163"/>
              <a:gd name="connsiteY24" fmla="*/ 1226452 h 4201882"/>
              <a:gd name="connsiteX25" fmla="*/ 3011717 w 9393163"/>
              <a:gd name="connsiteY25" fmla="*/ 558795 h 4201882"/>
              <a:gd name="connsiteX26" fmla="*/ 3287486 w 9393163"/>
              <a:gd name="connsiteY26" fmla="*/ 232225 h 4201882"/>
              <a:gd name="connsiteX27" fmla="*/ 2390031 w 9393163"/>
              <a:gd name="connsiteY27" fmla="*/ 3714226 h 4201882"/>
              <a:gd name="connsiteX28" fmla="*/ 2213430 w 9393163"/>
              <a:gd name="connsiteY28" fmla="*/ 4187367 h 4201882"/>
              <a:gd name="connsiteX29" fmla="*/ 1560287 w 9393163"/>
              <a:gd name="connsiteY29" fmla="*/ 4201882 h 4201882"/>
              <a:gd name="connsiteX30" fmla="*/ 1296966 w 9393163"/>
              <a:gd name="connsiteY30" fmla="*/ 3724642 h 4201882"/>
              <a:gd name="connsiteX31" fmla="*/ 1925678 w 9393163"/>
              <a:gd name="connsiteY31" fmla="*/ 3125933 h 4201882"/>
              <a:gd name="connsiteX32" fmla="*/ 2390031 w 9393163"/>
              <a:gd name="connsiteY32" fmla="*/ 3714226 h 4201882"/>
              <a:gd name="connsiteX33" fmla="*/ 6596743 w 9393163"/>
              <a:gd name="connsiteY33" fmla="*/ 4042225 h 4201882"/>
              <a:gd name="connsiteX34" fmla="*/ 6380876 w 9393163"/>
              <a:gd name="connsiteY34" fmla="*/ 3607073 h 4201882"/>
              <a:gd name="connsiteX35" fmla="*/ 6957753 w 9393163"/>
              <a:gd name="connsiteY35" fmla="*/ 3737701 h 4201882"/>
              <a:gd name="connsiteX36" fmla="*/ 6596743 w 9393163"/>
              <a:gd name="connsiteY36" fmla="*/ 4042225 h 4201882"/>
              <a:gd name="connsiteX37" fmla="*/ 7232614 w 9393163"/>
              <a:gd name="connsiteY37" fmla="*/ 3685197 h 4201882"/>
              <a:gd name="connsiteX38" fmla="*/ 7032173 w 9393163"/>
              <a:gd name="connsiteY38" fmla="*/ 4158339 h 4201882"/>
              <a:gd name="connsiteX39" fmla="*/ 6306459 w 9393163"/>
              <a:gd name="connsiteY39" fmla="*/ 4201881 h 4201882"/>
              <a:gd name="connsiteX40" fmla="*/ 6042666 w 9393163"/>
              <a:gd name="connsiteY40" fmla="*/ 3691989 h 4201882"/>
              <a:gd name="connsiteX41" fmla="*/ 6642348 w 9393163"/>
              <a:gd name="connsiteY41" fmla="*/ 3071499 h 4201882"/>
              <a:gd name="connsiteX42" fmla="*/ 7232614 w 9393163"/>
              <a:gd name="connsiteY42" fmla="*/ 3685197 h 4201882"/>
              <a:gd name="connsiteX43" fmla="*/ 319315 w 9393163"/>
              <a:gd name="connsiteY43" fmla="*/ 3294739 h 4201882"/>
              <a:gd name="connsiteX44" fmla="*/ 1952174 w 9393163"/>
              <a:gd name="connsiteY44" fmla="*/ 68941 h 4201882"/>
              <a:gd name="connsiteX45" fmla="*/ 8229601 w 9393163"/>
              <a:gd name="connsiteY45" fmla="*/ 0 h 4201882"/>
              <a:gd name="connsiteX46" fmla="*/ 8773887 w 9393163"/>
              <a:gd name="connsiteY46" fmla="*/ 616852 h 4201882"/>
              <a:gd name="connsiteX47" fmla="*/ 8831945 w 9393163"/>
              <a:gd name="connsiteY47" fmla="*/ 3156852 h 4201882"/>
              <a:gd name="connsiteX48" fmla="*/ 8744857 w 9393163"/>
              <a:gd name="connsiteY48" fmla="*/ 3418109 h 4201882"/>
              <a:gd name="connsiteX49" fmla="*/ 7438574 w 9393163"/>
              <a:gd name="connsiteY49" fmla="*/ 3418110 h 4201882"/>
              <a:gd name="connsiteX50" fmla="*/ 5798459 w 9393163"/>
              <a:gd name="connsiteY50" fmla="*/ 3577767 h 4201882"/>
              <a:gd name="connsiteX51" fmla="*/ 2735943 w 9393163"/>
              <a:gd name="connsiteY51" fmla="*/ 3606795 h 4201882"/>
              <a:gd name="connsiteX52" fmla="*/ 1023259 w 9393163"/>
              <a:gd name="connsiteY52" fmla="*/ 3621309 h 4201882"/>
              <a:gd name="connsiteX53" fmla="*/ 384627 w 9393163"/>
              <a:gd name="connsiteY53" fmla="*/ 3603169 h 4201882"/>
              <a:gd name="connsiteX54" fmla="*/ 319315 w 9393163"/>
              <a:gd name="connsiteY54"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76270 w 9393163"/>
              <a:gd name="connsiteY4" fmla="*/ 276898 h 4201882"/>
              <a:gd name="connsiteX5" fmla="*/ 6393543 w 9393163"/>
              <a:gd name="connsiteY5" fmla="*/ 1386110 h 4201882"/>
              <a:gd name="connsiteX6" fmla="*/ 5161891 w 9393163"/>
              <a:gd name="connsiteY6" fmla="*/ 1384378 h 4201882"/>
              <a:gd name="connsiteX7" fmla="*/ 5229866 w 9393163"/>
              <a:gd name="connsiteY7" fmla="*/ 270402 h 4201882"/>
              <a:gd name="connsiteX8" fmla="*/ 6376270 w 9393163"/>
              <a:gd name="connsiteY8" fmla="*/ 276898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32225 h 4201882"/>
              <a:gd name="connsiteX19" fmla="*/ 4434994 w 9393163"/>
              <a:gd name="connsiteY19" fmla="*/ 222880 h 4201882"/>
              <a:gd name="connsiteX20" fmla="*/ 4767945 w 9393163"/>
              <a:gd name="connsiteY20" fmla="*/ 558795 h 4201882"/>
              <a:gd name="connsiteX21" fmla="*/ 4738917 w 9393163"/>
              <a:gd name="connsiteY21" fmla="*/ 1081309 h 4201882"/>
              <a:gd name="connsiteX22" fmla="*/ 4434994 w 9393163"/>
              <a:gd name="connsiteY22" fmla="*/ 1388196 h 4201882"/>
              <a:gd name="connsiteX23" fmla="*/ 3200401 w 9393163"/>
              <a:gd name="connsiteY23" fmla="*/ 1400624 h 4201882"/>
              <a:gd name="connsiteX24" fmla="*/ 2997203 w 9393163"/>
              <a:gd name="connsiteY24" fmla="*/ 1226452 h 4201882"/>
              <a:gd name="connsiteX25" fmla="*/ 3011717 w 9393163"/>
              <a:gd name="connsiteY25" fmla="*/ 558795 h 4201882"/>
              <a:gd name="connsiteX26" fmla="*/ 3287486 w 9393163"/>
              <a:gd name="connsiteY26" fmla="*/ 232225 h 4201882"/>
              <a:gd name="connsiteX27" fmla="*/ 2390031 w 9393163"/>
              <a:gd name="connsiteY27" fmla="*/ 3714226 h 4201882"/>
              <a:gd name="connsiteX28" fmla="*/ 2213430 w 9393163"/>
              <a:gd name="connsiteY28" fmla="*/ 4187367 h 4201882"/>
              <a:gd name="connsiteX29" fmla="*/ 1560287 w 9393163"/>
              <a:gd name="connsiteY29" fmla="*/ 4201882 h 4201882"/>
              <a:gd name="connsiteX30" fmla="*/ 1296966 w 9393163"/>
              <a:gd name="connsiteY30" fmla="*/ 3724642 h 4201882"/>
              <a:gd name="connsiteX31" fmla="*/ 1925678 w 9393163"/>
              <a:gd name="connsiteY31" fmla="*/ 3125933 h 4201882"/>
              <a:gd name="connsiteX32" fmla="*/ 2390031 w 9393163"/>
              <a:gd name="connsiteY32" fmla="*/ 3714226 h 4201882"/>
              <a:gd name="connsiteX33" fmla="*/ 6596743 w 9393163"/>
              <a:gd name="connsiteY33" fmla="*/ 4042225 h 4201882"/>
              <a:gd name="connsiteX34" fmla="*/ 6380876 w 9393163"/>
              <a:gd name="connsiteY34" fmla="*/ 3607073 h 4201882"/>
              <a:gd name="connsiteX35" fmla="*/ 6957753 w 9393163"/>
              <a:gd name="connsiteY35" fmla="*/ 3737701 h 4201882"/>
              <a:gd name="connsiteX36" fmla="*/ 6596743 w 9393163"/>
              <a:gd name="connsiteY36" fmla="*/ 4042225 h 4201882"/>
              <a:gd name="connsiteX37" fmla="*/ 7232614 w 9393163"/>
              <a:gd name="connsiteY37" fmla="*/ 3685197 h 4201882"/>
              <a:gd name="connsiteX38" fmla="*/ 7032173 w 9393163"/>
              <a:gd name="connsiteY38" fmla="*/ 4158339 h 4201882"/>
              <a:gd name="connsiteX39" fmla="*/ 6306459 w 9393163"/>
              <a:gd name="connsiteY39" fmla="*/ 4201881 h 4201882"/>
              <a:gd name="connsiteX40" fmla="*/ 6042666 w 9393163"/>
              <a:gd name="connsiteY40" fmla="*/ 3691989 h 4201882"/>
              <a:gd name="connsiteX41" fmla="*/ 6642348 w 9393163"/>
              <a:gd name="connsiteY41" fmla="*/ 3071499 h 4201882"/>
              <a:gd name="connsiteX42" fmla="*/ 7232614 w 9393163"/>
              <a:gd name="connsiteY42" fmla="*/ 3685197 h 4201882"/>
              <a:gd name="connsiteX43" fmla="*/ 319315 w 9393163"/>
              <a:gd name="connsiteY43" fmla="*/ 3294739 h 4201882"/>
              <a:gd name="connsiteX44" fmla="*/ 1952174 w 9393163"/>
              <a:gd name="connsiteY44" fmla="*/ 68941 h 4201882"/>
              <a:gd name="connsiteX45" fmla="*/ 8229601 w 9393163"/>
              <a:gd name="connsiteY45" fmla="*/ 0 h 4201882"/>
              <a:gd name="connsiteX46" fmla="*/ 8773887 w 9393163"/>
              <a:gd name="connsiteY46" fmla="*/ 616852 h 4201882"/>
              <a:gd name="connsiteX47" fmla="*/ 8831945 w 9393163"/>
              <a:gd name="connsiteY47" fmla="*/ 3156852 h 4201882"/>
              <a:gd name="connsiteX48" fmla="*/ 8744857 w 9393163"/>
              <a:gd name="connsiteY48" fmla="*/ 3418109 h 4201882"/>
              <a:gd name="connsiteX49" fmla="*/ 7438574 w 9393163"/>
              <a:gd name="connsiteY49" fmla="*/ 3418110 h 4201882"/>
              <a:gd name="connsiteX50" fmla="*/ 5798459 w 9393163"/>
              <a:gd name="connsiteY50" fmla="*/ 3577767 h 4201882"/>
              <a:gd name="connsiteX51" fmla="*/ 2735943 w 9393163"/>
              <a:gd name="connsiteY51" fmla="*/ 3606795 h 4201882"/>
              <a:gd name="connsiteX52" fmla="*/ 1023259 w 9393163"/>
              <a:gd name="connsiteY52" fmla="*/ 3621309 h 4201882"/>
              <a:gd name="connsiteX53" fmla="*/ 384627 w 9393163"/>
              <a:gd name="connsiteY53" fmla="*/ 3603169 h 4201882"/>
              <a:gd name="connsiteX54" fmla="*/ 319315 w 9393163"/>
              <a:gd name="connsiteY54"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76270 w 9393163"/>
              <a:gd name="connsiteY4" fmla="*/ 276898 h 4201882"/>
              <a:gd name="connsiteX5" fmla="*/ 6393543 w 9393163"/>
              <a:gd name="connsiteY5" fmla="*/ 1386110 h 4201882"/>
              <a:gd name="connsiteX6" fmla="*/ 5161891 w 9393163"/>
              <a:gd name="connsiteY6" fmla="*/ 1384378 h 4201882"/>
              <a:gd name="connsiteX7" fmla="*/ 5229866 w 9393163"/>
              <a:gd name="connsiteY7" fmla="*/ 270402 h 4201882"/>
              <a:gd name="connsiteX8" fmla="*/ 6376270 w 9393163"/>
              <a:gd name="connsiteY8" fmla="*/ 276898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32225 h 4201882"/>
              <a:gd name="connsiteX19" fmla="*/ 4434994 w 9393163"/>
              <a:gd name="connsiteY19" fmla="*/ 222880 h 4201882"/>
              <a:gd name="connsiteX20" fmla="*/ 4767945 w 9393163"/>
              <a:gd name="connsiteY20" fmla="*/ 558795 h 4201882"/>
              <a:gd name="connsiteX21" fmla="*/ 4738917 w 9393163"/>
              <a:gd name="connsiteY21" fmla="*/ 1081309 h 4201882"/>
              <a:gd name="connsiteX22" fmla="*/ 4434994 w 9393163"/>
              <a:gd name="connsiteY22" fmla="*/ 1388196 h 4201882"/>
              <a:gd name="connsiteX23" fmla="*/ 3200401 w 9393163"/>
              <a:gd name="connsiteY23" fmla="*/ 1400624 h 4201882"/>
              <a:gd name="connsiteX24" fmla="*/ 2997203 w 9393163"/>
              <a:gd name="connsiteY24" fmla="*/ 1226452 h 4201882"/>
              <a:gd name="connsiteX25" fmla="*/ 3011717 w 9393163"/>
              <a:gd name="connsiteY25" fmla="*/ 558795 h 4201882"/>
              <a:gd name="connsiteX26" fmla="*/ 3287486 w 9393163"/>
              <a:gd name="connsiteY26" fmla="*/ 232225 h 4201882"/>
              <a:gd name="connsiteX27" fmla="*/ 2390031 w 9393163"/>
              <a:gd name="connsiteY27" fmla="*/ 3714226 h 4201882"/>
              <a:gd name="connsiteX28" fmla="*/ 2213430 w 9393163"/>
              <a:gd name="connsiteY28" fmla="*/ 4187367 h 4201882"/>
              <a:gd name="connsiteX29" fmla="*/ 1560287 w 9393163"/>
              <a:gd name="connsiteY29" fmla="*/ 4201882 h 4201882"/>
              <a:gd name="connsiteX30" fmla="*/ 1296966 w 9393163"/>
              <a:gd name="connsiteY30" fmla="*/ 3724642 h 4201882"/>
              <a:gd name="connsiteX31" fmla="*/ 1925678 w 9393163"/>
              <a:gd name="connsiteY31" fmla="*/ 3125933 h 4201882"/>
              <a:gd name="connsiteX32" fmla="*/ 2390031 w 9393163"/>
              <a:gd name="connsiteY32" fmla="*/ 3714226 h 4201882"/>
              <a:gd name="connsiteX33" fmla="*/ 6596743 w 9393163"/>
              <a:gd name="connsiteY33" fmla="*/ 4042225 h 4201882"/>
              <a:gd name="connsiteX34" fmla="*/ 6380876 w 9393163"/>
              <a:gd name="connsiteY34" fmla="*/ 3607073 h 4201882"/>
              <a:gd name="connsiteX35" fmla="*/ 6957753 w 9393163"/>
              <a:gd name="connsiteY35" fmla="*/ 3737701 h 4201882"/>
              <a:gd name="connsiteX36" fmla="*/ 6596743 w 9393163"/>
              <a:gd name="connsiteY36" fmla="*/ 4042225 h 4201882"/>
              <a:gd name="connsiteX37" fmla="*/ 7232614 w 9393163"/>
              <a:gd name="connsiteY37" fmla="*/ 3685197 h 4201882"/>
              <a:gd name="connsiteX38" fmla="*/ 7032173 w 9393163"/>
              <a:gd name="connsiteY38" fmla="*/ 4158339 h 4201882"/>
              <a:gd name="connsiteX39" fmla="*/ 6306459 w 9393163"/>
              <a:gd name="connsiteY39" fmla="*/ 4201881 h 4201882"/>
              <a:gd name="connsiteX40" fmla="*/ 6042666 w 9393163"/>
              <a:gd name="connsiteY40" fmla="*/ 3691989 h 4201882"/>
              <a:gd name="connsiteX41" fmla="*/ 6642348 w 9393163"/>
              <a:gd name="connsiteY41" fmla="*/ 3071499 h 4201882"/>
              <a:gd name="connsiteX42" fmla="*/ 7232614 w 9393163"/>
              <a:gd name="connsiteY42" fmla="*/ 3685197 h 4201882"/>
              <a:gd name="connsiteX43" fmla="*/ 319315 w 9393163"/>
              <a:gd name="connsiteY43" fmla="*/ 3294739 h 4201882"/>
              <a:gd name="connsiteX44" fmla="*/ 1952174 w 9393163"/>
              <a:gd name="connsiteY44" fmla="*/ 68941 h 4201882"/>
              <a:gd name="connsiteX45" fmla="*/ 8229601 w 9393163"/>
              <a:gd name="connsiteY45" fmla="*/ 0 h 4201882"/>
              <a:gd name="connsiteX46" fmla="*/ 8773887 w 9393163"/>
              <a:gd name="connsiteY46" fmla="*/ 616852 h 4201882"/>
              <a:gd name="connsiteX47" fmla="*/ 8831945 w 9393163"/>
              <a:gd name="connsiteY47" fmla="*/ 3156852 h 4201882"/>
              <a:gd name="connsiteX48" fmla="*/ 8744857 w 9393163"/>
              <a:gd name="connsiteY48" fmla="*/ 3418109 h 4201882"/>
              <a:gd name="connsiteX49" fmla="*/ 7438574 w 9393163"/>
              <a:gd name="connsiteY49" fmla="*/ 3418110 h 4201882"/>
              <a:gd name="connsiteX50" fmla="*/ 5798459 w 9393163"/>
              <a:gd name="connsiteY50" fmla="*/ 3577767 h 4201882"/>
              <a:gd name="connsiteX51" fmla="*/ 2735943 w 9393163"/>
              <a:gd name="connsiteY51" fmla="*/ 3606795 h 4201882"/>
              <a:gd name="connsiteX52" fmla="*/ 1023259 w 9393163"/>
              <a:gd name="connsiteY52" fmla="*/ 3621309 h 4201882"/>
              <a:gd name="connsiteX53" fmla="*/ 384627 w 9393163"/>
              <a:gd name="connsiteY53" fmla="*/ 3603169 h 4201882"/>
              <a:gd name="connsiteX54" fmla="*/ 319315 w 9393163"/>
              <a:gd name="connsiteY54"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76270 w 9393163"/>
              <a:gd name="connsiteY4" fmla="*/ 276898 h 4201882"/>
              <a:gd name="connsiteX5" fmla="*/ 6393543 w 9393163"/>
              <a:gd name="connsiteY5" fmla="*/ 1386110 h 4201882"/>
              <a:gd name="connsiteX6" fmla="*/ 5161891 w 9393163"/>
              <a:gd name="connsiteY6" fmla="*/ 1384378 h 4201882"/>
              <a:gd name="connsiteX7" fmla="*/ 5229866 w 9393163"/>
              <a:gd name="connsiteY7" fmla="*/ 270402 h 4201882"/>
              <a:gd name="connsiteX8" fmla="*/ 6376270 w 9393163"/>
              <a:gd name="connsiteY8" fmla="*/ 276898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32225 h 4201882"/>
              <a:gd name="connsiteX19" fmla="*/ 4434994 w 9393163"/>
              <a:gd name="connsiteY19" fmla="*/ 222880 h 4201882"/>
              <a:gd name="connsiteX20" fmla="*/ 4767945 w 9393163"/>
              <a:gd name="connsiteY20" fmla="*/ 558795 h 4201882"/>
              <a:gd name="connsiteX21" fmla="*/ 4738917 w 9393163"/>
              <a:gd name="connsiteY21" fmla="*/ 1081309 h 4201882"/>
              <a:gd name="connsiteX22" fmla="*/ 4434994 w 9393163"/>
              <a:gd name="connsiteY22" fmla="*/ 1388196 h 4201882"/>
              <a:gd name="connsiteX23" fmla="*/ 3200401 w 9393163"/>
              <a:gd name="connsiteY23" fmla="*/ 1400624 h 4201882"/>
              <a:gd name="connsiteX24" fmla="*/ 2997203 w 9393163"/>
              <a:gd name="connsiteY24" fmla="*/ 1226452 h 4201882"/>
              <a:gd name="connsiteX25" fmla="*/ 2982689 w 9393163"/>
              <a:gd name="connsiteY25" fmla="*/ 544281 h 4201882"/>
              <a:gd name="connsiteX26" fmla="*/ 3287486 w 9393163"/>
              <a:gd name="connsiteY26" fmla="*/ 232225 h 4201882"/>
              <a:gd name="connsiteX27" fmla="*/ 2390031 w 9393163"/>
              <a:gd name="connsiteY27" fmla="*/ 3714226 h 4201882"/>
              <a:gd name="connsiteX28" fmla="*/ 2213430 w 9393163"/>
              <a:gd name="connsiteY28" fmla="*/ 4187367 h 4201882"/>
              <a:gd name="connsiteX29" fmla="*/ 1560287 w 9393163"/>
              <a:gd name="connsiteY29" fmla="*/ 4201882 h 4201882"/>
              <a:gd name="connsiteX30" fmla="*/ 1296966 w 9393163"/>
              <a:gd name="connsiteY30" fmla="*/ 3724642 h 4201882"/>
              <a:gd name="connsiteX31" fmla="*/ 1925678 w 9393163"/>
              <a:gd name="connsiteY31" fmla="*/ 3125933 h 4201882"/>
              <a:gd name="connsiteX32" fmla="*/ 2390031 w 9393163"/>
              <a:gd name="connsiteY32" fmla="*/ 3714226 h 4201882"/>
              <a:gd name="connsiteX33" fmla="*/ 6596743 w 9393163"/>
              <a:gd name="connsiteY33" fmla="*/ 4042225 h 4201882"/>
              <a:gd name="connsiteX34" fmla="*/ 6380876 w 9393163"/>
              <a:gd name="connsiteY34" fmla="*/ 3607073 h 4201882"/>
              <a:gd name="connsiteX35" fmla="*/ 6957753 w 9393163"/>
              <a:gd name="connsiteY35" fmla="*/ 3737701 h 4201882"/>
              <a:gd name="connsiteX36" fmla="*/ 6596743 w 9393163"/>
              <a:gd name="connsiteY36" fmla="*/ 4042225 h 4201882"/>
              <a:gd name="connsiteX37" fmla="*/ 7232614 w 9393163"/>
              <a:gd name="connsiteY37" fmla="*/ 3685197 h 4201882"/>
              <a:gd name="connsiteX38" fmla="*/ 7032173 w 9393163"/>
              <a:gd name="connsiteY38" fmla="*/ 4158339 h 4201882"/>
              <a:gd name="connsiteX39" fmla="*/ 6306459 w 9393163"/>
              <a:gd name="connsiteY39" fmla="*/ 4201881 h 4201882"/>
              <a:gd name="connsiteX40" fmla="*/ 6042666 w 9393163"/>
              <a:gd name="connsiteY40" fmla="*/ 3691989 h 4201882"/>
              <a:gd name="connsiteX41" fmla="*/ 6642348 w 9393163"/>
              <a:gd name="connsiteY41" fmla="*/ 3071499 h 4201882"/>
              <a:gd name="connsiteX42" fmla="*/ 7232614 w 9393163"/>
              <a:gd name="connsiteY42" fmla="*/ 3685197 h 4201882"/>
              <a:gd name="connsiteX43" fmla="*/ 319315 w 9393163"/>
              <a:gd name="connsiteY43" fmla="*/ 3294739 h 4201882"/>
              <a:gd name="connsiteX44" fmla="*/ 1952174 w 9393163"/>
              <a:gd name="connsiteY44" fmla="*/ 68941 h 4201882"/>
              <a:gd name="connsiteX45" fmla="*/ 8229601 w 9393163"/>
              <a:gd name="connsiteY45" fmla="*/ 0 h 4201882"/>
              <a:gd name="connsiteX46" fmla="*/ 8773887 w 9393163"/>
              <a:gd name="connsiteY46" fmla="*/ 616852 h 4201882"/>
              <a:gd name="connsiteX47" fmla="*/ 8831945 w 9393163"/>
              <a:gd name="connsiteY47" fmla="*/ 3156852 h 4201882"/>
              <a:gd name="connsiteX48" fmla="*/ 8744857 w 9393163"/>
              <a:gd name="connsiteY48" fmla="*/ 3418109 h 4201882"/>
              <a:gd name="connsiteX49" fmla="*/ 7438574 w 9393163"/>
              <a:gd name="connsiteY49" fmla="*/ 3418110 h 4201882"/>
              <a:gd name="connsiteX50" fmla="*/ 5798459 w 9393163"/>
              <a:gd name="connsiteY50" fmla="*/ 3577767 h 4201882"/>
              <a:gd name="connsiteX51" fmla="*/ 2735943 w 9393163"/>
              <a:gd name="connsiteY51" fmla="*/ 3606795 h 4201882"/>
              <a:gd name="connsiteX52" fmla="*/ 1023259 w 9393163"/>
              <a:gd name="connsiteY52" fmla="*/ 3621309 h 4201882"/>
              <a:gd name="connsiteX53" fmla="*/ 384627 w 9393163"/>
              <a:gd name="connsiteY53" fmla="*/ 3603169 h 4201882"/>
              <a:gd name="connsiteX54" fmla="*/ 319315 w 9393163"/>
              <a:gd name="connsiteY54"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76270 w 9393163"/>
              <a:gd name="connsiteY4" fmla="*/ 276898 h 4201882"/>
              <a:gd name="connsiteX5" fmla="*/ 6393543 w 9393163"/>
              <a:gd name="connsiteY5" fmla="*/ 1386110 h 4201882"/>
              <a:gd name="connsiteX6" fmla="*/ 5161891 w 9393163"/>
              <a:gd name="connsiteY6" fmla="*/ 1384378 h 4201882"/>
              <a:gd name="connsiteX7" fmla="*/ 5229866 w 9393163"/>
              <a:gd name="connsiteY7" fmla="*/ 270402 h 4201882"/>
              <a:gd name="connsiteX8" fmla="*/ 6376270 w 9393163"/>
              <a:gd name="connsiteY8" fmla="*/ 276898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32225 h 4201882"/>
              <a:gd name="connsiteX19" fmla="*/ 4434994 w 9393163"/>
              <a:gd name="connsiteY19" fmla="*/ 222880 h 4201882"/>
              <a:gd name="connsiteX20" fmla="*/ 4767945 w 9393163"/>
              <a:gd name="connsiteY20" fmla="*/ 558795 h 4201882"/>
              <a:gd name="connsiteX21" fmla="*/ 4738917 w 9393163"/>
              <a:gd name="connsiteY21" fmla="*/ 1081309 h 4201882"/>
              <a:gd name="connsiteX22" fmla="*/ 4434994 w 9393163"/>
              <a:gd name="connsiteY22" fmla="*/ 1388196 h 4201882"/>
              <a:gd name="connsiteX23" fmla="*/ 3316515 w 9393163"/>
              <a:gd name="connsiteY23" fmla="*/ 1415138 h 4201882"/>
              <a:gd name="connsiteX24" fmla="*/ 2997203 w 9393163"/>
              <a:gd name="connsiteY24" fmla="*/ 1226452 h 4201882"/>
              <a:gd name="connsiteX25" fmla="*/ 2982689 w 9393163"/>
              <a:gd name="connsiteY25" fmla="*/ 544281 h 4201882"/>
              <a:gd name="connsiteX26" fmla="*/ 3287486 w 9393163"/>
              <a:gd name="connsiteY26" fmla="*/ 232225 h 4201882"/>
              <a:gd name="connsiteX27" fmla="*/ 2390031 w 9393163"/>
              <a:gd name="connsiteY27" fmla="*/ 3714226 h 4201882"/>
              <a:gd name="connsiteX28" fmla="*/ 2213430 w 9393163"/>
              <a:gd name="connsiteY28" fmla="*/ 4187367 h 4201882"/>
              <a:gd name="connsiteX29" fmla="*/ 1560287 w 9393163"/>
              <a:gd name="connsiteY29" fmla="*/ 4201882 h 4201882"/>
              <a:gd name="connsiteX30" fmla="*/ 1296966 w 9393163"/>
              <a:gd name="connsiteY30" fmla="*/ 3724642 h 4201882"/>
              <a:gd name="connsiteX31" fmla="*/ 1925678 w 9393163"/>
              <a:gd name="connsiteY31" fmla="*/ 3125933 h 4201882"/>
              <a:gd name="connsiteX32" fmla="*/ 2390031 w 9393163"/>
              <a:gd name="connsiteY32" fmla="*/ 3714226 h 4201882"/>
              <a:gd name="connsiteX33" fmla="*/ 6596743 w 9393163"/>
              <a:gd name="connsiteY33" fmla="*/ 4042225 h 4201882"/>
              <a:gd name="connsiteX34" fmla="*/ 6380876 w 9393163"/>
              <a:gd name="connsiteY34" fmla="*/ 3607073 h 4201882"/>
              <a:gd name="connsiteX35" fmla="*/ 6957753 w 9393163"/>
              <a:gd name="connsiteY35" fmla="*/ 3737701 h 4201882"/>
              <a:gd name="connsiteX36" fmla="*/ 6596743 w 9393163"/>
              <a:gd name="connsiteY36" fmla="*/ 4042225 h 4201882"/>
              <a:gd name="connsiteX37" fmla="*/ 7232614 w 9393163"/>
              <a:gd name="connsiteY37" fmla="*/ 3685197 h 4201882"/>
              <a:gd name="connsiteX38" fmla="*/ 7032173 w 9393163"/>
              <a:gd name="connsiteY38" fmla="*/ 4158339 h 4201882"/>
              <a:gd name="connsiteX39" fmla="*/ 6306459 w 9393163"/>
              <a:gd name="connsiteY39" fmla="*/ 4201881 h 4201882"/>
              <a:gd name="connsiteX40" fmla="*/ 6042666 w 9393163"/>
              <a:gd name="connsiteY40" fmla="*/ 3691989 h 4201882"/>
              <a:gd name="connsiteX41" fmla="*/ 6642348 w 9393163"/>
              <a:gd name="connsiteY41" fmla="*/ 3071499 h 4201882"/>
              <a:gd name="connsiteX42" fmla="*/ 7232614 w 9393163"/>
              <a:gd name="connsiteY42" fmla="*/ 3685197 h 4201882"/>
              <a:gd name="connsiteX43" fmla="*/ 319315 w 9393163"/>
              <a:gd name="connsiteY43" fmla="*/ 3294739 h 4201882"/>
              <a:gd name="connsiteX44" fmla="*/ 1952174 w 9393163"/>
              <a:gd name="connsiteY44" fmla="*/ 68941 h 4201882"/>
              <a:gd name="connsiteX45" fmla="*/ 8229601 w 9393163"/>
              <a:gd name="connsiteY45" fmla="*/ 0 h 4201882"/>
              <a:gd name="connsiteX46" fmla="*/ 8773887 w 9393163"/>
              <a:gd name="connsiteY46" fmla="*/ 616852 h 4201882"/>
              <a:gd name="connsiteX47" fmla="*/ 8831945 w 9393163"/>
              <a:gd name="connsiteY47" fmla="*/ 3156852 h 4201882"/>
              <a:gd name="connsiteX48" fmla="*/ 8744857 w 9393163"/>
              <a:gd name="connsiteY48" fmla="*/ 3418109 h 4201882"/>
              <a:gd name="connsiteX49" fmla="*/ 7438574 w 9393163"/>
              <a:gd name="connsiteY49" fmla="*/ 3418110 h 4201882"/>
              <a:gd name="connsiteX50" fmla="*/ 5798459 w 9393163"/>
              <a:gd name="connsiteY50" fmla="*/ 3577767 h 4201882"/>
              <a:gd name="connsiteX51" fmla="*/ 2735943 w 9393163"/>
              <a:gd name="connsiteY51" fmla="*/ 3606795 h 4201882"/>
              <a:gd name="connsiteX52" fmla="*/ 1023259 w 9393163"/>
              <a:gd name="connsiteY52" fmla="*/ 3621309 h 4201882"/>
              <a:gd name="connsiteX53" fmla="*/ 384627 w 9393163"/>
              <a:gd name="connsiteY53" fmla="*/ 3603169 h 4201882"/>
              <a:gd name="connsiteX54" fmla="*/ 319315 w 9393163"/>
              <a:gd name="connsiteY54"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76270 w 9393163"/>
              <a:gd name="connsiteY4" fmla="*/ 276898 h 4201882"/>
              <a:gd name="connsiteX5" fmla="*/ 6393543 w 9393163"/>
              <a:gd name="connsiteY5" fmla="*/ 1386110 h 4201882"/>
              <a:gd name="connsiteX6" fmla="*/ 5161891 w 9393163"/>
              <a:gd name="connsiteY6" fmla="*/ 1384378 h 4201882"/>
              <a:gd name="connsiteX7" fmla="*/ 5229866 w 9393163"/>
              <a:gd name="connsiteY7" fmla="*/ 270402 h 4201882"/>
              <a:gd name="connsiteX8" fmla="*/ 6376270 w 9393163"/>
              <a:gd name="connsiteY8" fmla="*/ 276898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32225 h 4201882"/>
              <a:gd name="connsiteX19" fmla="*/ 4434994 w 9393163"/>
              <a:gd name="connsiteY19" fmla="*/ 222880 h 4201882"/>
              <a:gd name="connsiteX20" fmla="*/ 4767945 w 9393163"/>
              <a:gd name="connsiteY20" fmla="*/ 558795 h 4201882"/>
              <a:gd name="connsiteX21" fmla="*/ 4738917 w 9393163"/>
              <a:gd name="connsiteY21" fmla="*/ 1081309 h 4201882"/>
              <a:gd name="connsiteX22" fmla="*/ 4434994 w 9393163"/>
              <a:gd name="connsiteY22" fmla="*/ 1388196 h 4201882"/>
              <a:gd name="connsiteX23" fmla="*/ 3316515 w 9393163"/>
              <a:gd name="connsiteY23" fmla="*/ 1415138 h 4201882"/>
              <a:gd name="connsiteX24" fmla="*/ 2997203 w 9393163"/>
              <a:gd name="connsiteY24" fmla="*/ 1124852 h 4201882"/>
              <a:gd name="connsiteX25" fmla="*/ 2982689 w 9393163"/>
              <a:gd name="connsiteY25" fmla="*/ 544281 h 4201882"/>
              <a:gd name="connsiteX26" fmla="*/ 3287486 w 9393163"/>
              <a:gd name="connsiteY26" fmla="*/ 232225 h 4201882"/>
              <a:gd name="connsiteX27" fmla="*/ 2390031 w 9393163"/>
              <a:gd name="connsiteY27" fmla="*/ 3714226 h 4201882"/>
              <a:gd name="connsiteX28" fmla="*/ 2213430 w 9393163"/>
              <a:gd name="connsiteY28" fmla="*/ 4187367 h 4201882"/>
              <a:gd name="connsiteX29" fmla="*/ 1560287 w 9393163"/>
              <a:gd name="connsiteY29" fmla="*/ 4201882 h 4201882"/>
              <a:gd name="connsiteX30" fmla="*/ 1296966 w 9393163"/>
              <a:gd name="connsiteY30" fmla="*/ 3724642 h 4201882"/>
              <a:gd name="connsiteX31" fmla="*/ 1925678 w 9393163"/>
              <a:gd name="connsiteY31" fmla="*/ 3125933 h 4201882"/>
              <a:gd name="connsiteX32" fmla="*/ 2390031 w 9393163"/>
              <a:gd name="connsiteY32" fmla="*/ 3714226 h 4201882"/>
              <a:gd name="connsiteX33" fmla="*/ 6596743 w 9393163"/>
              <a:gd name="connsiteY33" fmla="*/ 4042225 h 4201882"/>
              <a:gd name="connsiteX34" fmla="*/ 6380876 w 9393163"/>
              <a:gd name="connsiteY34" fmla="*/ 3607073 h 4201882"/>
              <a:gd name="connsiteX35" fmla="*/ 6957753 w 9393163"/>
              <a:gd name="connsiteY35" fmla="*/ 3737701 h 4201882"/>
              <a:gd name="connsiteX36" fmla="*/ 6596743 w 9393163"/>
              <a:gd name="connsiteY36" fmla="*/ 4042225 h 4201882"/>
              <a:gd name="connsiteX37" fmla="*/ 7232614 w 9393163"/>
              <a:gd name="connsiteY37" fmla="*/ 3685197 h 4201882"/>
              <a:gd name="connsiteX38" fmla="*/ 7032173 w 9393163"/>
              <a:gd name="connsiteY38" fmla="*/ 4158339 h 4201882"/>
              <a:gd name="connsiteX39" fmla="*/ 6306459 w 9393163"/>
              <a:gd name="connsiteY39" fmla="*/ 4201881 h 4201882"/>
              <a:gd name="connsiteX40" fmla="*/ 6042666 w 9393163"/>
              <a:gd name="connsiteY40" fmla="*/ 3691989 h 4201882"/>
              <a:gd name="connsiteX41" fmla="*/ 6642348 w 9393163"/>
              <a:gd name="connsiteY41" fmla="*/ 3071499 h 4201882"/>
              <a:gd name="connsiteX42" fmla="*/ 7232614 w 9393163"/>
              <a:gd name="connsiteY42" fmla="*/ 3685197 h 4201882"/>
              <a:gd name="connsiteX43" fmla="*/ 319315 w 9393163"/>
              <a:gd name="connsiteY43" fmla="*/ 3294739 h 4201882"/>
              <a:gd name="connsiteX44" fmla="*/ 1952174 w 9393163"/>
              <a:gd name="connsiteY44" fmla="*/ 68941 h 4201882"/>
              <a:gd name="connsiteX45" fmla="*/ 8229601 w 9393163"/>
              <a:gd name="connsiteY45" fmla="*/ 0 h 4201882"/>
              <a:gd name="connsiteX46" fmla="*/ 8773887 w 9393163"/>
              <a:gd name="connsiteY46" fmla="*/ 616852 h 4201882"/>
              <a:gd name="connsiteX47" fmla="*/ 8831945 w 9393163"/>
              <a:gd name="connsiteY47" fmla="*/ 3156852 h 4201882"/>
              <a:gd name="connsiteX48" fmla="*/ 8744857 w 9393163"/>
              <a:gd name="connsiteY48" fmla="*/ 3418109 h 4201882"/>
              <a:gd name="connsiteX49" fmla="*/ 7438574 w 9393163"/>
              <a:gd name="connsiteY49" fmla="*/ 3418110 h 4201882"/>
              <a:gd name="connsiteX50" fmla="*/ 5798459 w 9393163"/>
              <a:gd name="connsiteY50" fmla="*/ 3577767 h 4201882"/>
              <a:gd name="connsiteX51" fmla="*/ 2735943 w 9393163"/>
              <a:gd name="connsiteY51" fmla="*/ 3606795 h 4201882"/>
              <a:gd name="connsiteX52" fmla="*/ 1023259 w 9393163"/>
              <a:gd name="connsiteY52" fmla="*/ 3621309 h 4201882"/>
              <a:gd name="connsiteX53" fmla="*/ 384627 w 9393163"/>
              <a:gd name="connsiteY53" fmla="*/ 3603169 h 4201882"/>
              <a:gd name="connsiteX54" fmla="*/ 319315 w 9393163"/>
              <a:gd name="connsiteY54"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76270 w 9393163"/>
              <a:gd name="connsiteY4" fmla="*/ 276898 h 4201882"/>
              <a:gd name="connsiteX5" fmla="*/ 6393543 w 9393163"/>
              <a:gd name="connsiteY5" fmla="*/ 1386110 h 4201882"/>
              <a:gd name="connsiteX6" fmla="*/ 5161891 w 9393163"/>
              <a:gd name="connsiteY6" fmla="*/ 1384378 h 4201882"/>
              <a:gd name="connsiteX7" fmla="*/ 5229866 w 9393163"/>
              <a:gd name="connsiteY7" fmla="*/ 270402 h 4201882"/>
              <a:gd name="connsiteX8" fmla="*/ 6376270 w 9393163"/>
              <a:gd name="connsiteY8" fmla="*/ 276898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32225 h 4201882"/>
              <a:gd name="connsiteX19" fmla="*/ 4434994 w 9393163"/>
              <a:gd name="connsiteY19" fmla="*/ 222880 h 4201882"/>
              <a:gd name="connsiteX20" fmla="*/ 4767945 w 9393163"/>
              <a:gd name="connsiteY20" fmla="*/ 558795 h 4201882"/>
              <a:gd name="connsiteX21" fmla="*/ 4738917 w 9393163"/>
              <a:gd name="connsiteY21" fmla="*/ 1081309 h 4201882"/>
              <a:gd name="connsiteX22" fmla="*/ 4434994 w 9393163"/>
              <a:gd name="connsiteY22" fmla="*/ 1388196 h 4201882"/>
              <a:gd name="connsiteX23" fmla="*/ 3316515 w 9393163"/>
              <a:gd name="connsiteY23" fmla="*/ 1415138 h 4201882"/>
              <a:gd name="connsiteX24" fmla="*/ 2997203 w 9393163"/>
              <a:gd name="connsiteY24" fmla="*/ 1124852 h 4201882"/>
              <a:gd name="connsiteX25" fmla="*/ 2982689 w 9393163"/>
              <a:gd name="connsiteY25" fmla="*/ 544281 h 4201882"/>
              <a:gd name="connsiteX26" fmla="*/ 3287486 w 9393163"/>
              <a:gd name="connsiteY26" fmla="*/ 232225 h 4201882"/>
              <a:gd name="connsiteX27" fmla="*/ 2390031 w 9393163"/>
              <a:gd name="connsiteY27" fmla="*/ 3714226 h 4201882"/>
              <a:gd name="connsiteX28" fmla="*/ 2213430 w 9393163"/>
              <a:gd name="connsiteY28" fmla="*/ 4187367 h 4201882"/>
              <a:gd name="connsiteX29" fmla="*/ 1560287 w 9393163"/>
              <a:gd name="connsiteY29" fmla="*/ 4201882 h 4201882"/>
              <a:gd name="connsiteX30" fmla="*/ 1296966 w 9393163"/>
              <a:gd name="connsiteY30" fmla="*/ 3724642 h 4201882"/>
              <a:gd name="connsiteX31" fmla="*/ 1925678 w 9393163"/>
              <a:gd name="connsiteY31" fmla="*/ 3125933 h 4201882"/>
              <a:gd name="connsiteX32" fmla="*/ 2390031 w 9393163"/>
              <a:gd name="connsiteY32" fmla="*/ 3714226 h 4201882"/>
              <a:gd name="connsiteX33" fmla="*/ 6596743 w 9393163"/>
              <a:gd name="connsiteY33" fmla="*/ 4042225 h 4201882"/>
              <a:gd name="connsiteX34" fmla="*/ 6380876 w 9393163"/>
              <a:gd name="connsiteY34" fmla="*/ 3607073 h 4201882"/>
              <a:gd name="connsiteX35" fmla="*/ 6957753 w 9393163"/>
              <a:gd name="connsiteY35" fmla="*/ 3737701 h 4201882"/>
              <a:gd name="connsiteX36" fmla="*/ 6596743 w 9393163"/>
              <a:gd name="connsiteY36" fmla="*/ 4042225 h 4201882"/>
              <a:gd name="connsiteX37" fmla="*/ 7232614 w 9393163"/>
              <a:gd name="connsiteY37" fmla="*/ 3685197 h 4201882"/>
              <a:gd name="connsiteX38" fmla="*/ 7032173 w 9393163"/>
              <a:gd name="connsiteY38" fmla="*/ 4158339 h 4201882"/>
              <a:gd name="connsiteX39" fmla="*/ 6306459 w 9393163"/>
              <a:gd name="connsiteY39" fmla="*/ 4201881 h 4201882"/>
              <a:gd name="connsiteX40" fmla="*/ 6042666 w 9393163"/>
              <a:gd name="connsiteY40" fmla="*/ 3691989 h 4201882"/>
              <a:gd name="connsiteX41" fmla="*/ 6642348 w 9393163"/>
              <a:gd name="connsiteY41" fmla="*/ 3071499 h 4201882"/>
              <a:gd name="connsiteX42" fmla="*/ 7232614 w 9393163"/>
              <a:gd name="connsiteY42" fmla="*/ 3685197 h 4201882"/>
              <a:gd name="connsiteX43" fmla="*/ 319315 w 9393163"/>
              <a:gd name="connsiteY43" fmla="*/ 3294739 h 4201882"/>
              <a:gd name="connsiteX44" fmla="*/ 1952174 w 9393163"/>
              <a:gd name="connsiteY44" fmla="*/ 68941 h 4201882"/>
              <a:gd name="connsiteX45" fmla="*/ 8229601 w 9393163"/>
              <a:gd name="connsiteY45" fmla="*/ 0 h 4201882"/>
              <a:gd name="connsiteX46" fmla="*/ 8773887 w 9393163"/>
              <a:gd name="connsiteY46" fmla="*/ 616852 h 4201882"/>
              <a:gd name="connsiteX47" fmla="*/ 8831945 w 9393163"/>
              <a:gd name="connsiteY47" fmla="*/ 3156852 h 4201882"/>
              <a:gd name="connsiteX48" fmla="*/ 8744857 w 9393163"/>
              <a:gd name="connsiteY48" fmla="*/ 3418109 h 4201882"/>
              <a:gd name="connsiteX49" fmla="*/ 7438574 w 9393163"/>
              <a:gd name="connsiteY49" fmla="*/ 3418110 h 4201882"/>
              <a:gd name="connsiteX50" fmla="*/ 5798459 w 9393163"/>
              <a:gd name="connsiteY50" fmla="*/ 3577767 h 4201882"/>
              <a:gd name="connsiteX51" fmla="*/ 2735943 w 9393163"/>
              <a:gd name="connsiteY51" fmla="*/ 3606795 h 4201882"/>
              <a:gd name="connsiteX52" fmla="*/ 1023259 w 9393163"/>
              <a:gd name="connsiteY52" fmla="*/ 3621309 h 4201882"/>
              <a:gd name="connsiteX53" fmla="*/ 384627 w 9393163"/>
              <a:gd name="connsiteY53" fmla="*/ 3603169 h 4201882"/>
              <a:gd name="connsiteX54" fmla="*/ 319315 w 9393163"/>
              <a:gd name="connsiteY54"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76270 w 9393163"/>
              <a:gd name="connsiteY4" fmla="*/ 276898 h 4201882"/>
              <a:gd name="connsiteX5" fmla="*/ 6393543 w 9393163"/>
              <a:gd name="connsiteY5" fmla="*/ 1386110 h 4201882"/>
              <a:gd name="connsiteX6" fmla="*/ 5161891 w 9393163"/>
              <a:gd name="connsiteY6" fmla="*/ 1384378 h 4201882"/>
              <a:gd name="connsiteX7" fmla="*/ 5229866 w 9393163"/>
              <a:gd name="connsiteY7" fmla="*/ 270402 h 4201882"/>
              <a:gd name="connsiteX8" fmla="*/ 6376270 w 9393163"/>
              <a:gd name="connsiteY8" fmla="*/ 276898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32225 h 4201882"/>
              <a:gd name="connsiteX19" fmla="*/ 4434994 w 9393163"/>
              <a:gd name="connsiteY19" fmla="*/ 222880 h 4201882"/>
              <a:gd name="connsiteX20" fmla="*/ 4767945 w 9393163"/>
              <a:gd name="connsiteY20" fmla="*/ 558795 h 4201882"/>
              <a:gd name="connsiteX21" fmla="*/ 4738917 w 9393163"/>
              <a:gd name="connsiteY21" fmla="*/ 1081309 h 4201882"/>
              <a:gd name="connsiteX22" fmla="*/ 4434994 w 9393163"/>
              <a:gd name="connsiteY22" fmla="*/ 1388196 h 4201882"/>
              <a:gd name="connsiteX23" fmla="*/ 3316515 w 9393163"/>
              <a:gd name="connsiteY23" fmla="*/ 1415138 h 4201882"/>
              <a:gd name="connsiteX24" fmla="*/ 2997203 w 9393163"/>
              <a:gd name="connsiteY24" fmla="*/ 1124852 h 4201882"/>
              <a:gd name="connsiteX25" fmla="*/ 2982689 w 9393163"/>
              <a:gd name="connsiteY25" fmla="*/ 544281 h 4201882"/>
              <a:gd name="connsiteX26" fmla="*/ 3287486 w 9393163"/>
              <a:gd name="connsiteY26" fmla="*/ 232225 h 4201882"/>
              <a:gd name="connsiteX27" fmla="*/ 2390031 w 9393163"/>
              <a:gd name="connsiteY27" fmla="*/ 3714226 h 4201882"/>
              <a:gd name="connsiteX28" fmla="*/ 2213430 w 9393163"/>
              <a:gd name="connsiteY28" fmla="*/ 4187367 h 4201882"/>
              <a:gd name="connsiteX29" fmla="*/ 1560287 w 9393163"/>
              <a:gd name="connsiteY29" fmla="*/ 4201882 h 4201882"/>
              <a:gd name="connsiteX30" fmla="*/ 1296966 w 9393163"/>
              <a:gd name="connsiteY30" fmla="*/ 3724642 h 4201882"/>
              <a:gd name="connsiteX31" fmla="*/ 1925678 w 9393163"/>
              <a:gd name="connsiteY31" fmla="*/ 3125933 h 4201882"/>
              <a:gd name="connsiteX32" fmla="*/ 2390031 w 9393163"/>
              <a:gd name="connsiteY32" fmla="*/ 3714226 h 4201882"/>
              <a:gd name="connsiteX33" fmla="*/ 6596743 w 9393163"/>
              <a:gd name="connsiteY33" fmla="*/ 4042225 h 4201882"/>
              <a:gd name="connsiteX34" fmla="*/ 6380876 w 9393163"/>
              <a:gd name="connsiteY34" fmla="*/ 3607073 h 4201882"/>
              <a:gd name="connsiteX35" fmla="*/ 6957753 w 9393163"/>
              <a:gd name="connsiteY35" fmla="*/ 3737701 h 4201882"/>
              <a:gd name="connsiteX36" fmla="*/ 6596743 w 9393163"/>
              <a:gd name="connsiteY36" fmla="*/ 4042225 h 4201882"/>
              <a:gd name="connsiteX37" fmla="*/ 7232614 w 9393163"/>
              <a:gd name="connsiteY37" fmla="*/ 3685197 h 4201882"/>
              <a:gd name="connsiteX38" fmla="*/ 7032173 w 9393163"/>
              <a:gd name="connsiteY38" fmla="*/ 4158339 h 4201882"/>
              <a:gd name="connsiteX39" fmla="*/ 6306459 w 9393163"/>
              <a:gd name="connsiteY39" fmla="*/ 4201881 h 4201882"/>
              <a:gd name="connsiteX40" fmla="*/ 6042666 w 9393163"/>
              <a:gd name="connsiteY40" fmla="*/ 3691989 h 4201882"/>
              <a:gd name="connsiteX41" fmla="*/ 6642348 w 9393163"/>
              <a:gd name="connsiteY41" fmla="*/ 3071499 h 4201882"/>
              <a:gd name="connsiteX42" fmla="*/ 7232614 w 9393163"/>
              <a:gd name="connsiteY42" fmla="*/ 3685197 h 4201882"/>
              <a:gd name="connsiteX43" fmla="*/ 319315 w 9393163"/>
              <a:gd name="connsiteY43" fmla="*/ 3294739 h 4201882"/>
              <a:gd name="connsiteX44" fmla="*/ 1952174 w 9393163"/>
              <a:gd name="connsiteY44" fmla="*/ 68941 h 4201882"/>
              <a:gd name="connsiteX45" fmla="*/ 8229601 w 9393163"/>
              <a:gd name="connsiteY45" fmla="*/ 0 h 4201882"/>
              <a:gd name="connsiteX46" fmla="*/ 8773887 w 9393163"/>
              <a:gd name="connsiteY46" fmla="*/ 616852 h 4201882"/>
              <a:gd name="connsiteX47" fmla="*/ 8831945 w 9393163"/>
              <a:gd name="connsiteY47" fmla="*/ 3156852 h 4201882"/>
              <a:gd name="connsiteX48" fmla="*/ 8744857 w 9393163"/>
              <a:gd name="connsiteY48" fmla="*/ 3418109 h 4201882"/>
              <a:gd name="connsiteX49" fmla="*/ 7438574 w 9393163"/>
              <a:gd name="connsiteY49" fmla="*/ 3418110 h 4201882"/>
              <a:gd name="connsiteX50" fmla="*/ 5798459 w 9393163"/>
              <a:gd name="connsiteY50" fmla="*/ 3577767 h 4201882"/>
              <a:gd name="connsiteX51" fmla="*/ 2735943 w 9393163"/>
              <a:gd name="connsiteY51" fmla="*/ 3606795 h 4201882"/>
              <a:gd name="connsiteX52" fmla="*/ 1023259 w 9393163"/>
              <a:gd name="connsiteY52" fmla="*/ 3621309 h 4201882"/>
              <a:gd name="connsiteX53" fmla="*/ 384627 w 9393163"/>
              <a:gd name="connsiteY53" fmla="*/ 3603169 h 4201882"/>
              <a:gd name="connsiteX54" fmla="*/ 319315 w 9393163"/>
              <a:gd name="connsiteY54"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03698 w 9393163"/>
              <a:gd name="connsiteY4" fmla="*/ 218841 h 4201882"/>
              <a:gd name="connsiteX5" fmla="*/ 6393543 w 9393163"/>
              <a:gd name="connsiteY5" fmla="*/ 1386110 h 4201882"/>
              <a:gd name="connsiteX6" fmla="*/ 5161891 w 9393163"/>
              <a:gd name="connsiteY6" fmla="*/ 1384378 h 4201882"/>
              <a:gd name="connsiteX7" fmla="*/ 5229866 w 9393163"/>
              <a:gd name="connsiteY7" fmla="*/ 270402 h 4201882"/>
              <a:gd name="connsiteX8" fmla="*/ 6303698 w 9393163"/>
              <a:gd name="connsiteY8" fmla="*/ 218841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32225 h 4201882"/>
              <a:gd name="connsiteX19" fmla="*/ 4434994 w 9393163"/>
              <a:gd name="connsiteY19" fmla="*/ 222880 h 4201882"/>
              <a:gd name="connsiteX20" fmla="*/ 4767945 w 9393163"/>
              <a:gd name="connsiteY20" fmla="*/ 558795 h 4201882"/>
              <a:gd name="connsiteX21" fmla="*/ 4738917 w 9393163"/>
              <a:gd name="connsiteY21" fmla="*/ 1081309 h 4201882"/>
              <a:gd name="connsiteX22" fmla="*/ 4434994 w 9393163"/>
              <a:gd name="connsiteY22" fmla="*/ 1388196 h 4201882"/>
              <a:gd name="connsiteX23" fmla="*/ 3316515 w 9393163"/>
              <a:gd name="connsiteY23" fmla="*/ 1415138 h 4201882"/>
              <a:gd name="connsiteX24" fmla="*/ 2997203 w 9393163"/>
              <a:gd name="connsiteY24" fmla="*/ 1124852 h 4201882"/>
              <a:gd name="connsiteX25" fmla="*/ 2982689 w 9393163"/>
              <a:gd name="connsiteY25" fmla="*/ 544281 h 4201882"/>
              <a:gd name="connsiteX26" fmla="*/ 3287486 w 9393163"/>
              <a:gd name="connsiteY26" fmla="*/ 232225 h 4201882"/>
              <a:gd name="connsiteX27" fmla="*/ 2390031 w 9393163"/>
              <a:gd name="connsiteY27" fmla="*/ 3714226 h 4201882"/>
              <a:gd name="connsiteX28" fmla="*/ 2213430 w 9393163"/>
              <a:gd name="connsiteY28" fmla="*/ 4187367 h 4201882"/>
              <a:gd name="connsiteX29" fmla="*/ 1560287 w 9393163"/>
              <a:gd name="connsiteY29" fmla="*/ 4201882 h 4201882"/>
              <a:gd name="connsiteX30" fmla="*/ 1296966 w 9393163"/>
              <a:gd name="connsiteY30" fmla="*/ 3724642 h 4201882"/>
              <a:gd name="connsiteX31" fmla="*/ 1925678 w 9393163"/>
              <a:gd name="connsiteY31" fmla="*/ 3125933 h 4201882"/>
              <a:gd name="connsiteX32" fmla="*/ 2390031 w 9393163"/>
              <a:gd name="connsiteY32" fmla="*/ 3714226 h 4201882"/>
              <a:gd name="connsiteX33" fmla="*/ 6596743 w 9393163"/>
              <a:gd name="connsiteY33" fmla="*/ 4042225 h 4201882"/>
              <a:gd name="connsiteX34" fmla="*/ 6380876 w 9393163"/>
              <a:gd name="connsiteY34" fmla="*/ 3607073 h 4201882"/>
              <a:gd name="connsiteX35" fmla="*/ 6957753 w 9393163"/>
              <a:gd name="connsiteY35" fmla="*/ 3737701 h 4201882"/>
              <a:gd name="connsiteX36" fmla="*/ 6596743 w 9393163"/>
              <a:gd name="connsiteY36" fmla="*/ 4042225 h 4201882"/>
              <a:gd name="connsiteX37" fmla="*/ 7232614 w 9393163"/>
              <a:gd name="connsiteY37" fmla="*/ 3685197 h 4201882"/>
              <a:gd name="connsiteX38" fmla="*/ 7032173 w 9393163"/>
              <a:gd name="connsiteY38" fmla="*/ 4158339 h 4201882"/>
              <a:gd name="connsiteX39" fmla="*/ 6306459 w 9393163"/>
              <a:gd name="connsiteY39" fmla="*/ 4201881 h 4201882"/>
              <a:gd name="connsiteX40" fmla="*/ 6042666 w 9393163"/>
              <a:gd name="connsiteY40" fmla="*/ 3691989 h 4201882"/>
              <a:gd name="connsiteX41" fmla="*/ 6642348 w 9393163"/>
              <a:gd name="connsiteY41" fmla="*/ 3071499 h 4201882"/>
              <a:gd name="connsiteX42" fmla="*/ 7232614 w 9393163"/>
              <a:gd name="connsiteY42" fmla="*/ 3685197 h 4201882"/>
              <a:gd name="connsiteX43" fmla="*/ 319315 w 9393163"/>
              <a:gd name="connsiteY43" fmla="*/ 3294739 h 4201882"/>
              <a:gd name="connsiteX44" fmla="*/ 1952174 w 9393163"/>
              <a:gd name="connsiteY44" fmla="*/ 68941 h 4201882"/>
              <a:gd name="connsiteX45" fmla="*/ 8229601 w 9393163"/>
              <a:gd name="connsiteY45" fmla="*/ 0 h 4201882"/>
              <a:gd name="connsiteX46" fmla="*/ 8773887 w 9393163"/>
              <a:gd name="connsiteY46" fmla="*/ 616852 h 4201882"/>
              <a:gd name="connsiteX47" fmla="*/ 8831945 w 9393163"/>
              <a:gd name="connsiteY47" fmla="*/ 3156852 h 4201882"/>
              <a:gd name="connsiteX48" fmla="*/ 8744857 w 9393163"/>
              <a:gd name="connsiteY48" fmla="*/ 3418109 h 4201882"/>
              <a:gd name="connsiteX49" fmla="*/ 7438574 w 9393163"/>
              <a:gd name="connsiteY49" fmla="*/ 3418110 h 4201882"/>
              <a:gd name="connsiteX50" fmla="*/ 5798459 w 9393163"/>
              <a:gd name="connsiteY50" fmla="*/ 3577767 h 4201882"/>
              <a:gd name="connsiteX51" fmla="*/ 2735943 w 9393163"/>
              <a:gd name="connsiteY51" fmla="*/ 3606795 h 4201882"/>
              <a:gd name="connsiteX52" fmla="*/ 1023259 w 9393163"/>
              <a:gd name="connsiteY52" fmla="*/ 3621309 h 4201882"/>
              <a:gd name="connsiteX53" fmla="*/ 384627 w 9393163"/>
              <a:gd name="connsiteY53" fmla="*/ 3603169 h 4201882"/>
              <a:gd name="connsiteX54" fmla="*/ 319315 w 9393163"/>
              <a:gd name="connsiteY54"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03698 w 9393163"/>
              <a:gd name="connsiteY4" fmla="*/ 218841 h 4201882"/>
              <a:gd name="connsiteX5" fmla="*/ 6320971 w 9393163"/>
              <a:gd name="connsiteY5" fmla="*/ 1371596 h 4201882"/>
              <a:gd name="connsiteX6" fmla="*/ 5161891 w 9393163"/>
              <a:gd name="connsiteY6" fmla="*/ 1384378 h 4201882"/>
              <a:gd name="connsiteX7" fmla="*/ 5229866 w 9393163"/>
              <a:gd name="connsiteY7" fmla="*/ 270402 h 4201882"/>
              <a:gd name="connsiteX8" fmla="*/ 6303698 w 9393163"/>
              <a:gd name="connsiteY8" fmla="*/ 218841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32225 h 4201882"/>
              <a:gd name="connsiteX19" fmla="*/ 4434994 w 9393163"/>
              <a:gd name="connsiteY19" fmla="*/ 222880 h 4201882"/>
              <a:gd name="connsiteX20" fmla="*/ 4767945 w 9393163"/>
              <a:gd name="connsiteY20" fmla="*/ 558795 h 4201882"/>
              <a:gd name="connsiteX21" fmla="*/ 4738917 w 9393163"/>
              <a:gd name="connsiteY21" fmla="*/ 1081309 h 4201882"/>
              <a:gd name="connsiteX22" fmla="*/ 4434994 w 9393163"/>
              <a:gd name="connsiteY22" fmla="*/ 1388196 h 4201882"/>
              <a:gd name="connsiteX23" fmla="*/ 3316515 w 9393163"/>
              <a:gd name="connsiteY23" fmla="*/ 1415138 h 4201882"/>
              <a:gd name="connsiteX24" fmla="*/ 2997203 w 9393163"/>
              <a:gd name="connsiteY24" fmla="*/ 1124852 h 4201882"/>
              <a:gd name="connsiteX25" fmla="*/ 2982689 w 9393163"/>
              <a:gd name="connsiteY25" fmla="*/ 544281 h 4201882"/>
              <a:gd name="connsiteX26" fmla="*/ 3287486 w 9393163"/>
              <a:gd name="connsiteY26" fmla="*/ 232225 h 4201882"/>
              <a:gd name="connsiteX27" fmla="*/ 2390031 w 9393163"/>
              <a:gd name="connsiteY27" fmla="*/ 3714226 h 4201882"/>
              <a:gd name="connsiteX28" fmla="*/ 2213430 w 9393163"/>
              <a:gd name="connsiteY28" fmla="*/ 4187367 h 4201882"/>
              <a:gd name="connsiteX29" fmla="*/ 1560287 w 9393163"/>
              <a:gd name="connsiteY29" fmla="*/ 4201882 h 4201882"/>
              <a:gd name="connsiteX30" fmla="*/ 1296966 w 9393163"/>
              <a:gd name="connsiteY30" fmla="*/ 3724642 h 4201882"/>
              <a:gd name="connsiteX31" fmla="*/ 1925678 w 9393163"/>
              <a:gd name="connsiteY31" fmla="*/ 3125933 h 4201882"/>
              <a:gd name="connsiteX32" fmla="*/ 2390031 w 9393163"/>
              <a:gd name="connsiteY32" fmla="*/ 3714226 h 4201882"/>
              <a:gd name="connsiteX33" fmla="*/ 6596743 w 9393163"/>
              <a:gd name="connsiteY33" fmla="*/ 4042225 h 4201882"/>
              <a:gd name="connsiteX34" fmla="*/ 6380876 w 9393163"/>
              <a:gd name="connsiteY34" fmla="*/ 3607073 h 4201882"/>
              <a:gd name="connsiteX35" fmla="*/ 6957753 w 9393163"/>
              <a:gd name="connsiteY35" fmla="*/ 3737701 h 4201882"/>
              <a:gd name="connsiteX36" fmla="*/ 6596743 w 9393163"/>
              <a:gd name="connsiteY36" fmla="*/ 4042225 h 4201882"/>
              <a:gd name="connsiteX37" fmla="*/ 7232614 w 9393163"/>
              <a:gd name="connsiteY37" fmla="*/ 3685197 h 4201882"/>
              <a:gd name="connsiteX38" fmla="*/ 7032173 w 9393163"/>
              <a:gd name="connsiteY38" fmla="*/ 4158339 h 4201882"/>
              <a:gd name="connsiteX39" fmla="*/ 6306459 w 9393163"/>
              <a:gd name="connsiteY39" fmla="*/ 4201881 h 4201882"/>
              <a:gd name="connsiteX40" fmla="*/ 6042666 w 9393163"/>
              <a:gd name="connsiteY40" fmla="*/ 3691989 h 4201882"/>
              <a:gd name="connsiteX41" fmla="*/ 6642348 w 9393163"/>
              <a:gd name="connsiteY41" fmla="*/ 3071499 h 4201882"/>
              <a:gd name="connsiteX42" fmla="*/ 7232614 w 9393163"/>
              <a:gd name="connsiteY42" fmla="*/ 3685197 h 4201882"/>
              <a:gd name="connsiteX43" fmla="*/ 319315 w 9393163"/>
              <a:gd name="connsiteY43" fmla="*/ 3294739 h 4201882"/>
              <a:gd name="connsiteX44" fmla="*/ 1952174 w 9393163"/>
              <a:gd name="connsiteY44" fmla="*/ 68941 h 4201882"/>
              <a:gd name="connsiteX45" fmla="*/ 8229601 w 9393163"/>
              <a:gd name="connsiteY45" fmla="*/ 0 h 4201882"/>
              <a:gd name="connsiteX46" fmla="*/ 8773887 w 9393163"/>
              <a:gd name="connsiteY46" fmla="*/ 616852 h 4201882"/>
              <a:gd name="connsiteX47" fmla="*/ 8831945 w 9393163"/>
              <a:gd name="connsiteY47" fmla="*/ 3156852 h 4201882"/>
              <a:gd name="connsiteX48" fmla="*/ 8744857 w 9393163"/>
              <a:gd name="connsiteY48" fmla="*/ 3418109 h 4201882"/>
              <a:gd name="connsiteX49" fmla="*/ 7438574 w 9393163"/>
              <a:gd name="connsiteY49" fmla="*/ 3418110 h 4201882"/>
              <a:gd name="connsiteX50" fmla="*/ 5798459 w 9393163"/>
              <a:gd name="connsiteY50" fmla="*/ 3577767 h 4201882"/>
              <a:gd name="connsiteX51" fmla="*/ 2735943 w 9393163"/>
              <a:gd name="connsiteY51" fmla="*/ 3606795 h 4201882"/>
              <a:gd name="connsiteX52" fmla="*/ 1023259 w 9393163"/>
              <a:gd name="connsiteY52" fmla="*/ 3621309 h 4201882"/>
              <a:gd name="connsiteX53" fmla="*/ 384627 w 9393163"/>
              <a:gd name="connsiteY53" fmla="*/ 3603169 h 4201882"/>
              <a:gd name="connsiteX54" fmla="*/ 319315 w 9393163"/>
              <a:gd name="connsiteY54"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03698 w 9393163"/>
              <a:gd name="connsiteY4" fmla="*/ 218841 h 4201882"/>
              <a:gd name="connsiteX5" fmla="*/ 6320971 w 9393163"/>
              <a:gd name="connsiteY5" fmla="*/ 1371596 h 4201882"/>
              <a:gd name="connsiteX6" fmla="*/ 5219949 w 9393163"/>
              <a:gd name="connsiteY6" fmla="*/ 1398892 h 4201882"/>
              <a:gd name="connsiteX7" fmla="*/ 5229866 w 9393163"/>
              <a:gd name="connsiteY7" fmla="*/ 270402 h 4201882"/>
              <a:gd name="connsiteX8" fmla="*/ 6303698 w 9393163"/>
              <a:gd name="connsiteY8" fmla="*/ 218841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32225 h 4201882"/>
              <a:gd name="connsiteX19" fmla="*/ 4434994 w 9393163"/>
              <a:gd name="connsiteY19" fmla="*/ 222880 h 4201882"/>
              <a:gd name="connsiteX20" fmla="*/ 4767945 w 9393163"/>
              <a:gd name="connsiteY20" fmla="*/ 558795 h 4201882"/>
              <a:gd name="connsiteX21" fmla="*/ 4738917 w 9393163"/>
              <a:gd name="connsiteY21" fmla="*/ 1081309 h 4201882"/>
              <a:gd name="connsiteX22" fmla="*/ 4434994 w 9393163"/>
              <a:gd name="connsiteY22" fmla="*/ 1388196 h 4201882"/>
              <a:gd name="connsiteX23" fmla="*/ 3316515 w 9393163"/>
              <a:gd name="connsiteY23" fmla="*/ 1415138 h 4201882"/>
              <a:gd name="connsiteX24" fmla="*/ 2997203 w 9393163"/>
              <a:gd name="connsiteY24" fmla="*/ 1124852 h 4201882"/>
              <a:gd name="connsiteX25" fmla="*/ 2982689 w 9393163"/>
              <a:gd name="connsiteY25" fmla="*/ 544281 h 4201882"/>
              <a:gd name="connsiteX26" fmla="*/ 3287486 w 9393163"/>
              <a:gd name="connsiteY26" fmla="*/ 232225 h 4201882"/>
              <a:gd name="connsiteX27" fmla="*/ 2390031 w 9393163"/>
              <a:gd name="connsiteY27" fmla="*/ 3714226 h 4201882"/>
              <a:gd name="connsiteX28" fmla="*/ 2213430 w 9393163"/>
              <a:gd name="connsiteY28" fmla="*/ 4187367 h 4201882"/>
              <a:gd name="connsiteX29" fmla="*/ 1560287 w 9393163"/>
              <a:gd name="connsiteY29" fmla="*/ 4201882 h 4201882"/>
              <a:gd name="connsiteX30" fmla="*/ 1296966 w 9393163"/>
              <a:gd name="connsiteY30" fmla="*/ 3724642 h 4201882"/>
              <a:gd name="connsiteX31" fmla="*/ 1925678 w 9393163"/>
              <a:gd name="connsiteY31" fmla="*/ 3125933 h 4201882"/>
              <a:gd name="connsiteX32" fmla="*/ 2390031 w 9393163"/>
              <a:gd name="connsiteY32" fmla="*/ 3714226 h 4201882"/>
              <a:gd name="connsiteX33" fmla="*/ 6596743 w 9393163"/>
              <a:gd name="connsiteY33" fmla="*/ 4042225 h 4201882"/>
              <a:gd name="connsiteX34" fmla="*/ 6380876 w 9393163"/>
              <a:gd name="connsiteY34" fmla="*/ 3607073 h 4201882"/>
              <a:gd name="connsiteX35" fmla="*/ 6957753 w 9393163"/>
              <a:gd name="connsiteY35" fmla="*/ 3737701 h 4201882"/>
              <a:gd name="connsiteX36" fmla="*/ 6596743 w 9393163"/>
              <a:gd name="connsiteY36" fmla="*/ 4042225 h 4201882"/>
              <a:gd name="connsiteX37" fmla="*/ 7232614 w 9393163"/>
              <a:gd name="connsiteY37" fmla="*/ 3685197 h 4201882"/>
              <a:gd name="connsiteX38" fmla="*/ 7032173 w 9393163"/>
              <a:gd name="connsiteY38" fmla="*/ 4158339 h 4201882"/>
              <a:gd name="connsiteX39" fmla="*/ 6306459 w 9393163"/>
              <a:gd name="connsiteY39" fmla="*/ 4201881 h 4201882"/>
              <a:gd name="connsiteX40" fmla="*/ 6042666 w 9393163"/>
              <a:gd name="connsiteY40" fmla="*/ 3691989 h 4201882"/>
              <a:gd name="connsiteX41" fmla="*/ 6642348 w 9393163"/>
              <a:gd name="connsiteY41" fmla="*/ 3071499 h 4201882"/>
              <a:gd name="connsiteX42" fmla="*/ 7232614 w 9393163"/>
              <a:gd name="connsiteY42" fmla="*/ 3685197 h 4201882"/>
              <a:gd name="connsiteX43" fmla="*/ 319315 w 9393163"/>
              <a:gd name="connsiteY43" fmla="*/ 3294739 h 4201882"/>
              <a:gd name="connsiteX44" fmla="*/ 1952174 w 9393163"/>
              <a:gd name="connsiteY44" fmla="*/ 68941 h 4201882"/>
              <a:gd name="connsiteX45" fmla="*/ 8229601 w 9393163"/>
              <a:gd name="connsiteY45" fmla="*/ 0 h 4201882"/>
              <a:gd name="connsiteX46" fmla="*/ 8773887 w 9393163"/>
              <a:gd name="connsiteY46" fmla="*/ 616852 h 4201882"/>
              <a:gd name="connsiteX47" fmla="*/ 8831945 w 9393163"/>
              <a:gd name="connsiteY47" fmla="*/ 3156852 h 4201882"/>
              <a:gd name="connsiteX48" fmla="*/ 8744857 w 9393163"/>
              <a:gd name="connsiteY48" fmla="*/ 3418109 h 4201882"/>
              <a:gd name="connsiteX49" fmla="*/ 7438574 w 9393163"/>
              <a:gd name="connsiteY49" fmla="*/ 3418110 h 4201882"/>
              <a:gd name="connsiteX50" fmla="*/ 5798459 w 9393163"/>
              <a:gd name="connsiteY50" fmla="*/ 3577767 h 4201882"/>
              <a:gd name="connsiteX51" fmla="*/ 2735943 w 9393163"/>
              <a:gd name="connsiteY51" fmla="*/ 3606795 h 4201882"/>
              <a:gd name="connsiteX52" fmla="*/ 1023259 w 9393163"/>
              <a:gd name="connsiteY52" fmla="*/ 3621309 h 4201882"/>
              <a:gd name="connsiteX53" fmla="*/ 384627 w 9393163"/>
              <a:gd name="connsiteY53" fmla="*/ 3603169 h 4201882"/>
              <a:gd name="connsiteX54" fmla="*/ 319315 w 9393163"/>
              <a:gd name="connsiteY54"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03698 w 9393163"/>
              <a:gd name="connsiteY4" fmla="*/ 262384 h 4201882"/>
              <a:gd name="connsiteX5" fmla="*/ 6320971 w 9393163"/>
              <a:gd name="connsiteY5" fmla="*/ 1371596 h 4201882"/>
              <a:gd name="connsiteX6" fmla="*/ 5219949 w 9393163"/>
              <a:gd name="connsiteY6" fmla="*/ 1398892 h 4201882"/>
              <a:gd name="connsiteX7" fmla="*/ 5229866 w 9393163"/>
              <a:gd name="connsiteY7" fmla="*/ 270402 h 4201882"/>
              <a:gd name="connsiteX8" fmla="*/ 6303698 w 9393163"/>
              <a:gd name="connsiteY8" fmla="*/ 262384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32225 h 4201882"/>
              <a:gd name="connsiteX19" fmla="*/ 4434994 w 9393163"/>
              <a:gd name="connsiteY19" fmla="*/ 222880 h 4201882"/>
              <a:gd name="connsiteX20" fmla="*/ 4767945 w 9393163"/>
              <a:gd name="connsiteY20" fmla="*/ 558795 h 4201882"/>
              <a:gd name="connsiteX21" fmla="*/ 4738917 w 9393163"/>
              <a:gd name="connsiteY21" fmla="*/ 1081309 h 4201882"/>
              <a:gd name="connsiteX22" fmla="*/ 4434994 w 9393163"/>
              <a:gd name="connsiteY22" fmla="*/ 1388196 h 4201882"/>
              <a:gd name="connsiteX23" fmla="*/ 3316515 w 9393163"/>
              <a:gd name="connsiteY23" fmla="*/ 1415138 h 4201882"/>
              <a:gd name="connsiteX24" fmla="*/ 2997203 w 9393163"/>
              <a:gd name="connsiteY24" fmla="*/ 1124852 h 4201882"/>
              <a:gd name="connsiteX25" fmla="*/ 2982689 w 9393163"/>
              <a:gd name="connsiteY25" fmla="*/ 544281 h 4201882"/>
              <a:gd name="connsiteX26" fmla="*/ 3287486 w 9393163"/>
              <a:gd name="connsiteY26" fmla="*/ 232225 h 4201882"/>
              <a:gd name="connsiteX27" fmla="*/ 2390031 w 9393163"/>
              <a:gd name="connsiteY27" fmla="*/ 3714226 h 4201882"/>
              <a:gd name="connsiteX28" fmla="*/ 2213430 w 9393163"/>
              <a:gd name="connsiteY28" fmla="*/ 4187367 h 4201882"/>
              <a:gd name="connsiteX29" fmla="*/ 1560287 w 9393163"/>
              <a:gd name="connsiteY29" fmla="*/ 4201882 h 4201882"/>
              <a:gd name="connsiteX30" fmla="*/ 1296966 w 9393163"/>
              <a:gd name="connsiteY30" fmla="*/ 3724642 h 4201882"/>
              <a:gd name="connsiteX31" fmla="*/ 1925678 w 9393163"/>
              <a:gd name="connsiteY31" fmla="*/ 3125933 h 4201882"/>
              <a:gd name="connsiteX32" fmla="*/ 2390031 w 9393163"/>
              <a:gd name="connsiteY32" fmla="*/ 3714226 h 4201882"/>
              <a:gd name="connsiteX33" fmla="*/ 6596743 w 9393163"/>
              <a:gd name="connsiteY33" fmla="*/ 4042225 h 4201882"/>
              <a:gd name="connsiteX34" fmla="*/ 6380876 w 9393163"/>
              <a:gd name="connsiteY34" fmla="*/ 3607073 h 4201882"/>
              <a:gd name="connsiteX35" fmla="*/ 6957753 w 9393163"/>
              <a:gd name="connsiteY35" fmla="*/ 3737701 h 4201882"/>
              <a:gd name="connsiteX36" fmla="*/ 6596743 w 9393163"/>
              <a:gd name="connsiteY36" fmla="*/ 4042225 h 4201882"/>
              <a:gd name="connsiteX37" fmla="*/ 7232614 w 9393163"/>
              <a:gd name="connsiteY37" fmla="*/ 3685197 h 4201882"/>
              <a:gd name="connsiteX38" fmla="*/ 7032173 w 9393163"/>
              <a:gd name="connsiteY38" fmla="*/ 4158339 h 4201882"/>
              <a:gd name="connsiteX39" fmla="*/ 6306459 w 9393163"/>
              <a:gd name="connsiteY39" fmla="*/ 4201881 h 4201882"/>
              <a:gd name="connsiteX40" fmla="*/ 6042666 w 9393163"/>
              <a:gd name="connsiteY40" fmla="*/ 3691989 h 4201882"/>
              <a:gd name="connsiteX41" fmla="*/ 6642348 w 9393163"/>
              <a:gd name="connsiteY41" fmla="*/ 3071499 h 4201882"/>
              <a:gd name="connsiteX42" fmla="*/ 7232614 w 9393163"/>
              <a:gd name="connsiteY42" fmla="*/ 3685197 h 4201882"/>
              <a:gd name="connsiteX43" fmla="*/ 319315 w 9393163"/>
              <a:gd name="connsiteY43" fmla="*/ 3294739 h 4201882"/>
              <a:gd name="connsiteX44" fmla="*/ 1952174 w 9393163"/>
              <a:gd name="connsiteY44" fmla="*/ 68941 h 4201882"/>
              <a:gd name="connsiteX45" fmla="*/ 8229601 w 9393163"/>
              <a:gd name="connsiteY45" fmla="*/ 0 h 4201882"/>
              <a:gd name="connsiteX46" fmla="*/ 8773887 w 9393163"/>
              <a:gd name="connsiteY46" fmla="*/ 616852 h 4201882"/>
              <a:gd name="connsiteX47" fmla="*/ 8831945 w 9393163"/>
              <a:gd name="connsiteY47" fmla="*/ 3156852 h 4201882"/>
              <a:gd name="connsiteX48" fmla="*/ 8744857 w 9393163"/>
              <a:gd name="connsiteY48" fmla="*/ 3418109 h 4201882"/>
              <a:gd name="connsiteX49" fmla="*/ 7438574 w 9393163"/>
              <a:gd name="connsiteY49" fmla="*/ 3418110 h 4201882"/>
              <a:gd name="connsiteX50" fmla="*/ 5798459 w 9393163"/>
              <a:gd name="connsiteY50" fmla="*/ 3577767 h 4201882"/>
              <a:gd name="connsiteX51" fmla="*/ 2735943 w 9393163"/>
              <a:gd name="connsiteY51" fmla="*/ 3606795 h 4201882"/>
              <a:gd name="connsiteX52" fmla="*/ 1023259 w 9393163"/>
              <a:gd name="connsiteY52" fmla="*/ 3621309 h 4201882"/>
              <a:gd name="connsiteX53" fmla="*/ 384627 w 9393163"/>
              <a:gd name="connsiteY53" fmla="*/ 3603169 h 4201882"/>
              <a:gd name="connsiteX54" fmla="*/ 319315 w 9393163"/>
              <a:gd name="connsiteY54" fmla="*/ 3294739 h 4201882"/>
              <a:gd name="connsiteX0" fmla="*/ 1879600 w 9393163"/>
              <a:gd name="connsiteY0" fmla="*/ 290282 h 4201882"/>
              <a:gd name="connsiteX1" fmla="*/ 2633463 w 9393163"/>
              <a:gd name="connsiteY1" fmla="*/ 273272 h 4201882"/>
              <a:gd name="connsiteX2" fmla="*/ 1211063 w 9393163"/>
              <a:gd name="connsiteY2" fmla="*/ 2196824 h 4201882"/>
              <a:gd name="connsiteX3" fmla="*/ 1879600 w 9393163"/>
              <a:gd name="connsiteY3" fmla="*/ 290282 h 4201882"/>
              <a:gd name="connsiteX4" fmla="*/ 6303698 w 9393163"/>
              <a:gd name="connsiteY4" fmla="*/ 262384 h 4201882"/>
              <a:gd name="connsiteX5" fmla="*/ 6320971 w 9393163"/>
              <a:gd name="connsiteY5" fmla="*/ 1371596 h 4201882"/>
              <a:gd name="connsiteX6" fmla="*/ 5219949 w 9393163"/>
              <a:gd name="connsiteY6" fmla="*/ 1398892 h 4201882"/>
              <a:gd name="connsiteX7" fmla="*/ 5229866 w 9393163"/>
              <a:gd name="connsiteY7" fmla="*/ 270402 h 4201882"/>
              <a:gd name="connsiteX8" fmla="*/ 6303698 w 9393163"/>
              <a:gd name="connsiteY8" fmla="*/ 262384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32225 h 4201882"/>
              <a:gd name="connsiteX19" fmla="*/ 4434994 w 9393163"/>
              <a:gd name="connsiteY19" fmla="*/ 222880 h 4201882"/>
              <a:gd name="connsiteX20" fmla="*/ 4767945 w 9393163"/>
              <a:gd name="connsiteY20" fmla="*/ 558795 h 4201882"/>
              <a:gd name="connsiteX21" fmla="*/ 4738917 w 9393163"/>
              <a:gd name="connsiteY21" fmla="*/ 1081309 h 4201882"/>
              <a:gd name="connsiteX22" fmla="*/ 4434994 w 9393163"/>
              <a:gd name="connsiteY22" fmla="*/ 1388196 h 4201882"/>
              <a:gd name="connsiteX23" fmla="*/ 3316515 w 9393163"/>
              <a:gd name="connsiteY23" fmla="*/ 1415138 h 4201882"/>
              <a:gd name="connsiteX24" fmla="*/ 2997203 w 9393163"/>
              <a:gd name="connsiteY24" fmla="*/ 1124852 h 4201882"/>
              <a:gd name="connsiteX25" fmla="*/ 2982689 w 9393163"/>
              <a:gd name="connsiteY25" fmla="*/ 544281 h 4201882"/>
              <a:gd name="connsiteX26" fmla="*/ 3287486 w 9393163"/>
              <a:gd name="connsiteY26" fmla="*/ 232225 h 4201882"/>
              <a:gd name="connsiteX27" fmla="*/ 2390031 w 9393163"/>
              <a:gd name="connsiteY27" fmla="*/ 3714226 h 4201882"/>
              <a:gd name="connsiteX28" fmla="*/ 2213430 w 9393163"/>
              <a:gd name="connsiteY28" fmla="*/ 4187367 h 4201882"/>
              <a:gd name="connsiteX29" fmla="*/ 1560287 w 9393163"/>
              <a:gd name="connsiteY29" fmla="*/ 4201882 h 4201882"/>
              <a:gd name="connsiteX30" fmla="*/ 1296966 w 9393163"/>
              <a:gd name="connsiteY30" fmla="*/ 3724642 h 4201882"/>
              <a:gd name="connsiteX31" fmla="*/ 1925678 w 9393163"/>
              <a:gd name="connsiteY31" fmla="*/ 3125933 h 4201882"/>
              <a:gd name="connsiteX32" fmla="*/ 2390031 w 9393163"/>
              <a:gd name="connsiteY32" fmla="*/ 3714226 h 4201882"/>
              <a:gd name="connsiteX33" fmla="*/ 6596743 w 9393163"/>
              <a:gd name="connsiteY33" fmla="*/ 4042225 h 4201882"/>
              <a:gd name="connsiteX34" fmla="*/ 6380876 w 9393163"/>
              <a:gd name="connsiteY34" fmla="*/ 3607073 h 4201882"/>
              <a:gd name="connsiteX35" fmla="*/ 6957753 w 9393163"/>
              <a:gd name="connsiteY35" fmla="*/ 3737701 h 4201882"/>
              <a:gd name="connsiteX36" fmla="*/ 6596743 w 9393163"/>
              <a:gd name="connsiteY36" fmla="*/ 4042225 h 4201882"/>
              <a:gd name="connsiteX37" fmla="*/ 7232614 w 9393163"/>
              <a:gd name="connsiteY37" fmla="*/ 3685197 h 4201882"/>
              <a:gd name="connsiteX38" fmla="*/ 7032173 w 9393163"/>
              <a:gd name="connsiteY38" fmla="*/ 4158339 h 4201882"/>
              <a:gd name="connsiteX39" fmla="*/ 6306459 w 9393163"/>
              <a:gd name="connsiteY39" fmla="*/ 4201881 h 4201882"/>
              <a:gd name="connsiteX40" fmla="*/ 6042666 w 9393163"/>
              <a:gd name="connsiteY40" fmla="*/ 3691989 h 4201882"/>
              <a:gd name="connsiteX41" fmla="*/ 6642348 w 9393163"/>
              <a:gd name="connsiteY41" fmla="*/ 3071499 h 4201882"/>
              <a:gd name="connsiteX42" fmla="*/ 7232614 w 9393163"/>
              <a:gd name="connsiteY42" fmla="*/ 3685197 h 4201882"/>
              <a:gd name="connsiteX43" fmla="*/ 319315 w 9393163"/>
              <a:gd name="connsiteY43" fmla="*/ 3294739 h 4201882"/>
              <a:gd name="connsiteX44" fmla="*/ 1952174 w 9393163"/>
              <a:gd name="connsiteY44" fmla="*/ 68941 h 4201882"/>
              <a:gd name="connsiteX45" fmla="*/ 8229601 w 9393163"/>
              <a:gd name="connsiteY45" fmla="*/ 0 h 4201882"/>
              <a:gd name="connsiteX46" fmla="*/ 8773887 w 9393163"/>
              <a:gd name="connsiteY46" fmla="*/ 616852 h 4201882"/>
              <a:gd name="connsiteX47" fmla="*/ 8831945 w 9393163"/>
              <a:gd name="connsiteY47" fmla="*/ 3156852 h 4201882"/>
              <a:gd name="connsiteX48" fmla="*/ 8744857 w 9393163"/>
              <a:gd name="connsiteY48" fmla="*/ 3418109 h 4201882"/>
              <a:gd name="connsiteX49" fmla="*/ 7438574 w 9393163"/>
              <a:gd name="connsiteY49" fmla="*/ 3418110 h 4201882"/>
              <a:gd name="connsiteX50" fmla="*/ 5798459 w 9393163"/>
              <a:gd name="connsiteY50" fmla="*/ 3577767 h 4201882"/>
              <a:gd name="connsiteX51" fmla="*/ 2735943 w 9393163"/>
              <a:gd name="connsiteY51" fmla="*/ 3606795 h 4201882"/>
              <a:gd name="connsiteX52" fmla="*/ 1023259 w 9393163"/>
              <a:gd name="connsiteY52" fmla="*/ 3621309 h 4201882"/>
              <a:gd name="connsiteX53" fmla="*/ 384627 w 9393163"/>
              <a:gd name="connsiteY53" fmla="*/ 3603169 h 4201882"/>
              <a:gd name="connsiteX54" fmla="*/ 319315 w 9393163"/>
              <a:gd name="connsiteY54" fmla="*/ 3294739 h 4201882"/>
              <a:gd name="connsiteX0" fmla="*/ 1937657 w 9393163"/>
              <a:gd name="connsiteY0" fmla="*/ 273272 h 4201882"/>
              <a:gd name="connsiteX1" fmla="*/ 2633463 w 9393163"/>
              <a:gd name="connsiteY1" fmla="*/ 273272 h 4201882"/>
              <a:gd name="connsiteX2" fmla="*/ 1211063 w 9393163"/>
              <a:gd name="connsiteY2" fmla="*/ 2196824 h 4201882"/>
              <a:gd name="connsiteX3" fmla="*/ 1937657 w 9393163"/>
              <a:gd name="connsiteY3" fmla="*/ 273272 h 4201882"/>
              <a:gd name="connsiteX4" fmla="*/ 6303698 w 9393163"/>
              <a:gd name="connsiteY4" fmla="*/ 262384 h 4201882"/>
              <a:gd name="connsiteX5" fmla="*/ 6320971 w 9393163"/>
              <a:gd name="connsiteY5" fmla="*/ 1371596 h 4201882"/>
              <a:gd name="connsiteX6" fmla="*/ 5219949 w 9393163"/>
              <a:gd name="connsiteY6" fmla="*/ 1398892 h 4201882"/>
              <a:gd name="connsiteX7" fmla="*/ 5229866 w 9393163"/>
              <a:gd name="connsiteY7" fmla="*/ 270402 h 4201882"/>
              <a:gd name="connsiteX8" fmla="*/ 6303698 w 9393163"/>
              <a:gd name="connsiteY8" fmla="*/ 262384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32225 h 4201882"/>
              <a:gd name="connsiteX19" fmla="*/ 4434994 w 9393163"/>
              <a:gd name="connsiteY19" fmla="*/ 222880 h 4201882"/>
              <a:gd name="connsiteX20" fmla="*/ 4767945 w 9393163"/>
              <a:gd name="connsiteY20" fmla="*/ 558795 h 4201882"/>
              <a:gd name="connsiteX21" fmla="*/ 4738917 w 9393163"/>
              <a:gd name="connsiteY21" fmla="*/ 1081309 h 4201882"/>
              <a:gd name="connsiteX22" fmla="*/ 4434994 w 9393163"/>
              <a:gd name="connsiteY22" fmla="*/ 1388196 h 4201882"/>
              <a:gd name="connsiteX23" fmla="*/ 3316515 w 9393163"/>
              <a:gd name="connsiteY23" fmla="*/ 1415138 h 4201882"/>
              <a:gd name="connsiteX24" fmla="*/ 2997203 w 9393163"/>
              <a:gd name="connsiteY24" fmla="*/ 1124852 h 4201882"/>
              <a:gd name="connsiteX25" fmla="*/ 2982689 w 9393163"/>
              <a:gd name="connsiteY25" fmla="*/ 544281 h 4201882"/>
              <a:gd name="connsiteX26" fmla="*/ 3287486 w 9393163"/>
              <a:gd name="connsiteY26" fmla="*/ 232225 h 4201882"/>
              <a:gd name="connsiteX27" fmla="*/ 2390031 w 9393163"/>
              <a:gd name="connsiteY27" fmla="*/ 3714226 h 4201882"/>
              <a:gd name="connsiteX28" fmla="*/ 2213430 w 9393163"/>
              <a:gd name="connsiteY28" fmla="*/ 4187367 h 4201882"/>
              <a:gd name="connsiteX29" fmla="*/ 1560287 w 9393163"/>
              <a:gd name="connsiteY29" fmla="*/ 4201882 h 4201882"/>
              <a:gd name="connsiteX30" fmla="*/ 1296966 w 9393163"/>
              <a:gd name="connsiteY30" fmla="*/ 3724642 h 4201882"/>
              <a:gd name="connsiteX31" fmla="*/ 1925678 w 9393163"/>
              <a:gd name="connsiteY31" fmla="*/ 3125933 h 4201882"/>
              <a:gd name="connsiteX32" fmla="*/ 2390031 w 9393163"/>
              <a:gd name="connsiteY32" fmla="*/ 3714226 h 4201882"/>
              <a:gd name="connsiteX33" fmla="*/ 6596743 w 9393163"/>
              <a:gd name="connsiteY33" fmla="*/ 4042225 h 4201882"/>
              <a:gd name="connsiteX34" fmla="*/ 6380876 w 9393163"/>
              <a:gd name="connsiteY34" fmla="*/ 3607073 h 4201882"/>
              <a:gd name="connsiteX35" fmla="*/ 6957753 w 9393163"/>
              <a:gd name="connsiteY35" fmla="*/ 3737701 h 4201882"/>
              <a:gd name="connsiteX36" fmla="*/ 6596743 w 9393163"/>
              <a:gd name="connsiteY36" fmla="*/ 4042225 h 4201882"/>
              <a:gd name="connsiteX37" fmla="*/ 7232614 w 9393163"/>
              <a:gd name="connsiteY37" fmla="*/ 3685197 h 4201882"/>
              <a:gd name="connsiteX38" fmla="*/ 7032173 w 9393163"/>
              <a:gd name="connsiteY38" fmla="*/ 4158339 h 4201882"/>
              <a:gd name="connsiteX39" fmla="*/ 6306459 w 9393163"/>
              <a:gd name="connsiteY39" fmla="*/ 4201881 h 4201882"/>
              <a:gd name="connsiteX40" fmla="*/ 6042666 w 9393163"/>
              <a:gd name="connsiteY40" fmla="*/ 3691989 h 4201882"/>
              <a:gd name="connsiteX41" fmla="*/ 6642348 w 9393163"/>
              <a:gd name="connsiteY41" fmla="*/ 3071499 h 4201882"/>
              <a:gd name="connsiteX42" fmla="*/ 7232614 w 9393163"/>
              <a:gd name="connsiteY42" fmla="*/ 3685197 h 4201882"/>
              <a:gd name="connsiteX43" fmla="*/ 319315 w 9393163"/>
              <a:gd name="connsiteY43" fmla="*/ 3294739 h 4201882"/>
              <a:gd name="connsiteX44" fmla="*/ 1952174 w 9393163"/>
              <a:gd name="connsiteY44" fmla="*/ 68941 h 4201882"/>
              <a:gd name="connsiteX45" fmla="*/ 8229601 w 9393163"/>
              <a:gd name="connsiteY45" fmla="*/ 0 h 4201882"/>
              <a:gd name="connsiteX46" fmla="*/ 8773887 w 9393163"/>
              <a:gd name="connsiteY46" fmla="*/ 616852 h 4201882"/>
              <a:gd name="connsiteX47" fmla="*/ 8831945 w 9393163"/>
              <a:gd name="connsiteY47" fmla="*/ 3156852 h 4201882"/>
              <a:gd name="connsiteX48" fmla="*/ 8744857 w 9393163"/>
              <a:gd name="connsiteY48" fmla="*/ 3418109 h 4201882"/>
              <a:gd name="connsiteX49" fmla="*/ 7438574 w 9393163"/>
              <a:gd name="connsiteY49" fmla="*/ 3418110 h 4201882"/>
              <a:gd name="connsiteX50" fmla="*/ 5798459 w 9393163"/>
              <a:gd name="connsiteY50" fmla="*/ 3577767 h 4201882"/>
              <a:gd name="connsiteX51" fmla="*/ 2735943 w 9393163"/>
              <a:gd name="connsiteY51" fmla="*/ 3606795 h 4201882"/>
              <a:gd name="connsiteX52" fmla="*/ 1023259 w 9393163"/>
              <a:gd name="connsiteY52" fmla="*/ 3621309 h 4201882"/>
              <a:gd name="connsiteX53" fmla="*/ 384627 w 9393163"/>
              <a:gd name="connsiteY53" fmla="*/ 3603169 h 4201882"/>
              <a:gd name="connsiteX54" fmla="*/ 319315 w 9393163"/>
              <a:gd name="connsiteY54" fmla="*/ 3294739 h 4201882"/>
              <a:gd name="connsiteX0" fmla="*/ 1937657 w 9393163"/>
              <a:gd name="connsiteY0" fmla="*/ 273272 h 4201882"/>
              <a:gd name="connsiteX1" fmla="*/ 2633463 w 9393163"/>
              <a:gd name="connsiteY1" fmla="*/ 273272 h 4201882"/>
              <a:gd name="connsiteX2" fmla="*/ 2489203 w 9393163"/>
              <a:gd name="connsiteY2" fmla="*/ 2169880 h 4201882"/>
              <a:gd name="connsiteX3" fmla="*/ 1211063 w 9393163"/>
              <a:gd name="connsiteY3" fmla="*/ 2196824 h 4201882"/>
              <a:gd name="connsiteX4" fmla="*/ 1937657 w 9393163"/>
              <a:gd name="connsiteY4" fmla="*/ 273272 h 4201882"/>
              <a:gd name="connsiteX5" fmla="*/ 6303698 w 9393163"/>
              <a:gd name="connsiteY5" fmla="*/ 262384 h 4201882"/>
              <a:gd name="connsiteX6" fmla="*/ 6320971 w 9393163"/>
              <a:gd name="connsiteY6" fmla="*/ 1371596 h 4201882"/>
              <a:gd name="connsiteX7" fmla="*/ 5219949 w 9393163"/>
              <a:gd name="connsiteY7" fmla="*/ 1398892 h 4201882"/>
              <a:gd name="connsiteX8" fmla="*/ 5229866 w 9393163"/>
              <a:gd name="connsiteY8" fmla="*/ 270402 h 4201882"/>
              <a:gd name="connsiteX9" fmla="*/ 6303698 w 9393163"/>
              <a:gd name="connsiteY9" fmla="*/ 262384 h 4201882"/>
              <a:gd name="connsiteX10" fmla="*/ 7133772 w 9393163"/>
              <a:gd name="connsiteY10" fmla="*/ 239481 h 4201882"/>
              <a:gd name="connsiteX11" fmla="*/ 8278552 w 9393163"/>
              <a:gd name="connsiteY11" fmla="*/ 253718 h 4201882"/>
              <a:gd name="connsiteX12" fmla="*/ 8427390 w 9393163"/>
              <a:gd name="connsiteY12" fmla="*/ 1327775 h 4201882"/>
              <a:gd name="connsiteX13" fmla="*/ 7191829 w 9393163"/>
              <a:gd name="connsiteY13" fmla="*/ 1400624 h 4201882"/>
              <a:gd name="connsiteX14" fmla="*/ 7133772 w 9393163"/>
              <a:gd name="connsiteY14" fmla="*/ 239481 h 4201882"/>
              <a:gd name="connsiteX15" fmla="*/ 1577230 w 9393163"/>
              <a:gd name="connsiteY15" fmla="*/ 3702269 h 4201882"/>
              <a:gd name="connsiteX16" fmla="*/ 2244992 w 9393163"/>
              <a:gd name="connsiteY16" fmla="*/ 3739316 h 4201882"/>
              <a:gd name="connsiteX17" fmla="*/ 1833995 w 9393163"/>
              <a:gd name="connsiteY17" fmla="*/ 4025979 h 4201882"/>
              <a:gd name="connsiteX18" fmla="*/ 1577230 w 9393163"/>
              <a:gd name="connsiteY18" fmla="*/ 3702269 h 4201882"/>
              <a:gd name="connsiteX19" fmla="*/ 3287486 w 9393163"/>
              <a:gd name="connsiteY19" fmla="*/ 232225 h 4201882"/>
              <a:gd name="connsiteX20" fmla="*/ 4434994 w 9393163"/>
              <a:gd name="connsiteY20" fmla="*/ 222880 h 4201882"/>
              <a:gd name="connsiteX21" fmla="*/ 4767945 w 9393163"/>
              <a:gd name="connsiteY21" fmla="*/ 558795 h 4201882"/>
              <a:gd name="connsiteX22" fmla="*/ 4738917 w 9393163"/>
              <a:gd name="connsiteY22" fmla="*/ 1081309 h 4201882"/>
              <a:gd name="connsiteX23" fmla="*/ 4434994 w 9393163"/>
              <a:gd name="connsiteY23" fmla="*/ 1388196 h 4201882"/>
              <a:gd name="connsiteX24" fmla="*/ 3316515 w 9393163"/>
              <a:gd name="connsiteY24" fmla="*/ 1415138 h 4201882"/>
              <a:gd name="connsiteX25" fmla="*/ 2997203 w 9393163"/>
              <a:gd name="connsiteY25" fmla="*/ 1124852 h 4201882"/>
              <a:gd name="connsiteX26" fmla="*/ 2982689 w 9393163"/>
              <a:gd name="connsiteY26" fmla="*/ 544281 h 4201882"/>
              <a:gd name="connsiteX27" fmla="*/ 3287486 w 9393163"/>
              <a:gd name="connsiteY27" fmla="*/ 232225 h 4201882"/>
              <a:gd name="connsiteX28" fmla="*/ 2390031 w 9393163"/>
              <a:gd name="connsiteY28" fmla="*/ 3714226 h 4201882"/>
              <a:gd name="connsiteX29" fmla="*/ 2213430 w 9393163"/>
              <a:gd name="connsiteY29" fmla="*/ 4187367 h 4201882"/>
              <a:gd name="connsiteX30" fmla="*/ 1560287 w 9393163"/>
              <a:gd name="connsiteY30" fmla="*/ 4201882 h 4201882"/>
              <a:gd name="connsiteX31" fmla="*/ 1296966 w 9393163"/>
              <a:gd name="connsiteY31" fmla="*/ 3724642 h 4201882"/>
              <a:gd name="connsiteX32" fmla="*/ 1925678 w 9393163"/>
              <a:gd name="connsiteY32" fmla="*/ 3125933 h 4201882"/>
              <a:gd name="connsiteX33" fmla="*/ 2390031 w 9393163"/>
              <a:gd name="connsiteY33" fmla="*/ 3714226 h 4201882"/>
              <a:gd name="connsiteX34" fmla="*/ 6596743 w 9393163"/>
              <a:gd name="connsiteY34" fmla="*/ 4042225 h 4201882"/>
              <a:gd name="connsiteX35" fmla="*/ 6380876 w 9393163"/>
              <a:gd name="connsiteY35" fmla="*/ 3607073 h 4201882"/>
              <a:gd name="connsiteX36" fmla="*/ 6957753 w 9393163"/>
              <a:gd name="connsiteY36" fmla="*/ 3737701 h 4201882"/>
              <a:gd name="connsiteX37" fmla="*/ 6596743 w 9393163"/>
              <a:gd name="connsiteY37" fmla="*/ 4042225 h 4201882"/>
              <a:gd name="connsiteX38" fmla="*/ 7232614 w 9393163"/>
              <a:gd name="connsiteY38" fmla="*/ 3685197 h 4201882"/>
              <a:gd name="connsiteX39" fmla="*/ 7032173 w 9393163"/>
              <a:gd name="connsiteY39" fmla="*/ 4158339 h 4201882"/>
              <a:gd name="connsiteX40" fmla="*/ 6306459 w 9393163"/>
              <a:gd name="connsiteY40" fmla="*/ 4201881 h 4201882"/>
              <a:gd name="connsiteX41" fmla="*/ 6042666 w 9393163"/>
              <a:gd name="connsiteY41" fmla="*/ 3691989 h 4201882"/>
              <a:gd name="connsiteX42" fmla="*/ 6642348 w 9393163"/>
              <a:gd name="connsiteY42" fmla="*/ 3071499 h 4201882"/>
              <a:gd name="connsiteX43" fmla="*/ 7232614 w 9393163"/>
              <a:gd name="connsiteY43" fmla="*/ 3685197 h 4201882"/>
              <a:gd name="connsiteX44" fmla="*/ 319315 w 9393163"/>
              <a:gd name="connsiteY44" fmla="*/ 3294739 h 4201882"/>
              <a:gd name="connsiteX45" fmla="*/ 1952174 w 9393163"/>
              <a:gd name="connsiteY45" fmla="*/ 68941 h 4201882"/>
              <a:gd name="connsiteX46" fmla="*/ 8229601 w 9393163"/>
              <a:gd name="connsiteY46" fmla="*/ 0 h 4201882"/>
              <a:gd name="connsiteX47" fmla="*/ 8773887 w 9393163"/>
              <a:gd name="connsiteY47" fmla="*/ 616852 h 4201882"/>
              <a:gd name="connsiteX48" fmla="*/ 8831945 w 9393163"/>
              <a:gd name="connsiteY48" fmla="*/ 3156852 h 4201882"/>
              <a:gd name="connsiteX49" fmla="*/ 8744857 w 9393163"/>
              <a:gd name="connsiteY49" fmla="*/ 3418109 h 4201882"/>
              <a:gd name="connsiteX50" fmla="*/ 7438574 w 9393163"/>
              <a:gd name="connsiteY50" fmla="*/ 3418110 h 4201882"/>
              <a:gd name="connsiteX51" fmla="*/ 5798459 w 9393163"/>
              <a:gd name="connsiteY51" fmla="*/ 3577767 h 4201882"/>
              <a:gd name="connsiteX52" fmla="*/ 2735943 w 9393163"/>
              <a:gd name="connsiteY52" fmla="*/ 3606795 h 4201882"/>
              <a:gd name="connsiteX53" fmla="*/ 1023259 w 9393163"/>
              <a:gd name="connsiteY53" fmla="*/ 3621309 h 4201882"/>
              <a:gd name="connsiteX54" fmla="*/ 384627 w 9393163"/>
              <a:gd name="connsiteY54" fmla="*/ 3603169 h 4201882"/>
              <a:gd name="connsiteX55" fmla="*/ 319315 w 9393163"/>
              <a:gd name="connsiteY55" fmla="*/ 3294739 h 4201882"/>
              <a:gd name="connsiteX0" fmla="*/ 1937657 w 9393163"/>
              <a:gd name="connsiteY0" fmla="*/ 273272 h 4201882"/>
              <a:gd name="connsiteX1" fmla="*/ 2633463 w 9393163"/>
              <a:gd name="connsiteY1" fmla="*/ 273272 h 4201882"/>
              <a:gd name="connsiteX2" fmla="*/ 2808517 w 9393163"/>
              <a:gd name="connsiteY2" fmla="*/ 641571 h 4201882"/>
              <a:gd name="connsiteX3" fmla="*/ 2489203 w 9393163"/>
              <a:gd name="connsiteY3" fmla="*/ 2169880 h 4201882"/>
              <a:gd name="connsiteX4" fmla="*/ 1211063 w 9393163"/>
              <a:gd name="connsiteY4" fmla="*/ 2196824 h 4201882"/>
              <a:gd name="connsiteX5" fmla="*/ 1937657 w 9393163"/>
              <a:gd name="connsiteY5" fmla="*/ 273272 h 4201882"/>
              <a:gd name="connsiteX6" fmla="*/ 6303698 w 9393163"/>
              <a:gd name="connsiteY6" fmla="*/ 262384 h 4201882"/>
              <a:gd name="connsiteX7" fmla="*/ 6320971 w 9393163"/>
              <a:gd name="connsiteY7" fmla="*/ 1371596 h 4201882"/>
              <a:gd name="connsiteX8" fmla="*/ 5219949 w 9393163"/>
              <a:gd name="connsiteY8" fmla="*/ 1398892 h 4201882"/>
              <a:gd name="connsiteX9" fmla="*/ 5229866 w 9393163"/>
              <a:gd name="connsiteY9" fmla="*/ 270402 h 4201882"/>
              <a:gd name="connsiteX10" fmla="*/ 6303698 w 9393163"/>
              <a:gd name="connsiteY10" fmla="*/ 262384 h 4201882"/>
              <a:gd name="connsiteX11" fmla="*/ 7133772 w 9393163"/>
              <a:gd name="connsiteY11" fmla="*/ 239481 h 4201882"/>
              <a:gd name="connsiteX12" fmla="*/ 8278552 w 9393163"/>
              <a:gd name="connsiteY12" fmla="*/ 253718 h 4201882"/>
              <a:gd name="connsiteX13" fmla="*/ 8427390 w 9393163"/>
              <a:gd name="connsiteY13" fmla="*/ 1327775 h 4201882"/>
              <a:gd name="connsiteX14" fmla="*/ 7191829 w 9393163"/>
              <a:gd name="connsiteY14" fmla="*/ 1400624 h 4201882"/>
              <a:gd name="connsiteX15" fmla="*/ 7133772 w 9393163"/>
              <a:gd name="connsiteY15" fmla="*/ 239481 h 4201882"/>
              <a:gd name="connsiteX16" fmla="*/ 1577230 w 9393163"/>
              <a:gd name="connsiteY16" fmla="*/ 3702269 h 4201882"/>
              <a:gd name="connsiteX17" fmla="*/ 2244992 w 9393163"/>
              <a:gd name="connsiteY17" fmla="*/ 3739316 h 4201882"/>
              <a:gd name="connsiteX18" fmla="*/ 1833995 w 9393163"/>
              <a:gd name="connsiteY18" fmla="*/ 4025979 h 4201882"/>
              <a:gd name="connsiteX19" fmla="*/ 1577230 w 9393163"/>
              <a:gd name="connsiteY19" fmla="*/ 3702269 h 4201882"/>
              <a:gd name="connsiteX20" fmla="*/ 3287486 w 9393163"/>
              <a:gd name="connsiteY20" fmla="*/ 232225 h 4201882"/>
              <a:gd name="connsiteX21" fmla="*/ 4434994 w 9393163"/>
              <a:gd name="connsiteY21" fmla="*/ 222880 h 4201882"/>
              <a:gd name="connsiteX22" fmla="*/ 4767945 w 9393163"/>
              <a:gd name="connsiteY22" fmla="*/ 558795 h 4201882"/>
              <a:gd name="connsiteX23" fmla="*/ 4738917 w 9393163"/>
              <a:gd name="connsiteY23" fmla="*/ 1081309 h 4201882"/>
              <a:gd name="connsiteX24" fmla="*/ 4434994 w 9393163"/>
              <a:gd name="connsiteY24" fmla="*/ 1388196 h 4201882"/>
              <a:gd name="connsiteX25" fmla="*/ 3316515 w 9393163"/>
              <a:gd name="connsiteY25" fmla="*/ 1415138 h 4201882"/>
              <a:gd name="connsiteX26" fmla="*/ 2997203 w 9393163"/>
              <a:gd name="connsiteY26" fmla="*/ 1124852 h 4201882"/>
              <a:gd name="connsiteX27" fmla="*/ 2982689 w 9393163"/>
              <a:gd name="connsiteY27" fmla="*/ 544281 h 4201882"/>
              <a:gd name="connsiteX28" fmla="*/ 3287486 w 9393163"/>
              <a:gd name="connsiteY28" fmla="*/ 232225 h 4201882"/>
              <a:gd name="connsiteX29" fmla="*/ 2390031 w 9393163"/>
              <a:gd name="connsiteY29" fmla="*/ 3714226 h 4201882"/>
              <a:gd name="connsiteX30" fmla="*/ 2213430 w 9393163"/>
              <a:gd name="connsiteY30" fmla="*/ 4187367 h 4201882"/>
              <a:gd name="connsiteX31" fmla="*/ 1560287 w 9393163"/>
              <a:gd name="connsiteY31" fmla="*/ 4201882 h 4201882"/>
              <a:gd name="connsiteX32" fmla="*/ 1296966 w 9393163"/>
              <a:gd name="connsiteY32" fmla="*/ 3724642 h 4201882"/>
              <a:gd name="connsiteX33" fmla="*/ 1925678 w 9393163"/>
              <a:gd name="connsiteY33" fmla="*/ 3125933 h 4201882"/>
              <a:gd name="connsiteX34" fmla="*/ 2390031 w 9393163"/>
              <a:gd name="connsiteY34" fmla="*/ 3714226 h 4201882"/>
              <a:gd name="connsiteX35" fmla="*/ 6596743 w 9393163"/>
              <a:gd name="connsiteY35" fmla="*/ 4042225 h 4201882"/>
              <a:gd name="connsiteX36" fmla="*/ 6380876 w 9393163"/>
              <a:gd name="connsiteY36" fmla="*/ 3607073 h 4201882"/>
              <a:gd name="connsiteX37" fmla="*/ 6957753 w 9393163"/>
              <a:gd name="connsiteY37" fmla="*/ 3737701 h 4201882"/>
              <a:gd name="connsiteX38" fmla="*/ 6596743 w 9393163"/>
              <a:gd name="connsiteY38" fmla="*/ 4042225 h 4201882"/>
              <a:gd name="connsiteX39" fmla="*/ 7232614 w 9393163"/>
              <a:gd name="connsiteY39" fmla="*/ 3685197 h 4201882"/>
              <a:gd name="connsiteX40" fmla="*/ 7032173 w 9393163"/>
              <a:gd name="connsiteY40" fmla="*/ 4158339 h 4201882"/>
              <a:gd name="connsiteX41" fmla="*/ 6306459 w 9393163"/>
              <a:gd name="connsiteY41" fmla="*/ 4201881 h 4201882"/>
              <a:gd name="connsiteX42" fmla="*/ 6042666 w 9393163"/>
              <a:gd name="connsiteY42" fmla="*/ 3691989 h 4201882"/>
              <a:gd name="connsiteX43" fmla="*/ 6642348 w 9393163"/>
              <a:gd name="connsiteY43" fmla="*/ 3071499 h 4201882"/>
              <a:gd name="connsiteX44" fmla="*/ 7232614 w 9393163"/>
              <a:gd name="connsiteY44" fmla="*/ 3685197 h 4201882"/>
              <a:gd name="connsiteX45" fmla="*/ 319315 w 9393163"/>
              <a:gd name="connsiteY45" fmla="*/ 3294739 h 4201882"/>
              <a:gd name="connsiteX46" fmla="*/ 1952174 w 9393163"/>
              <a:gd name="connsiteY46" fmla="*/ 68941 h 4201882"/>
              <a:gd name="connsiteX47" fmla="*/ 8229601 w 9393163"/>
              <a:gd name="connsiteY47" fmla="*/ 0 h 4201882"/>
              <a:gd name="connsiteX48" fmla="*/ 8773887 w 9393163"/>
              <a:gd name="connsiteY48" fmla="*/ 616852 h 4201882"/>
              <a:gd name="connsiteX49" fmla="*/ 8831945 w 9393163"/>
              <a:gd name="connsiteY49" fmla="*/ 3156852 h 4201882"/>
              <a:gd name="connsiteX50" fmla="*/ 8744857 w 9393163"/>
              <a:gd name="connsiteY50" fmla="*/ 3418109 h 4201882"/>
              <a:gd name="connsiteX51" fmla="*/ 7438574 w 9393163"/>
              <a:gd name="connsiteY51" fmla="*/ 3418110 h 4201882"/>
              <a:gd name="connsiteX52" fmla="*/ 5798459 w 9393163"/>
              <a:gd name="connsiteY52" fmla="*/ 3577767 h 4201882"/>
              <a:gd name="connsiteX53" fmla="*/ 2735943 w 9393163"/>
              <a:gd name="connsiteY53" fmla="*/ 3606795 h 4201882"/>
              <a:gd name="connsiteX54" fmla="*/ 1023259 w 9393163"/>
              <a:gd name="connsiteY54" fmla="*/ 3621309 h 4201882"/>
              <a:gd name="connsiteX55" fmla="*/ 384627 w 9393163"/>
              <a:gd name="connsiteY55" fmla="*/ 3603169 h 4201882"/>
              <a:gd name="connsiteX56" fmla="*/ 319315 w 9393163"/>
              <a:gd name="connsiteY56" fmla="*/ 3294739 h 4201882"/>
              <a:gd name="connsiteX0" fmla="*/ 1937657 w 9393163"/>
              <a:gd name="connsiteY0" fmla="*/ 273272 h 4201882"/>
              <a:gd name="connsiteX1" fmla="*/ 2560892 w 9393163"/>
              <a:gd name="connsiteY1" fmla="*/ 273272 h 4201882"/>
              <a:gd name="connsiteX2" fmla="*/ 2808517 w 9393163"/>
              <a:gd name="connsiteY2" fmla="*/ 641571 h 4201882"/>
              <a:gd name="connsiteX3" fmla="*/ 2489203 w 9393163"/>
              <a:gd name="connsiteY3" fmla="*/ 2169880 h 4201882"/>
              <a:gd name="connsiteX4" fmla="*/ 1211063 w 9393163"/>
              <a:gd name="connsiteY4" fmla="*/ 2196824 h 4201882"/>
              <a:gd name="connsiteX5" fmla="*/ 1937657 w 9393163"/>
              <a:gd name="connsiteY5" fmla="*/ 273272 h 4201882"/>
              <a:gd name="connsiteX6" fmla="*/ 6303698 w 9393163"/>
              <a:gd name="connsiteY6" fmla="*/ 262384 h 4201882"/>
              <a:gd name="connsiteX7" fmla="*/ 6320971 w 9393163"/>
              <a:gd name="connsiteY7" fmla="*/ 1371596 h 4201882"/>
              <a:gd name="connsiteX8" fmla="*/ 5219949 w 9393163"/>
              <a:gd name="connsiteY8" fmla="*/ 1398892 h 4201882"/>
              <a:gd name="connsiteX9" fmla="*/ 5229866 w 9393163"/>
              <a:gd name="connsiteY9" fmla="*/ 270402 h 4201882"/>
              <a:gd name="connsiteX10" fmla="*/ 6303698 w 9393163"/>
              <a:gd name="connsiteY10" fmla="*/ 262384 h 4201882"/>
              <a:gd name="connsiteX11" fmla="*/ 7133772 w 9393163"/>
              <a:gd name="connsiteY11" fmla="*/ 239481 h 4201882"/>
              <a:gd name="connsiteX12" fmla="*/ 8278552 w 9393163"/>
              <a:gd name="connsiteY12" fmla="*/ 253718 h 4201882"/>
              <a:gd name="connsiteX13" fmla="*/ 8427390 w 9393163"/>
              <a:gd name="connsiteY13" fmla="*/ 1327775 h 4201882"/>
              <a:gd name="connsiteX14" fmla="*/ 7191829 w 9393163"/>
              <a:gd name="connsiteY14" fmla="*/ 1400624 h 4201882"/>
              <a:gd name="connsiteX15" fmla="*/ 7133772 w 9393163"/>
              <a:gd name="connsiteY15" fmla="*/ 239481 h 4201882"/>
              <a:gd name="connsiteX16" fmla="*/ 1577230 w 9393163"/>
              <a:gd name="connsiteY16" fmla="*/ 3702269 h 4201882"/>
              <a:gd name="connsiteX17" fmla="*/ 2244992 w 9393163"/>
              <a:gd name="connsiteY17" fmla="*/ 3739316 h 4201882"/>
              <a:gd name="connsiteX18" fmla="*/ 1833995 w 9393163"/>
              <a:gd name="connsiteY18" fmla="*/ 4025979 h 4201882"/>
              <a:gd name="connsiteX19" fmla="*/ 1577230 w 9393163"/>
              <a:gd name="connsiteY19" fmla="*/ 3702269 h 4201882"/>
              <a:gd name="connsiteX20" fmla="*/ 3287486 w 9393163"/>
              <a:gd name="connsiteY20" fmla="*/ 232225 h 4201882"/>
              <a:gd name="connsiteX21" fmla="*/ 4434994 w 9393163"/>
              <a:gd name="connsiteY21" fmla="*/ 222880 h 4201882"/>
              <a:gd name="connsiteX22" fmla="*/ 4767945 w 9393163"/>
              <a:gd name="connsiteY22" fmla="*/ 558795 h 4201882"/>
              <a:gd name="connsiteX23" fmla="*/ 4738917 w 9393163"/>
              <a:gd name="connsiteY23" fmla="*/ 1081309 h 4201882"/>
              <a:gd name="connsiteX24" fmla="*/ 4434994 w 9393163"/>
              <a:gd name="connsiteY24" fmla="*/ 1388196 h 4201882"/>
              <a:gd name="connsiteX25" fmla="*/ 3316515 w 9393163"/>
              <a:gd name="connsiteY25" fmla="*/ 1415138 h 4201882"/>
              <a:gd name="connsiteX26" fmla="*/ 2997203 w 9393163"/>
              <a:gd name="connsiteY26" fmla="*/ 1124852 h 4201882"/>
              <a:gd name="connsiteX27" fmla="*/ 2982689 w 9393163"/>
              <a:gd name="connsiteY27" fmla="*/ 544281 h 4201882"/>
              <a:gd name="connsiteX28" fmla="*/ 3287486 w 9393163"/>
              <a:gd name="connsiteY28" fmla="*/ 232225 h 4201882"/>
              <a:gd name="connsiteX29" fmla="*/ 2390031 w 9393163"/>
              <a:gd name="connsiteY29" fmla="*/ 3714226 h 4201882"/>
              <a:gd name="connsiteX30" fmla="*/ 2213430 w 9393163"/>
              <a:gd name="connsiteY30" fmla="*/ 4187367 h 4201882"/>
              <a:gd name="connsiteX31" fmla="*/ 1560287 w 9393163"/>
              <a:gd name="connsiteY31" fmla="*/ 4201882 h 4201882"/>
              <a:gd name="connsiteX32" fmla="*/ 1296966 w 9393163"/>
              <a:gd name="connsiteY32" fmla="*/ 3724642 h 4201882"/>
              <a:gd name="connsiteX33" fmla="*/ 1925678 w 9393163"/>
              <a:gd name="connsiteY33" fmla="*/ 3125933 h 4201882"/>
              <a:gd name="connsiteX34" fmla="*/ 2390031 w 9393163"/>
              <a:gd name="connsiteY34" fmla="*/ 3714226 h 4201882"/>
              <a:gd name="connsiteX35" fmla="*/ 6596743 w 9393163"/>
              <a:gd name="connsiteY35" fmla="*/ 4042225 h 4201882"/>
              <a:gd name="connsiteX36" fmla="*/ 6380876 w 9393163"/>
              <a:gd name="connsiteY36" fmla="*/ 3607073 h 4201882"/>
              <a:gd name="connsiteX37" fmla="*/ 6957753 w 9393163"/>
              <a:gd name="connsiteY37" fmla="*/ 3737701 h 4201882"/>
              <a:gd name="connsiteX38" fmla="*/ 6596743 w 9393163"/>
              <a:gd name="connsiteY38" fmla="*/ 4042225 h 4201882"/>
              <a:gd name="connsiteX39" fmla="*/ 7232614 w 9393163"/>
              <a:gd name="connsiteY39" fmla="*/ 3685197 h 4201882"/>
              <a:gd name="connsiteX40" fmla="*/ 7032173 w 9393163"/>
              <a:gd name="connsiteY40" fmla="*/ 4158339 h 4201882"/>
              <a:gd name="connsiteX41" fmla="*/ 6306459 w 9393163"/>
              <a:gd name="connsiteY41" fmla="*/ 4201881 h 4201882"/>
              <a:gd name="connsiteX42" fmla="*/ 6042666 w 9393163"/>
              <a:gd name="connsiteY42" fmla="*/ 3691989 h 4201882"/>
              <a:gd name="connsiteX43" fmla="*/ 6642348 w 9393163"/>
              <a:gd name="connsiteY43" fmla="*/ 3071499 h 4201882"/>
              <a:gd name="connsiteX44" fmla="*/ 7232614 w 9393163"/>
              <a:gd name="connsiteY44" fmla="*/ 3685197 h 4201882"/>
              <a:gd name="connsiteX45" fmla="*/ 319315 w 9393163"/>
              <a:gd name="connsiteY45" fmla="*/ 3294739 h 4201882"/>
              <a:gd name="connsiteX46" fmla="*/ 1952174 w 9393163"/>
              <a:gd name="connsiteY46" fmla="*/ 68941 h 4201882"/>
              <a:gd name="connsiteX47" fmla="*/ 8229601 w 9393163"/>
              <a:gd name="connsiteY47" fmla="*/ 0 h 4201882"/>
              <a:gd name="connsiteX48" fmla="*/ 8773887 w 9393163"/>
              <a:gd name="connsiteY48" fmla="*/ 616852 h 4201882"/>
              <a:gd name="connsiteX49" fmla="*/ 8831945 w 9393163"/>
              <a:gd name="connsiteY49" fmla="*/ 3156852 h 4201882"/>
              <a:gd name="connsiteX50" fmla="*/ 8744857 w 9393163"/>
              <a:gd name="connsiteY50" fmla="*/ 3418109 h 4201882"/>
              <a:gd name="connsiteX51" fmla="*/ 7438574 w 9393163"/>
              <a:gd name="connsiteY51" fmla="*/ 3418110 h 4201882"/>
              <a:gd name="connsiteX52" fmla="*/ 5798459 w 9393163"/>
              <a:gd name="connsiteY52" fmla="*/ 3577767 h 4201882"/>
              <a:gd name="connsiteX53" fmla="*/ 2735943 w 9393163"/>
              <a:gd name="connsiteY53" fmla="*/ 3606795 h 4201882"/>
              <a:gd name="connsiteX54" fmla="*/ 1023259 w 9393163"/>
              <a:gd name="connsiteY54" fmla="*/ 3621309 h 4201882"/>
              <a:gd name="connsiteX55" fmla="*/ 384627 w 9393163"/>
              <a:gd name="connsiteY55" fmla="*/ 3603169 h 4201882"/>
              <a:gd name="connsiteX56" fmla="*/ 319315 w 9393163"/>
              <a:gd name="connsiteY56" fmla="*/ 3294739 h 4201882"/>
              <a:gd name="connsiteX0" fmla="*/ 1937657 w 9393163"/>
              <a:gd name="connsiteY0" fmla="*/ 273272 h 4201882"/>
              <a:gd name="connsiteX1" fmla="*/ 2560892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287486 w 9393163"/>
              <a:gd name="connsiteY21" fmla="*/ 232225 h 4201882"/>
              <a:gd name="connsiteX22" fmla="*/ 4434994 w 9393163"/>
              <a:gd name="connsiteY22" fmla="*/ 222880 h 4201882"/>
              <a:gd name="connsiteX23" fmla="*/ 4767945 w 9393163"/>
              <a:gd name="connsiteY23" fmla="*/ 558795 h 4201882"/>
              <a:gd name="connsiteX24" fmla="*/ 4738917 w 9393163"/>
              <a:gd name="connsiteY24" fmla="*/ 1081309 h 4201882"/>
              <a:gd name="connsiteX25" fmla="*/ 4434994 w 9393163"/>
              <a:gd name="connsiteY25" fmla="*/ 1388196 h 4201882"/>
              <a:gd name="connsiteX26" fmla="*/ 3316515 w 9393163"/>
              <a:gd name="connsiteY26" fmla="*/ 1415138 h 4201882"/>
              <a:gd name="connsiteX27" fmla="*/ 2997203 w 9393163"/>
              <a:gd name="connsiteY27" fmla="*/ 1124852 h 4201882"/>
              <a:gd name="connsiteX28" fmla="*/ 2982689 w 9393163"/>
              <a:gd name="connsiteY28" fmla="*/ 544281 h 4201882"/>
              <a:gd name="connsiteX29" fmla="*/ 3287486 w 9393163"/>
              <a:gd name="connsiteY29" fmla="*/ 232225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60892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287486 w 9393163"/>
              <a:gd name="connsiteY21" fmla="*/ 232225 h 4201882"/>
              <a:gd name="connsiteX22" fmla="*/ 4434994 w 9393163"/>
              <a:gd name="connsiteY22" fmla="*/ 222880 h 4201882"/>
              <a:gd name="connsiteX23" fmla="*/ 4767945 w 9393163"/>
              <a:gd name="connsiteY23" fmla="*/ 558795 h 4201882"/>
              <a:gd name="connsiteX24" fmla="*/ 4738917 w 9393163"/>
              <a:gd name="connsiteY24" fmla="*/ 1081309 h 4201882"/>
              <a:gd name="connsiteX25" fmla="*/ 4434994 w 9393163"/>
              <a:gd name="connsiteY25" fmla="*/ 1388196 h 4201882"/>
              <a:gd name="connsiteX26" fmla="*/ 3316515 w 9393163"/>
              <a:gd name="connsiteY26" fmla="*/ 1415138 h 4201882"/>
              <a:gd name="connsiteX27" fmla="*/ 2997203 w 9393163"/>
              <a:gd name="connsiteY27" fmla="*/ 1124852 h 4201882"/>
              <a:gd name="connsiteX28" fmla="*/ 2982689 w 9393163"/>
              <a:gd name="connsiteY28" fmla="*/ 544281 h 4201882"/>
              <a:gd name="connsiteX29" fmla="*/ 3287486 w 9393163"/>
              <a:gd name="connsiteY29" fmla="*/ 232225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60892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287486 w 9393163"/>
              <a:gd name="connsiteY21" fmla="*/ 232225 h 4201882"/>
              <a:gd name="connsiteX22" fmla="*/ 4434994 w 9393163"/>
              <a:gd name="connsiteY22" fmla="*/ 222880 h 4201882"/>
              <a:gd name="connsiteX23" fmla="*/ 4767945 w 9393163"/>
              <a:gd name="connsiteY23" fmla="*/ 558795 h 4201882"/>
              <a:gd name="connsiteX24" fmla="*/ 4738917 w 9393163"/>
              <a:gd name="connsiteY24" fmla="*/ 1081309 h 4201882"/>
              <a:gd name="connsiteX25" fmla="*/ 4434994 w 9393163"/>
              <a:gd name="connsiteY25" fmla="*/ 1388196 h 4201882"/>
              <a:gd name="connsiteX26" fmla="*/ 3316515 w 9393163"/>
              <a:gd name="connsiteY26" fmla="*/ 1415138 h 4201882"/>
              <a:gd name="connsiteX27" fmla="*/ 2997203 w 9393163"/>
              <a:gd name="connsiteY27" fmla="*/ 1124852 h 4201882"/>
              <a:gd name="connsiteX28" fmla="*/ 2982689 w 9393163"/>
              <a:gd name="connsiteY28" fmla="*/ 544281 h 4201882"/>
              <a:gd name="connsiteX29" fmla="*/ 3287486 w 9393163"/>
              <a:gd name="connsiteY29" fmla="*/ 232225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60892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287486 w 9393163"/>
              <a:gd name="connsiteY21" fmla="*/ 232225 h 4201882"/>
              <a:gd name="connsiteX22" fmla="*/ 4434994 w 9393163"/>
              <a:gd name="connsiteY22" fmla="*/ 222880 h 4201882"/>
              <a:gd name="connsiteX23" fmla="*/ 4767945 w 9393163"/>
              <a:gd name="connsiteY23" fmla="*/ 558795 h 4201882"/>
              <a:gd name="connsiteX24" fmla="*/ 4738917 w 9393163"/>
              <a:gd name="connsiteY24" fmla="*/ 1081309 h 4201882"/>
              <a:gd name="connsiteX25" fmla="*/ 4434994 w 9393163"/>
              <a:gd name="connsiteY25" fmla="*/ 1388196 h 4201882"/>
              <a:gd name="connsiteX26" fmla="*/ 3316515 w 9393163"/>
              <a:gd name="connsiteY26" fmla="*/ 1415138 h 4201882"/>
              <a:gd name="connsiteX27" fmla="*/ 2997203 w 9393163"/>
              <a:gd name="connsiteY27" fmla="*/ 1124852 h 4201882"/>
              <a:gd name="connsiteX28" fmla="*/ 2982689 w 9393163"/>
              <a:gd name="connsiteY28" fmla="*/ 544281 h 4201882"/>
              <a:gd name="connsiteX29" fmla="*/ 3287486 w 9393163"/>
              <a:gd name="connsiteY29" fmla="*/ 232225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60892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287486 w 9393163"/>
              <a:gd name="connsiteY21" fmla="*/ 232225 h 4201882"/>
              <a:gd name="connsiteX22" fmla="*/ 4434994 w 9393163"/>
              <a:gd name="connsiteY22" fmla="*/ 222880 h 4201882"/>
              <a:gd name="connsiteX23" fmla="*/ 4767945 w 9393163"/>
              <a:gd name="connsiteY23" fmla="*/ 558795 h 4201882"/>
              <a:gd name="connsiteX24" fmla="*/ 4738917 w 9393163"/>
              <a:gd name="connsiteY24" fmla="*/ 1081309 h 4201882"/>
              <a:gd name="connsiteX25" fmla="*/ 4434994 w 9393163"/>
              <a:gd name="connsiteY25" fmla="*/ 1388196 h 4201882"/>
              <a:gd name="connsiteX26" fmla="*/ 3316515 w 9393163"/>
              <a:gd name="connsiteY26" fmla="*/ 1415138 h 4201882"/>
              <a:gd name="connsiteX27" fmla="*/ 2997203 w 9393163"/>
              <a:gd name="connsiteY27" fmla="*/ 1124852 h 4201882"/>
              <a:gd name="connsiteX28" fmla="*/ 2982689 w 9393163"/>
              <a:gd name="connsiteY28" fmla="*/ 544281 h 4201882"/>
              <a:gd name="connsiteX29" fmla="*/ 3287486 w 9393163"/>
              <a:gd name="connsiteY29" fmla="*/ 232225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287486 w 9393163"/>
              <a:gd name="connsiteY21" fmla="*/ 232225 h 4201882"/>
              <a:gd name="connsiteX22" fmla="*/ 4434994 w 9393163"/>
              <a:gd name="connsiteY22" fmla="*/ 222880 h 4201882"/>
              <a:gd name="connsiteX23" fmla="*/ 4767945 w 9393163"/>
              <a:gd name="connsiteY23" fmla="*/ 558795 h 4201882"/>
              <a:gd name="connsiteX24" fmla="*/ 4738917 w 9393163"/>
              <a:gd name="connsiteY24" fmla="*/ 1081309 h 4201882"/>
              <a:gd name="connsiteX25" fmla="*/ 4434994 w 9393163"/>
              <a:gd name="connsiteY25" fmla="*/ 1388196 h 4201882"/>
              <a:gd name="connsiteX26" fmla="*/ 3316515 w 9393163"/>
              <a:gd name="connsiteY26" fmla="*/ 1415138 h 4201882"/>
              <a:gd name="connsiteX27" fmla="*/ 2997203 w 9393163"/>
              <a:gd name="connsiteY27" fmla="*/ 1124852 h 4201882"/>
              <a:gd name="connsiteX28" fmla="*/ 2982689 w 9393163"/>
              <a:gd name="connsiteY28" fmla="*/ 544281 h 4201882"/>
              <a:gd name="connsiteX29" fmla="*/ 3287486 w 9393163"/>
              <a:gd name="connsiteY29" fmla="*/ 232225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287486 w 9393163"/>
              <a:gd name="connsiteY21" fmla="*/ 232225 h 4201882"/>
              <a:gd name="connsiteX22" fmla="*/ 4434994 w 9393163"/>
              <a:gd name="connsiteY22" fmla="*/ 222880 h 4201882"/>
              <a:gd name="connsiteX23" fmla="*/ 4767945 w 9393163"/>
              <a:gd name="connsiteY23" fmla="*/ 558795 h 4201882"/>
              <a:gd name="connsiteX24" fmla="*/ 4738917 w 9393163"/>
              <a:gd name="connsiteY24" fmla="*/ 1081309 h 4201882"/>
              <a:gd name="connsiteX25" fmla="*/ 4434994 w 9393163"/>
              <a:gd name="connsiteY25" fmla="*/ 1388196 h 4201882"/>
              <a:gd name="connsiteX26" fmla="*/ 3316515 w 9393163"/>
              <a:gd name="connsiteY26" fmla="*/ 1415138 h 4201882"/>
              <a:gd name="connsiteX27" fmla="*/ 2997203 w 9393163"/>
              <a:gd name="connsiteY27" fmla="*/ 1124852 h 4201882"/>
              <a:gd name="connsiteX28" fmla="*/ 2982689 w 9393163"/>
              <a:gd name="connsiteY28" fmla="*/ 544281 h 4201882"/>
              <a:gd name="connsiteX29" fmla="*/ 3287486 w 9393163"/>
              <a:gd name="connsiteY29" fmla="*/ 232225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287486 w 9393163"/>
              <a:gd name="connsiteY21" fmla="*/ 232225 h 4201882"/>
              <a:gd name="connsiteX22" fmla="*/ 4434994 w 9393163"/>
              <a:gd name="connsiteY22" fmla="*/ 222880 h 4201882"/>
              <a:gd name="connsiteX23" fmla="*/ 4767945 w 9393163"/>
              <a:gd name="connsiteY23" fmla="*/ 558795 h 4201882"/>
              <a:gd name="connsiteX24" fmla="*/ 4738917 w 9393163"/>
              <a:gd name="connsiteY24" fmla="*/ 1081309 h 4201882"/>
              <a:gd name="connsiteX25" fmla="*/ 4434994 w 9393163"/>
              <a:gd name="connsiteY25" fmla="*/ 1388196 h 4201882"/>
              <a:gd name="connsiteX26" fmla="*/ 3316515 w 9393163"/>
              <a:gd name="connsiteY26" fmla="*/ 1415138 h 4201882"/>
              <a:gd name="connsiteX27" fmla="*/ 2997203 w 9393163"/>
              <a:gd name="connsiteY27" fmla="*/ 1124852 h 4201882"/>
              <a:gd name="connsiteX28" fmla="*/ 2982689 w 9393163"/>
              <a:gd name="connsiteY28" fmla="*/ 544281 h 4201882"/>
              <a:gd name="connsiteX29" fmla="*/ 3287486 w 9393163"/>
              <a:gd name="connsiteY29" fmla="*/ 232225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287486 w 9393163"/>
              <a:gd name="connsiteY21" fmla="*/ 232225 h 4201882"/>
              <a:gd name="connsiteX22" fmla="*/ 4231794 w 9393163"/>
              <a:gd name="connsiteY22" fmla="*/ 273272 h 4201882"/>
              <a:gd name="connsiteX23" fmla="*/ 4767945 w 9393163"/>
              <a:gd name="connsiteY23" fmla="*/ 558795 h 4201882"/>
              <a:gd name="connsiteX24" fmla="*/ 4738917 w 9393163"/>
              <a:gd name="connsiteY24" fmla="*/ 1081309 h 4201882"/>
              <a:gd name="connsiteX25" fmla="*/ 4434994 w 9393163"/>
              <a:gd name="connsiteY25" fmla="*/ 1388196 h 4201882"/>
              <a:gd name="connsiteX26" fmla="*/ 3316515 w 9393163"/>
              <a:gd name="connsiteY26" fmla="*/ 1415138 h 4201882"/>
              <a:gd name="connsiteX27" fmla="*/ 2997203 w 9393163"/>
              <a:gd name="connsiteY27" fmla="*/ 1124852 h 4201882"/>
              <a:gd name="connsiteX28" fmla="*/ 2982689 w 9393163"/>
              <a:gd name="connsiteY28" fmla="*/ 544281 h 4201882"/>
              <a:gd name="connsiteX29" fmla="*/ 3287486 w 9393163"/>
              <a:gd name="connsiteY29" fmla="*/ 232225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331029 w 9393163"/>
              <a:gd name="connsiteY21" fmla="*/ 273272 h 4201882"/>
              <a:gd name="connsiteX22" fmla="*/ 4231794 w 9393163"/>
              <a:gd name="connsiteY22" fmla="*/ 273272 h 4201882"/>
              <a:gd name="connsiteX23" fmla="*/ 4767945 w 9393163"/>
              <a:gd name="connsiteY23" fmla="*/ 558795 h 4201882"/>
              <a:gd name="connsiteX24" fmla="*/ 4738917 w 9393163"/>
              <a:gd name="connsiteY24" fmla="*/ 1081309 h 4201882"/>
              <a:gd name="connsiteX25" fmla="*/ 4434994 w 9393163"/>
              <a:gd name="connsiteY25" fmla="*/ 1388196 h 4201882"/>
              <a:gd name="connsiteX26" fmla="*/ 3316515 w 9393163"/>
              <a:gd name="connsiteY26" fmla="*/ 1415138 h 4201882"/>
              <a:gd name="connsiteX27" fmla="*/ 2997203 w 9393163"/>
              <a:gd name="connsiteY27" fmla="*/ 1124852 h 4201882"/>
              <a:gd name="connsiteX28" fmla="*/ 2982689 w 9393163"/>
              <a:gd name="connsiteY28" fmla="*/ 544281 h 4201882"/>
              <a:gd name="connsiteX29" fmla="*/ 3331029 w 9393163"/>
              <a:gd name="connsiteY29" fmla="*/ 273272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331029 w 9393163"/>
              <a:gd name="connsiteY21" fmla="*/ 273272 h 4201882"/>
              <a:gd name="connsiteX22" fmla="*/ 4231794 w 9393163"/>
              <a:gd name="connsiteY22" fmla="*/ 273272 h 4201882"/>
              <a:gd name="connsiteX23" fmla="*/ 4767945 w 9393163"/>
              <a:gd name="connsiteY23" fmla="*/ 558795 h 4201882"/>
              <a:gd name="connsiteX24" fmla="*/ 4738917 w 9393163"/>
              <a:gd name="connsiteY24" fmla="*/ 1081309 h 4201882"/>
              <a:gd name="connsiteX25" fmla="*/ 4434994 w 9393163"/>
              <a:gd name="connsiteY25" fmla="*/ 1388196 h 4201882"/>
              <a:gd name="connsiteX26" fmla="*/ 3316515 w 9393163"/>
              <a:gd name="connsiteY26" fmla="*/ 1415138 h 4201882"/>
              <a:gd name="connsiteX27" fmla="*/ 2997203 w 9393163"/>
              <a:gd name="connsiteY27" fmla="*/ 1124852 h 4201882"/>
              <a:gd name="connsiteX28" fmla="*/ 2982689 w 9393163"/>
              <a:gd name="connsiteY28" fmla="*/ 544281 h 4201882"/>
              <a:gd name="connsiteX29" fmla="*/ 3331029 w 9393163"/>
              <a:gd name="connsiteY29" fmla="*/ 273272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331029 w 9393163"/>
              <a:gd name="connsiteY21" fmla="*/ 273272 h 4201882"/>
              <a:gd name="connsiteX22" fmla="*/ 4231794 w 9393163"/>
              <a:gd name="connsiteY22" fmla="*/ 273272 h 4201882"/>
              <a:gd name="connsiteX23" fmla="*/ 4767945 w 9393163"/>
              <a:gd name="connsiteY23" fmla="*/ 558795 h 4201882"/>
              <a:gd name="connsiteX24" fmla="*/ 4738917 w 9393163"/>
              <a:gd name="connsiteY24" fmla="*/ 1081309 h 4201882"/>
              <a:gd name="connsiteX25" fmla="*/ 4434994 w 9393163"/>
              <a:gd name="connsiteY25" fmla="*/ 1388196 h 4201882"/>
              <a:gd name="connsiteX26" fmla="*/ 3316515 w 9393163"/>
              <a:gd name="connsiteY26" fmla="*/ 1415138 h 4201882"/>
              <a:gd name="connsiteX27" fmla="*/ 2997203 w 9393163"/>
              <a:gd name="connsiteY27" fmla="*/ 1124852 h 4201882"/>
              <a:gd name="connsiteX28" fmla="*/ 2982689 w 9393163"/>
              <a:gd name="connsiteY28" fmla="*/ 544281 h 4201882"/>
              <a:gd name="connsiteX29" fmla="*/ 3331029 w 9393163"/>
              <a:gd name="connsiteY29" fmla="*/ 273272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331029 w 9393163"/>
              <a:gd name="connsiteY21" fmla="*/ 273272 h 4201882"/>
              <a:gd name="connsiteX22" fmla="*/ 4231794 w 9393163"/>
              <a:gd name="connsiteY22" fmla="*/ 273272 h 4201882"/>
              <a:gd name="connsiteX23" fmla="*/ 4767945 w 9393163"/>
              <a:gd name="connsiteY23" fmla="*/ 558795 h 4201882"/>
              <a:gd name="connsiteX24" fmla="*/ 4738917 w 9393163"/>
              <a:gd name="connsiteY24" fmla="*/ 1081309 h 4201882"/>
              <a:gd name="connsiteX25" fmla="*/ 4434994 w 9393163"/>
              <a:gd name="connsiteY25" fmla="*/ 1388196 h 4201882"/>
              <a:gd name="connsiteX26" fmla="*/ 3316515 w 9393163"/>
              <a:gd name="connsiteY26" fmla="*/ 1415138 h 4201882"/>
              <a:gd name="connsiteX27" fmla="*/ 2997203 w 9393163"/>
              <a:gd name="connsiteY27" fmla="*/ 1124852 h 4201882"/>
              <a:gd name="connsiteX28" fmla="*/ 3041199 w 9393163"/>
              <a:gd name="connsiteY28" fmla="*/ 515252 h 4201882"/>
              <a:gd name="connsiteX29" fmla="*/ 3331029 w 9393163"/>
              <a:gd name="connsiteY29" fmla="*/ 273272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331029 w 9393163"/>
              <a:gd name="connsiteY21" fmla="*/ 273272 h 4201882"/>
              <a:gd name="connsiteX22" fmla="*/ 4231794 w 9393163"/>
              <a:gd name="connsiteY22" fmla="*/ 273272 h 4201882"/>
              <a:gd name="connsiteX23" fmla="*/ 4767945 w 9393163"/>
              <a:gd name="connsiteY23" fmla="*/ 558795 h 4201882"/>
              <a:gd name="connsiteX24" fmla="*/ 4738917 w 9393163"/>
              <a:gd name="connsiteY24" fmla="*/ 1081309 h 4201882"/>
              <a:gd name="connsiteX25" fmla="*/ 4434994 w 9393163"/>
              <a:gd name="connsiteY25" fmla="*/ 1388196 h 4201882"/>
              <a:gd name="connsiteX26" fmla="*/ 3316515 w 9393163"/>
              <a:gd name="connsiteY26" fmla="*/ 1415138 h 4201882"/>
              <a:gd name="connsiteX27" fmla="*/ 3041199 w 9393163"/>
              <a:gd name="connsiteY27" fmla="*/ 1139367 h 4201882"/>
              <a:gd name="connsiteX28" fmla="*/ 3041199 w 9393163"/>
              <a:gd name="connsiteY28" fmla="*/ 515252 h 4201882"/>
              <a:gd name="connsiteX29" fmla="*/ 3331029 w 9393163"/>
              <a:gd name="connsiteY29" fmla="*/ 273272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331029 w 9393163"/>
              <a:gd name="connsiteY21" fmla="*/ 273272 h 4201882"/>
              <a:gd name="connsiteX22" fmla="*/ 4231794 w 9393163"/>
              <a:gd name="connsiteY22" fmla="*/ 273272 h 4201882"/>
              <a:gd name="connsiteX23" fmla="*/ 4767945 w 9393163"/>
              <a:gd name="connsiteY23" fmla="*/ 558795 h 4201882"/>
              <a:gd name="connsiteX24" fmla="*/ 4738917 w 9393163"/>
              <a:gd name="connsiteY24" fmla="*/ 1081309 h 4201882"/>
              <a:gd name="connsiteX25" fmla="*/ 4434994 w 9393163"/>
              <a:gd name="connsiteY25" fmla="*/ 1388196 h 4201882"/>
              <a:gd name="connsiteX26" fmla="*/ 3316515 w 9393163"/>
              <a:gd name="connsiteY26" fmla="*/ 1415138 h 4201882"/>
              <a:gd name="connsiteX27" fmla="*/ 3011037 w 9393163"/>
              <a:gd name="connsiteY27" fmla="*/ 1124853 h 4201882"/>
              <a:gd name="connsiteX28" fmla="*/ 3041199 w 9393163"/>
              <a:gd name="connsiteY28" fmla="*/ 515252 h 4201882"/>
              <a:gd name="connsiteX29" fmla="*/ 3331029 w 9393163"/>
              <a:gd name="connsiteY29" fmla="*/ 273272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331029 w 9393163"/>
              <a:gd name="connsiteY21" fmla="*/ 273272 h 4201882"/>
              <a:gd name="connsiteX22" fmla="*/ 4231794 w 9393163"/>
              <a:gd name="connsiteY22" fmla="*/ 273272 h 4201882"/>
              <a:gd name="connsiteX23" fmla="*/ 4767945 w 9393163"/>
              <a:gd name="connsiteY23" fmla="*/ 558795 h 4201882"/>
              <a:gd name="connsiteX24" fmla="*/ 4738917 w 9393163"/>
              <a:gd name="connsiteY24" fmla="*/ 1081309 h 4201882"/>
              <a:gd name="connsiteX25" fmla="*/ 4434994 w 9393163"/>
              <a:gd name="connsiteY25" fmla="*/ 1388196 h 4201882"/>
              <a:gd name="connsiteX26" fmla="*/ 3316515 w 9393163"/>
              <a:gd name="connsiteY26" fmla="*/ 1415138 h 4201882"/>
              <a:gd name="connsiteX27" fmla="*/ 3011037 w 9393163"/>
              <a:gd name="connsiteY27" fmla="*/ 1124853 h 4201882"/>
              <a:gd name="connsiteX28" fmla="*/ 3011037 w 9393163"/>
              <a:gd name="connsiteY28" fmla="*/ 515252 h 4201882"/>
              <a:gd name="connsiteX29" fmla="*/ 3331029 w 9393163"/>
              <a:gd name="connsiteY29" fmla="*/ 273272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331029 w 9393163"/>
              <a:gd name="connsiteY21" fmla="*/ 273272 h 4201882"/>
              <a:gd name="connsiteX22" fmla="*/ 4231794 w 9393163"/>
              <a:gd name="connsiteY22" fmla="*/ 273272 h 4201882"/>
              <a:gd name="connsiteX23" fmla="*/ 4767945 w 9393163"/>
              <a:gd name="connsiteY23" fmla="*/ 558795 h 4201882"/>
              <a:gd name="connsiteX24" fmla="*/ 4738917 w 9393163"/>
              <a:gd name="connsiteY24" fmla="*/ 1081309 h 4201882"/>
              <a:gd name="connsiteX25" fmla="*/ 4434994 w 9393163"/>
              <a:gd name="connsiteY25" fmla="*/ 1388196 h 4201882"/>
              <a:gd name="connsiteX26" fmla="*/ 3316515 w 9393163"/>
              <a:gd name="connsiteY26" fmla="*/ 1415138 h 4201882"/>
              <a:gd name="connsiteX27" fmla="*/ 3011037 w 9393163"/>
              <a:gd name="connsiteY27" fmla="*/ 1124853 h 4201882"/>
              <a:gd name="connsiteX28" fmla="*/ 3011037 w 9393163"/>
              <a:gd name="connsiteY28" fmla="*/ 515252 h 4201882"/>
              <a:gd name="connsiteX29" fmla="*/ 3331029 w 9393163"/>
              <a:gd name="connsiteY29" fmla="*/ 273272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331029 w 9393163"/>
              <a:gd name="connsiteY21" fmla="*/ 273272 h 4201882"/>
              <a:gd name="connsiteX22" fmla="*/ 4231794 w 9393163"/>
              <a:gd name="connsiteY22" fmla="*/ 273272 h 4201882"/>
              <a:gd name="connsiteX23" fmla="*/ 4767945 w 9393163"/>
              <a:gd name="connsiteY23" fmla="*/ 558795 h 4201882"/>
              <a:gd name="connsiteX24" fmla="*/ 4738917 w 9393163"/>
              <a:gd name="connsiteY24" fmla="*/ 1081309 h 4201882"/>
              <a:gd name="connsiteX25" fmla="*/ 4434994 w 9393163"/>
              <a:gd name="connsiteY25" fmla="*/ 1388196 h 4201882"/>
              <a:gd name="connsiteX26" fmla="*/ 3316515 w 9393163"/>
              <a:gd name="connsiteY26" fmla="*/ 1415138 h 4201882"/>
              <a:gd name="connsiteX27" fmla="*/ 3011037 w 9393163"/>
              <a:gd name="connsiteY27" fmla="*/ 1124853 h 4201882"/>
              <a:gd name="connsiteX28" fmla="*/ 3011037 w 9393163"/>
              <a:gd name="connsiteY28" fmla="*/ 515252 h 4201882"/>
              <a:gd name="connsiteX29" fmla="*/ 3331029 w 9393163"/>
              <a:gd name="connsiteY29" fmla="*/ 273272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331029 w 9393163"/>
              <a:gd name="connsiteY21" fmla="*/ 273272 h 4201882"/>
              <a:gd name="connsiteX22" fmla="*/ 4231794 w 9393163"/>
              <a:gd name="connsiteY22" fmla="*/ 273272 h 4201882"/>
              <a:gd name="connsiteX23" fmla="*/ 4767945 w 9393163"/>
              <a:gd name="connsiteY23" fmla="*/ 558795 h 4201882"/>
              <a:gd name="connsiteX24" fmla="*/ 4752524 w 9393163"/>
              <a:gd name="connsiteY24" fmla="*/ 1124852 h 4201882"/>
              <a:gd name="connsiteX25" fmla="*/ 4434994 w 9393163"/>
              <a:gd name="connsiteY25" fmla="*/ 1388196 h 4201882"/>
              <a:gd name="connsiteX26" fmla="*/ 3316515 w 9393163"/>
              <a:gd name="connsiteY26" fmla="*/ 1415138 h 4201882"/>
              <a:gd name="connsiteX27" fmla="*/ 3011037 w 9393163"/>
              <a:gd name="connsiteY27" fmla="*/ 1124853 h 4201882"/>
              <a:gd name="connsiteX28" fmla="*/ 3011037 w 9393163"/>
              <a:gd name="connsiteY28" fmla="*/ 515252 h 4201882"/>
              <a:gd name="connsiteX29" fmla="*/ 3331029 w 9393163"/>
              <a:gd name="connsiteY29" fmla="*/ 273272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331029 w 9393163"/>
              <a:gd name="connsiteY21" fmla="*/ 273272 h 4201882"/>
              <a:gd name="connsiteX22" fmla="*/ 4231794 w 9393163"/>
              <a:gd name="connsiteY22" fmla="*/ 273272 h 4201882"/>
              <a:gd name="connsiteX23" fmla="*/ 4752524 w 9393163"/>
              <a:gd name="connsiteY23" fmla="*/ 558795 h 4201882"/>
              <a:gd name="connsiteX24" fmla="*/ 4752524 w 9393163"/>
              <a:gd name="connsiteY24" fmla="*/ 1124852 h 4201882"/>
              <a:gd name="connsiteX25" fmla="*/ 4434994 w 9393163"/>
              <a:gd name="connsiteY25" fmla="*/ 1388196 h 4201882"/>
              <a:gd name="connsiteX26" fmla="*/ 3316515 w 9393163"/>
              <a:gd name="connsiteY26" fmla="*/ 1415138 h 4201882"/>
              <a:gd name="connsiteX27" fmla="*/ 3011037 w 9393163"/>
              <a:gd name="connsiteY27" fmla="*/ 1124853 h 4201882"/>
              <a:gd name="connsiteX28" fmla="*/ 3011037 w 9393163"/>
              <a:gd name="connsiteY28" fmla="*/ 515252 h 4201882"/>
              <a:gd name="connsiteX29" fmla="*/ 3331029 w 9393163"/>
              <a:gd name="connsiteY29" fmla="*/ 273272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331029 w 9393163"/>
              <a:gd name="connsiteY21" fmla="*/ 273272 h 4201882"/>
              <a:gd name="connsiteX22" fmla="*/ 4231794 w 9393163"/>
              <a:gd name="connsiteY22" fmla="*/ 273272 h 4201882"/>
              <a:gd name="connsiteX23" fmla="*/ 4752524 w 9393163"/>
              <a:gd name="connsiteY23" fmla="*/ 558795 h 4201882"/>
              <a:gd name="connsiteX24" fmla="*/ 4752524 w 9393163"/>
              <a:gd name="connsiteY24" fmla="*/ 1124852 h 4201882"/>
              <a:gd name="connsiteX25" fmla="*/ 4434994 w 9393163"/>
              <a:gd name="connsiteY25" fmla="*/ 1388196 h 4201882"/>
              <a:gd name="connsiteX26" fmla="*/ 3316515 w 9393163"/>
              <a:gd name="connsiteY26" fmla="*/ 1415138 h 4201882"/>
              <a:gd name="connsiteX27" fmla="*/ 3011037 w 9393163"/>
              <a:gd name="connsiteY27" fmla="*/ 1124853 h 4201882"/>
              <a:gd name="connsiteX28" fmla="*/ 3011037 w 9393163"/>
              <a:gd name="connsiteY28" fmla="*/ 515252 h 4201882"/>
              <a:gd name="connsiteX29" fmla="*/ 3331029 w 9393163"/>
              <a:gd name="connsiteY29" fmla="*/ 273272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331029 w 9393163"/>
              <a:gd name="connsiteY21" fmla="*/ 273272 h 4201882"/>
              <a:gd name="connsiteX22" fmla="*/ 4231794 w 9393163"/>
              <a:gd name="connsiteY22" fmla="*/ 273272 h 4201882"/>
              <a:gd name="connsiteX23" fmla="*/ 4752524 w 9393163"/>
              <a:gd name="connsiteY23" fmla="*/ 558795 h 4201882"/>
              <a:gd name="connsiteX24" fmla="*/ 4752524 w 9393163"/>
              <a:gd name="connsiteY24" fmla="*/ 1124852 h 4201882"/>
              <a:gd name="connsiteX25" fmla="*/ 4434994 w 9393163"/>
              <a:gd name="connsiteY25" fmla="*/ 1388196 h 4201882"/>
              <a:gd name="connsiteX26" fmla="*/ 3316515 w 9393163"/>
              <a:gd name="connsiteY26" fmla="*/ 1415138 h 4201882"/>
              <a:gd name="connsiteX27" fmla="*/ 3011037 w 9393163"/>
              <a:gd name="connsiteY27" fmla="*/ 1124853 h 4201882"/>
              <a:gd name="connsiteX28" fmla="*/ 3011037 w 9393163"/>
              <a:gd name="connsiteY28" fmla="*/ 515252 h 4201882"/>
              <a:gd name="connsiteX29" fmla="*/ 3331029 w 9393163"/>
              <a:gd name="connsiteY29" fmla="*/ 273272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331029 w 9393163"/>
              <a:gd name="connsiteY21" fmla="*/ 273272 h 4201882"/>
              <a:gd name="connsiteX22" fmla="*/ 4231794 w 9393163"/>
              <a:gd name="connsiteY22" fmla="*/ 273272 h 4201882"/>
              <a:gd name="connsiteX23" fmla="*/ 4752524 w 9393163"/>
              <a:gd name="connsiteY23" fmla="*/ 558795 h 4201882"/>
              <a:gd name="connsiteX24" fmla="*/ 4752524 w 9393163"/>
              <a:gd name="connsiteY24" fmla="*/ 1124852 h 4201882"/>
              <a:gd name="connsiteX25" fmla="*/ 4434994 w 9393163"/>
              <a:gd name="connsiteY25" fmla="*/ 1388196 h 4201882"/>
              <a:gd name="connsiteX26" fmla="*/ 3316515 w 9393163"/>
              <a:gd name="connsiteY26" fmla="*/ 1415138 h 4201882"/>
              <a:gd name="connsiteX27" fmla="*/ 3011037 w 9393163"/>
              <a:gd name="connsiteY27" fmla="*/ 1124853 h 4201882"/>
              <a:gd name="connsiteX28" fmla="*/ 3011037 w 9393163"/>
              <a:gd name="connsiteY28" fmla="*/ 515252 h 4201882"/>
              <a:gd name="connsiteX29" fmla="*/ 3331029 w 9393163"/>
              <a:gd name="connsiteY29" fmla="*/ 273272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331029 w 9393163"/>
              <a:gd name="connsiteY21" fmla="*/ 273272 h 4201882"/>
              <a:gd name="connsiteX22" fmla="*/ 4231794 w 9393163"/>
              <a:gd name="connsiteY22" fmla="*/ 273272 h 4201882"/>
              <a:gd name="connsiteX23" fmla="*/ 4752524 w 9393163"/>
              <a:gd name="connsiteY23" fmla="*/ 616853 h 4201882"/>
              <a:gd name="connsiteX24" fmla="*/ 4752524 w 9393163"/>
              <a:gd name="connsiteY24" fmla="*/ 1124852 h 4201882"/>
              <a:gd name="connsiteX25" fmla="*/ 4434994 w 9393163"/>
              <a:gd name="connsiteY25" fmla="*/ 1388196 h 4201882"/>
              <a:gd name="connsiteX26" fmla="*/ 3316515 w 9393163"/>
              <a:gd name="connsiteY26" fmla="*/ 1415138 h 4201882"/>
              <a:gd name="connsiteX27" fmla="*/ 3011037 w 9393163"/>
              <a:gd name="connsiteY27" fmla="*/ 1124853 h 4201882"/>
              <a:gd name="connsiteX28" fmla="*/ 3011037 w 9393163"/>
              <a:gd name="connsiteY28" fmla="*/ 515252 h 4201882"/>
              <a:gd name="connsiteX29" fmla="*/ 3331029 w 9393163"/>
              <a:gd name="connsiteY29" fmla="*/ 273272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331029 w 9393163"/>
              <a:gd name="connsiteY21" fmla="*/ 273272 h 4201882"/>
              <a:gd name="connsiteX22" fmla="*/ 4231794 w 9393163"/>
              <a:gd name="connsiteY22" fmla="*/ 273272 h 4201882"/>
              <a:gd name="connsiteX23" fmla="*/ 4752524 w 9393163"/>
              <a:gd name="connsiteY23" fmla="*/ 616853 h 4201882"/>
              <a:gd name="connsiteX24" fmla="*/ 4752524 w 9393163"/>
              <a:gd name="connsiteY24" fmla="*/ 1124852 h 4201882"/>
              <a:gd name="connsiteX25" fmla="*/ 4434994 w 9393163"/>
              <a:gd name="connsiteY25" fmla="*/ 1388196 h 4201882"/>
              <a:gd name="connsiteX26" fmla="*/ 3316515 w 9393163"/>
              <a:gd name="connsiteY26" fmla="*/ 1415138 h 4201882"/>
              <a:gd name="connsiteX27" fmla="*/ 3011037 w 9393163"/>
              <a:gd name="connsiteY27" fmla="*/ 1124853 h 4201882"/>
              <a:gd name="connsiteX28" fmla="*/ 3011037 w 9393163"/>
              <a:gd name="connsiteY28" fmla="*/ 515252 h 4201882"/>
              <a:gd name="connsiteX29" fmla="*/ 3331029 w 9393163"/>
              <a:gd name="connsiteY29" fmla="*/ 273272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331029 w 9393163"/>
              <a:gd name="connsiteY21" fmla="*/ 273272 h 4201882"/>
              <a:gd name="connsiteX22" fmla="*/ 4231794 w 9393163"/>
              <a:gd name="connsiteY22" fmla="*/ 273272 h 4201882"/>
              <a:gd name="connsiteX23" fmla="*/ 4752524 w 9393163"/>
              <a:gd name="connsiteY23" fmla="*/ 616853 h 4201882"/>
              <a:gd name="connsiteX24" fmla="*/ 4752524 w 9393163"/>
              <a:gd name="connsiteY24" fmla="*/ 1124852 h 4201882"/>
              <a:gd name="connsiteX25" fmla="*/ 4434994 w 9393163"/>
              <a:gd name="connsiteY25" fmla="*/ 1388196 h 4201882"/>
              <a:gd name="connsiteX26" fmla="*/ 3316515 w 9393163"/>
              <a:gd name="connsiteY26" fmla="*/ 1415138 h 4201882"/>
              <a:gd name="connsiteX27" fmla="*/ 3011037 w 9393163"/>
              <a:gd name="connsiteY27" fmla="*/ 1124853 h 4201882"/>
              <a:gd name="connsiteX28" fmla="*/ 3011037 w 9393163"/>
              <a:gd name="connsiteY28" fmla="*/ 515252 h 4201882"/>
              <a:gd name="connsiteX29" fmla="*/ 3331029 w 9393163"/>
              <a:gd name="connsiteY29" fmla="*/ 273272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331029 w 9393163"/>
              <a:gd name="connsiteY21" fmla="*/ 273272 h 4201882"/>
              <a:gd name="connsiteX22" fmla="*/ 4231794 w 9393163"/>
              <a:gd name="connsiteY22" fmla="*/ 273272 h 4201882"/>
              <a:gd name="connsiteX23" fmla="*/ 4752524 w 9393163"/>
              <a:gd name="connsiteY23" fmla="*/ 616853 h 4201882"/>
              <a:gd name="connsiteX24" fmla="*/ 4752524 w 9393163"/>
              <a:gd name="connsiteY24" fmla="*/ 1124852 h 4201882"/>
              <a:gd name="connsiteX25" fmla="*/ 4434994 w 9393163"/>
              <a:gd name="connsiteY25" fmla="*/ 1388196 h 4201882"/>
              <a:gd name="connsiteX26" fmla="*/ 3316515 w 9393163"/>
              <a:gd name="connsiteY26" fmla="*/ 1415138 h 4201882"/>
              <a:gd name="connsiteX27" fmla="*/ 3011037 w 9393163"/>
              <a:gd name="connsiteY27" fmla="*/ 1124853 h 4201882"/>
              <a:gd name="connsiteX28" fmla="*/ 3011037 w 9393163"/>
              <a:gd name="connsiteY28" fmla="*/ 515252 h 4201882"/>
              <a:gd name="connsiteX29" fmla="*/ 3331029 w 9393163"/>
              <a:gd name="connsiteY29" fmla="*/ 273272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4955724 w 9393163"/>
              <a:gd name="connsiteY10" fmla="*/ 587823 h 4201882"/>
              <a:gd name="connsiteX11" fmla="*/ 5229866 w 9393163"/>
              <a:gd name="connsiteY11" fmla="*/ 270402 h 4201882"/>
              <a:gd name="connsiteX12" fmla="*/ 6303698 w 9393163"/>
              <a:gd name="connsiteY12" fmla="*/ 262384 h 4201882"/>
              <a:gd name="connsiteX13" fmla="*/ 7133772 w 9393163"/>
              <a:gd name="connsiteY13" fmla="*/ 239481 h 4201882"/>
              <a:gd name="connsiteX14" fmla="*/ 8278552 w 9393163"/>
              <a:gd name="connsiteY14" fmla="*/ 253718 h 4201882"/>
              <a:gd name="connsiteX15" fmla="*/ 8427390 w 9393163"/>
              <a:gd name="connsiteY15" fmla="*/ 1327775 h 4201882"/>
              <a:gd name="connsiteX16" fmla="*/ 7191829 w 9393163"/>
              <a:gd name="connsiteY16" fmla="*/ 1400624 h 4201882"/>
              <a:gd name="connsiteX17" fmla="*/ 7133772 w 9393163"/>
              <a:gd name="connsiteY17" fmla="*/ 239481 h 4201882"/>
              <a:gd name="connsiteX18" fmla="*/ 1577230 w 9393163"/>
              <a:gd name="connsiteY18" fmla="*/ 3702269 h 4201882"/>
              <a:gd name="connsiteX19" fmla="*/ 2244992 w 9393163"/>
              <a:gd name="connsiteY19" fmla="*/ 3739316 h 4201882"/>
              <a:gd name="connsiteX20" fmla="*/ 1833995 w 9393163"/>
              <a:gd name="connsiteY20" fmla="*/ 4025979 h 4201882"/>
              <a:gd name="connsiteX21" fmla="*/ 1577230 w 9393163"/>
              <a:gd name="connsiteY21" fmla="*/ 3702269 h 4201882"/>
              <a:gd name="connsiteX22" fmla="*/ 3331029 w 9393163"/>
              <a:gd name="connsiteY22" fmla="*/ 273272 h 4201882"/>
              <a:gd name="connsiteX23" fmla="*/ 4231794 w 9393163"/>
              <a:gd name="connsiteY23" fmla="*/ 273272 h 4201882"/>
              <a:gd name="connsiteX24" fmla="*/ 4752524 w 9393163"/>
              <a:gd name="connsiteY24" fmla="*/ 616853 h 4201882"/>
              <a:gd name="connsiteX25" fmla="*/ 4752524 w 9393163"/>
              <a:gd name="connsiteY25" fmla="*/ 1124852 h 4201882"/>
              <a:gd name="connsiteX26" fmla="*/ 4434994 w 9393163"/>
              <a:gd name="connsiteY26" fmla="*/ 1388196 h 4201882"/>
              <a:gd name="connsiteX27" fmla="*/ 3316515 w 9393163"/>
              <a:gd name="connsiteY27" fmla="*/ 1415138 h 4201882"/>
              <a:gd name="connsiteX28" fmla="*/ 3011037 w 9393163"/>
              <a:gd name="connsiteY28" fmla="*/ 1124853 h 4201882"/>
              <a:gd name="connsiteX29" fmla="*/ 3011037 w 9393163"/>
              <a:gd name="connsiteY29" fmla="*/ 515252 h 4201882"/>
              <a:gd name="connsiteX30" fmla="*/ 3331029 w 9393163"/>
              <a:gd name="connsiteY30" fmla="*/ 273272 h 4201882"/>
              <a:gd name="connsiteX31" fmla="*/ 2390031 w 9393163"/>
              <a:gd name="connsiteY31" fmla="*/ 3714226 h 4201882"/>
              <a:gd name="connsiteX32" fmla="*/ 2213430 w 9393163"/>
              <a:gd name="connsiteY32" fmla="*/ 4187367 h 4201882"/>
              <a:gd name="connsiteX33" fmla="*/ 1560287 w 9393163"/>
              <a:gd name="connsiteY33" fmla="*/ 4201882 h 4201882"/>
              <a:gd name="connsiteX34" fmla="*/ 1296966 w 9393163"/>
              <a:gd name="connsiteY34" fmla="*/ 3724642 h 4201882"/>
              <a:gd name="connsiteX35" fmla="*/ 1925678 w 9393163"/>
              <a:gd name="connsiteY35" fmla="*/ 3125933 h 4201882"/>
              <a:gd name="connsiteX36" fmla="*/ 2390031 w 9393163"/>
              <a:gd name="connsiteY36" fmla="*/ 3714226 h 4201882"/>
              <a:gd name="connsiteX37" fmla="*/ 6596743 w 9393163"/>
              <a:gd name="connsiteY37" fmla="*/ 4042225 h 4201882"/>
              <a:gd name="connsiteX38" fmla="*/ 6380876 w 9393163"/>
              <a:gd name="connsiteY38" fmla="*/ 3607073 h 4201882"/>
              <a:gd name="connsiteX39" fmla="*/ 6957753 w 9393163"/>
              <a:gd name="connsiteY39" fmla="*/ 3737701 h 4201882"/>
              <a:gd name="connsiteX40" fmla="*/ 6596743 w 9393163"/>
              <a:gd name="connsiteY40" fmla="*/ 4042225 h 4201882"/>
              <a:gd name="connsiteX41" fmla="*/ 7232614 w 9393163"/>
              <a:gd name="connsiteY41" fmla="*/ 3685197 h 4201882"/>
              <a:gd name="connsiteX42" fmla="*/ 7032173 w 9393163"/>
              <a:gd name="connsiteY42" fmla="*/ 4158339 h 4201882"/>
              <a:gd name="connsiteX43" fmla="*/ 6306459 w 9393163"/>
              <a:gd name="connsiteY43" fmla="*/ 4201881 h 4201882"/>
              <a:gd name="connsiteX44" fmla="*/ 6042666 w 9393163"/>
              <a:gd name="connsiteY44" fmla="*/ 3691989 h 4201882"/>
              <a:gd name="connsiteX45" fmla="*/ 6642348 w 9393163"/>
              <a:gd name="connsiteY45" fmla="*/ 3071499 h 4201882"/>
              <a:gd name="connsiteX46" fmla="*/ 7232614 w 9393163"/>
              <a:gd name="connsiteY46" fmla="*/ 3685197 h 4201882"/>
              <a:gd name="connsiteX47" fmla="*/ 319315 w 9393163"/>
              <a:gd name="connsiteY47" fmla="*/ 3294739 h 4201882"/>
              <a:gd name="connsiteX48" fmla="*/ 1952174 w 9393163"/>
              <a:gd name="connsiteY48" fmla="*/ 68941 h 4201882"/>
              <a:gd name="connsiteX49" fmla="*/ 8229601 w 9393163"/>
              <a:gd name="connsiteY49" fmla="*/ 0 h 4201882"/>
              <a:gd name="connsiteX50" fmla="*/ 8773887 w 9393163"/>
              <a:gd name="connsiteY50" fmla="*/ 616852 h 4201882"/>
              <a:gd name="connsiteX51" fmla="*/ 8831945 w 9393163"/>
              <a:gd name="connsiteY51" fmla="*/ 3156852 h 4201882"/>
              <a:gd name="connsiteX52" fmla="*/ 8744857 w 9393163"/>
              <a:gd name="connsiteY52" fmla="*/ 3418109 h 4201882"/>
              <a:gd name="connsiteX53" fmla="*/ 7438574 w 9393163"/>
              <a:gd name="connsiteY53" fmla="*/ 3418110 h 4201882"/>
              <a:gd name="connsiteX54" fmla="*/ 5798459 w 9393163"/>
              <a:gd name="connsiteY54" fmla="*/ 3577767 h 4201882"/>
              <a:gd name="connsiteX55" fmla="*/ 2735943 w 9393163"/>
              <a:gd name="connsiteY55" fmla="*/ 3606795 h 4201882"/>
              <a:gd name="connsiteX56" fmla="*/ 1023259 w 9393163"/>
              <a:gd name="connsiteY56" fmla="*/ 3621309 h 4201882"/>
              <a:gd name="connsiteX57" fmla="*/ 384627 w 9393163"/>
              <a:gd name="connsiteY57" fmla="*/ 3603169 h 4201882"/>
              <a:gd name="connsiteX58" fmla="*/ 319315 w 9393163"/>
              <a:gd name="connsiteY58"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4955724 w 9393163"/>
              <a:gd name="connsiteY10" fmla="*/ 1153880 h 4201882"/>
              <a:gd name="connsiteX11" fmla="*/ 4955724 w 9393163"/>
              <a:gd name="connsiteY11" fmla="*/ 587823 h 4201882"/>
              <a:gd name="connsiteX12" fmla="*/ 5229866 w 9393163"/>
              <a:gd name="connsiteY12" fmla="*/ 270402 h 4201882"/>
              <a:gd name="connsiteX13" fmla="*/ 6303698 w 9393163"/>
              <a:gd name="connsiteY13" fmla="*/ 262384 h 4201882"/>
              <a:gd name="connsiteX14" fmla="*/ 7133772 w 9393163"/>
              <a:gd name="connsiteY14" fmla="*/ 239481 h 4201882"/>
              <a:gd name="connsiteX15" fmla="*/ 8278552 w 9393163"/>
              <a:gd name="connsiteY15" fmla="*/ 253718 h 4201882"/>
              <a:gd name="connsiteX16" fmla="*/ 8427390 w 9393163"/>
              <a:gd name="connsiteY16" fmla="*/ 1327775 h 4201882"/>
              <a:gd name="connsiteX17" fmla="*/ 7191829 w 9393163"/>
              <a:gd name="connsiteY17" fmla="*/ 1400624 h 4201882"/>
              <a:gd name="connsiteX18" fmla="*/ 7133772 w 9393163"/>
              <a:gd name="connsiteY18" fmla="*/ 239481 h 4201882"/>
              <a:gd name="connsiteX19" fmla="*/ 1577230 w 9393163"/>
              <a:gd name="connsiteY19" fmla="*/ 3702269 h 4201882"/>
              <a:gd name="connsiteX20" fmla="*/ 2244992 w 9393163"/>
              <a:gd name="connsiteY20" fmla="*/ 3739316 h 4201882"/>
              <a:gd name="connsiteX21" fmla="*/ 1833995 w 9393163"/>
              <a:gd name="connsiteY21" fmla="*/ 4025979 h 4201882"/>
              <a:gd name="connsiteX22" fmla="*/ 1577230 w 9393163"/>
              <a:gd name="connsiteY22" fmla="*/ 3702269 h 4201882"/>
              <a:gd name="connsiteX23" fmla="*/ 3331029 w 9393163"/>
              <a:gd name="connsiteY23" fmla="*/ 273272 h 4201882"/>
              <a:gd name="connsiteX24" fmla="*/ 4231794 w 9393163"/>
              <a:gd name="connsiteY24" fmla="*/ 273272 h 4201882"/>
              <a:gd name="connsiteX25" fmla="*/ 4752524 w 9393163"/>
              <a:gd name="connsiteY25" fmla="*/ 616853 h 4201882"/>
              <a:gd name="connsiteX26" fmla="*/ 4752524 w 9393163"/>
              <a:gd name="connsiteY26" fmla="*/ 1124852 h 4201882"/>
              <a:gd name="connsiteX27" fmla="*/ 4434994 w 9393163"/>
              <a:gd name="connsiteY27" fmla="*/ 1388196 h 4201882"/>
              <a:gd name="connsiteX28" fmla="*/ 3316515 w 9393163"/>
              <a:gd name="connsiteY28" fmla="*/ 1415138 h 4201882"/>
              <a:gd name="connsiteX29" fmla="*/ 3011037 w 9393163"/>
              <a:gd name="connsiteY29" fmla="*/ 1124853 h 4201882"/>
              <a:gd name="connsiteX30" fmla="*/ 3011037 w 9393163"/>
              <a:gd name="connsiteY30" fmla="*/ 515252 h 4201882"/>
              <a:gd name="connsiteX31" fmla="*/ 3331029 w 9393163"/>
              <a:gd name="connsiteY31" fmla="*/ 273272 h 4201882"/>
              <a:gd name="connsiteX32" fmla="*/ 2390031 w 9393163"/>
              <a:gd name="connsiteY32" fmla="*/ 3714226 h 4201882"/>
              <a:gd name="connsiteX33" fmla="*/ 2213430 w 9393163"/>
              <a:gd name="connsiteY33" fmla="*/ 4187367 h 4201882"/>
              <a:gd name="connsiteX34" fmla="*/ 1560287 w 9393163"/>
              <a:gd name="connsiteY34" fmla="*/ 4201882 h 4201882"/>
              <a:gd name="connsiteX35" fmla="*/ 1296966 w 9393163"/>
              <a:gd name="connsiteY35" fmla="*/ 3724642 h 4201882"/>
              <a:gd name="connsiteX36" fmla="*/ 1925678 w 9393163"/>
              <a:gd name="connsiteY36" fmla="*/ 3125933 h 4201882"/>
              <a:gd name="connsiteX37" fmla="*/ 2390031 w 9393163"/>
              <a:gd name="connsiteY37" fmla="*/ 3714226 h 4201882"/>
              <a:gd name="connsiteX38" fmla="*/ 6596743 w 9393163"/>
              <a:gd name="connsiteY38" fmla="*/ 4042225 h 4201882"/>
              <a:gd name="connsiteX39" fmla="*/ 6380876 w 9393163"/>
              <a:gd name="connsiteY39" fmla="*/ 3607073 h 4201882"/>
              <a:gd name="connsiteX40" fmla="*/ 6957753 w 9393163"/>
              <a:gd name="connsiteY40" fmla="*/ 3737701 h 4201882"/>
              <a:gd name="connsiteX41" fmla="*/ 6596743 w 9393163"/>
              <a:gd name="connsiteY41" fmla="*/ 4042225 h 4201882"/>
              <a:gd name="connsiteX42" fmla="*/ 7232614 w 9393163"/>
              <a:gd name="connsiteY42" fmla="*/ 3685197 h 4201882"/>
              <a:gd name="connsiteX43" fmla="*/ 7032173 w 9393163"/>
              <a:gd name="connsiteY43" fmla="*/ 4158339 h 4201882"/>
              <a:gd name="connsiteX44" fmla="*/ 6306459 w 9393163"/>
              <a:gd name="connsiteY44" fmla="*/ 4201881 h 4201882"/>
              <a:gd name="connsiteX45" fmla="*/ 6042666 w 9393163"/>
              <a:gd name="connsiteY45" fmla="*/ 3691989 h 4201882"/>
              <a:gd name="connsiteX46" fmla="*/ 6642348 w 9393163"/>
              <a:gd name="connsiteY46" fmla="*/ 3071499 h 4201882"/>
              <a:gd name="connsiteX47" fmla="*/ 7232614 w 9393163"/>
              <a:gd name="connsiteY47" fmla="*/ 3685197 h 4201882"/>
              <a:gd name="connsiteX48" fmla="*/ 319315 w 9393163"/>
              <a:gd name="connsiteY48" fmla="*/ 3294739 h 4201882"/>
              <a:gd name="connsiteX49" fmla="*/ 1952174 w 9393163"/>
              <a:gd name="connsiteY49" fmla="*/ 68941 h 4201882"/>
              <a:gd name="connsiteX50" fmla="*/ 8229601 w 9393163"/>
              <a:gd name="connsiteY50" fmla="*/ 0 h 4201882"/>
              <a:gd name="connsiteX51" fmla="*/ 8773887 w 9393163"/>
              <a:gd name="connsiteY51" fmla="*/ 616852 h 4201882"/>
              <a:gd name="connsiteX52" fmla="*/ 8831945 w 9393163"/>
              <a:gd name="connsiteY52" fmla="*/ 3156852 h 4201882"/>
              <a:gd name="connsiteX53" fmla="*/ 8744857 w 9393163"/>
              <a:gd name="connsiteY53" fmla="*/ 3418109 h 4201882"/>
              <a:gd name="connsiteX54" fmla="*/ 7438574 w 9393163"/>
              <a:gd name="connsiteY54" fmla="*/ 3418110 h 4201882"/>
              <a:gd name="connsiteX55" fmla="*/ 5798459 w 9393163"/>
              <a:gd name="connsiteY55" fmla="*/ 3577767 h 4201882"/>
              <a:gd name="connsiteX56" fmla="*/ 2735943 w 9393163"/>
              <a:gd name="connsiteY56" fmla="*/ 3606795 h 4201882"/>
              <a:gd name="connsiteX57" fmla="*/ 1023259 w 9393163"/>
              <a:gd name="connsiteY57" fmla="*/ 3621309 h 4201882"/>
              <a:gd name="connsiteX58" fmla="*/ 384627 w 9393163"/>
              <a:gd name="connsiteY58" fmla="*/ 3603169 h 4201882"/>
              <a:gd name="connsiteX59" fmla="*/ 319315 w 9393163"/>
              <a:gd name="connsiteY59"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668637 w 9393163"/>
              <a:gd name="connsiteY8" fmla="*/ 573309 h 4201882"/>
              <a:gd name="connsiteX9" fmla="*/ 6320971 w 9393163"/>
              <a:gd name="connsiteY9" fmla="*/ 1371596 h 4201882"/>
              <a:gd name="connsiteX10" fmla="*/ 5219949 w 9393163"/>
              <a:gd name="connsiteY10" fmla="*/ 1398892 h 4201882"/>
              <a:gd name="connsiteX11" fmla="*/ 4955724 w 9393163"/>
              <a:gd name="connsiteY11" fmla="*/ 1153880 h 4201882"/>
              <a:gd name="connsiteX12" fmla="*/ 4955724 w 9393163"/>
              <a:gd name="connsiteY12" fmla="*/ 587823 h 4201882"/>
              <a:gd name="connsiteX13" fmla="*/ 5229866 w 9393163"/>
              <a:gd name="connsiteY13" fmla="*/ 270402 h 4201882"/>
              <a:gd name="connsiteX14" fmla="*/ 6303698 w 9393163"/>
              <a:gd name="connsiteY14" fmla="*/ 262384 h 4201882"/>
              <a:gd name="connsiteX15" fmla="*/ 7133772 w 9393163"/>
              <a:gd name="connsiteY15" fmla="*/ 239481 h 4201882"/>
              <a:gd name="connsiteX16" fmla="*/ 8278552 w 9393163"/>
              <a:gd name="connsiteY16" fmla="*/ 253718 h 4201882"/>
              <a:gd name="connsiteX17" fmla="*/ 8427390 w 9393163"/>
              <a:gd name="connsiteY17" fmla="*/ 1327775 h 4201882"/>
              <a:gd name="connsiteX18" fmla="*/ 7191829 w 9393163"/>
              <a:gd name="connsiteY18" fmla="*/ 1400624 h 4201882"/>
              <a:gd name="connsiteX19" fmla="*/ 7133772 w 9393163"/>
              <a:gd name="connsiteY19" fmla="*/ 239481 h 4201882"/>
              <a:gd name="connsiteX20" fmla="*/ 1577230 w 9393163"/>
              <a:gd name="connsiteY20" fmla="*/ 3702269 h 4201882"/>
              <a:gd name="connsiteX21" fmla="*/ 2244992 w 9393163"/>
              <a:gd name="connsiteY21" fmla="*/ 3739316 h 4201882"/>
              <a:gd name="connsiteX22" fmla="*/ 1833995 w 9393163"/>
              <a:gd name="connsiteY22" fmla="*/ 4025979 h 4201882"/>
              <a:gd name="connsiteX23" fmla="*/ 1577230 w 9393163"/>
              <a:gd name="connsiteY23" fmla="*/ 3702269 h 4201882"/>
              <a:gd name="connsiteX24" fmla="*/ 3331029 w 9393163"/>
              <a:gd name="connsiteY24" fmla="*/ 273272 h 4201882"/>
              <a:gd name="connsiteX25" fmla="*/ 4231794 w 9393163"/>
              <a:gd name="connsiteY25" fmla="*/ 273272 h 4201882"/>
              <a:gd name="connsiteX26" fmla="*/ 4752524 w 9393163"/>
              <a:gd name="connsiteY26" fmla="*/ 616853 h 4201882"/>
              <a:gd name="connsiteX27" fmla="*/ 4752524 w 9393163"/>
              <a:gd name="connsiteY27" fmla="*/ 1124852 h 4201882"/>
              <a:gd name="connsiteX28" fmla="*/ 4434994 w 9393163"/>
              <a:gd name="connsiteY28" fmla="*/ 1388196 h 4201882"/>
              <a:gd name="connsiteX29" fmla="*/ 3316515 w 9393163"/>
              <a:gd name="connsiteY29" fmla="*/ 1415138 h 4201882"/>
              <a:gd name="connsiteX30" fmla="*/ 3011037 w 9393163"/>
              <a:gd name="connsiteY30" fmla="*/ 1124853 h 4201882"/>
              <a:gd name="connsiteX31" fmla="*/ 3011037 w 9393163"/>
              <a:gd name="connsiteY31" fmla="*/ 515252 h 4201882"/>
              <a:gd name="connsiteX32" fmla="*/ 3331029 w 9393163"/>
              <a:gd name="connsiteY32" fmla="*/ 273272 h 4201882"/>
              <a:gd name="connsiteX33" fmla="*/ 2390031 w 9393163"/>
              <a:gd name="connsiteY33" fmla="*/ 3714226 h 4201882"/>
              <a:gd name="connsiteX34" fmla="*/ 2213430 w 9393163"/>
              <a:gd name="connsiteY34" fmla="*/ 4187367 h 4201882"/>
              <a:gd name="connsiteX35" fmla="*/ 1560287 w 9393163"/>
              <a:gd name="connsiteY35" fmla="*/ 4201882 h 4201882"/>
              <a:gd name="connsiteX36" fmla="*/ 1296966 w 9393163"/>
              <a:gd name="connsiteY36" fmla="*/ 3724642 h 4201882"/>
              <a:gd name="connsiteX37" fmla="*/ 1925678 w 9393163"/>
              <a:gd name="connsiteY37" fmla="*/ 3125933 h 4201882"/>
              <a:gd name="connsiteX38" fmla="*/ 2390031 w 9393163"/>
              <a:gd name="connsiteY38" fmla="*/ 3714226 h 4201882"/>
              <a:gd name="connsiteX39" fmla="*/ 6596743 w 9393163"/>
              <a:gd name="connsiteY39" fmla="*/ 4042225 h 4201882"/>
              <a:gd name="connsiteX40" fmla="*/ 6380876 w 9393163"/>
              <a:gd name="connsiteY40" fmla="*/ 3607073 h 4201882"/>
              <a:gd name="connsiteX41" fmla="*/ 6957753 w 9393163"/>
              <a:gd name="connsiteY41" fmla="*/ 3737701 h 4201882"/>
              <a:gd name="connsiteX42" fmla="*/ 6596743 w 9393163"/>
              <a:gd name="connsiteY42" fmla="*/ 4042225 h 4201882"/>
              <a:gd name="connsiteX43" fmla="*/ 7232614 w 9393163"/>
              <a:gd name="connsiteY43" fmla="*/ 3685197 h 4201882"/>
              <a:gd name="connsiteX44" fmla="*/ 7032173 w 9393163"/>
              <a:gd name="connsiteY44" fmla="*/ 4158339 h 4201882"/>
              <a:gd name="connsiteX45" fmla="*/ 6306459 w 9393163"/>
              <a:gd name="connsiteY45" fmla="*/ 4201881 h 4201882"/>
              <a:gd name="connsiteX46" fmla="*/ 6042666 w 9393163"/>
              <a:gd name="connsiteY46" fmla="*/ 3691989 h 4201882"/>
              <a:gd name="connsiteX47" fmla="*/ 6642348 w 9393163"/>
              <a:gd name="connsiteY47" fmla="*/ 3071499 h 4201882"/>
              <a:gd name="connsiteX48" fmla="*/ 7232614 w 9393163"/>
              <a:gd name="connsiteY48" fmla="*/ 3685197 h 4201882"/>
              <a:gd name="connsiteX49" fmla="*/ 319315 w 9393163"/>
              <a:gd name="connsiteY49" fmla="*/ 3294739 h 4201882"/>
              <a:gd name="connsiteX50" fmla="*/ 1952174 w 9393163"/>
              <a:gd name="connsiteY50" fmla="*/ 68941 h 4201882"/>
              <a:gd name="connsiteX51" fmla="*/ 8229601 w 9393163"/>
              <a:gd name="connsiteY51" fmla="*/ 0 h 4201882"/>
              <a:gd name="connsiteX52" fmla="*/ 8773887 w 9393163"/>
              <a:gd name="connsiteY52" fmla="*/ 616852 h 4201882"/>
              <a:gd name="connsiteX53" fmla="*/ 8831945 w 9393163"/>
              <a:gd name="connsiteY53" fmla="*/ 3156852 h 4201882"/>
              <a:gd name="connsiteX54" fmla="*/ 8744857 w 9393163"/>
              <a:gd name="connsiteY54" fmla="*/ 3418109 h 4201882"/>
              <a:gd name="connsiteX55" fmla="*/ 7438574 w 9393163"/>
              <a:gd name="connsiteY55" fmla="*/ 3418110 h 4201882"/>
              <a:gd name="connsiteX56" fmla="*/ 5798459 w 9393163"/>
              <a:gd name="connsiteY56" fmla="*/ 3577767 h 4201882"/>
              <a:gd name="connsiteX57" fmla="*/ 2735943 w 9393163"/>
              <a:gd name="connsiteY57" fmla="*/ 3606795 h 4201882"/>
              <a:gd name="connsiteX58" fmla="*/ 1023259 w 9393163"/>
              <a:gd name="connsiteY58" fmla="*/ 3621309 h 4201882"/>
              <a:gd name="connsiteX59" fmla="*/ 384627 w 9393163"/>
              <a:gd name="connsiteY59" fmla="*/ 3603169 h 4201882"/>
              <a:gd name="connsiteX60" fmla="*/ 319315 w 9393163"/>
              <a:gd name="connsiteY60"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668637 w 9393163"/>
              <a:gd name="connsiteY8" fmla="*/ 573309 h 4201882"/>
              <a:gd name="connsiteX9" fmla="*/ 6668637 w 9393163"/>
              <a:gd name="connsiteY9" fmla="*/ 1066795 h 4201882"/>
              <a:gd name="connsiteX10" fmla="*/ 6320971 w 9393163"/>
              <a:gd name="connsiteY10" fmla="*/ 1371596 h 4201882"/>
              <a:gd name="connsiteX11" fmla="*/ 5219949 w 9393163"/>
              <a:gd name="connsiteY11" fmla="*/ 1398892 h 4201882"/>
              <a:gd name="connsiteX12" fmla="*/ 4955724 w 9393163"/>
              <a:gd name="connsiteY12" fmla="*/ 1153880 h 4201882"/>
              <a:gd name="connsiteX13" fmla="*/ 4955724 w 9393163"/>
              <a:gd name="connsiteY13" fmla="*/ 587823 h 4201882"/>
              <a:gd name="connsiteX14" fmla="*/ 5229866 w 9393163"/>
              <a:gd name="connsiteY14" fmla="*/ 270402 h 4201882"/>
              <a:gd name="connsiteX15" fmla="*/ 6303698 w 9393163"/>
              <a:gd name="connsiteY15" fmla="*/ 262384 h 4201882"/>
              <a:gd name="connsiteX16" fmla="*/ 7133772 w 9393163"/>
              <a:gd name="connsiteY16" fmla="*/ 239481 h 4201882"/>
              <a:gd name="connsiteX17" fmla="*/ 8278552 w 9393163"/>
              <a:gd name="connsiteY17" fmla="*/ 253718 h 4201882"/>
              <a:gd name="connsiteX18" fmla="*/ 8427390 w 9393163"/>
              <a:gd name="connsiteY18" fmla="*/ 1327775 h 4201882"/>
              <a:gd name="connsiteX19" fmla="*/ 7191829 w 9393163"/>
              <a:gd name="connsiteY19" fmla="*/ 1400624 h 4201882"/>
              <a:gd name="connsiteX20" fmla="*/ 7133772 w 9393163"/>
              <a:gd name="connsiteY20" fmla="*/ 239481 h 4201882"/>
              <a:gd name="connsiteX21" fmla="*/ 1577230 w 9393163"/>
              <a:gd name="connsiteY21" fmla="*/ 3702269 h 4201882"/>
              <a:gd name="connsiteX22" fmla="*/ 2244992 w 9393163"/>
              <a:gd name="connsiteY22" fmla="*/ 3739316 h 4201882"/>
              <a:gd name="connsiteX23" fmla="*/ 1833995 w 9393163"/>
              <a:gd name="connsiteY23" fmla="*/ 4025979 h 4201882"/>
              <a:gd name="connsiteX24" fmla="*/ 1577230 w 9393163"/>
              <a:gd name="connsiteY24" fmla="*/ 3702269 h 4201882"/>
              <a:gd name="connsiteX25" fmla="*/ 3331029 w 9393163"/>
              <a:gd name="connsiteY25" fmla="*/ 273272 h 4201882"/>
              <a:gd name="connsiteX26" fmla="*/ 4231794 w 9393163"/>
              <a:gd name="connsiteY26" fmla="*/ 273272 h 4201882"/>
              <a:gd name="connsiteX27" fmla="*/ 4752524 w 9393163"/>
              <a:gd name="connsiteY27" fmla="*/ 616853 h 4201882"/>
              <a:gd name="connsiteX28" fmla="*/ 4752524 w 9393163"/>
              <a:gd name="connsiteY28" fmla="*/ 1124852 h 4201882"/>
              <a:gd name="connsiteX29" fmla="*/ 4434994 w 9393163"/>
              <a:gd name="connsiteY29" fmla="*/ 1388196 h 4201882"/>
              <a:gd name="connsiteX30" fmla="*/ 3316515 w 9393163"/>
              <a:gd name="connsiteY30" fmla="*/ 1415138 h 4201882"/>
              <a:gd name="connsiteX31" fmla="*/ 3011037 w 9393163"/>
              <a:gd name="connsiteY31" fmla="*/ 1124853 h 4201882"/>
              <a:gd name="connsiteX32" fmla="*/ 3011037 w 9393163"/>
              <a:gd name="connsiteY32" fmla="*/ 515252 h 4201882"/>
              <a:gd name="connsiteX33" fmla="*/ 3331029 w 9393163"/>
              <a:gd name="connsiteY33" fmla="*/ 273272 h 4201882"/>
              <a:gd name="connsiteX34" fmla="*/ 2390031 w 9393163"/>
              <a:gd name="connsiteY34" fmla="*/ 3714226 h 4201882"/>
              <a:gd name="connsiteX35" fmla="*/ 2213430 w 9393163"/>
              <a:gd name="connsiteY35" fmla="*/ 4187367 h 4201882"/>
              <a:gd name="connsiteX36" fmla="*/ 1560287 w 9393163"/>
              <a:gd name="connsiteY36" fmla="*/ 4201882 h 4201882"/>
              <a:gd name="connsiteX37" fmla="*/ 1296966 w 9393163"/>
              <a:gd name="connsiteY37" fmla="*/ 3724642 h 4201882"/>
              <a:gd name="connsiteX38" fmla="*/ 1925678 w 9393163"/>
              <a:gd name="connsiteY38" fmla="*/ 3125933 h 4201882"/>
              <a:gd name="connsiteX39" fmla="*/ 2390031 w 9393163"/>
              <a:gd name="connsiteY39" fmla="*/ 3714226 h 4201882"/>
              <a:gd name="connsiteX40" fmla="*/ 6596743 w 9393163"/>
              <a:gd name="connsiteY40" fmla="*/ 4042225 h 4201882"/>
              <a:gd name="connsiteX41" fmla="*/ 6380876 w 9393163"/>
              <a:gd name="connsiteY41" fmla="*/ 3607073 h 4201882"/>
              <a:gd name="connsiteX42" fmla="*/ 6957753 w 9393163"/>
              <a:gd name="connsiteY42" fmla="*/ 3737701 h 4201882"/>
              <a:gd name="connsiteX43" fmla="*/ 6596743 w 9393163"/>
              <a:gd name="connsiteY43" fmla="*/ 4042225 h 4201882"/>
              <a:gd name="connsiteX44" fmla="*/ 7232614 w 9393163"/>
              <a:gd name="connsiteY44" fmla="*/ 3685197 h 4201882"/>
              <a:gd name="connsiteX45" fmla="*/ 7032173 w 9393163"/>
              <a:gd name="connsiteY45" fmla="*/ 4158339 h 4201882"/>
              <a:gd name="connsiteX46" fmla="*/ 6306459 w 9393163"/>
              <a:gd name="connsiteY46" fmla="*/ 4201881 h 4201882"/>
              <a:gd name="connsiteX47" fmla="*/ 6042666 w 9393163"/>
              <a:gd name="connsiteY47" fmla="*/ 3691989 h 4201882"/>
              <a:gd name="connsiteX48" fmla="*/ 6642348 w 9393163"/>
              <a:gd name="connsiteY48" fmla="*/ 3071499 h 4201882"/>
              <a:gd name="connsiteX49" fmla="*/ 7232614 w 9393163"/>
              <a:gd name="connsiteY49" fmla="*/ 3685197 h 4201882"/>
              <a:gd name="connsiteX50" fmla="*/ 319315 w 9393163"/>
              <a:gd name="connsiteY50" fmla="*/ 3294739 h 4201882"/>
              <a:gd name="connsiteX51" fmla="*/ 1952174 w 9393163"/>
              <a:gd name="connsiteY51" fmla="*/ 68941 h 4201882"/>
              <a:gd name="connsiteX52" fmla="*/ 8229601 w 9393163"/>
              <a:gd name="connsiteY52" fmla="*/ 0 h 4201882"/>
              <a:gd name="connsiteX53" fmla="*/ 8773887 w 9393163"/>
              <a:gd name="connsiteY53" fmla="*/ 616852 h 4201882"/>
              <a:gd name="connsiteX54" fmla="*/ 8831945 w 9393163"/>
              <a:gd name="connsiteY54" fmla="*/ 3156852 h 4201882"/>
              <a:gd name="connsiteX55" fmla="*/ 8744857 w 9393163"/>
              <a:gd name="connsiteY55" fmla="*/ 3418109 h 4201882"/>
              <a:gd name="connsiteX56" fmla="*/ 7438574 w 9393163"/>
              <a:gd name="connsiteY56" fmla="*/ 3418110 h 4201882"/>
              <a:gd name="connsiteX57" fmla="*/ 5798459 w 9393163"/>
              <a:gd name="connsiteY57" fmla="*/ 3577767 h 4201882"/>
              <a:gd name="connsiteX58" fmla="*/ 2735943 w 9393163"/>
              <a:gd name="connsiteY58" fmla="*/ 3606795 h 4201882"/>
              <a:gd name="connsiteX59" fmla="*/ 1023259 w 9393163"/>
              <a:gd name="connsiteY59" fmla="*/ 3621309 h 4201882"/>
              <a:gd name="connsiteX60" fmla="*/ 384627 w 9393163"/>
              <a:gd name="connsiteY60" fmla="*/ 3603169 h 4201882"/>
              <a:gd name="connsiteX61" fmla="*/ 319315 w 9393163"/>
              <a:gd name="connsiteY61"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668637 w 9393163"/>
              <a:gd name="connsiteY8" fmla="*/ 573309 h 4201882"/>
              <a:gd name="connsiteX9" fmla="*/ 6668637 w 9393163"/>
              <a:gd name="connsiteY9" fmla="*/ 1066795 h 4201882"/>
              <a:gd name="connsiteX10" fmla="*/ 6320971 w 9393163"/>
              <a:gd name="connsiteY10" fmla="*/ 1371596 h 4201882"/>
              <a:gd name="connsiteX11" fmla="*/ 5219949 w 9393163"/>
              <a:gd name="connsiteY11" fmla="*/ 1398892 h 4201882"/>
              <a:gd name="connsiteX12" fmla="*/ 4955724 w 9393163"/>
              <a:gd name="connsiteY12" fmla="*/ 1153880 h 4201882"/>
              <a:gd name="connsiteX13" fmla="*/ 4955724 w 9393163"/>
              <a:gd name="connsiteY13" fmla="*/ 587823 h 4201882"/>
              <a:gd name="connsiteX14" fmla="*/ 5229866 w 9393163"/>
              <a:gd name="connsiteY14" fmla="*/ 270402 h 4201882"/>
              <a:gd name="connsiteX15" fmla="*/ 6303698 w 9393163"/>
              <a:gd name="connsiteY15" fmla="*/ 262384 h 4201882"/>
              <a:gd name="connsiteX16" fmla="*/ 7133772 w 9393163"/>
              <a:gd name="connsiteY16" fmla="*/ 239481 h 4201882"/>
              <a:gd name="connsiteX17" fmla="*/ 8278552 w 9393163"/>
              <a:gd name="connsiteY17" fmla="*/ 253718 h 4201882"/>
              <a:gd name="connsiteX18" fmla="*/ 8427390 w 9393163"/>
              <a:gd name="connsiteY18" fmla="*/ 1327775 h 4201882"/>
              <a:gd name="connsiteX19" fmla="*/ 7191829 w 9393163"/>
              <a:gd name="connsiteY19" fmla="*/ 1400624 h 4201882"/>
              <a:gd name="connsiteX20" fmla="*/ 6857549 w 9393163"/>
              <a:gd name="connsiteY20" fmla="*/ 631366 h 4201882"/>
              <a:gd name="connsiteX21" fmla="*/ 7133772 w 9393163"/>
              <a:gd name="connsiteY21" fmla="*/ 239481 h 4201882"/>
              <a:gd name="connsiteX22" fmla="*/ 1577230 w 9393163"/>
              <a:gd name="connsiteY22" fmla="*/ 3702269 h 4201882"/>
              <a:gd name="connsiteX23" fmla="*/ 2244992 w 9393163"/>
              <a:gd name="connsiteY23" fmla="*/ 3739316 h 4201882"/>
              <a:gd name="connsiteX24" fmla="*/ 1833995 w 9393163"/>
              <a:gd name="connsiteY24" fmla="*/ 4025979 h 4201882"/>
              <a:gd name="connsiteX25" fmla="*/ 1577230 w 9393163"/>
              <a:gd name="connsiteY25" fmla="*/ 3702269 h 4201882"/>
              <a:gd name="connsiteX26" fmla="*/ 3331029 w 9393163"/>
              <a:gd name="connsiteY26" fmla="*/ 273272 h 4201882"/>
              <a:gd name="connsiteX27" fmla="*/ 4231794 w 9393163"/>
              <a:gd name="connsiteY27" fmla="*/ 273272 h 4201882"/>
              <a:gd name="connsiteX28" fmla="*/ 4752524 w 9393163"/>
              <a:gd name="connsiteY28" fmla="*/ 616853 h 4201882"/>
              <a:gd name="connsiteX29" fmla="*/ 4752524 w 9393163"/>
              <a:gd name="connsiteY29" fmla="*/ 1124852 h 4201882"/>
              <a:gd name="connsiteX30" fmla="*/ 4434994 w 9393163"/>
              <a:gd name="connsiteY30" fmla="*/ 1388196 h 4201882"/>
              <a:gd name="connsiteX31" fmla="*/ 3316515 w 9393163"/>
              <a:gd name="connsiteY31" fmla="*/ 1415138 h 4201882"/>
              <a:gd name="connsiteX32" fmla="*/ 3011037 w 9393163"/>
              <a:gd name="connsiteY32" fmla="*/ 1124853 h 4201882"/>
              <a:gd name="connsiteX33" fmla="*/ 3011037 w 9393163"/>
              <a:gd name="connsiteY33" fmla="*/ 515252 h 4201882"/>
              <a:gd name="connsiteX34" fmla="*/ 3331029 w 9393163"/>
              <a:gd name="connsiteY34" fmla="*/ 273272 h 4201882"/>
              <a:gd name="connsiteX35" fmla="*/ 2390031 w 9393163"/>
              <a:gd name="connsiteY35" fmla="*/ 3714226 h 4201882"/>
              <a:gd name="connsiteX36" fmla="*/ 2213430 w 9393163"/>
              <a:gd name="connsiteY36" fmla="*/ 4187367 h 4201882"/>
              <a:gd name="connsiteX37" fmla="*/ 1560287 w 9393163"/>
              <a:gd name="connsiteY37" fmla="*/ 4201882 h 4201882"/>
              <a:gd name="connsiteX38" fmla="*/ 1296966 w 9393163"/>
              <a:gd name="connsiteY38" fmla="*/ 3724642 h 4201882"/>
              <a:gd name="connsiteX39" fmla="*/ 1925678 w 9393163"/>
              <a:gd name="connsiteY39" fmla="*/ 3125933 h 4201882"/>
              <a:gd name="connsiteX40" fmla="*/ 2390031 w 9393163"/>
              <a:gd name="connsiteY40" fmla="*/ 3714226 h 4201882"/>
              <a:gd name="connsiteX41" fmla="*/ 6596743 w 9393163"/>
              <a:gd name="connsiteY41" fmla="*/ 4042225 h 4201882"/>
              <a:gd name="connsiteX42" fmla="*/ 6380876 w 9393163"/>
              <a:gd name="connsiteY42" fmla="*/ 3607073 h 4201882"/>
              <a:gd name="connsiteX43" fmla="*/ 6957753 w 9393163"/>
              <a:gd name="connsiteY43" fmla="*/ 3737701 h 4201882"/>
              <a:gd name="connsiteX44" fmla="*/ 6596743 w 9393163"/>
              <a:gd name="connsiteY44" fmla="*/ 4042225 h 4201882"/>
              <a:gd name="connsiteX45" fmla="*/ 7232614 w 9393163"/>
              <a:gd name="connsiteY45" fmla="*/ 3685197 h 4201882"/>
              <a:gd name="connsiteX46" fmla="*/ 7032173 w 9393163"/>
              <a:gd name="connsiteY46" fmla="*/ 4158339 h 4201882"/>
              <a:gd name="connsiteX47" fmla="*/ 6306459 w 9393163"/>
              <a:gd name="connsiteY47" fmla="*/ 4201881 h 4201882"/>
              <a:gd name="connsiteX48" fmla="*/ 6042666 w 9393163"/>
              <a:gd name="connsiteY48" fmla="*/ 3691989 h 4201882"/>
              <a:gd name="connsiteX49" fmla="*/ 6642348 w 9393163"/>
              <a:gd name="connsiteY49" fmla="*/ 3071499 h 4201882"/>
              <a:gd name="connsiteX50" fmla="*/ 7232614 w 9393163"/>
              <a:gd name="connsiteY50" fmla="*/ 3685197 h 4201882"/>
              <a:gd name="connsiteX51" fmla="*/ 319315 w 9393163"/>
              <a:gd name="connsiteY51" fmla="*/ 3294739 h 4201882"/>
              <a:gd name="connsiteX52" fmla="*/ 1952174 w 9393163"/>
              <a:gd name="connsiteY52" fmla="*/ 68941 h 4201882"/>
              <a:gd name="connsiteX53" fmla="*/ 8229601 w 9393163"/>
              <a:gd name="connsiteY53" fmla="*/ 0 h 4201882"/>
              <a:gd name="connsiteX54" fmla="*/ 8773887 w 9393163"/>
              <a:gd name="connsiteY54" fmla="*/ 616852 h 4201882"/>
              <a:gd name="connsiteX55" fmla="*/ 8831945 w 9393163"/>
              <a:gd name="connsiteY55" fmla="*/ 3156852 h 4201882"/>
              <a:gd name="connsiteX56" fmla="*/ 8744857 w 9393163"/>
              <a:gd name="connsiteY56" fmla="*/ 3418109 h 4201882"/>
              <a:gd name="connsiteX57" fmla="*/ 7438574 w 9393163"/>
              <a:gd name="connsiteY57" fmla="*/ 3418110 h 4201882"/>
              <a:gd name="connsiteX58" fmla="*/ 5798459 w 9393163"/>
              <a:gd name="connsiteY58" fmla="*/ 3577767 h 4201882"/>
              <a:gd name="connsiteX59" fmla="*/ 2735943 w 9393163"/>
              <a:gd name="connsiteY59" fmla="*/ 3606795 h 4201882"/>
              <a:gd name="connsiteX60" fmla="*/ 1023259 w 9393163"/>
              <a:gd name="connsiteY60" fmla="*/ 3621309 h 4201882"/>
              <a:gd name="connsiteX61" fmla="*/ 384627 w 9393163"/>
              <a:gd name="connsiteY61" fmla="*/ 3603169 h 4201882"/>
              <a:gd name="connsiteX62" fmla="*/ 319315 w 9393163"/>
              <a:gd name="connsiteY62"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668637 w 9393163"/>
              <a:gd name="connsiteY8" fmla="*/ 573309 h 4201882"/>
              <a:gd name="connsiteX9" fmla="*/ 6668637 w 9393163"/>
              <a:gd name="connsiteY9" fmla="*/ 1066795 h 4201882"/>
              <a:gd name="connsiteX10" fmla="*/ 6320971 w 9393163"/>
              <a:gd name="connsiteY10" fmla="*/ 1371596 h 4201882"/>
              <a:gd name="connsiteX11" fmla="*/ 5219949 w 9393163"/>
              <a:gd name="connsiteY11" fmla="*/ 1398892 h 4201882"/>
              <a:gd name="connsiteX12" fmla="*/ 4955724 w 9393163"/>
              <a:gd name="connsiteY12" fmla="*/ 1153880 h 4201882"/>
              <a:gd name="connsiteX13" fmla="*/ 4955724 w 9393163"/>
              <a:gd name="connsiteY13" fmla="*/ 587823 h 4201882"/>
              <a:gd name="connsiteX14" fmla="*/ 5229866 w 9393163"/>
              <a:gd name="connsiteY14" fmla="*/ 270402 h 4201882"/>
              <a:gd name="connsiteX15" fmla="*/ 6303698 w 9393163"/>
              <a:gd name="connsiteY15" fmla="*/ 262384 h 4201882"/>
              <a:gd name="connsiteX16" fmla="*/ 7133772 w 9393163"/>
              <a:gd name="connsiteY16" fmla="*/ 239481 h 4201882"/>
              <a:gd name="connsiteX17" fmla="*/ 8278552 w 9393163"/>
              <a:gd name="connsiteY17" fmla="*/ 253718 h 4201882"/>
              <a:gd name="connsiteX18" fmla="*/ 8427390 w 9393163"/>
              <a:gd name="connsiteY18" fmla="*/ 1327775 h 4201882"/>
              <a:gd name="connsiteX19" fmla="*/ 7191829 w 9393163"/>
              <a:gd name="connsiteY19" fmla="*/ 1400624 h 4201882"/>
              <a:gd name="connsiteX20" fmla="*/ 6857549 w 9393163"/>
              <a:gd name="connsiteY20" fmla="*/ 1095823 h 4201882"/>
              <a:gd name="connsiteX21" fmla="*/ 6857549 w 9393163"/>
              <a:gd name="connsiteY21" fmla="*/ 631366 h 4201882"/>
              <a:gd name="connsiteX22" fmla="*/ 7133772 w 9393163"/>
              <a:gd name="connsiteY22" fmla="*/ 239481 h 4201882"/>
              <a:gd name="connsiteX23" fmla="*/ 1577230 w 9393163"/>
              <a:gd name="connsiteY23" fmla="*/ 3702269 h 4201882"/>
              <a:gd name="connsiteX24" fmla="*/ 2244992 w 9393163"/>
              <a:gd name="connsiteY24" fmla="*/ 3739316 h 4201882"/>
              <a:gd name="connsiteX25" fmla="*/ 1833995 w 9393163"/>
              <a:gd name="connsiteY25" fmla="*/ 4025979 h 4201882"/>
              <a:gd name="connsiteX26" fmla="*/ 1577230 w 9393163"/>
              <a:gd name="connsiteY26" fmla="*/ 3702269 h 4201882"/>
              <a:gd name="connsiteX27" fmla="*/ 3331029 w 9393163"/>
              <a:gd name="connsiteY27" fmla="*/ 273272 h 4201882"/>
              <a:gd name="connsiteX28" fmla="*/ 4231794 w 9393163"/>
              <a:gd name="connsiteY28" fmla="*/ 273272 h 4201882"/>
              <a:gd name="connsiteX29" fmla="*/ 4752524 w 9393163"/>
              <a:gd name="connsiteY29" fmla="*/ 616853 h 4201882"/>
              <a:gd name="connsiteX30" fmla="*/ 4752524 w 9393163"/>
              <a:gd name="connsiteY30" fmla="*/ 1124852 h 4201882"/>
              <a:gd name="connsiteX31" fmla="*/ 4434994 w 9393163"/>
              <a:gd name="connsiteY31" fmla="*/ 1388196 h 4201882"/>
              <a:gd name="connsiteX32" fmla="*/ 3316515 w 9393163"/>
              <a:gd name="connsiteY32" fmla="*/ 1415138 h 4201882"/>
              <a:gd name="connsiteX33" fmla="*/ 3011037 w 9393163"/>
              <a:gd name="connsiteY33" fmla="*/ 1124853 h 4201882"/>
              <a:gd name="connsiteX34" fmla="*/ 3011037 w 9393163"/>
              <a:gd name="connsiteY34" fmla="*/ 515252 h 4201882"/>
              <a:gd name="connsiteX35" fmla="*/ 3331029 w 9393163"/>
              <a:gd name="connsiteY35" fmla="*/ 273272 h 4201882"/>
              <a:gd name="connsiteX36" fmla="*/ 2390031 w 9393163"/>
              <a:gd name="connsiteY36" fmla="*/ 3714226 h 4201882"/>
              <a:gd name="connsiteX37" fmla="*/ 2213430 w 9393163"/>
              <a:gd name="connsiteY37" fmla="*/ 4187367 h 4201882"/>
              <a:gd name="connsiteX38" fmla="*/ 1560287 w 9393163"/>
              <a:gd name="connsiteY38" fmla="*/ 4201882 h 4201882"/>
              <a:gd name="connsiteX39" fmla="*/ 1296966 w 9393163"/>
              <a:gd name="connsiteY39" fmla="*/ 3724642 h 4201882"/>
              <a:gd name="connsiteX40" fmla="*/ 1925678 w 9393163"/>
              <a:gd name="connsiteY40" fmla="*/ 3125933 h 4201882"/>
              <a:gd name="connsiteX41" fmla="*/ 2390031 w 9393163"/>
              <a:gd name="connsiteY41" fmla="*/ 3714226 h 4201882"/>
              <a:gd name="connsiteX42" fmla="*/ 6596743 w 9393163"/>
              <a:gd name="connsiteY42" fmla="*/ 4042225 h 4201882"/>
              <a:gd name="connsiteX43" fmla="*/ 6380876 w 9393163"/>
              <a:gd name="connsiteY43" fmla="*/ 3607073 h 4201882"/>
              <a:gd name="connsiteX44" fmla="*/ 6957753 w 9393163"/>
              <a:gd name="connsiteY44" fmla="*/ 3737701 h 4201882"/>
              <a:gd name="connsiteX45" fmla="*/ 6596743 w 9393163"/>
              <a:gd name="connsiteY45" fmla="*/ 4042225 h 4201882"/>
              <a:gd name="connsiteX46" fmla="*/ 7232614 w 9393163"/>
              <a:gd name="connsiteY46" fmla="*/ 3685197 h 4201882"/>
              <a:gd name="connsiteX47" fmla="*/ 7032173 w 9393163"/>
              <a:gd name="connsiteY47" fmla="*/ 4158339 h 4201882"/>
              <a:gd name="connsiteX48" fmla="*/ 6306459 w 9393163"/>
              <a:gd name="connsiteY48" fmla="*/ 4201881 h 4201882"/>
              <a:gd name="connsiteX49" fmla="*/ 6042666 w 9393163"/>
              <a:gd name="connsiteY49" fmla="*/ 3691989 h 4201882"/>
              <a:gd name="connsiteX50" fmla="*/ 6642348 w 9393163"/>
              <a:gd name="connsiteY50" fmla="*/ 3071499 h 4201882"/>
              <a:gd name="connsiteX51" fmla="*/ 7232614 w 9393163"/>
              <a:gd name="connsiteY51" fmla="*/ 3685197 h 4201882"/>
              <a:gd name="connsiteX52" fmla="*/ 319315 w 9393163"/>
              <a:gd name="connsiteY52" fmla="*/ 3294739 h 4201882"/>
              <a:gd name="connsiteX53" fmla="*/ 1952174 w 9393163"/>
              <a:gd name="connsiteY53" fmla="*/ 68941 h 4201882"/>
              <a:gd name="connsiteX54" fmla="*/ 8229601 w 9393163"/>
              <a:gd name="connsiteY54" fmla="*/ 0 h 4201882"/>
              <a:gd name="connsiteX55" fmla="*/ 8773887 w 9393163"/>
              <a:gd name="connsiteY55" fmla="*/ 616852 h 4201882"/>
              <a:gd name="connsiteX56" fmla="*/ 8831945 w 9393163"/>
              <a:gd name="connsiteY56" fmla="*/ 3156852 h 4201882"/>
              <a:gd name="connsiteX57" fmla="*/ 8744857 w 9393163"/>
              <a:gd name="connsiteY57" fmla="*/ 3418109 h 4201882"/>
              <a:gd name="connsiteX58" fmla="*/ 7438574 w 9393163"/>
              <a:gd name="connsiteY58" fmla="*/ 3418110 h 4201882"/>
              <a:gd name="connsiteX59" fmla="*/ 5798459 w 9393163"/>
              <a:gd name="connsiteY59" fmla="*/ 3577767 h 4201882"/>
              <a:gd name="connsiteX60" fmla="*/ 2735943 w 9393163"/>
              <a:gd name="connsiteY60" fmla="*/ 3606795 h 4201882"/>
              <a:gd name="connsiteX61" fmla="*/ 1023259 w 9393163"/>
              <a:gd name="connsiteY61" fmla="*/ 3621309 h 4201882"/>
              <a:gd name="connsiteX62" fmla="*/ 384627 w 9393163"/>
              <a:gd name="connsiteY62" fmla="*/ 3603169 h 4201882"/>
              <a:gd name="connsiteX63" fmla="*/ 319315 w 9393163"/>
              <a:gd name="connsiteY63"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668637 w 9393163"/>
              <a:gd name="connsiteY8" fmla="*/ 573309 h 4201882"/>
              <a:gd name="connsiteX9" fmla="*/ 6668637 w 9393163"/>
              <a:gd name="connsiteY9" fmla="*/ 1066795 h 4201882"/>
              <a:gd name="connsiteX10" fmla="*/ 6320971 w 9393163"/>
              <a:gd name="connsiteY10" fmla="*/ 1371596 h 4201882"/>
              <a:gd name="connsiteX11" fmla="*/ 5219949 w 9393163"/>
              <a:gd name="connsiteY11" fmla="*/ 1398892 h 4201882"/>
              <a:gd name="connsiteX12" fmla="*/ 4955724 w 9393163"/>
              <a:gd name="connsiteY12" fmla="*/ 1153880 h 4201882"/>
              <a:gd name="connsiteX13" fmla="*/ 4955724 w 9393163"/>
              <a:gd name="connsiteY13" fmla="*/ 587823 h 4201882"/>
              <a:gd name="connsiteX14" fmla="*/ 5229866 w 9393163"/>
              <a:gd name="connsiteY14" fmla="*/ 270402 h 4201882"/>
              <a:gd name="connsiteX15" fmla="*/ 6303698 w 9393163"/>
              <a:gd name="connsiteY15" fmla="*/ 262384 h 4201882"/>
              <a:gd name="connsiteX16" fmla="*/ 7133772 w 9393163"/>
              <a:gd name="connsiteY16" fmla="*/ 239481 h 4201882"/>
              <a:gd name="connsiteX17" fmla="*/ 8278552 w 9393163"/>
              <a:gd name="connsiteY17" fmla="*/ 253718 h 4201882"/>
              <a:gd name="connsiteX18" fmla="*/ 8614231 w 9393163"/>
              <a:gd name="connsiteY18" fmla="*/ 936166 h 4201882"/>
              <a:gd name="connsiteX19" fmla="*/ 8427390 w 9393163"/>
              <a:gd name="connsiteY19" fmla="*/ 1327775 h 4201882"/>
              <a:gd name="connsiteX20" fmla="*/ 7191829 w 9393163"/>
              <a:gd name="connsiteY20" fmla="*/ 1400624 h 4201882"/>
              <a:gd name="connsiteX21" fmla="*/ 6857549 w 9393163"/>
              <a:gd name="connsiteY21" fmla="*/ 1095823 h 4201882"/>
              <a:gd name="connsiteX22" fmla="*/ 6857549 w 9393163"/>
              <a:gd name="connsiteY22" fmla="*/ 631366 h 4201882"/>
              <a:gd name="connsiteX23" fmla="*/ 7133772 w 9393163"/>
              <a:gd name="connsiteY23" fmla="*/ 239481 h 4201882"/>
              <a:gd name="connsiteX24" fmla="*/ 1577230 w 9393163"/>
              <a:gd name="connsiteY24" fmla="*/ 3702269 h 4201882"/>
              <a:gd name="connsiteX25" fmla="*/ 2244992 w 9393163"/>
              <a:gd name="connsiteY25" fmla="*/ 3739316 h 4201882"/>
              <a:gd name="connsiteX26" fmla="*/ 1833995 w 9393163"/>
              <a:gd name="connsiteY26" fmla="*/ 4025979 h 4201882"/>
              <a:gd name="connsiteX27" fmla="*/ 1577230 w 9393163"/>
              <a:gd name="connsiteY27" fmla="*/ 3702269 h 4201882"/>
              <a:gd name="connsiteX28" fmla="*/ 3331029 w 9393163"/>
              <a:gd name="connsiteY28" fmla="*/ 273272 h 4201882"/>
              <a:gd name="connsiteX29" fmla="*/ 4231794 w 9393163"/>
              <a:gd name="connsiteY29" fmla="*/ 273272 h 4201882"/>
              <a:gd name="connsiteX30" fmla="*/ 4752524 w 9393163"/>
              <a:gd name="connsiteY30" fmla="*/ 616853 h 4201882"/>
              <a:gd name="connsiteX31" fmla="*/ 4752524 w 9393163"/>
              <a:gd name="connsiteY31" fmla="*/ 1124852 h 4201882"/>
              <a:gd name="connsiteX32" fmla="*/ 4434994 w 9393163"/>
              <a:gd name="connsiteY32" fmla="*/ 1388196 h 4201882"/>
              <a:gd name="connsiteX33" fmla="*/ 3316515 w 9393163"/>
              <a:gd name="connsiteY33" fmla="*/ 1415138 h 4201882"/>
              <a:gd name="connsiteX34" fmla="*/ 3011037 w 9393163"/>
              <a:gd name="connsiteY34" fmla="*/ 1124853 h 4201882"/>
              <a:gd name="connsiteX35" fmla="*/ 3011037 w 9393163"/>
              <a:gd name="connsiteY35" fmla="*/ 515252 h 4201882"/>
              <a:gd name="connsiteX36" fmla="*/ 3331029 w 9393163"/>
              <a:gd name="connsiteY36" fmla="*/ 273272 h 4201882"/>
              <a:gd name="connsiteX37" fmla="*/ 2390031 w 9393163"/>
              <a:gd name="connsiteY37" fmla="*/ 3714226 h 4201882"/>
              <a:gd name="connsiteX38" fmla="*/ 2213430 w 9393163"/>
              <a:gd name="connsiteY38" fmla="*/ 4187367 h 4201882"/>
              <a:gd name="connsiteX39" fmla="*/ 1560287 w 9393163"/>
              <a:gd name="connsiteY39" fmla="*/ 4201882 h 4201882"/>
              <a:gd name="connsiteX40" fmla="*/ 1296966 w 9393163"/>
              <a:gd name="connsiteY40" fmla="*/ 3724642 h 4201882"/>
              <a:gd name="connsiteX41" fmla="*/ 1925678 w 9393163"/>
              <a:gd name="connsiteY41" fmla="*/ 3125933 h 4201882"/>
              <a:gd name="connsiteX42" fmla="*/ 2390031 w 9393163"/>
              <a:gd name="connsiteY42" fmla="*/ 3714226 h 4201882"/>
              <a:gd name="connsiteX43" fmla="*/ 6596743 w 9393163"/>
              <a:gd name="connsiteY43" fmla="*/ 4042225 h 4201882"/>
              <a:gd name="connsiteX44" fmla="*/ 6380876 w 9393163"/>
              <a:gd name="connsiteY44" fmla="*/ 3607073 h 4201882"/>
              <a:gd name="connsiteX45" fmla="*/ 6957753 w 9393163"/>
              <a:gd name="connsiteY45" fmla="*/ 3737701 h 4201882"/>
              <a:gd name="connsiteX46" fmla="*/ 6596743 w 9393163"/>
              <a:gd name="connsiteY46" fmla="*/ 4042225 h 4201882"/>
              <a:gd name="connsiteX47" fmla="*/ 7232614 w 9393163"/>
              <a:gd name="connsiteY47" fmla="*/ 3685197 h 4201882"/>
              <a:gd name="connsiteX48" fmla="*/ 7032173 w 9393163"/>
              <a:gd name="connsiteY48" fmla="*/ 4158339 h 4201882"/>
              <a:gd name="connsiteX49" fmla="*/ 6306459 w 9393163"/>
              <a:gd name="connsiteY49" fmla="*/ 4201881 h 4201882"/>
              <a:gd name="connsiteX50" fmla="*/ 6042666 w 9393163"/>
              <a:gd name="connsiteY50" fmla="*/ 3691989 h 4201882"/>
              <a:gd name="connsiteX51" fmla="*/ 6642348 w 9393163"/>
              <a:gd name="connsiteY51" fmla="*/ 3071499 h 4201882"/>
              <a:gd name="connsiteX52" fmla="*/ 7232614 w 9393163"/>
              <a:gd name="connsiteY52" fmla="*/ 3685197 h 4201882"/>
              <a:gd name="connsiteX53" fmla="*/ 319315 w 9393163"/>
              <a:gd name="connsiteY53" fmla="*/ 3294739 h 4201882"/>
              <a:gd name="connsiteX54" fmla="*/ 1952174 w 9393163"/>
              <a:gd name="connsiteY54" fmla="*/ 68941 h 4201882"/>
              <a:gd name="connsiteX55" fmla="*/ 8229601 w 9393163"/>
              <a:gd name="connsiteY55" fmla="*/ 0 h 4201882"/>
              <a:gd name="connsiteX56" fmla="*/ 8773887 w 9393163"/>
              <a:gd name="connsiteY56" fmla="*/ 616852 h 4201882"/>
              <a:gd name="connsiteX57" fmla="*/ 8831945 w 9393163"/>
              <a:gd name="connsiteY57" fmla="*/ 3156852 h 4201882"/>
              <a:gd name="connsiteX58" fmla="*/ 8744857 w 9393163"/>
              <a:gd name="connsiteY58" fmla="*/ 3418109 h 4201882"/>
              <a:gd name="connsiteX59" fmla="*/ 7438574 w 9393163"/>
              <a:gd name="connsiteY59" fmla="*/ 3418110 h 4201882"/>
              <a:gd name="connsiteX60" fmla="*/ 5798459 w 9393163"/>
              <a:gd name="connsiteY60" fmla="*/ 3577767 h 4201882"/>
              <a:gd name="connsiteX61" fmla="*/ 2735943 w 9393163"/>
              <a:gd name="connsiteY61" fmla="*/ 3606795 h 4201882"/>
              <a:gd name="connsiteX62" fmla="*/ 1023259 w 9393163"/>
              <a:gd name="connsiteY62" fmla="*/ 3621309 h 4201882"/>
              <a:gd name="connsiteX63" fmla="*/ 384627 w 9393163"/>
              <a:gd name="connsiteY63" fmla="*/ 3603169 h 4201882"/>
              <a:gd name="connsiteX64" fmla="*/ 319315 w 9393163"/>
              <a:gd name="connsiteY64"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668637 w 9393163"/>
              <a:gd name="connsiteY8" fmla="*/ 573309 h 4201882"/>
              <a:gd name="connsiteX9" fmla="*/ 6668637 w 9393163"/>
              <a:gd name="connsiteY9" fmla="*/ 1066795 h 4201882"/>
              <a:gd name="connsiteX10" fmla="*/ 6320971 w 9393163"/>
              <a:gd name="connsiteY10" fmla="*/ 1371596 h 4201882"/>
              <a:gd name="connsiteX11" fmla="*/ 5219949 w 9393163"/>
              <a:gd name="connsiteY11" fmla="*/ 1398892 h 4201882"/>
              <a:gd name="connsiteX12" fmla="*/ 4955724 w 9393163"/>
              <a:gd name="connsiteY12" fmla="*/ 1153880 h 4201882"/>
              <a:gd name="connsiteX13" fmla="*/ 4955724 w 9393163"/>
              <a:gd name="connsiteY13" fmla="*/ 587823 h 4201882"/>
              <a:gd name="connsiteX14" fmla="*/ 5229866 w 9393163"/>
              <a:gd name="connsiteY14" fmla="*/ 270402 h 4201882"/>
              <a:gd name="connsiteX15" fmla="*/ 6303698 w 9393163"/>
              <a:gd name="connsiteY15" fmla="*/ 262384 h 4201882"/>
              <a:gd name="connsiteX16" fmla="*/ 7133772 w 9393163"/>
              <a:gd name="connsiteY16" fmla="*/ 239481 h 4201882"/>
              <a:gd name="connsiteX17" fmla="*/ 8278552 w 9393163"/>
              <a:gd name="connsiteY17" fmla="*/ 253718 h 4201882"/>
              <a:gd name="connsiteX18" fmla="*/ 8556174 w 9393163"/>
              <a:gd name="connsiteY18" fmla="*/ 602338 h 4201882"/>
              <a:gd name="connsiteX19" fmla="*/ 8614231 w 9393163"/>
              <a:gd name="connsiteY19" fmla="*/ 936166 h 4201882"/>
              <a:gd name="connsiteX20" fmla="*/ 8427390 w 9393163"/>
              <a:gd name="connsiteY20" fmla="*/ 1327775 h 4201882"/>
              <a:gd name="connsiteX21" fmla="*/ 7191829 w 9393163"/>
              <a:gd name="connsiteY21" fmla="*/ 1400624 h 4201882"/>
              <a:gd name="connsiteX22" fmla="*/ 6857549 w 9393163"/>
              <a:gd name="connsiteY22" fmla="*/ 1095823 h 4201882"/>
              <a:gd name="connsiteX23" fmla="*/ 6857549 w 9393163"/>
              <a:gd name="connsiteY23" fmla="*/ 631366 h 4201882"/>
              <a:gd name="connsiteX24" fmla="*/ 7133772 w 9393163"/>
              <a:gd name="connsiteY24" fmla="*/ 239481 h 4201882"/>
              <a:gd name="connsiteX25" fmla="*/ 1577230 w 9393163"/>
              <a:gd name="connsiteY25" fmla="*/ 3702269 h 4201882"/>
              <a:gd name="connsiteX26" fmla="*/ 2244992 w 9393163"/>
              <a:gd name="connsiteY26" fmla="*/ 3739316 h 4201882"/>
              <a:gd name="connsiteX27" fmla="*/ 1833995 w 9393163"/>
              <a:gd name="connsiteY27" fmla="*/ 4025979 h 4201882"/>
              <a:gd name="connsiteX28" fmla="*/ 1577230 w 9393163"/>
              <a:gd name="connsiteY28" fmla="*/ 3702269 h 4201882"/>
              <a:gd name="connsiteX29" fmla="*/ 3331029 w 9393163"/>
              <a:gd name="connsiteY29" fmla="*/ 273272 h 4201882"/>
              <a:gd name="connsiteX30" fmla="*/ 4231794 w 9393163"/>
              <a:gd name="connsiteY30" fmla="*/ 273272 h 4201882"/>
              <a:gd name="connsiteX31" fmla="*/ 4752524 w 9393163"/>
              <a:gd name="connsiteY31" fmla="*/ 616853 h 4201882"/>
              <a:gd name="connsiteX32" fmla="*/ 4752524 w 9393163"/>
              <a:gd name="connsiteY32" fmla="*/ 1124852 h 4201882"/>
              <a:gd name="connsiteX33" fmla="*/ 4434994 w 9393163"/>
              <a:gd name="connsiteY33" fmla="*/ 1388196 h 4201882"/>
              <a:gd name="connsiteX34" fmla="*/ 3316515 w 9393163"/>
              <a:gd name="connsiteY34" fmla="*/ 1415138 h 4201882"/>
              <a:gd name="connsiteX35" fmla="*/ 3011037 w 9393163"/>
              <a:gd name="connsiteY35" fmla="*/ 1124853 h 4201882"/>
              <a:gd name="connsiteX36" fmla="*/ 3011037 w 9393163"/>
              <a:gd name="connsiteY36" fmla="*/ 515252 h 4201882"/>
              <a:gd name="connsiteX37" fmla="*/ 3331029 w 9393163"/>
              <a:gd name="connsiteY37" fmla="*/ 273272 h 4201882"/>
              <a:gd name="connsiteX38" fmla="*/ 2390031 w 9393163"/>
              <a:gd name="connsiteY38" fmla="*/ 3714226 h 4201882"/>
              <a:gd name="connsiteX39" fmla="*/ 2213430 w 9393163"/>
              <a:gd name="connsiteY39" fmla="*/ 4187367 h 4201882"/>
              <a:gd name="connsiteX40" fmla="*/ 1560287 w 9393163"/>
              <a:gd name="connsiteY40" fmla="*/ 4201882 h 4201882"/>
              <a:gd name="connsiteX41" fmla="*/ 1296966 w 9393163"/>
              <a:gd name="connsiteY41" fmla="*/ 3724642 h 4201882"/>
              <a:gd name="connsiteX42" fmla="*/ 1925678 w 9393163"/>
              <a:gd name="connsiteY42" fmla="*/ 3125933 h 4201882"/>
              <a:gd name="connsiteX43" fmla="*/ 2390031 w 9393163"/>
              <a:gd name="connsiteY43" fmla="*/ 3714226 h 4201882"/>
              <a:gd name="connsiteX44" fmla="*/ 6596743 w 9393163"/>
              <a:gd name="connsiteY44" fmla="*/ 4042225 h 4201882"/>
              <a:gd name="connsiteX45" fmla="*/ 6380876 w 9393163"/>
              <a:gd name="connsiteY45" fmla="*/ 3607073 h 4201882"/>
              <a:gd name="connsiteX46" fmla="*/ 6957753 w 9393163"/>
              <a:gd name="connsiteY46" fmla="*/ 3737701 h 4201882"/>
              <a:gd name="connsiteX47" fmla="*/ 6596743 w 9393163"/>
              <a:gd name="connsiteY47" fmla="*/ 4042225 h 4201882"/>
              <a:gd name="connsiteX48" fmla="*/ 7232614 w 9393163"/>
              <a:gd name="connsiteY48" fmla="*/ 3685197 h 4201882"/>
              <a:gd name="connsiteX49" fmla="*/ 7032173 w 9393163"/>
              <a:gd name="connsiteY49" fmla="*/ 4158339 h 4201882"/>
              <a:gd name="connsiteX50" fmla="*/ 6306459 w 9393163"/>
              <a:gd name="connsiteY50" fmla="*/ 4201881 h 4201882"/>
              <a:gd name="connsiteX51" fmla="*/ 6042666 w 9393163"/>
              <a:gd name="connsiteY51" fmla="*/ 3691989 h 4201882"/>
              <a:gd name="connsiteX52" fmla="*/ 6642348 w 9393163"/>
              <a:gd name="connsiteY52" fmla="*/ 3071499 h 4201882"/>
              <a:gd name="connsiteX53" fmla="*/ 7232614 w 9393163"/>
              <a:gd name="connsiteY53" fmla="*/ 3685197 h 4201882"/>
              <a:gd name="connsiteX54" fmla="*/ 319315 w 9393163"/>
              <a:gd name="connsiteY54" fmla="*/ 3294739 h 4201882"/>
              <a:gd name="connsiteX55" fmla="*/ 1952174 w 9393163"/>
              <a:gd name="connsiteY55" fmla="*/ 68941 h 4201882"/>
              <a:gd name="connsiteX56" fmla="*/ 8229601 w 9393163"/>
              <a:gd name="connsiteY56" fmla="*/ 0 h 4201882"/>
              <a:gd name="connsiteX57" fmla="*/ 8773887 w 9393163"/>
              <a:gd name="connsiteY57" fmla="*/ 616852 h 4201882"/>
              <a:gd name="connsiteX58" fmla="*/ 8831945 w 9393163"/>
              <a:gd name="connsiteY58" fmla="*/ 3156852 h 4201882"/>
              <a:gd name="connsiteX59" fmla="*/ 8744857 w 9393163"/>
              <a:gd name="connsiteY59" fmla="*/ 3418109 h 4201882"/>
              <a:gd name="connsiteX60" fmla="*/ 7438574 w 9393163"/>
              <a:gd name="connsiteY60" fmla="*/ 3418110 h 4201882"/>
              <a:gd name="connsiteX61" fmla="*/ 5798459 w 9393163"/>
              <a:gd name="connsiteY61" fmla="*/ 3577767 h 4201882"/>
              <a:gd name="connsiteX62" fmla="*/ 2735943 w 9393163"/>
              <a:gd name="connsiteY62" fmla="*/ 3606795 h 4201882"/>
              <a:gd name="connsiteX63" fmla="*/ 1023259 w 9393163"/>
              <a:gd name="connsiteY63" fmla="*/ 3621309 h 4201882"/>
              <a:gd name="connsiteX64" fmla="*/ 384627 w 9393163"/>
              <a:gd name="connsiteY64" fmla="*/ 3603169 h 4201882"/>
              <a:gd name="connsiteX65" fmla="*/ 319315 w 9393163"/>
              <a:gd name="connsiteY65"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668637 w 9393163"/>
              <a:gd name="connsiteY8" fmla="*/ 573309 h 4201882"/>
              <a:gd name="connsiteX9" fmla="*/ 6668637 w 9393163"/>
              <a:gd name="connsiteY9" fmla="*/ 1066795 h 4201882"/>
              <a:gd name="connsiteX10" fmla="*/ 6320971 w 9393163"/>
              <a:gd name="connsiteY10" fmla="*/ 1371596 h 4201882"/>
              <a:gd name="connsiteX11" fmla="*/ 5219949 w 9393163"/>
              <a:gd name="connsiteY11" fmla="*/ 1398892 h 4201882"/>
              <a:gd name="connsiteX12" fmla="*/ 4955724 w 9393163"/>
              <a:gd name="connsiteY12" fmla="*/ 1153880 h 4201882"/>
              <a:gd name="connsiteX13" fmla="*/ 4955724 w 9393163"/>
              <a:gd name="connsiteY13" fmla="*/ 587823 h 4201882"/>
              <a:gd name="connsiteX14" fmla="*/ 5229866 w 9393163"/>
              <a:gd name="connsiteY14" fmla="*/ 270402 h 4201882"/>
              <a:gd name="connsiteX15" fmla="*/ 6303698 w 9393163"/>
              <a:gd name="connsiteY15" fmla="*/ 262384 h 4201882"/>
              <a:gd name="connsiteX16" fmla="*/ 7133772 w 9393163"/>
              <a:gd name="connsiteY16" fmla="*/ 239481 h 4201882"/>
              <a:gd name="connsiteX17" fmla="*/ 8278552 w 9393163"/>
              <a:gd name="connsiteY17" fmla="*/ 253718 h 4201882"/>
              <a:gd name="connsiteX18" fmla="*/ 8556174 w 9393163"/>
              <a:gd name="connsiteY18" fmla="*/ 602338 h 4201882"/>
              <a:gd name="connsiteX19" fmla="*/ 8614231 w 9393163"/>
              <a:gd name="connsiteY19" fmla="*/ 936166 h 4201882"/>
              <a:gd name="connsiteX20" fmla="*/ 8427390 w 9393163"/>
              <a:gd name="connsiteY20" fmla="*/ 1327775 h 4201882"/>
              <a:gd name="connsiteX21" fmla="*/ 7191829 w 9393163"/>
              <a:gd name="connsiteY21" fmla="*/ 1400624 h 4201882"/>
              <a:gd name="connsiteX22" fmla="*/ 6857549 w 9393163"/>
              <a:gd name="connsiteY22" fmla="*/ 1095823 h 4201882"/>
              <a:gd name="connsiteX23" fmla="*/ 6857549 w 9393163"/>
              <a:gd name="connsiteY23" fmla="*/ 631366 h 4201882"/>
              <a:gd name="connsiteX24" fmla="*/ 7133772 w 9393163"/>
              <a:gd name="connsiteY24" fmla="*/ 239481 h 4201882"/>
              <a:gd name="connsiteX25" fmla="*/ 1577230 w 9393163"/>
              <a:gd name="connsiteY25" fmla="*/ 3702269 h 4201882"/>
              <a:gd name="connsiteX26" fmla="*/ 2244992 w 9393163"/>
              <a:gd name="connsiteY26" fmla="*/ 3739316 h 4201882"/>
              <a:gd name="connsiteX27" fmla="*/ 1833995 w 9393163"/>
              <a:gd name="connsiteY27" fmla="*/ 4025979 h 4201882"/>
              <a:gd name="connsiteX28" fmla="*/ 1577230 w 9393163"/>
              <a:gd name="connsiteY28" fmla="*/ 3702269 h 4201882"/>
              <a:gd name="connsiteX29" fmla="*/ 3331029 w 9393163"/>
              <a:gd name="connsiteY29" fmla="*/ 273272 h 4201882"/>
              <a:gd name="connsiteX30" fmla="*/ 4231794 w 9393163"/>
              <a:gd name="connsiteY30" fmla="*/ 273272 h 4201882"/>
              <a:gd name="connsiteX31" fmla="*/ 4752524 w 9393163"/>
              <a:gd name="connsiteY31" fmla="*/ 616853 h 4201882"/>
              <a:gd name="connsiteX32" fmla="*/ 4752524 w 9393163"/>
              <a:gd name="connsiteY32" fmla="*/ 1124852 h 4201882"/>
              <a:gd name="connsiteX33" fmla="*/ 4434994 w 9393163"/>
              <a:gd name="connsiteY33" fmla="*/ 1388196 h 4201882"/>
              <a:gd name="connsiteX34" fmla="*/ 3316515 w 9393163"/>
              <a:gd name="connsiteY34" fmla="*/ 1415138 h 4201882"/>
              <a:gd name="connsiteX35" fmla="*/ 3011037 w 9393163"/>
              <a:gd name="connsiteY35" fmla="*/ 1124853 h 4201882"/>
              <a:gd name="connsiteX36" fmla="*/ 3011037 w 9393163"/>
              <a:gd name="connsiteY36" fmla="*/ 515252 h 4201882"/>
              <a:gd name="connsiteX37" fmla="*/ 3331029 w 9393163"/>
              <a:gd name="connsiteY37" fmla="*/ 273272 h 4201882"/>
              <a:gd name="connsiteX38" fmla="*/ 2390031 w 9393163"/>
              <a:gd name="connsiteY38" fmla="*/ 3714226 h 4201882"/>
              <a:gd name="connsiteX39" fmla="*/ 2213430 w 9393163"/>
              <a:gd name="connsiteY39" fmla="*/ 4187367 h 4201882"/>
              <a:gd name="connsiteX40" fmla="*/ 1560287 w 9393163"/>
              <a:gd name="connsiteY40" fmla="*/ 4201882 h 4201882"/>
              <a:gd name="connsiteX41" fmla="*/ 1296966 w 9393163"/>
              <a:gd name="connsiteY41" fmla="*/ 3724642 h 4201882"/>
              <a:gd name="connsiteX42" fmla="*/ 1925678 w 9393163"/>
              <a:gd name="connsiteY42" fmla="*/ 3125933 h 4201882"/>
              <a:gd name="connsiteX43" fmla="*/ 2390031 w 9393163"/>
              <a:gd name="connsiteY43" fmla="*/ 3714226 h 4201882"/>
              <a:gd name="connsiteX44" fmla="*/ 6596743 w 9393163"/>
              <a:gd name="connsiteY44" fmla="*/ 4042225 h 4201882"/>
              <a:gd name="connsiteX45" fmla="*/ 6380876 w 9393163"/>
              <a:gd name="connsiteY45" fmla="*/ 3607073 h 4201882"/>
              <a:gd name="connsiteX46" fmla="*/ 6957753 w 9393163"/>
              <a:gd name="connsiteY46" fmla="*/ 3737701 h 4201882"/>
              <a:gd name="connsiteX47" fmla="*/ 6596743 w 9393163"/>
              <a:gd name="connsiteY47" fmla="*/ 4042225 h 4201882"/>
              <a:gd name="connsiteX48" fmla="*/ 7232614 w 9393163"/>
              <a:gd name="connsiteY48" fmla="*/ 3685197 h 4201882"/>
              <a:gd name="connsiteX49" fmla="*/ 7032173 w 9393163"/>
              <a:gd name="connsiteY49" fmla="*/ 4158339 h 4201882"/>
              <a:gd name="connsiteX50" fmla="*/ 6306459 w 9393163"/>
              <a:gd name="connsiteY50" fmla="*/ 4201881 h 4201882"/>
              <a:gd name="connsiteX51" fmla="*/ 6042666 w 9393163"/>
              <a:gd name="connsiteY51" fmla="*/ 3691989 h 4201882"/>
              <a:gd name="connsiteX52" fmla="*/ 6642348 w 9393163"/>
              <a:gd name="connsiteY52" fmla="*/ 3071499 h 4201882"/>
              <a:gd name="connsiteX53" fmla="*/ 7232614 w 9393163"/>
              <a:gd name="connsiteY53" fmla="*/ 3685197 h 4201882"/>
              <a:gd name="connsiteX54" fmla="*/ 319315 w 9393163"/>
              <a:gd name="connsiteY54" fmla="*/ 3294739 h 4201882"/>
              <a:gd name="connsiteX55" fmla="*/ 1952174 w 9393163"/>
              <a:gd name="connsiteY55" fmla="*/ 68941 h 4201882"/>
              <a:gd name="connsiteX56" fmla="*/ 8229601 w 9393163"/>
              <a:gd name="connsiteY56" fmla="*/ 0 h 4201882"/>
              <a:gd name="connsiteX57" fmla="*/ 8773887 w 9393163"/>
              <a:gd name="connsiteY57" fmla="*/ 616852 h 4201882"/>
              <a:gd name="connsiteX58" fmla="*/ 8831945 w 9393163"/>
              <a:gd name="connsiteY58" fmla="*/ 3156852 h 4201882"/>
              <a:gd name="connsiteX59" fmla="*/ 8744857 w 9393163"/>
              <a:gd name="connsiteY59" fmla="*/ 3418109 h 4201882"/>
              <a:gd name="connsiteX60" fmla="*/ 7438574 w 9393163"/>
              <a:gd name="connsiteY60" fmla="*/ 3418110 h 4201882"/>
              <a:gd name="connsiteX61" fmla="*/ 5798459 w 9393163"/>
              <a:gd name="connsiteY61" fmla="*/ 3577767 h 4201882"/>
              <a:gd name="connsiteX62" fmla="*/ 2735943 w 9393163"/>
              <a:gd name="connsiteY62" fmla="*/ 3606795 h 4201882"/>
              <a:gd name="connsiteX63" fmla="*/ 1023259 w 9393163"/>
              <a:gd name="connsiteY63" fmla="*/ 3621309 h 4201882"/>
              <a:gd name="connsiteX64" fmla="*/ 384627 w 9393163"/>
              <a:gd name="connsiteY64" fmla="*/ 3603169 h 4201882"/>
              <a:gd name="connsiteX65" fmla="*/ 319315 w 9393163"/>
              <a:gd name="connsiteY65"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668637 w 9393163"/>
              <a:gd name="connsiteY8" fmla="*/ 573309 h 4201882"/>
              <a:gd name="connsiteX9" fmla="*/ 6668637 w 9393163"/>
              <a:gd name="connsiteY9" fmla="*/ 1066795 h 4201882"/>
              <a:gd name="connsiteX10" fmla="*/ 6320971 w 9393163"/>
              <a:gd name="connsiteY10" fmla="*/ 1371596 h 4201882"/>
              <a:gd name="connsiteX11" fmla="*/ 5219949 w 9393163"/>
              <a:gd name="connsiteY11" fmla="*/ 1398892 h 4201882"/>
              <a:gd name="connsiteX12" fmla="*/ 4955724 w 9393163"/>
              <a:gd name="connsiteY12" fmla="*/ 1153880 h 4201882"/>
              <a:gd name="connsiteX13" fmla="*/ 4955724 w 9393163"/>
              <a:gd name="connsiteY13" fmla="*/ 587823 h 4201882"/>
              <a:gd name="connsiteX14" fmla="*/ 5229866 w 9393163"/>
              <a:gd name="connsiteY14" fmla="*/ 270402 h 4201882"/>
              <a:gd name="connsiteX15" fmla="*/ 6303698 w 9393163"/>
              <a:gd name="connsiteY15" fmla="*/ 262384 h 4201882"/>
              <a:gd name="connsiteX16" fmla="*/ 7133772 w 9393163"/>
              <a:gd name="connsiteY16" fmla="*/ 239481 h 4201882"/>
              <a:gd name="connsiteX17" fmla="*/ 8278552 w 9393163"/>
              <a:gd name="connsiteY17" fmla="*/ 253718 h 4201882"/>
              <a:gd name="connsiteX18" fmla="*/ 8556174 w 9393163"/>
              <a:gd name="connsiteY18" fmla="*/ 602338 h 4201882"/>
              <a:gd name="connsiteX19" fmla="*/ 8614231 w 9393163"/>
              <a:gd name="connsiteY19" fmla="*/ 936166 h 4201882"/>
              <a:gd name="connsiteX20" fmla="*/ 8427390 w 9393163"/>
              <a:gd name="connsiteY20" fmla="*/ 1327775 h 4201882"/>
              <a:gd name="connsiteX21" fmla="*/ 7191829 w 9393163"/>
              <a:gd name="connsiteY21" fmla="*/ 1400624 h 4201882"/>
              <a:gd name="connsiteX22" fmla="*/ 6857549 w 9393163"/>
              <a:gd name="connsiteY22" fmla="*/ 1095823 h 4201882"/>
              <a:gd name="connsiteX23" fmla="*/ 6857549 w 9393163"/>
              <a:gd name="connsiteY23" fmla="*/ 631366 h 4201882"/>
              <a:gd name="connsiteX24" fmla="*/ 7133772 w 9393163"/>
              <a:gd name="connsiteY24" fmla="*/ 239481 h 4201882"/>
              <a:gd name="connsiteX25" fmla="*/ 1577230 w 9393163"/>
              <a:gd name="connsiteY25" fmla="*/ 3702269 h 4201882"/>
              <a:gd name="connsiteX26" fmla="*/ 2244992 w 9393163"/>
              <a:gd name="connsiteY26" fmla="*/ 3739316 h 4201882"/>
              <a:gd name="connsiteX27" fmla="*/ 1833995 w 9393163"/>
              <a:gd name="connsiteY27" fmla="*/ 4025979 h 4201882"/>
              <a:gd name="connsiteX28" fmla="*/ 1577230 w 9393163"/>
              <a:gd name="connsiteY28" fmla="*/ 3702269 h 4201882"/>
              <a:gd name="connsiteX29" fmla="*/ 3331029 w 9393163"/>
              <a:gd name="connsiteY29" fmla="*/ 273272 h 4201882"/>
              <a:gd name="connsiteX30" fmla="*/ 4231794 w 9393163"/>
              <a:gd name="connsiteY30" fmla="*/ 273272 h 4201882"/>
              <a:gd name="connsiteX31" fmla="*/ 4752524 w 9393163"/>
              <a:gd name="connsiteY31" fmla="*/ 616853 h 4201882"/>
              <a:gd name="connsiteX32" fmla="*/ 4752524 w 9393163"/>
              <a:gd name="connsiteY32" fmla="*/ 1124852 h 4201882"/>
              <a:gd name="connsiteX33" fmla="*/ 4434994 w 9393163"/>
              <a:gd name="connsiteY33" fmla="*/ 1388196 h 4201882"/>
              <a:gd name="connsiteX34" fmla="*/ 3316515 w 9393163"/>
              <a:gd name="connsiteY34" fmla="*/ 1415138 h 4201882"/>
              <a:gd name="connsiteX35" fmla="*/ 3011037 w 9393163"/>
              <a:gd name="connsiteY35" fmla="*/ 1124853 h 4201882"/>
              <a:gd name="connsiteX36" fmla="*/ 3011037 w 9393163"/>
              <a:gd name="connsiteY36" fmla="*/ 515252 h 4201882"/>
              <a:gd name="connsiteX37" fmla="*/ 3331029 w 9393163"/>
              <a:gd name="connsiteY37" fmla="*/ 273272 h 4201882"/>
              <a:gd name="connsiteX38" fmla="*/ 2390031 w 9393163"/>
              <a:gd name="connsiteY38" fmla="*/ 3714226 h 4201882"/>
              <a:gd name="connsiteX39" fmla="*/ 2213430 w 9393163"/>
              <a:gd name="connsiteY39" fmla="*/ 4187367 h 4201882"/>
              <a:gd name="connsiteX40" fmla="*/ 1560287 w 9393163"/>
              <a:gd name="connsiteY40" fmla="*/ 4201882 h 4201882"/>
              <a:gd name="connsiteX41" fmla="*/ 1296966 w 9393163"/>
              <a:gd name="connsiteY41" fmla="*/ 3724642 h 4201882"/>
              <a:gd name="connsiteX42" fmla="*/ 1925678 w 9393163"/>
              <a:gd name="connsiteY42" fmla="*/ 3125933 h 4201882"/>
              <a:gd name="connsiteX43" fmla="*/ 2390031 w 9393163"/>
              <a:gd name="connsiteY43" fmla="*/ 3714226 h 4201882"/>
              <a:gd name="connsiteX44" fmla="*/ 6596743 w 9393163"/>
              <a:gd name="connsiteY44" fmla="*/ 4042225 h 4201882"/>
              <a:gd name="connsiteX45" fmla="*/ 6380876 w 9393163"/>
              <a:gd name="connsiteY45" fmla="*/ 3607073 h 4201882"/>
              <a:gd name="connsiteX46" fmla="*/ 6957753 w 9393163"/>
              <a:gd name="connsiteY46" fmla="*/ 3737701 h 4201882"/>
              <a:gd name="connsiteX47" fmla="*/ 6596743 w 9393163"/>
              <a:gd name="connsiteY47" fmla="*/ 4042225 h 4201882"/>
              <a:gd name="connsiteX48" fmla="*/ 7232614 w 9393163"/>
              <a:gd name="connsiteY48" fmla="*/ 3685197 h 4201882"/>
              <a:gd name="connsiteX49" fmla="*/ 7032173 w 9393163"/>
              <a:gd name="connsiteY49" fmla="*/ 4158339 h 4201882"/>
              <a:gd name="connsiteX50" fmla="*/ 6306459 w 9393163"/>
              <a:gd name="connsiteY50" fmla="*/ 4201881 h 4201882"/>
              <a:gd name="connsiteX51" fmla="*/ 6042666 w 9393163"/>
              <a:gd name="connsiteY51" fmla="*/ 3691989 h 4201882"/>
              <a:gd name="connsiteX52" fmla="*/ 6642348 w 9393163"/>
              <a:gd name="connsiteY52" fmla="*/ 3071499 h 4201882"/>
              <a:gd name="connsiteX53" fmla="*/ 7232614 w 9393163"/>
              <a:gd name="connsiteY53" fmla="*/ 3685197 h 4201882"/>
              <a:gd name="connsiteX54" fmla="*/ 319315 w 9393163"/>
              <a:gd name="connsiteY54" fmla="*/ 3294739 h 4201882"/>
              <a:gd name="connsiteX55" fmla="*/ 1952174 w 9393163"/>
              <a:gd name="connsiteY55" fmla="*/ 68941 h 4201882"/>
              <a:gd name="connsiteX56" fmla="*/ 8229601 w 9393163"/>
              <a:gd name="connsiteY56" fmla="*/ 0 h 4201882"/>
              <a:gd name="connsiteX57" fmla="*/ 8773887 w 9393163"/>
              <a:gd name="connsiteY57" fmla="*/ 616852 h 4201882"/>
              <a:gd name="connsiteX58" fmla="*/ 8831945 w 9393163"/>
              <a:gd name="connsiteY58" fmla="*/ 3156852 h 4201882"/>
              <a:gd name="connsiteX59" fmla="*/ 8744857 w 9393163"/>
              <a:gd name="connsiteY59" fmla="*/ 3418109 h 4201882"/>
              <a:gd name="connsiteX60" fmla="*/ 7438574 w 9393163"/>
              <a:gd name="connsiteY60" fmla="*/ 3418110 h 4201882"/>
              <a:gd name="connsiteX61" fmla="*/ 5798459 w 9393163"/>
              <a:gd name="connsiteY61" fmla="*/ 3577767 h 4201882"/>
              <a:gd name="connsiteX62" fmla="*/ 2735943 w 9393163"/>
              <a:gd name="connsiteY62" fmla="*/ 3606795 h 4201882"/>
              <a:gd name="connsiteX63" fmla="*/ 1023259 w 9393163"/>
              <a:gd name="connsiteY63" fmla="*/ 3621309 h 4201882"/>
              <a:gd name="connsiteX64" fmla="*/ 384627 w 9393163"/>
              <a:gd name="connsiteY64" fmla="*/ 3603169 h 4201882"/>
              <a:gd name="connsiteX65" fmla="*/ 319315 w 9393163"/>
              <a:gd name="connsiteY65"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668637 w 9393163"/>
              <a:gd name="connsiteY8" fmla="*/ 573309 h 4201882"/>
              <a:gd name="connsiteX9" fmla="*/ 6668637 w 9393163"/>
              <a:gd name="connsiteY9" fmla="*/ 1066795 h 4201882"/>
              <a:gd name="connsiteX10" fmla="*/ 6320971 w 9393163"/>
              <a:gd name="connsiteY10" fmla="*/ 1371596 h 4201882"/>
              <a:gd name="connsiteX11" fmla="*/ 5219949 w 9393163"/>
              <a:gd name="connsiteY11" fmla="*/ 1398892 h 4201882"/>
              <a:gd name="connsiteX12" fmla="*/ 4955724 w 9393163"/>
              <a:gd name="connsiteY12" fmla="*/ 1153880 h 4201882"/>
              <a:gd name="connsiteX13" fmla="*/ 4955724 w 9393163"/>
              <a:gd name="connsiteY13" fmla="*/ 587823 h 4201882"/>
              <a:gd name="connsiteX14" fmla="*/ 5229866 w 9393163"/>
              <a:gd name="connsiteY14" fmla="*/ 270402 h 4201882"/>
              <a:gd name="connsiteX15" fmla="*/ 6303698 w 9393163"/>
              <a:gd name="connsiteY15" fmla="*/ 262384 h 4201882"/>
              <a:gd name="connsiteX16" fmla="*/ 7133772 w 9393163"/>
              <a:gd name="connsiteY16" fmla="*/ 239481 h 4201882"/>
              <a:gd name="connsiteX17" fmla="*/ 8278552 w 9393163"/>
              <a:gd name="connsiteY17" fmla="*/ 253718 h 4201882"/>
              <a:gd name="connsiteX18" fmla="*/ 8556174 w 9393163"/>
              <a:gd name="connsiteY18" fmla="*/ 602338 h 4201882"/>
              <a:gd name="connsiteX19" fmla="*/ 8614231 w 9393163"/>
              <a:gd name="connsiteY19" fmla="*/ 936166 h 4201882"/>
              <a:gd name="connsiteX20" fmla="*/ 8427390 w 9393163"/>
              <a:gd name="connsiteY20" fmla="*/ 1327775 h 4201882"/>
              <a:gd name="connsiteX21" fmla="*/ 7191829 w 9393163"/>
              <a:gd name="connsiteY21" fmla="*/ 1400624 h 4201882"/>
              <a:gd name="connsiteX22" fmla="*/ 6857549 w 9393163"/>
              <a:gd name="connsiteY22" fmla="*/ 1095823 h 4201882"/>
              <a:gd name="connsiteX23" fmla="*/ 6857549 w 9393163"/>
              <a:gd name="connsiteY23" fmla="*/ 631366 h 4201882"/>
              <a:gd name="connsiteX24" fmla="*/ 7133772 w 9393163"/>
              <a:gd name="connsiteY24" fmla="*/ 239481 h 4201882"/>
              <a:gd name="connsiteX25" fmla="*/ 1577230 w 9393163"/>
              <a:gd name="connsiteY25" fmla="*/ 3702269 h 4201882"/>
              <a:gd name="connsiteX26" fmla="*/ 2244992 w 9393163"/>
              <a:gd name="connsiteY26" fmla="*/ 3739316 h 4201882"/>
              <a:gd name="connsiteX27" fmla="*/ 1833995 w 9393163"/>
              <a:gd name="connsiteY27" fmla="*/ 4025979 h 4201882"/>
              <a:gd name="connsiteX28" fmla="*/ 1577230 w 9393163"/>
              <a:gd name="connsiteY28" fmla="*/ 3702269 h 4201882"/>
              <a:gd name="connsiteX29" fmla="*/ 3331029 w 9393163"/>
              <a:gd name="connsiteY29" fmla="*/ 273272 h 4201882"/>
              <a:gd name="connsiteX30" fmla="*/ 4231794 w 9393163"/>
              <a:gd name="connsiteY30" fmla="*/ 273272 h 4201882"/>
              <a:gd name="connsiteX31" fmla="*/ 4752524 w 9393163"/>
              <a:gd name="connsiteY31" fmla="*/ 616853 h 4201882"/>
              <a:gd name="connsiteX32" fmla="*/ 4752524 w 9393163"/>
              <a:gd name="connsiteY32" fmla="*/ 1124852 h 4201882"/>
              <a:gd name="connsiteX33" fmla="*/ 4434994 w 9393163"/>
              <a:gd name="connsiteY33" fmla="*/ 1388196 h 4201882"/>
              <a:gd name="connsiteX34" fmla="*/ 3316515 w 9393163"/>
              <a:gd name="connsiteY34" fmla="*/ 1415138 h 4201882"/>
              <a:gd name="connsiteX35" fmla="*/ 3011037 w 9393163"/>
              <a:gd name="connsiteY35" fmla="*/ 1124853 h 4201882"/>
              <a:gd name="connsiteX36" fmla="*/ 3011037 w 9393163"/>
              <a:gd name="connsiteY36" fmla="*/ 515252 h 4201882"/>
              <a:gd name="connsiteX37" fmla="*/ 3331029 w 9393163"/>
              <a:gd name="connsiteY37" fmla="*/ 273272 h 4201882"/>
              <a:gd name="connsiteX38" fmla="*/ 2390031 w 9393163"/>
              <a:gd name="connsiteY38" fmla="*/ 3714226 h 4201882"/>
              <a:gd name="connsiteX39" fmla="*/ 2213430 w 9393163"/>
              <a:gd name="connsiteY39" fmla="*/ 4187367 h 4201882"/>
              <a:gd name="connsiteX40" fmla="*/ 1560287 w 9393163"/>
              <a:gd name="connsiteY40" fmla="*/ 4201882 h 4201882"/>
              <a:gd name="connsiteX41" fmla="*/ 1296966 w 9393163"/>
              <a:gd name="connsiteY41" fmla="*/ 3724642 h 4201882"/>
              <a:gd name="connsiteX42" fmla="*/ 1925678 w 9393163"/>
              <a:gd name="connsiteY42" fmla="*/ 3125933 h 4201882"/>
              <a:gd name="connsiteX43" fmla="*/ 2390031 w 9393163"/>
              <a:gd name="connsiteY43" fmla="*/ 3714226 h 4201882"/>
              <a:gd name="connsiteX44" fmla="*/ 6596743 w 9393163"/>
              <a:gd name="connsiteY44" fmla="*/ 4042225 h 4201882"/>
              <a:gd name="connsiteX45" fmla="*/ 6380876 w 9393163"/>
              <a:gd name="connsiteY45" fmla="*/ 3607073 h 4201882"/>
              <a:gd name="connsiteX46" fmla="*/ 6957753 w 9393163"/>
              <a:gd name="connsiteY46" fmla="*/ 3737701 h 4201882"/>
              <a:gd name="connsiteX47" fmla="*/ 6596743 w 9393163"/>
              <a:gd name="connsiteY47" fmla="*/ 4042225 h 4201882"/>
              <a:gd name="connsiteX48" fmla="*/ 7232614 w 9393163"/>
              <a:gd name="connsiteY48" fmla="*/ 3685197 h 4201882"/>
              <a:gd name="connsiteX49" fmla="*/ 7032173 w 9393163"/>
              <a:gd name="connsiteY49" fmla="*/ 4158339 h 4201882"/>
              <a:gd name="connsiteX50" fmla="*/ 6306459 w 9393163"/>
              <a:gd name="connsiteY50" fmla="*/ 4201881 h 4201882"/>
              <a:gd name="connsiteX51" fmla="*/ 6042666 w 9393163"/>
              <a:gd name="connsiteY51" fmla="*/ 3691989 h 4201882"/>
              <a:gd name="connsiteX52" fmla="*/ 6642348 w 9393163"/>
              <a:gd name="connsiteY52" fmla="*/ 3071499 h 4201882"/>
              <a:gd name="connsiteX53" fmla="*/ 7232614 w 9393163"/>
              <a:gd name="connsiteY53" fmla="*/ 3685197 h 4201882"/>
              <a:gd name="connsiteX54" fmla="*/ 319315 w 9393163"/>
              <a:gd name="connsiteY54" fmla="*/ 3294739 h 4201882"/>
              <a:gd name="connsiteX55" fmla="*/ 1952174 w 9393163"/>
              <a:gd name="connsiteY55" fmla="*/ 68941 h 4201882"/>
              <a:gd name="connsiteX56" fmla="*/ 8229601 w 9393163"/>
              <a:gd name="connsiteY56" fmla="*/ 0 h 4201882"/>
              <a:gd name="connsiteX57" fmla="*/ 8773887 w 9393163"/>
              <a:gd name="connsiteY57" fmla="*/ 616852 h 4201882"/>
              <a:gd name="connsiteX58" fmla="*/ 8831945 w 9393163"/>
              <a:gd name="connsiteY58" fmla="*/ 3156852 h 4201882"/>
              <a:gd name="connsiteX59" fmla="*/ 8744857 w 9393163"/>
              <a:gd name="connsiteY59" fmla="*/ 3418109 h 4201882"/>
              <a:gd name="connsiteX60" fmla="*/ 7438574 w 9393163"/>
              <a:gd name="connsiteY60" fmla="*/ 3418110 h 4201882"/>
              <a:gd name="connsiteX61" fmla="*/ 5798459 w 9393163"/>
              <a:gd name="connsiteY61" fmla="*/ 3577767 h 4201882"/>
              <a:gd name="connsiteX62" fmla="*/ 2735943 w 9393163"/>
              <a:gd name="connsiteY62" fmla="*/ 3606795 h 4201882"/>
              <a:gd name="connsiteX63" fmla="*/ 1023259 w 9393163"/>
              <a:gd name="connsiteY63" fmla="*/ 3621309 h 4201882"/>
              <a:gd name="connsiteX64" fmla="*/ 384627 w 9393163"/>
              <a:gd name="connsiteY64" fmla="*/ 3603169 h 4201882"/>
              <a:gd name="connsiteX65" fmla="*/ 319315 w 9393163"/>
              <a:gd name="connsiteY65"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668637 w 9393163"/>
              <a:gd name="connsiteY8" fmla="*/ 573309 h 4201882"/>
              <a:gd name="connsiteX9" fmla="*/ 6668637 w 9393163"/>
              <a:gd name="connsiteY9" fmla="*/ 1066795 h 4201882"/>
              <a:gd name="connsiteX10" fmla="*/ 6320971 w 9393163"/>
              <a:gd name="connsiteY10" fmla="*/ 1371596 h 4201882"/>
              <a:gd name="connsiteX11" fmla="*/ 5219949 w 9393163"/>
              <a:gd name="connsiteY11" fmla="*/ 1398892 h 4201882"/>
              <a:gd name="connsiteX12" fmla="*/ 4955724 w 9393163"/>
              <a:gd name="connsiteY12" fmla="*/ 1153880 h 4201882"/>
              <a:gd name="connsiteX13" fmla="*/ 4955724 w 9393163"/>
              <a:gd name="connsiteY13" fmla="*/ 587823 h 4201882"/>
              <a:gd name="connsiteX14" fmla="*/ 5229866 w 9393163"/>
              <a:gd name="connsiteY14" fmla="*/ 270402 h 4201882"/>
              <a:gd name="connsiteX15" fmla="*/ 6303698 w 9393163"/>
              <a:gd name="connsiteY15" fmla="*/ 262384 h 4201882"/>
              <a:gd name="connsiteX16" fmla="*/ 7133772 w 9393163"/>
              <a:gd name="connsiteY16" fmla="*/ 239481 h 4201882"/>
              <a:gd name="connsiteX17" fmla="*/ 8278552 w 9393163"/>
              <a:gd name="connsiteY17" fmla="*/ 253718 h 4201882"/>
              <a:gd name="connsiteX18" fmla="*/ 8556174 w 9393163"/>
              <a:gd name="connsiteY18" fmla="*/ 602338 h 4201882"/>
              <a:gd name="connsiteX19" fmla="*/ 8614231 w 9393163"/>
              <a:gd name="connsiteY19" fmla="*/ 936166 h 4201882"/>
              <a:gd name="connsiteX20" fmla="*/ 8427390 w 9393163"/>
              <a:gd name="connsiteY20" fmla="*/ 1327775 h 4201882"/>
              <a:gd name="connsiteX21" fmla="*/ 7191829 w 9393163"/>
              <a:gd name="connsiteY21" fmla="*/ 1400624 h 4201882"/>
              <a:gd name="connsiteX22" fmla="*/ 6857549 w 9393163"/>
              <a:gd name="connsiteY22" fmla="*/ 1095823 h 4201882"/>
              <a:gd name="connsiteX23" fmla="*/ 6857549 w 9393163"/>
              <a:gd name="connsiteY23" fmla="*/ 631366 h 4201882"/>
              <a:gd name="connsiteX24" fmla="*/ 7133772 w 9393163"/>
              <a:gd name="connsiteY24" fmla="*/ 239481 h 4201882"/>
              <a:gd name="connsiteX25" fmla="*/ 1577230 w 9393163"/>
              <a:gd name="connsiteY25" fmla="*/ 3702269 h 4201882"/>
              <a:gd name="connsiteX26" fmla="*/ 2244992 w 9393163"/>
              <a:gd name="connsiteY26" fmla="*/ 3739316 h 4201882"/>
              <a:gd name="connsiteX27" fmla="*/ 1833995 w 9393163"/>
              <a:gd name="connsiteY27" fmla="*/ 4025979 h 4201882"/>
              <a:gd name="connsiteX28" fmla="*/ 1577230 w 9393163"/>
              <a:gd name="connsiteY28" fmla="*/ 3702269 h 4201882"/>
              <a:gd name="connsiteX29" fmla="*/ 3331029 w 9393163"/>
              <a:gd name="connsiteY29" fmla="*/ 273272 h 4201882"/>
              <a:gd name="connsiteX30" fmla="*/ 4231794 w 9393163"/>
              <a:gd name="connsiteY30" fmla="*/ 273272 h 4201882"/>
              <a:gd name="connsiteX31" fmla="*/ 4752524 w 9393163"/>
              <a:gd name="connsiteY31" fmla="*/ 616853 h 4201882"/>
              <a:gd name="connsiteX32" fmla="*/ 4752524 w 9393163"/>
              <a:gd name="connsiteY32" fmla="*/ 1124852 h 4201882"/>
              <a:gd name="connsiteX33" fmla="*/ 4434994 w 9393163"/>
              <a:gd name="connsiteY33" fmla="*/ 1388196 h 4201882"/>
              <a:gd name="connsiteX34" fmla="*/ 3316515 w 9393163"/>
              <a:gd name="connsiteY34" fmla="*/ 1415138 h 4201882"/>
              <a:gd name="connsiteX35" fmla="*/ 3011037 w 9393163"/>
              <a:gd name="connsiteY35" fmla="*/ 1124853 h 4201882"/>
              <a:gd name="connsiteX36" fmla="*/ 3011037 w 9393163"/>
              <a:gd name="connsiteY36" fmla="*/ 515252 h 4201882"/>
              <a:gd name="connsiteX37" fmla="*/ 3331029 w 9393163"/>
              <a:gd name="connsiteY37" fmla="*/ 273272 h 4201882"/>
              <a:gd name="connsiteX38" fmla="*/ 2390031 w 9393163"/>
              <a:gd name="connsiteY38" fmla="*/ 3714226 h 4201882"/>
              <a:gd name="connsiteX39" fmla="*/ 2213430 w 9393163"/>
              <a:gd name="connsiteY39" fmla="*/ 4187367 h 4201882"/>
              <a:gd name="connsiteX40" fmla="*/ 1560287 w 9393163"/>
              <a:gd name="connsiteY40" fmla="*/ 4201882 h 4201882"/>
              <a:gd name="connsiteX41" fmla="*/ 1296966 w 9393163"/>
              <a:gd name="connsiteY41" fmla="*/ 3724642 h 4201882"/>
              <a:gd name="connsiteX42" fmla="*/ 1925678 w 9393163"/>
              <a:gd name="connsiteY42" fmla="*/ 3125933 h 4201882"/>
              <a:gd name="connsiteX43" fmla="*/ 2390031 w 9393163"/>
              <a:gd name="connsiteY43" fmla="*/ 3714226 h 4201882"/>
              <a:gd name="connsiteX44" fmla="*/ 6596743 w 9393163"/>
              <a:gd name="connsiteY44" fmla="*/ 4042225 h 4201882"/>
              <a:gd name="connsiteX45" fmla="*/ 6380876 w 9393163"/>
              <a:gd name="connsiteY45" fmla="*/ 3607073 h 4201882"/>
              <a:gd name="connsiteX46" fmla="*/ 6957753 w 9393163"/>
              <a:gd name="connsiteY46" fmla="*/ 3737701 h 4201882"/>
              <a:gd name="connsiteX47" fmla="*/ 6596743 w 9393163"/>
              <a:gd name="connsiteY47" fmla="*/ 4042225 h 4201882"/>
              <a:gd name="connsiteX48" fmla="*/ 7232614 w 9393163"/>
              <a:gd name="connsiteY48" fmla="*/ 3685197 h 4201882"/>
              <a:gd name="connsiteX49" fmla="*/ 7032173 w 9393163"/>
              <a:gd name="connsiteY49" fmla="*/ 4158339 h 4201882"/>
              <a:gd name="connsiteX50" fmla="*/ 6306459 w 9393163"/>
              <a:gd name="connsiteY50" fmla="*/ 4201881 h 4201882"/>
              <a:gd name="connsiteX51" fmla="*/ 6042666 w 9393163"/>
              <a:gd name="connsiteY51" fmla="*/ 3691989 h 4201882"/>
              <a:gd name="connsiteX52" fmla="*/ 6642348 w 9393163"/>
              <a:gd name="connsiteY52" fmla="*/ 3071499 h 4201882"/>
              <a:gd name="connsiteX53" fmla="*/ 7232614 w 9393163"/>
              <a:gd name="connsiteY53" fmla="*/ 3685197 h 4201882"/>
              <a:gd name="connsiteX54" fmla="*/ 319315 w 9393163"/>
              <a:gd name="connsiteY54" fmla="*/ 3294739 h 4201882"/>
              <a:gd name="connsiteX55" fmla="*/ 1952174 w 9393163"/>
              <a:gd name="connsiteY55" fmla="*/ 68941 h 4201882"/>
              <a:gd name="connsiteX56" fmla="*/ 8229601 w 9393163"/>
              <a:gd name="connsiteY56" fmla="*/ 0 h 4201882"/>
              <a:gd name="connsiteX57" fmla="*/ 8773887 w 9393163"/>
              <a:gd name="connsiteY57" fmla="*/ 616852 h 4201882"/>
              <a:gd name="connsiteX58" fmla="*/ 8831945 w 9393163"/>
              <a:gd name="connsiteY58" fmla="*/ 3156852 h 4201882"/>
              <a:gd name="connsiteX59" fmla="*/ 8744857 w 9393163"/>
              <a:gd name="connsiteY59" fmla="*/ 3418109 h 4201882"/>
              <a:gd name="connsiteX60" fmla="*/ 7438574 w 9393163"/>
              <a:gd name="connsiteY60" fmla="*/ 3418110 h 4201882"/>
              <a:gd name="connsiteX61" fmla="*/ 5798459 w 9393163"/>
              <a:gd name="connsiteY61" fmla="*/ 3577767 h 4201882"/>
              <a:gd name="connsiteX62" fmla="*/ 2735943 w 9393163"/>
              <a:gd name="connsiteY62" fmla="*/ 3606795 h 4201882"/>
              <a:gd name="connsiteX63" fmla="*/ 1023259 w 9393163"/>
              <a:gd name="connsiteY63" fmla="*/ 3621309 h 4201882"/>
              <a:gd name="connsiteX64" fmla="*/ 384627 w 9393163"/>
              <a:gd name="connsiteY64" fmla="*/ 3603169 h 4201882"/>
              <a:gd name="connsiteX65" fmla="*/ 319315 w 9393163"/>
              <a:gd name="connsiteY65"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668637 w 9393163"/>
              <a:gd name="connsiteY8" fmla="*/ 573309 h 4201882"/>
              <a:gd name="connsiteX9" fmla="*/ 6668637 w 9393163"/>
              <a:gd name="connsiteY9" fmla="*/ 1066795 h 4201882"/>
              <a:gd name="connsiteX10" fmla="*/ 6320971 w 9393163"/>
              <a:gd name="connsiteY10" fmla="*/ 1371596 h 4201882"/>
              <a:gd name="connsiteX11" fmla="*/ 5219949 w 9393163"/>
              <a:gd name="connsiteY11" fmla="*/ 1398892 h 4201882"/>
              <a:gd name="connsiteX12" fmla="*/ 4955724 w 9393163"/>
              <a:gd name="connsiteY12" fmla="*/ 1153880 h 4201882"/>
              <a:gd name="connsiteX13" fmla="*/ 4955724 w 9393163"/>
              <a:gd name="connsiteY13" fmla="*/ 587823 h 4201882"/>
              <a:gd name="connsiteX14" fmla="*/ 5229866 w 9393163"/>
              <a:gd name="connsiteY14" fmla="*/ 270402 h 4201882"/>
              <a:gd name="connsiteX15" fmla="*/ 6303698 w 9393163"/>
              <a:gd name="connsiteY15" fmla="*/ 262384 h 4201882"/>
              <a:gd name="connsiteX16" fmla="*/ 7133772 w 9393163"/>
              <a:gd name="connsiteY16" fmla="*/ 239481 h 4201882"/>
              <a:gd name="connsiteX17" fmla="*/ 8278552 w 9393163"/>
              <a:gd name="connsiteY17" fmla="*/ 253718 h 4201882"/>
              <a:gd name="connsiteX18" fmla="*/ 8556174 w 9393163"/>
              <a:gd name="connsiteY18" fmla="*/ 602338 h 4201882"/>
              <a:gd name="connsiteX19" fmla="*/ 8614231 w 9393163"/>
              <a:gd name="connsiteY19" fmla="*/ 936166 h 4201882"/>
              <a:gd name="connsiteX20" fmla="*/ 8427390 w 9393163"/>
              <a:gd name="connsiteY20" fmla="*/ 1327775 h 4201882"/>
              <a:gd name="connsiteX21" fmla="*/ 7191829 w 9393163"/>
              <a:gd name="connsiteY21" fmla="*/ 1400624 h 4201882"/>
              <a:gd name="connsiteX22" fmla="*/ 6857549 w 9393163"/>
              <a:gd name="connsiteY22" fmla="*/ 1095823 h 4201882"/>
              <a:gd name="connsiteX23" fmla="*/ 6857549 w 9393163"/>
              <a:gd name="connsiteY23" fmla="*/ 631366 h 4201882"/>
              <a:gd name="connsiteX24" fmla="*/ 7133772 w 9393163"/>
              <a:gd name="connsiteY24" fmla="*/ 239481 h 4201882"/>
              <a:gd name="connsiteX25" fmla="*/ 1577230 w 9393163"/>
              <a:gd name="connsiteY25" fmla="*/ 3702269 h 4201882"/>
              <a:gd name="connsiteX26" fmla="*/ 2244992 w 9393163"/>
              <a:gd name="connsiteY26" fmla="*/ 3739316 h 4201882"/>
              <a:gd name="connsiteX27" fmla="*/ 1833995 w 9393163"/>
              <a:gd name="connsiteY27" fmla="*/ 4025979 h 4201882"/>
              <a:gd name="connsiteX28" fmla="*/ 1577230 w 9393163"/>
              <a:gd name="connsiteY28" fmla="*/ 3702269 h 4201882"/>
              <a:gd name="connsiteX29" fmla="*/ 3331029 w 9393163"/>
              <a:gd name="connsiteY29" fmla="*/ 273272 h 4201882"/>
              <a:gd name="connsiteX30" fmla="*/ 4231794 w 9393163"/>
              <a:gd name="connsiteY30" fmla="*/ 273272 h 4201882"/>
              <a:gd name="connsiteX31" fmla="*/ 4752524 w 9393163"/>
              <a:gd name="connsiteY31" fmla="*/ 616853 h 4201882"/>
              <a:gd name="connsiteX32" fmla="*/ 4752524 w 9393163"/>
              <a:gd name="connsiteY32" fmla="*/ 1124852 h 4201882"/>
              <a:gd name="connsiteX33" fmla="*/ 4434994 w 9393163"/>
              <a:gd name="connsiteY33" fmla="*/ 1388196 h 4201882"/>
              <a:gd name="connsiteX34" fmla="*/ 3316515 w 9393163"/>
              <a:gd name="connsiteY34" fmla="*/ 1415138 h 4201882"/>
              <a:gd name="connsiteX35" fmla="*/ 3011037 w 9393163"/>
              <a:gd name="connsiteY35" fmla="*/ 1124853 h 4201882"/>
              <a:gd name="connsiteX36" fmla="*/ 3011037 w 9393163"/>
              <a:gd name="connsiteY36" fmla="*/ 515252 h 4201882"/>
              <a:gd name="connsiteX37" fmla="*/ 3331029 w 9393163"/>
              <a:gd name="connsiteY37" fmla="*/ 273272 h 4201882"/>
              <a:gd name="connsiteX38" fmla="*/ 2390031 w 9393163"/>
              <a:gd name="connsiteY38" fmla="*/ 3714226 h 4201882"/>
              <a:gd name="connsiteX39" fmla="*/ 2213430 w 9393163"/>
              <a:gd name="connsiteY39" fmla="*/ 4187367 h 4201882"/>
              <a:gd name="connsiteX40" fmla="*/ 1560287 w 9393163"/>
              <a:gd name="connsiteY40" fmla="*/ 4201882 h 4201882"/>
              <a:gd name="connsiteX41" fmla="*/ 1296966 w 9393163"/>
              <a:gd name="connsiteY41" fmla="*/ 3724642 h 4201882"/>
              <a:gd name="connsiteX42" fmla="*/ 1925678 w 9393163"/>
              <a:gd name="connsiteY42" fmla="*/ 3125933 h 4201882"/>
              <a:gd name="connsiteX43" fmla="*/ 2390031 w 9393163"/>
              <a:gd name="connsiteY43" fmla="*/ 3714226 h 4201882"/>
              <a:gd name="connsiteX44" fmla="*/ 6596743 w 9393163"/>
              <a:gd name="connsiteY44" fmla="*/ 4042225 h 4201882"/>
              <a:gd name="connsiteX45" fmla="*/ 6380876 w 9393163"/>
              <a:gd name="connsiteY45" fmla="*/ 3607073 h 4201882"/>
              <a:gd name="connsiteX46" fmla="*/ 6957753 w 9393163"/>
              <a:gd name="connsiteY46" fmla="*/ 3737701 h 4201882"/>
              <a:gd name="connsiteX47" fmla="*/ 6596743 w 9393163"/>
              <a:gd name="connsiteY47" fmla="*/ 4042225 h 4201882"/>
              <a:gd name="connsiteX48" fmla="*/ 7232614 w 9393163"/>
              <a:gd name="connsiteY48" fmla="*/ 3685197 h 4201882"/>
              <a:gd name="connsiteX49" fmla="*/ 7032173 w 9393163"/>
              <a:gd name="connsiteY49" fmla="*/ 4158339 h 4201882"/>
              <a:gd name="connsiteX50" fmla="*/ 6306459 w 9393163"/>
              <a:gd name="connsiteY50" fmla="*/ 4201881 h 4201882"/>
              <a:gd name="connsiteX51" fmla="*/ 6042666 w 9393163"/>
              <a:gd name="connsiteY51" fmla="*/ 3691989 h 4201882"/>
              <a:gd name="connsiteX52" fmla="*/ 6642348 w 9393163"/>
              <a:gd name="connsiteY52" fmla="*/ 3071499 h 4201882"/>
              <a:gd name="connsiteX53" fmla="*/ 7232614 w 9393163"/>
              <a:gd name="connsiteY53" fmla="*/ 3685197 h 4201882"/>
              <a:gd name="connsiteX54" fmla="*/ 319315 w 9393163"/>
              <a:gd name="connsiteY54" fmla="*/ 3294739 h 4201882"/>
              <a:gd name="connsiteX55" fmla="*/ 1952174 w 9393163"/>
              <a:gd name="connsiteY55" fmla="*/ 68941 h 4201882"/>
              <a:gd name="connsiteX56" fmla="*/ 8229601 w 9393163"/>
              <a:gd name="connsiteY56" fmla="*/ 0 h 4201882"/>
              <a:gd name="connsiteX57" fmla="*/ 8773887 w 9393163"/>
              <a:gd name="connsiteY57" fmla="*/ 616852 h 4201882"/>
              <a:gd name="connsiteX58" fmla="*/ 8831945 w 9393163"/>
              <a:gd name="connsiteY58" fmla="*/ 3156852 h 4201882"/>
              <a:gd name="connsiteX59" fmla="*/ 8744857 w 9393163"/>
              <a:gd name="connsiteY59" fmla="*/ 3418109 h 4201882"/>
              <a:gd name="connsiteX60" fmla="*/ 7438574 w 9393163"/>
              <a:gd name="connsiteY60" fmla="*/ 3418110 h 4201882"/>
              <a:gd name="connsiteX61" fmla="*/ 5798459 w 9393163"/>
              <a:gd name="connsiteY61" fmla="*/ 3577767 h 4201882"/>
              <a:gd name="connsiteX62" fmla="*/ 2735943 w 9393163"/>
              <a:gd name="connsiteY62" fmla="*/ 3606795 h 4201882"/>
              <a:gd name="connsiteX63" fmla="*/ 1023259 w 9393163"/>
              <a:gd name="connsiteY63" fmla="*/ 3621309 h 4201882"/>
              <a:gd name="connsiteX64" fmla="*/ 384627 w 9393163"/>
              <a:gd name="connsiteY64" fmla="*/ 3603169 h 4201882"/>
              <a:gd name="connsiteX65" fmla="*/ 319315 w 9393163"/>
              <a:gd name="connsiteY65"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668637 w 9393163"/>
              <a:gd name="connsiteY8" fmla="*/ 573309 h 4201882"/>
              <a:gd name="connsiteX9" fmla="*/ 6668637 w 9393163"/>
              <a:gd name="connsiteY9" fmla="*/ 1066795 h 4201882"/>
              <a:gd name="connsiteX10" fmla="*/ 6320971 w 9393163"/>
              <a:gd name="connsiteY10" fmla="*/ 1371596 h 4201882"/>
              <a:gd name="connsiteX11" fmla="*/ 5219949 w 9393163"/>
              <a:gd name="connsiteY11" fmla="*/ 1398892 h 4201882"/>
              <a:gd name="connsiteX12" fmla="*/ 4955724 w 9393163"/>
              <a:gd name="connsiteY12" fmla="*/ 1153880 h 4201882"/>
              <a:gd name="connsiteX13" fmla="*/ 4955724 w 9393163"/>
              <a:gd name="connsiteY13" fmla="*/ 587823 h 4201882"/>
              <a:gd name="connsiteX14" fmla="*/ 5229866 w 9393163"/>
              <a:gd name="connsiteY14" fmla="*/ 270402 h 4201882"/>
              <a:gd name="connsiteX15" fmla="*/ 6303698 w 9393163"/>
              <a:gd name="connsiteY15" fmla="*/ 262384 h 4201882"/>
              <a:gd name="connsiteX16" fmla="*/ 7133772 w 9393163"/>
              <a:gd name="connsiteY16" fmla="*/ 239481 h 4201882"/>
              <a:gd name="connsiteX17" fmla="*/ 8278552 w 9393163"/>
              <a:gd name="connsiteY17" fmla="*/ 253718 h 4201882"/>
              <a:gd name="connsiteX18" fmla="*/ 8556174 w 9393163"/>
              <a:gd name="connsiteY18" fmla="*/ 602338 h 4201882"/>
              <a:gd name="connsiteX19" fmla="*/ 8614231 w 9393163"/>
              <a:gd name="connsiteY19" fmla="*/ 936166 h 4201882"/>
              <a:gd name="connsiteX20" fmla="*/ 8427390 w 9393163"/>
              <a:gd name="connsiteY20" fmla="*/ 1327775 h 4201882"/>
              <a:gd name="connsiteX21" fmla="*/ 7191829 w 9393163"/>
              <a:gd name="connsiteY21" fmla="*/ 1400624 h 4201882"/>
              <a:gd name="connsiteX22" fmla="*/ 6857549 w 9393163"/>
              <a:gd name="connsiteY22" fmla="*/ 1095823 h 4201882"/>
              <a:gd name="connsiteX23" fmla="*/ 6857549 w 9393163"/>
              <a:gd name="connsiteY23" fmla="*/ 631366 h 4201882"/>
              <a:gd name="connsiteX24" fmla="*/ 7133772 w 9393163"/>
              <a:gd name="connsiteY24" fmla="*/ 239481 h 4201882"/>
              <a:gd name="connsiteX25" fmla="*/ 1577230 w 9393163"/>
              <a:gd name="connsiteY25" fmla="*/ 3702269 h 4201882"/>
              <a:gd name="connsiteX26" fmla="*/ 2244992 w 9393163"/>
              <a:gd name="connsiteY26" fmla="*/ 3739316 h 4201882"/>
              <a:gd name="connsiteX27" fmla="*/ 1833995 w 9393163"/>
              <a:gd name="connsiteY27" fmla="*/ 4025979 h 4201882"/>
              <a:gd name="connsiteX28" fmla="*/ 1577230 w 9393163"/>
              <a:gd name="connsiteY28" fmla="*/ 3702269 h 4201882"/>
              <a:gd name="connsiteX29" fmla="*/ 3331029 w 9393163"/>
              <a:gd name="connsiteY29" fmla="*/ 273272 h 4201882"/>
              <a:gd name="connsiteX30" fmla="*/ 4231794 w 9393163"/>
              <a:gd name="connsiteY30" fmla="*/ 273272 h 4201882"/>
              <a:gd name="connsiteX31" fmla="*/ 4752524 w 9393163"/>
              <a:gd name="connsiteY31" fmla="*/ 616853 h 4201882"/>
              <a:gd name="connsiteX32" fmla="*/ 4752524 w 9393163"/>
              <a:gd name="connsiteY32" fmla="*/ 1124852 h 4201882"/>
              <a:gd name="connsiteX33" fmla="*/ 4434994 w 9393163"/>
              <a:gd name="connsiteY33" fmla="*/ 1388196 h 4201882"/>
              <a:gd name="connsiteX34" fmla="*/ 3316515 w 9393163"/>
              <a:gd name="connsiteY34" fmla="*/ 1415138 h 4201882"/>
              <a:gd name="connsiteX35" fmla="*/ 3011037 w 9393163"/>
              <a:gd name="connsiteY35" fmla="*/ 1124853 h 4201882"/>
              <a:gd name="connsiteX36" fmla="*/ 3011037 w 9393163"/>
              <a:gd name="connsiteY36" fmla="*/ 515252 h 4201882"/>
              <a:gd name="connsiteX37" fmla="*/ 3331029 w 9393163"/>
              <a:gd name="connsiteY37" fmla="*/ 273272 h 4201882"/>
              <a:gd name="connsiteX38" fmla="*/ 2390031 w 9393163"/>
              <a:gd name="connsiteY38" fmla="*/ 3714226 h 4201882"/>
              <a:gd name="connsiteX39" fmla="*/ 2213430 w 9393163"/>
              <a:gd name="connsiteY39" fmla="*/ 4187367 h 4201882"/>
              <a:gd name="connsiteX40" fmla="*/ 1560287 w 9393163"/>
              <a:gd name="connsiteY40" fmla="*/ 4201882 h 4201882"/>
              <a:gd name="connsiteX41" fmla="*/ 1296966 w 9393163"/>
              <a:gd name="connsiteY41" fmla="*/ 3724642 h 4201882"/>
              <a:gd name="connsiteX42" fmla="*/ 1925678 w 9393163"/>
              <a:gd name="connsiteY42" fmla="*/ 3125933 h 4201882"/>
              <a:gd name="connsiteX43" fmla="*/ 2390031 w 9393163"/>
              <a:gd name="connsiteY43" fmla="*/ 3714226 h 4201882"/>
              <a:gd name="connsiteX44" fmla="*/ 6596743 w 9393163"/>
              <a:gd name="connsiteY44" fmla="*/ 4042225 h 4201882"/>
              <a:gd name="connsiteX45" fmla="*/ 6380876 w 9393163"/>
              <a:gd name="connsiteY45" fmla="*/ 3607073 h 4201882"/>
              <a:gd name="connsiteX46" fmla="*/ 6957753 w 9393163"/>
              <a:gd name="connsiteY46" fmla="*/ 3737701 h 4201882"/>
              <a:gd name="connsiteX47" fmla="*/ 6596743 w 9393163"/>
              <a:gd name="connsiteY47" fmla="*/ 4042225 h 4201882"/>
              <a:gd name="connsiteX48" fmla="*/ 7232614 w 9393163"/>
              <a:gd name="connsiteY48" fmla="*/ 3685197 h 4201882"/>
              <a:gd name="connsiteX49" fmla="*/ 7032173 w 9393163"/>
              <a:gd name="connsiteY49" fmla="*/ 4158339 h 4201882"/>
              <a:gd name="connsiteX50" fmla="*/ 6306459 w 9393163"/>
              <a:gd name="connsiteY50" fmla="*/ 4201881 h 4201882"/>
              <a:gd name="connsiteX51" fmla="*/ 6042666 w 9393163"/>
              <a:gd name="connsiteY51" fmla="*/ 3691989 h 4201882"/>
              <a:gd name="connsiteX52" fmla="*/ 6642348 w 9393163"/>
              <a:gd name="connsiteY52" fmla="*/ 3071499 h 4201882"/>
              <a:gd name="connsiteX53" fmla="*/ 7232614 w 9393163"/>
              <a:gd name="connsiteY53" fmla="*/ 3685197 h 4201882"/>
              <a:gd name="connsiteX54" fmla="*/ 319315 w 9393163"/>
              <a:gd name="connsiteY54" fmla="*/ 3294739 h 4201882"/>
              <a:gd name="connsiteX55" fmla="*/ 1952174 w 9393163"/>
              <a:gd name="connsiteY55" fmla="*/ 68941 h 4201882"/>
              <a:gd name="connsiteX56" fmla="*/ 8229601 w 9393163"/>
              <a:gd name="connsiteY56" fmla="*/ 0 h 4201882"/>
              <a:gd name="connsiteX57" fmla="*/ 8773887 w 9393163"/>
              <a:gd name="connsiteY57" fmla="*/ 616852 h 4201882"/>
              <a:gd name="connsiteX58" fmla="*/ 8831945 w 9393163"/>
              <a:gd name="connsiteY58" fmla="*/ 3156852 h 4201882"/>
              <a:gd name="connsiteX59" fmla="*/ 8744857 w 9393163"/>
              <a:gd name="connsiteY59" fmla="*/ 3418109 h 4201882"/>
              <a:gd name="connsiteX60" fmla="*/ 7438574 w 9393163"/>
              <a:gd name="connsiteY60" fmla="*/ 3418110 h 4201882"/>
              <a:gd name="connsiteX61" fmla="*/ 5798459 w 9393163"/>
              <a:gd name="connsiteY61" fmla="*/ 3577767 h 4201882"/>
              <a:gd name="connsiteX62" fmla="*/ 2735943 w 9393163"/>
              <a:gd name="connsiteY62" fmla="*/ 3606795 h 4201882"/>
              <a:gd name="connsiteX63" fmla="*/ 1023259 w 9393163"/>
              <a:gd name="connsiteY63" fmla="*/ 3621309 h 4201882"/>
              <a:gd name="connsiteX64" fmla="*/ 384627 w 9393163"/>
              <a:gd name="connsiteY64" fmla="*/ 3603169 h 4201882"/>
              <a:gd name="connsiteX65" fmla="*/ 319315 w 9393163"/>
              <a:gd name="connsiteY65"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668637 w 9393163"/>
              <a:gd name="connsiteY8" fmla="*/ 573309 h 4201882"/>
              <a:gd name="connsiteX9" fmla="*/ 6668637 w 9393163"/>
              <a:gd name="connsiteY9" fmla="*/ 1066795 h 4201882"/>
              <a:gd name="connsiteX10" fmla="*/ 6320971 w 9393163"/>
              <a:gd name="connsiteY10" fmla="*/ 1371596 h 4201882"/>
              <a:gd name="connsiteX11" fmla="*/ 5219949 w 9393163"/>
              <a:gd name="connsiteY11" fmla="*/ 1398892 h 4201882"/>
              <a:gd name="connsiteX12" fmla="*/ 4955724 w 9393163"/>
              <a:gd name="connsiteY12" fmla="*/ 1153880 h 4201882"/>
              <a:gd name="connsiteX13" fmla="*/ 4955724 w 9393163"/>
              <a:gd name="connsiteY13" fmla="*/ 587823 h 4201882"/>
              <a:gd name="connsiteX14" fmla="*/ 5229866 w 9393163"/>
              <a:gd name="connsiteY14" fmla="*/ 270402 h 4201882"/>
              <a:gd name="connsiteX15" fmla="*/ 6303698 w 9393163"/>
              <a:gd name="connsiteY15" fmla="*/ 262384 h 4201882"/>
              <a:gd name="connsiteX16" fmla="*/ 7133772 w 9393163"/>
              <a:gd name="connsiteY16" fmla="*/ 239481 h 4201882"/>
              <a:gd name="connsiteX17" fmla="*/ 8278552 w 9393163"/>
              <a:gd name="connsiteY17" fmla="*/ 253718 h 4201882"/>
              <a:gd name="connsiteX18" fmla="*/ 8556174 w 9393163"/>
              <a:gd name="connsiteY18" fmla="*/ 602338 h 4201882"/>
              <a:gd name="connsiteX19" fmla="*/ 8614231 w 9393163"/>
              <a:gd name="connsiteY19" fmla="*/ 936166 h 4201882"/>
              <a:gd name="connsiteX20" fmla="*/ 8427390 w 9393163"/>
              <a:gd name="connsiteY20" fmla="*/ 1327775 h 4201882"/>
              <a:gd name="connsiteX21" fmla="*/ 7191829 w 9393163"/>
              <a:gd name="connsiteY21" fmla="*/ 1400624 h 4201882"/>
              <a:gd name="connsiteX22" fmla="*/ 6857549 w 9393163"/>
              <a:gd name="connsiteY22" fmla="*/ 1095823 h 4201882"/>
              <a:gd name="connsiteX23" fmla="*/ 6857549 w 9393163"/>
              <a:gd name="connsiteY23" fmla="*/ 631366 h 4201882"/>
              <a:gd name="connsiteX24" fmla="*/ 7133772 w 9393163"/>
              <a:gd name="connsiteY24" fmla="*/ 239481 h 4201882"/>
              <a:gd name="connsiteX25" fmla="*/ 1577230 w 9393163"/>
              <a:gd name="connsiteY25" fmla="*/ 3702269 h 4201882"/>
              <a:gd name="connsiteX26" fmla="*/ 2244992 w 9393163"/>
              <a:gd name="connsiteY26" fmla="*/ 3739316 h 4201882"/>
              <a:gd name="connsiteX27" fmla="*/ 1833995 w 9393163"/>
              <a:gd name="connsiteY27" fmla="*/ 4025979 h 4201882"/>
              <a:gd name="connsiteX28" fmla="*/ 1577230 w 9393163"/>
              <a:gd name="connsiteY28" fmla="*/ 3702269 h 4201882"/>
              <a:gd name="connsiteX29" fmla="*/ 3331029 w 9393163"/>
              <a:gd name="connsiteY29" fmla="*/ 273272 h 4201882"/>
              <a:gd name="connsiteX30" fmla="*/ 4231794 w 9393163"/>
              <a:gd name="connsiteY30" fmla="*/ 273272 h 4201882"/>
              <a:gd name="connsiteX31" fmla="*/ 4752524 w 9393163"/>
              <a:gd name="connsiteY31" fmla="*/ 616853 h 4201882"/>
              <a:gd name="connsiteX32" fmla="*/ 4752524 w 9393163"/>
              <a:gd name="connsiteY32" fmla="*/ 1124852 h 4201882"/>
              <a:gd name="connsiteX33" fmla="*/ 4434994 w 9393163"/>
              <a:gd name="connsiteY33" fmla="*/ 1388196 h 4201882"/>
              <a:gd name="connsiteX34" fmla="*/ 3316515 w 9393163"/>
              <a:gd name="connsiteY34" fmla="*/ 1415138 h 4201882"/>
              <a:gd name="connsiteX35" fmla="*/ 3011037 w 9393163"/>
              <a:gd name="connsiteY35" fmla="*/ 1124853 h 4201882"/>
              <a:gd name="connsiteX36" fmla="*/ 3011037 w 9393163"/>
              <a:gd name="connsiteY36" fmla="*/ 515252 h 4201882"/>
              <a:gd name="connsiteX37" fmla="*/ 3331029 w 9393163"/>
              <a:gd name="connsiteY37" fmla="*/ 273272 h 4201882"/>
              <a:gd name="connsiteX38" fmla="*/ 2390031 w 9393163"/>
              <a:gd name="connsiteY38" fmla="*/ 3714226 h 4201882"/>
              <a:gd name="connsiteX39" fmla="*/ 2213430 w 9393163"/>
              <a:gd name="connsiteY39" fmla="*/ 4187367 h 4201882"/>
              <a:gd name="connsiteX40" fmla="*/ 1560287 w 9393163"/>
              <a:gd name="connsiteY40" fmla="*/ 4201882 h 4201882"/>
              <a:gd name="connsiteX41" fmla="*/ 1296966 w 9393163"/>
              <a:gd name="connsiteY41" fmla="*/ 3724642 h 4201882"/>
              <a:gd name="connsiteX42" fmla="*/ 1925678 w 9393163"/>
              <a:gd name="connsiteY42" fmla="*/ 3125933 h 4201882"/>
              <a:gd name="connsiteX43" fmla="*/ 2390031 w 9393163"/>
              <a:gd name="connsiteY43" fmla="*/ 3714226 h 4201882"/>
              <a:gd name="connsiteX44" fmla="*/ 6596743 w 9393163"/>
              <a:gd name="connsiteY44" fmla="*/ 4042225 h 4201882"/>
              <a:gd name="connsiteX45" fmla="*/ 6380876 w 9393163"/>
              <a:gd name="connsiteY45" fmla="*/ 3607073 h 4201882"/>
              <a:gd name="connsiteX46" fmla="*/ 6957753 w 9393163"/>
              <a:gd name="connsiteY46" fmla="*/ 3737701 h 4201882"/>
              <a:gd name="connsiteX47" fmla="*/ 6596743 w 9393163"/>
              <a:gd name="connsiteY47" fmla="*/ 4042225 h 4201882"/>
              <a:gd name="connsiteX48" fmla="*/ 7232614 w 9393163"/>
              <a:gd name="connsiteY48" fmla="*/ 3685197 h 4201882"/>
              <a:gd name="connsiteX49" fmla="*/ 7032173 w 9393163"/>
              <a:gd name="connsiteY49" fmla="*/ 4158339 h 4201882"/>
              <a:gd name="connsiteX50" fmla="*/ 6306459 w 9393163"/>
              <a:gd name="connsiteY50" fmla="*/ 4201881 h 4201882"/>
              <a:gd name="connsiteX51" fmla="*/ 6042666 w 9393163"/>
              <a:gd name="connsiteY51" fmla="*/ 3691989 h 4201882"/>
              <a:gd name="connsiteX52" fmla="*/ 6642348 w 9393163"/>
              <a:gd name="connsiteY52" fmla="*/ 3071499 h 4201882"/>
              <a:gd name="connsiteX53" fmla="*/ 7232614 w 9393163"/>
              <a:gd name="connsiteY53" fmla="*/ 3685197 h 4201882"/>
              <a:gd name="connsiteX54" fmla="*/ 319315 w 9393163"/>
              <a:gd name="connsiteY54" fmla="*/ 3294739 h 4201882"/>
              <a:gd name="connsiteX55" fmla="*/ 1952174 w 9393163"/>
              <a:gd name="connsiteY55" fmla="*/ 68941 h 4201882"/>
              <a:gd name="connsiteX56" fmla="*/ 8229601 w 9393163"/>
              <a:gd name="connsiteY56" fmla="*/ 0 h 4201882"/>
              <a:gd name="connsiteX57" fmla="*/ 8773887 w 9393163"/>
              <a:gd name="connsiteY57" fmla="*/ 616852 h 4201882"/>
              <a:gd name="connsiteX58" fmla="*/ 8831945 w 9393163"/>
              <a:gd name="connsiteY58" fmla="*/ 3156852 h 4201882"/>
              <a:gd name="connsiteX59" fmla="*/ 8744857 w 9393163"/>
              <a:gd name="connsiteY59" fmla="*/ 3418109 h 4201882"/>
              <a:gd name="connsiteX60" fmla="*/ 7438574 w 9393163"/>
              <a:gd name="connsiteY60" fmla="*/ 3418110 h 4201882"/>
              <a:gd name="connsiteX61" fmla="*/ 5798459 w 9393163"/>
              <a:gd name="connsiteY61" fmla="*/ 3577767 h 4201882"/>
              <a:gd name="connsiteX62" fmla="*/ 2735943 w 9393163"/>
              <a:gd name="connsiteY62" fmla="*/ 3606795 h 4201882"/>
              <a:gd name="connsiteX63" fmla="*/ 1023259 w 9393163"/>
              <a:gd name="connsiteY63" fmla="*/ 3621309 h 4201882"/>
              <a:gd name="connsiteX64" fmla="*/ 384627 w 9393163"/>
              <a:gd name="connsiteY64" fmla="*/ 3603169 h 4201882"/>
              <a:gd name="connsiteX65" fmla="*/ 319315 w 9393163"/>
              <a:gd name="connsiteY65"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668637 w 9393163"/>
              <a:gd name="connsiteY8" fmla="*/ 573309 h 4201882"/>
              <a:gd name="connsiteX9" fmla="*/ 6668637 w 9393163"/>
              <a:gd name="connsiteY9" fmla="*/ 1066795 h 4201882"/>
              <a:gd name="connsiteX10" fmla="*/ 6320971 w 9393163"/>
              <a:gd name="connsiteY10" fmla="*/ 1371596 h 4201882"/>
              <a:gd name="connsiteX11" fmla="*/ 5219949 w 9393163"/>
              <a:gd name="connsiteY11" fmla="*/ 1398892 h 4201882"/>
              <a:gd name="connsiteX12" fmla="*/ 4955724 w 9393163"/>
              <a:gd name="connsiteY12" fmla="*/ 1153880 h 4201882"/>
              <a:gd name="connsiteX13" fmla="*/ 4955724 w 9393163"/>
              <a:gd name="connsiteY13" fmla="*/ 587823 h 4201882"/>
              <a:gd name="connsiteX14" fmla="*/ 5229866 w 9393163"/>
              <a:gd name="connsiteY14" fmla="*/ 270402 h 4201882"/>
              <a:gd name="connsiteX15" fmla="*/ 6303698 w 9393163"/>
              <a:gd name="connsiteY15" fmla="*/ 262384 h 4201882"/>
              <a:gd name="connsiteX16" fmla="*/ 7133772 w 9393163"/>
              <a:gd name="connsiteY16" fmla="*/ 239481 h 4201882"/>
              <a:gd name="connsiteX17" fmla="*/ 8278552 w 9393163"/>
              <a:gd name="connsiteY17" fmla="*/ 253718 h 4201882"/>
              <a:gd name="connsiteX18" fmla="*/ 8556174 w 9393163"/>
              <a:gd name="connsiteY18" fmla="*/ 602338 h 4201882"/>
              <a:gd name="connsiteX19" fmla="*/ 8614231 w 9393163"/>
              <a:gd name="connsiteY19" fmla="*/ 936166 h 4201882"/>
              <a:gd name="connsiteX20" fmla="*/ 8427390 w 9393163"/>
              <a:gd name="connsiteY20" fmla="*/ 1327775 h 4201882"/>
              <a:gd name="connsiteX21" fmla="*/ 7191829 w 9393163"/>
              <a:gd name="connsiteY21" fmla="*/ 1400624 h 4201882"/>
              <a:gd name="connsiteX22" fmla="*/ 6857549 w 9393163"/>
              <a:gd name="connsiteY22" fmla="*/ 1095823 h 4201882"/>
              <a:gd name="connsiteX23" fmla="*/ 6857549 w 9393163"/>
              <a:gd name="connsiteY23" fmla="*/ 631366 h 4201882"/>
              <a:gd name="connsiteX24" fmla="*/ 7133772 w 9393163"/>
              <a:gd name="connsiteY24" fmla="*/ 239481 h 4201882"/>
              <a:gd name="connsiteX25" fmla="*/ 1577230 w 9393163"/>
              <a:gd name="connsiteY25" fmla="*/ 3702269 h 4201882"/>
              <a:gd name="connsiteX26" fmla="*/ 2244992 w 9393163"/>
              <a:gd name="connsiteY26" fmla="*/ 3739316 h 4201882"/>
              <a:gd name="connsiteX27" fmla="*/ 1833995 w 9393163"/>
              <a:gd name="connsiteY27" fmla="*/ 4025979 h 4201882"/>
              <a:gd name="connsiteX28" fmla="*/ 1577230 w 9393163"/>
              <a:gd name="connsiteY28" fmla="*/ 3702269 h 4201882"/>
              <a:gd name="connsiteX29" fmla="*/ 3331029 w 9393163"/>
              <a:gd name="connsiteY29" fmla="*/ 273272 h 4201882"/>
              <a:gd name="connsiteX30" fmla="*/ 4231794 w 9393163"/>
              <a:gd name="connsiteY30" fmla="*/ 273272 h 4201882"/>
              <a:gd name="connsiteX31" fmla="*/ 4752524 w 9393163"/>
              <a:gd name="connsiteY31" fmla="*/ 616853 h 4201882"/>
              <a:gd name="connsiteX32" fmla="*/ 4752524 w 9393163"/>
              <a:gd name="connsiteY32" fmla="*/ 1124852 h 4201882"/>
              <a:gd name="connsiteX33" fmla="*/ 4434994 w 9393163"/>
              <a:gd name="connsiteY33" fmla="*/ 1388196 h 4201882"/>
              <a:gd name="connsiteX34" fmla="*/ 3316515 w 9393163"/>
              <a:gd name="connsiteY34" fmla="*/ 1415138 h 4201882"/>
              <a:gd name="connsiteX35" fmla="*/ 3011037 w 9393163"/>
              <a:gd name="connsiteY35" fmla="*/ 1124853 h 4201882"/>
              <a:gd name="connsiteX36" fmla="*/ 3011037 w 9393163"/>
              <a:gd name="connsiteY36" fmla="*/ 515252 h 4201882"/>
              <a:gd name="connsiteX37" fmla="*/ 3331029 w 9393163"/>
              <a:gd name="connsiteY37" fmla="*/ 273272 h 4201882"/>
              <a:gd name="connsiteX38" fmla="*/ 2390031 w 9393163"/>
              <a:gd name="connsiteY38" fmla="*/ 3714226 h 4201882"/>
              <a:gd name="connsiteX39" fmla="*/ 2213430 w 9393163"/>
              <a:gd name="connsiteY39" fmla="*/ 4187367 h 4201882"/>
              <a:gd name="connsiteX40" fmla="*/ 1560287 w 9393163"/>
              <a:gd name="connsiteY40" fmla="*/ 4201882 h 4201882"/>
              <a:gd name="connsiteX41" fmla="*/ 1296966 w 9393163"/>
              <a:gd name="connsiteY41" fmla="*/ 3724642 h 4201882"/>
              <a:gd name="connsiteX42" fmla="*/ 1925678 w 9393163"/>
              <a:gd name="connsiteY42" fmla="*/ 3125933 h 4201882"/>
              <a:gd name="connsiteX43" fmla="*/ 2390031 w 9393163"/>
              <a:gd name="connsiteY43" fmla="*/ 3714226 h 4201882"/>
              <a:gd name="connsiteX44" fmla="*/ 6596743 w 9393163"/>
              <a:gd name="connsiteY44" fmla="*/ 4042225 h 4201882"/>
              <a:gd name="connsiteX45" fmla="*/ 6380876 w 9393163"/>
              <a:gd name="connsiteY45" fmla="*/ 3607073 h 4201882"/>
              <a:gd name="connsiteX46" fmla="*/ 6957753 w 9393163"/>
              <a:gd name="connsiteY46" fmla="*/ 3737701 h 4201882"/>
              <a:gd name="connsiteX47" fmla="*/ 6596743 w 9393163"/>
              <a:gd name="connsiteY47" fmla="*/ 4042225 h 4201882"/>
              <a:gd name="connsiteX48" fmla="*/ 7232614 w 9393163"/>
              <a:gd name="connsiteY48" fmla="*/ 3685197 h 4201882"/>
              <a:gd name="connsiteX49" fmla="*/ 7032173 w 9393163"/>
              <a:gd name="connsiteY49" fmla="*/ 4158339 h 4201882"/>
              <a:gd name="connsiteX50" fmla="*/ 6306459 w 9393163"/>
              <a:gd name="connsiteY50" fmla="*/ 4201881 h 4201882"/>
              <a:gd name="connsiteX51" fmla="*/ 6042666 w 9393163"/>
              <a:gd name="connsiteY51" fmla="*/ 3691989 h 4201882"/>
              <a:gd name="connsiteX52" fmla="*/ 6642348 w 9393163"/>
              <a:gd name="connsiteY52" fmla="*/ 3071499 h 4201882"/>
              <a:gd name="connsiteX53" fmla="*/ 7232614 w 9393163"/>
              <a:gd name="connsiteY53" fmla="*/ 3685197 h 4201882"/>
              <a:gd name="connsiteX54" fmla="*/ 319315 w 9393163"/>
              <a:gd name="connsiteY54" fmla="*/ 3294739 h 4201882"/>
              <a:gd name="connsiteX55" fmla="*/ 1952174 w 9393163"/>
              <a:gd name="connsiteY55" fmla="*/ 68941 h 4201882"/>
              <a:gd name="connsiteX56" fmla="*/ 8229601 w 9393163"/>
              <a:gd name="connsiteY56" fmla="*/ 0 h 4201882"/>
              <a:gd name="connsiteX57" fmla="*/ 8773887 w 9393163"/>
              <a:gd name="connsiteY57" fmla="*/ 616852 h 4201882"/>
              <a:gd name="connsiteX58" fmla="*/ 8831945 w 9393163"/>
              <a:gd name="connsiteY58" fmla="*/ 3156852 h 4201882"/>
              <a:gd name="connsiteX59" fmla="*/ 8744857 w 9393163"/>
              <a:gd name="connsiteY59" fmla="*/ 3418109 h 4201882"/>
              <a:gd name="connsiteX60" fmla="*/ 7438574 w 9393163"/>
              <a:gd name="connsiteY60" fmla="*/ 3418110 h 4201882"/>
              <a:gd name="connsiteX61" fmla="*/ 5798459 w 9393163"/>
              <a:gd name="connsiteY61" fmla="*/ 3577767 h 4201882"/>
              <a:gd name="connsiteX62" fmla="*/ 2735943 w 9393163"/>
              <a:gd name="connsiteY62" fmla="*/ 3606795 h 4201882"/>
              <a:gd name="connsiteX63" fmla="*/ 1023259 w 9393163"/>
              <a:gd name="connsiteY63" fmla="*/ 3621309 h 4201882"/>
              <a:gd name="connsiteX64" fmla="*/ 384627 w 9393163"/>
              <a:gd name="connsiteY64" fmla="*/ 3603169 h 4201882"/>
              <a:gd name="connsiteX65" fmla="*/ 319315 w 9393163"/>
              <a:gd name="connsiteY65"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668637 w 9393163"/>
              <a:gd name="connsiteY8" fmla="*/ 573309 h 4201882"/>
              <a:gd name="connsiteX9" fmla="*/ 6668637 w 9393163"/>
              <a:gd name="connsiteY9" fmla="*/ 1066795 h 4201882"/>
              <a:gd name="connsiteX10" fmla="*/ 6320971 w 9393163"/>
              <a:gd name="connsiteY10" fmla="*/ 1371596 h 4201882"/>
              <a:gd name="connsiteX11" fmla="*/ 5219949 w 9393163"/>
              <a:gd name="connsiteY11" fmla="*/ 1398892 h 4201882"/>
              <a:gd name="connsiteX12" fmla="*/ 4955724 w 9393163"/>
              <a:gd name="connsiteY12" fmla="*/ 1153880 h 4201882"/>
              <a:gd name="connsiteX13" fmla="*/ 4955724 w 9393163"/>
              <a:gd name="connsiteY13" fmla="*/ 587823 h 4201882"/>
              <a:gd name="connsiteX14" fmla="*/ 5229866 w 9393163"/>
              <a:gd name="connsiteY14" fmla="*/ 270402 h 4201882"/>
              <a:gd name="connsiteX15" fmla="*/ 6303698 w 9393163"/>
              <a:gd name="connsiteY15" fmla="*/ 262384 h 4201882"/>
              <a:gd name="connsiteX16" fmla="*/ 7133772 w 9393163"/>
              <a:gd name="connsiteY16" fmla="*/ 239481 h 4201882"/>
              <a:gd name="connsiteX17" fmla="*/ 8278552 w 9393163"/>
              <a:gd name="connsiteY17" fmla="*/ 253718 h 4201882"/>
              <a:gd name="connsiteX18" fmla="*/ 8556174 w 9393163"/>
              <a:gd name="connsiteY18" fmla="*/ 602338 h 4201882"/>
              <a:gd name="connsiteX19" fmla="*/ 8614231 w 9393163"/>
              <a:gd name="connsiteY19" fmla="*/ 936166 h 4201882"/>
              <a:gd name="connsiteX20" fmla="*/ 8427390 w 9393163"/>
              <a:gd name="connsiteY20" fmla="*/ 1327775 h 4201882"/>
              <a:gd name="connsiteX21" fmla="*/ 7191829 w 9393163"/>
              <a:gd name="connsiteY21" fmla="*/ 1400624 h 4201882"/>
              <a:gd name="connsiteX22" fmla="*/ 6857549 w 9393163"/>
              <a:gd name="connsiteY22" fmla="*/ 1095823 h 4201882"/>
              <a:gd name="connsiteX23" fmla="*/ 6857549 w 9393163"/>
              <a:gd name="connsiteY23" fmla="*/ 631366 h 4201882"/>
              <a:gd name="connsiteX24" fmla="*/ 7133772 w 9393163"/>
              <a:gd name="connsiteY24" fmla="*/ 239481 h 4201882"/>
              <a:gd name="connsiteX25" fmla="*/ 1577230 w 9393163"/>
              <a:gd name="connsiteY25" fmla="*/ 3702269 h 4201882"/>
              <a:gd name="connsiteX26" fmla="*/ 2244992 w 9393163"/>
              <a:gd name="connsiteY26" fmla="*/ 3739316 h 4201882"/>
              <a:gd name="connsiteX27" fmla="*/ 1833995 w 9393163"/>
              <a:gd name="connsiteY27" fmla="*/ 4025979 h 4201882"/>
              <a:gd name="connsiteX28" fmla="*/ 1577230 w 9393163"/>
              <a:gd name="connsiteY28" fmla="*/ 3702269 h 4201882"/>
              <a:gd name="connsiteX29" fmla="*/ 3331029 w 9393163"/>
              <a:gd name="connsiteY29" fmla="*/ 273272 h 4201882"/>
              <a:gd name="connsiteX30" fmla="*/ 4231794 w 9393163"/>
              <a:gd name="connsiteY30" fmla="*/ 273272 h 4201882"/>
              <a:gd name="connsiteX31" fmla="*/ 4752524 w 9393163"/>
              <a:gd name="connsiteY31" fmla="*/ 616853 h 4201882"/>
              <a:gd name="connsiteX32" fmla="*/ 4752524 w 9393163"/>
              <a:gd name="connsiteY32" fmla="*/ 1124852 h 4201882"/>
              <a:gd name="connsiteX33" fmla="*/ 4434994 w 9393163"/>
              <a:gd name="connsiteY33" fmla="*/ 1388196 h 4201882"/>
              <a:gd name="connsiteX34" fmla="*/ 3316515 w 9393163"/>
              <a:gd name="connsiteY34" fmla="*/ 1415138 h 4201882"/>
              <a:gd name="connsiteX35" fmla="*/ 3011037 w 9393163"/>
              <a:gd name="connsiteY35" fmla="*/ 1124853 h 4201882"/>
              <a:gd name="connsiteX36" fmla="*/ 3011037 w 9393163"/>
              <a:gd name="connsiteY36" fmla="*/ 515252 h 4201882"/>
              <a:gd name="connsiteX37" fmla="*/ 3331029 w 9393163"/>
              <a:gd name="connsiteY37" fmla="*/ 273272 h 4201882"/>
              <a:gd name="connsiteX38" fmla="*/ 2390031 w 9393163"/>
              <a:gd name="connsiteY38" fmla="*/ 3714226 h 4201882"/>
              <a:gd name="connsiteX39" fmla="*/ 2213430 w 9393163"/>
              <a:gd name="connsiteY39" fmla="*/ 4187367 h 4201882"/>
              <a:gd name="connsiteX40" fmla="*/ 1560287 w 9393163"/>
              <a:gd name="connsiteY40" fmla="*/ 4201882 h 4201882"/>
              <a:gd name="connsiteX41" fmla="*/ 1296966 w 9393163"/>
              <a:gd name="connsiteY41" fmla="*/ 3724642 h 4201882"/>
              <a:gd name="connsiteX42" fmla="*/ 1925678 w 9393163"/>
              <a:gd name="connsiteY42" fmla="*/ 3125933 h 4201882"/>
              <a:gd name="connsiteX43" fmla="*/ 2390031 w 9393163"/>
              <a:gd name="connsiteY43" fmla="*/ 3714226 h 4201882"/>
              <a:gd name="connsiteX44" fmla="*/ 6596743 w 9393163"/>
              <a:gd name="connsiteY44" fmla="*/ 4042225 h 4201882"/>
              <a:gd name="connsiteX45" fmla="*/ 6380876 w 9393163"/>
              <a:gd name="connsiteY45" fmla="*/ 3607073 h 4201882"/>
              <a:gd name="connsiteX46" fmla="*/ 6957753 w 9393163"/>
              <a:gd name="connsiteY46" fmla="*/ 3737701 h 4201882"/>
              <a:gd name="connsiteX47" fmla="*/ 6596743 w 9393163"/>
              <a:gd name="connsiteY47" fmla="*/ 4042225 h 4201882"/>
              <a:gd name="connsiteX48" fmla="*/ 7232614 w 9393163"/>
              <a:gd name="connsiteY48" fmla="*/ 3685197 h 4201882"/>
              <a:gd name="connsiteX49" fmla="*/ 7032173 w 9393163"/>
              <a:gd name="connsiteY49" fmla="*/ 4158339 h 4201882"/>
              <a:gd name="connsiteX50" fmla="*/ 6306459 w 9393163"/>
              <a:gd name="connsiteY50" fmla="*/ 4201881 h 4201882"/>
              <a:gd name="connsiteX51" fmla="*/ 6042666 w 9393163"/>
              <a:gd name="connsiteY51" fmla="*/ 3691989 h 4201882"/>
              <a:gd name="connsiteX52" fmla="*/ 6642348 w 9393163"/>
              <a:gd name="connsiteY52" fmla="*/ 3071499 h 4201882"/>
              <a:gd name="connsiteX53" fmla="*/ 7232614 w 9393163"/>
              <a:gd name="connsiteY53" fmla="*/ 3685197 h 4201882"/>
              <a:gd name="connsiteX54" fmla="*/ 319315 w 9393163"/>
              <a:gd name="connsiteY54" fmla="*/ 3294739 h 4201882"/>
              <a:gd name="connsiteX55" fmla="*/ 1952174 w 9393163"/>
              <a:gd name="connsiteY55" fmla="*/ 68941 h 4201882"/>
              <a:gd name="connsiteX56" fmla="*/ 8229601 w 9393163"/>
              <a:gd name="connsiteY56" fmla="*/ 0 h 4201882"/>
              <a:gd name="connsiteX57" fmla="*/ 8773887 w 9393163"/>
              <a:gd name="connsiteY57" fmla="*/ 616852 h 4201882"/>
              <a:gd name="connsiteX58" fmla="*/ 8831945 w 9393163"/>
              <a:gd name="connsiteY58" fmla="*/ 3156852 h 4201882"/>
              <a:gd name="connsiteX59" fmla="*/ 8744857 w 9393163"/>
              <a:gd name="connsiteY59" fmla="*/ 3418109 h 4201882"/>
              <a:gd name="connsiteX60" fmla="*/ 7438574 w 9393163"/>
              <a:gd name="connsiteY60" fmla="*/ 3418110 h 4201882"/>
              <a:gd name="connsiteX61" fmla="*/ 5798459 w 9393163"/>
              <a:gd name="connsiteY61" fmla="*/ 3577767 h 4201882"/>
              <a:gd name="connsiteX62" fmla="*/ 2735943 w 9393163"/>
              <a:gd name="connsiteY62" fmla="*/ 3606795 h 4201882"/>
              <a:gd name="connsiteX63" fmla="*/ 1023259 w 9393163"/>
              <a:gd name="connsiteY63" fmla="*/ 3621309 h 4201882"/>
              <a:gd name="connsiteX64" fmla="*/ 384627 w 9393163"/>
              <a:gd name="connsiteY64" fmla="*/ 3603169 h 4201882"/>
              <a:gd name="connsiteX65" fmla="*/ 319315 w 9393163"/>
              <a:gd name="connsiteY65"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668637 w 9393163"/>
              <a:gd name="connsiteY8" fmla="*/ 573309 h 4201882"/>
              <a:gd name="connsiteX9" fmla="*/ 6668637 w 9393163"/>
              <a:gd name="connsiteY9" fmla="*/ 1066795 h 4201882"/>
              <a:gd name="connsiteX10" fmla="*/ 6320971 w 9393163"/>
              <a:gd name="connsiteY10" fmla="*/ 1371596 h 4201882"/>
              <a:gd name="connsiteX11" fmla="*/ 5219949 w 9393163"/>
              <a:gd name="connsiteY11" fmla="*/ 1398892 h 4201882"/>
              <a:gd name="connsiteX12" fmla="*/ 4955724 w 9393163"/>
              <a:gd name="connsiteY12" fmla="*/ 1153880 h 4201882"/>
              <a:gd name="connsiteX13" fmla="*/ 4955724 w 9393163"/>
              <a:gd name="connsiteY13" fmla="*/ 587823 h 4201882"/>
              <a:gd name="connsiteX14" fmla="*/ 5229866 w 9393163"/>
              <a:gd name="connsiteY14" fmla="*/ 270402 h 4201882"/>
              <a:gd name="connsiteX15" fmla="*/ 6303698 w 9393163"/>
              <a:gd name="connsiteY15" fmla="*/ 262384 h 4201882"/>
              <a:gd name="connsiteX16" fmla="*/ 7133772 w 9393163"/>
              <a:gd name="connsiteY16" fmla="*/ 239481 h 4201882"/>
              <a:gd name="connsiteX17" fmla="*/ 8278552 w 9393163"/>
              <a:gd name="connsiteY17" fmla="*/ 253718 h 4201882"/>
              <a:gd name="connsiteX18" fmla="*/ 8556174 w 9393163"/>
              <a:gd name="connsiteY18" fmla="*/ 602338 h 4201882"/>
              <a:gd name="connsiteX19" fmla="*/ 8614231 w 9393163"/>
              <a:gd name="connsiteY19" fmla="*/ 936166 h 4201882"/>
              <a:gd name="connsiteX20" fmla="*/ 8427390 w 9393163"/>
              <a:gd name="connsiteY20" fmla="*/ 1327775 h 4201882"/>
              <a:gd name="connsiteX21" fmla="*/ 7191829 w 9393163"/>
              <a:gd name="connsiteY21" fmla="*/ 1400624 h 4201882"/>
              <a:gd name="connsiteX22" fmla="*/ 6857549 w 9393163"/>
              <a:gd name="connsiteY22" fmla="*/ 1095823 h 4201882"/>
              <a:gd name="connsiteX23" fmla="*/ 6857549 w 9393163"/>
              <a:gd name="connsiteY23" fmla="*/ 631366 h 4201882"/>
              <a:gd name="connsiteX24" fmla="*/ 7133772 w 9393163"/>
              <a:gd name="connsiteY24" fmla="*/ 239481 h 4201882"/>
              <a:gd name="connsiteX25" fmla="*/ 1577230 w 9393163"/>
              <a:gd name="connsiteY25" fmla="*/ 3702269 h 4201882"/>
              <a:gd name="connsiteX26" fmla="*/ 2244992 w 9393163"/>
              <a:gd name="connsiteY26" fmla="*/ 3739316 h 4201882"/>
              <a:gd name="connsiteX27" fmla="*/ 1833995 w 9393163"/>
              <a:gd name="connsiteY27" fmla="*/ 4025979 h 4201882"/>
              <a:gd name="connsiteX28" fmla="*/ 1577230 w 9393163"/>
              <a:gd name="connsiteY28" fmla="*/ 3702269 h 4201882"/>
              <a:gd name="connsiteX29" fmla="*/ 3331029 w 9393163"/>
              <a:gd name="connsiteY29" fmla="*/ 273272 h 4201882"/>
              <a:gd name="connsiteX30" fmla="*/ 4231794 w 9393163"/>
              <a:gd name="connsiteY30" fmla="*/ 273272 h 4201882"/>
              <a:gd name="connsiteX31" fmla="*/ 4752524 w 9393163"/>
              <a:gd name="connsiteY31" fmla="*/ 616853 h 4201882"/>
              <a:gd name="connsiteX32" fmla="*/ 4752524 w 9393163"/>
              <a:gd name="connsiteY32" fmla="*/ 1124852 h 4201882"/>
              <a:gd name="connsiteX33" fmla="*/ 4434994 w 9393163"/>
              <a:gd name="connsiteY33" fmla="*/ 1388196 h 4201882"/>
              <a:gd name="connsiteX34" fmla="*/ 3316515 w 9393163"/>
              <a:gd name="connsiteY34" fmla="*/ 1415138 h 4201882"/>
              <a:gd name="connsiteX35" fmla="*/ 3011037 w 9393163"/>
              <a:gd name="connsiteY35" fmla="*/ 1124853 h 4201882"/>
              <a:gd name="connsiteX36" fmla="*/ 3011037 w 9393163"/>
              <a:gd name="connsiteY36" fmla="*/ 515252 h 4201882"/>
              <a:gd name="connsiteX37" fmla="*/ 3331029 w 9393163"/>
              <a:gd name="connsiteY37" fmla="*/ 273272 h 4201882"/>
              <a:gd name="connsiteX38" fmla="*/ 2390031 w 9393163"/>
              <a:gd name="connsiteY38" fmla="*/ 3714226 h 4201882"/>
              <a:gd name="connsiteX39" fmla="*/ 2213430 w 9393163"/>
              <a:gd name="connsiteY39" fmla="*/ 4187367 h 4201882"/>
              <a:gd name="connsiteX40" fmla="*/ 1560287 w 9393163"/>
              <a:gd name="connsiteY40" fmla="*/ 4201882 h 4201882"/>
              <a:gd name="connsiteX41" fmla="*/ 1296966 w 9393163"/>
              <a:gd name="connsiteY41" fmla="*/ 3724642 h 4201882"/>
              <a:gd name="connsiteX42" fmla="*/ 1925678 w 9393163"/>
              <a:gd name="connsiteY42" fmla="*/ 3125933 h 4201882"/>
              <a:gd name="connsiteX43" fmla="*/ 2390031 w 9393163"/>
              <a:gd name="connsiteY43" fmla="*/ 3714226 h 4201882"/>
              <a:gd name="connsiteX44" fmla="*/ 6596743 w 9393163"/>
              <a:gd name="connsiteY44" fmla="*/ 4042225 h 4201882"/>
              <a:gd name="connsiteX45" fmla="*/ 6380876 w 9393163"/>
              <a:gd name="connsiteY45" fmla="*/ 3607073 h 4201882"/>
              <a:gd name="connsiteX46" fmla="*/ 6957753 w 9393163"/>
              <a:gd name="connsiteY46" fmla="*/ 3737701 h 4201882"/>
              <a:gd name="connsiteX47" fmla="*/ 6596743 w 9393163"/>
              <a:gd name="connsiteY47" fmla="*/ 4042225 h 4201882"/>
              <a:gd name="connsiteX48" fmla="*/ 7232614 w 9393163"/>
              <a:gd name="connsiteY48" fmla="*/ 3685197 h 4201882"/>
              <a:gd name="connsiteX49" fmla="*/ 7032173 w 9393163"/>
              <a:gd name="connsiteY49" fmla="*/ 4158339 h 4201882"/>
              <a:gd name="connsiteX50" fmla="*/ 6306459 w 9393163"/>
              <a:gd name="connsiteY50" fmla="*/ 4201881 h 4201882"/>
              <a:gd name="connsiteX51" fmla="*/ 6042666 w 9393163"/>
              <a:gd name="connsiteY51" fmla="*/ 3691989 h 4201882"/>
              <a:gd name="connsiteX52" fmla="*/ 6642348 w 9393163"/>
              <a:gd name="connsiteY52" fmla="*/ 3071499 h 4201882"/>
              <a:gd name="connsiteX53" fmla="*/ 7232614 w 9393163"/>
              <a:gd name="connsiteY53" fmla="*/ 3685197 h 4201882"/>
              <a:gd name="connsiteX54" fmla="*/ 319315 w 9393163"/>
              <a:gd name="connsiteY54" fmla="*/ 3294739 h 4201882"/>
              <a:gd name="connsiteX55" fmla="*/ 1952174 w 9393163"/>
              <a:gd name="connsiteY55" fmla="*/ 68941 h 4201882"/>
              <a:gd name="connsiteX56" fmla="*/ 8229601 w 9393163"/>
              <a:gd name="connsiteY56" fmla="*/ 0 h 4201882"/>
              <a:gd name="connsiteX57" fmla="*/ 8773887 w 9393163"/>
              <a:gd name="connsiteY57" fmla="*/ 616852 h 4201882"/>
              <a:gd name="connsiteX58" fmla="*/ 8831945 w 9393163"/>
              <a:gd name="connsiteY58" fmla="*/ 3156852 h 4201882"/>
              <a:gd name="connsiteX59" fmla="*/ 8744857 w 9393163"/>
              <a:gd name="connsiteY59" fmla="*/ 3418109 h 4201882"/>
              <a:gd name="connsiteX60" fmla="*/ 7438574 w 9393163"/>
              <a:gd name="connsiteY60" fmla="*/ 3418110 h 4201882"/>
              <a:gd name="connsiteX61" fmla="*/ 5798459 w 9393163"/>
              <a:gd name="connsiteY61" fmla="*/ 3577767 h 4201882"/>
              <a:gd name="connsiteX62" fmla="*/ 2735943 w 9393163"/>
              <a:gd name="connsiteY62" fmla="*/ 3606795 h 4201882"/>
              <a:gd name="connsiteX63" fmla="*/ 1023259 w 9393163"/>
              <a:gd name="connsiteY63" fmla="*/ 3621309 h 4201882"/>
              <a:gd name="connsiteX64" fmla="*/ 384627 w 9393163"/>
              <a:gd name="connsiteY64" fmla="*/ 3603169 h 4201882"/>
              <a:gd name="connsiteX65" fmla="*/ 319315 w 9393163"/>
              <a:gd name="connsiteY65"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668637 w 9393163"/>
              <a:gd name="connsiteY8" fmla="*/ 573309 h 4201882"/>
              <a:gd name="connsiteX9" fmla="*/ 6668637 w 9393163"/>
              <a:gd name="connsiteY9" fmla="*/ 1066795 h 4201882"/>
              <a:gd name="connsiteX10" fmla="*/ 6320971 w 9393163"/>
              <a:gd name="connsiteY10" fmla="*/ 1371596 h 4201882"/>
              <a:gd name="connsiteX11" fmla="*/ 5219949 w 9393163"/>
              <a:gd name="connsiteY11" fmla="*/ 1398892 h 4201882"/>
              <a:gd name="connsiteX12" fmla="*/ 4955724 w 9393163"/>
              <a:gd name="connsiteY12" fmla="*/ 1153880 h 4201882"/>
              <a:gd name="connsiteX13" fmla="*/ 4955724 w 9393163"/>
              <a:gd name="connsiteY13" fmla="*/ 587823 h 4201882"/>
              <a:gd name="connsiteX14" fmla="*/ 5229866 w 9393163"/>
              <a:gd name="connsiteY14" fmla="*/ 270402 h 4201882"/>
              <a:gd name="connsiteX15" fmla="*/ 6303698 w 9393163"/>
              <a:gd name="connsiteY15" fmla="*/ 262384 h 4201882"/>
              <a:gd name="connsiteX16" fmla="*/ 7133772 w 9393163"/>
              <a:gd name="connsiteY16" fmla="*/ 239481 h 4201882"/>
              <a:gd name="connsiteX17" fmla="*/ 8278552 w 9393163"/>
              <a:gd name="connsiteY17" fmla="*/ 253718 h 4201882"/>
              <a:gd name="connsiteX18" fmla="*/ 8556174 w 9393163"/>
              <a:gd name="connsiteY18" fmla="*/ 602338 h 4201882"/>
              <a:gd name="connsiteX19" fmla="*/ 8614231 w 9393163"/>
              <a:gd name="connsiteY19" fmla="*/ 936166 h 4201882"/>
              <a:gd name="connsiteX20" fmla="*/ 8427390 w 9393163"/>
              <a:gd name="connsiteY20" fmla="*/ 1327775 h 4201882"/>
              <a:gd name="connsiteX21" fmla="*/ 7191829 w 9393163"/>
              <a:gd name="connsiteY21" fmla="*/ 1400624 h 4201882"/>
              <a:gd name="connsiteX22" fmla="*/ 6857549 w 9393163"/>
              <a:gd name="connsiteY22" fmla="*/ 1095823 h 4201882"/>
              <a:gd name="connsiteX23" fmla="*/ 6857549 w 9393163"/>
              <a:gd name="connsiteY23" fmla="*/ 631366 h 4201882"/>
              <a:gd name="connsiteX24" fmla="*/ 7133772 w 9393163"/>
              <a:gd name="connsiteY24" fmla="*/ 239481 h 4201882"/>
              <a:gd name="connsiteX25" fmla="*/ 1577230 w 9393163"/>
              <a:gd name="connsiteY25" fmla="*/ 3702269 h 4201882"/>
              <a:gd name="connsiteX26" fmla="*/ 2244992 w 9393163"/>
              <a:gd name="connsiteY26" fmla="*/ 3739316 h 4201882"/>
              <a:gd name="connsiteX27" fmla="*/ 1833995 w 9393163"/>
              <a:gd name="connsiteY27" fmla="*/ 4025979 h 4201882"/>
              <a:gd name="connsiteX28" fmla="*/ 1577230 w 9393163"/>
              <a:gd name="connsiteY28" fmla="*/ 3702269 h 4201882"/>
              <a:gd name="connsiteX29" fmla="*/ 3331029 w 9393163"/>
              <a:gd name="connsiteY29" fmla="*/ 273272 h 4201882"/>
              <a:gd name="connsiteX30" fmla="*/ 4231794 w 9393163"/>
              <a:gd name="connsiteY30" fmla="*/ 273272 h 4201882"/>
              <a:gd name="connsiteX31" fmla="*/ 4752524 w 9393163"/>
              <a:gd name="connsiteY31" fmla="*/ 616853 h 4201882"/>
              <a:gd name="connsiteX32" fmla="*/ 4752524 w 9393163"/>
              <a:gd name="connsiteY32" fmla="*/ 1124852 h 4201882"/>
              <a:gd name="connsiteX33" fmla="*/ 4434994 w 9393163"/>
              <a:gd name="connsiteY33" fmla="*/ 1388196 h 4201882"/>
              <a:gd name="connsiteX34" fmla="*/ 3316515 w 9393163"/>
              <a:gd name="connsiteY34" fmla="*/ 1415138 h 4201882"/>
              <a:gd name="connsiteX35" fmla="*/ 3011037 w 9393163"/>
              <a:gd name="connsiteY35" fmla="*/ 1124853 h 4201882"/>
              <a:gd name="connsiteX36" fmla="*/ 3011037 w 9393163"/>
              <a:gd name="connsiteY36" fmla="*/ 515252 h 4201882"/>
              <a:gd name="connsiteX37" fmla="*/ 3331029 w 9393163"/>
              <a:gd name="connsiteY37" fmla="*/ 273272 h 4201882"/>
              <a:gd name="connsiteX38" fmla="*/ 2390031 w 9393163"/>
              <a:gd name="connsiteY38" fmla="*/ 3714226 h 4201882"/>
              <a:gd name="connsiteX39" fmla="*/ 2213430 w 9393163"/>
              <a:gd name="connsiteY39" fmla="*/ 4187367 h 4201882"/>
              <a:gd name="connsiteX40" fmla="*/ 1560287 w 9393163"/>
              <a:gd name="connsiteY40" fmla="*/ 4201882 h 4201882"/>
              <a:gd name="connsiteX41" fmla="*/ 1296966 w 9393163"/>
              <a:gd name="connsiteY41" fmla="*/ 3724642 h 4201882"/>
              <a:gd name="connsiteX42" fmla="*/ 1925678 w 9393163"/>
              <a:gd name="connsiteY42" fmla="*/ 3125933 h 4201882"/>
              <a:gd name="connsiteX43" fmla="*/ 2390031 w 9393163"/>
              <a:gd name="connsiteY43" fmla="*/ 3714226 h 4201882"/>
              <a:gd name="connsiteX44" fmla="*/ 6596743 w 9393163"/>
              <a:gd name="connsiteY44" fmla="*/ 4042225 h 4201882"/>
              <a:gd name="connsiteX45" fmla="*/ 6380876 w 9393163"/>
              <a:gd name="connsiteY45" fmla="*/ 3607073 h 4201882"/>
              <a:gd name="connsiteX46" fmla="*/ 6957753 w 9393163"/>
              <a:gd name="connsiteY46" fmla="*/ 3737701 h 4201882"/>
              <a:gd name="connsiteX47" fmla="*/ 6596743 w 9393163"/>
              <a:gd name="connsiteY47" fmla="*/ 4042225 h 4201882"/>
              <a:gd name="connsiteX48" fmla="*/ 7232614 w 9393163"/>
              <a:gd name="connsiteY48" fmla="*/ 3685197 h 4201882"/>
              <a:gd name="connsiteX49" fmla="*/ 7032173 w 9393163"/>
              <a:gd name="connsiteY49" fmla="*/ 4158339 h 4201882"/>
              <a:gd name="connsiteX50" fmla="*/ 6306459 w 9393163"/>
              <a:gd name="connsiteY50" fmla="*/ 4201881 h 4201882"/>
              <a:gd name="connsiteX51" fmla="*/ 6042666 w 9393163"/>
              <a:gd name="connsiteY51" fmla="*/ 3691989 h 4201882"/>
              <a:gd name="connsiteX52" fmla="*/ 6642348 w 9393163"/>
              <a:gd name="connsiteY52" fmla="*/ 3071499 h 4201882"/>
              <a:gd name="connsiteX53" fmla="*/ 7232614 w 9393163"/>
              <a:gd name="connsiteY53" fmla="*/ 3685197 h 4201882"/>
              <a:gd name="connsiteX54" fmla="*/ 319315 w 9393163"/>
              <a:gd name="connsiteY54" fmla="*/ 3294739 h 4201882"/>
              <a:gd name="connsiteX55" fmla="*/ 1952174 w 9393163"/>
              <a:gd name="connsiteY55" fmla="*/ 68941 h 4201882"/>
              <a:gd name="connsiteX56" fmla="*/ 8229601 w 9393163"/>
              <a:gd name="connsiteY56" fmla="*/ 0 h 4201882"/>
              <a:gd name="connsiteX57" fmla="*/ 8773887 w 9393163"/>
              <a:gd name="connsiteY57" fmla="*/ 616852 h 4201882"/>
              <a:gd name="connsiteX58" fmla="*/ 8831945 w 9393163"/>
              <a:gd name="connsiteY58" fmla="*/ 3156852 h 4201882"/>
              <a:gd name="connsiteX59" fmla="*/ 8744857 w 9393163"/>
              <a:gd name="connsiteY59" fmla="*/ 3418109 h 4201882"/>
              <a:gd name="connsiteX60" fmla="*/ 7438574 w 9393163"/>
              <a:gd name="connsiteY60" fmla="*/ 3418110 h 4201882"/>
              <a:gd name="connsiteX61" fmla="*/ 5798459 w 9393163"/>
              <a:gd name="connsiteY61" fmla="*/ 3577767 h 4201882"/>
              <a:gd name="connsiteX62" fmla="*/ 2735943 w 9393163"/>
              <a:gd name="connsiteY62" fmla="*/ 3606795 h 4201882"/>
              <a:gd name="connsiteX63" fmla="*/ 1023259 w 9393163"/>
              <a:gd name="connsiteY63" fmla="*/ 3621309 h 4201882"/>
              <a:gd name="connsiteX64" fmla="*/ 384627 w 9393163"/>
              <a:gd name="connsiteY64" fmla="*/ 3603169 h 4201882"/>
              <a:gd name="connsiteX65" fmla="*/ 319315 w 9393163"/>
              <a:gd name="connsiteY65"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668637 w 9393163"/>
              <a:gd name="connsiteY8" fmla="*/ 573309 h 4201882"/>
              <a:gd name="connsiteX9" fmla="*/ 6668637 w 9393163"/>
              <a:gd name="connsiteY9" fmla="*/ 1066795 h 4201882"/>
              <a:gd name="connsiteX10" fmla="*/ 6320971 w 9393163"/>
              <a:gd name="connsiteY10" fmla="*/ 1371596 h 4201882"/>
              <a:gd name="connsiteX11" fmla="*/ 5219949 w 9393163"/>
              <a:gd name="connsiteY11" fmla="*/ 1398892 h 4201882"/>
              <a:gd name="connsiteX12" fmla="*/ 4955724 w 9393163"/>
              <a:gd name="connsiteY12" fmla="*/ 1153880 h 4201882"/>
              <a:gd name="connsiteX13" fmla="*/ 4955724 w 9393163"/>
              <a:gd name="connsiteY13" fmla="*/ 587823 h 4201882"/>
              <a:gd name="connsiteX14" fmla="*/ 5229866 w 9393163"/>
              <a:gd name="connsiteY14" fmla="*/ 270402 h 4201882"/>
              <a:gd name="connsiteX15" fmla="*/ 6303698 w 9393163"/>
              <a:gd name="connsiteY15" fmla="*/ 262384 h 4201882"/>
              <a:gd name="connsiteX16" fmla="*/ 7133772 w 9393163"/>
              <a:gd name="connsiteY16" fmla="*/ 239481 h 4201882"/>
              <a:gd name="connsiteX17" fmla="*/ 8278552 w 9393163"/>
              <a:gd name="connsiteY17" fmla="*/ 253718 h 4201882"/>
              <a:gd name="connsiteX18" fmla="*/ 8614231 w 9393163"/>
              <a:gd name="connsiteY18" fmla="*/ 936166 h 4201882"/>
              <a:gd name="connsiteX19" fmla="*/ 8427390 w 9393163"/>
              <a:gd name="connsiteY19" fmla="*/ 1327775 h 4201882"/>
              <a:gd name="connsiteX20" fmla="*/ 7191829 w 9393163"/>
              <a:gd name="connsiteY20" fmla="*/ 1400624 h 4201882"/>
              <a:gd name="connsiteX21" fmla="*/ 6857549 w 9393163"/>
              <a:gd name="connsiteY21" fmla="*/ 1095823 h 4201882"/>
              <a:gd name="connsiteX22" fmla="*/ 6857549 w 9393163"/>
              <a:gd name="connsiteY22" fmla="*/ 631366 h 4201882"/>
              <a:gd name="connsiteX23" fmla="*/ 7133772 w 9393163"/>
              <a:gd name="connsiteY23" fmla="*/ 239481 h 4201882"/>
              <a:gd name="connsiteX24" fmla="*/ 1577230 w 9393163"/>
              <a:gd name="connsiteY24" fmla="*/ 3702269 h 4201882"/>
              <a:gd name="connsiteX25" fmla="*/ 2244992 w 9393163"/>
              <a:gd name="connsiteY25" fmla="*/ 3739316 h 4201882"/>
              <a:gd name="connsiteX26" fmla="*/ 1833995 w 9393163"/>
              <a:gd name="connsiteY26" fmla="*/ 4025979 h 4201882"/>
              <a:gd name="connsiteX27" fmla="*/ 1577230 w 9393163"/>
              <a:gd name="connsiteY27" fmla="*/ 3702269 h 4201882"/>
              <a:gd name="connsiteX28" fmla="*/ 3331029 w 9393163"/>
              <a:gd name="connsiteY28" fmla="*/ 273272 h 4201882"/>
              <a:gd name="connsiteX29" fmla="*/ 4231794 w 9393163"/>
              <a:gd name="connsiteY29" fmla="*/ 273272 h 4201882"/>
              <a:gd name="connsiteX30" fmla="*/ 4752524 w 9393163"/>
              <a:gd name="connsiteY30" fmla="*/ 616853 h 4201882"/>
              <a:gd name="connsiteX31" fmla="*/ 4752524 w 9393163"/>
              <a:gd name="connsiteY31" fmla="*/ 1124852 h 4201882"/>
              <a:gd name="connsiteX32" fmla="*/ 4434994 w 9393163"/>
              <a:gd name="connsiteY32" fmla="*/ 1388196 h 4201882"/>
              <a:gd name="connsiteX33" fmla="*/ 3316515 w 9393163"/>
              <a:gd name="connsiteY33" fmla="*/ 1415138 h 4201882"/>
              <a:gd name="connsiteX34" fmla="*/ 3011037 w 9393163"/>
              <a:gd name="connsiteY34" fmla="*/ 1124853 h 4201882"/>
              <a:gd name="connsiteX35" fmla="*/ 3011037 w 9393163"/>
              <a:gd name="connsiteY35" fmla="*/ 515252 h 4201882"/>
              <a:gd name="connsiteX36" fmla="*/ 3331029 w 9393163"/>
              <a:gd name="connsiteY36" fmla="*/ 273272 h 4201882"/>
              <a:gd name="connsiteX37" fmla="*/ 2390031 w 9393163"/>
              <a:gd name="connsiteY37" fmla="*/ 3714226 h 4201882"/>
              <a:gd name="connsiteX38" fmla="*/ 2213430 w 9393163"/>
              <a:gd name="connsiteY38" fmla="*/ 4187367 h 4201882"/>
              <a:gd name="connsiteX39" fmla="*/ 1560287 w 9393163"/>
              <a:gd name="connsiteY39" fmla="*/ 4201882 h 4201882"/>
              <a:gd name="connsiteX40" fmla="*/ 1296966 w 9393163"/>
              <a:gd name="connsiteY40" fmla="*/ 3724642 h 4201882"/>
              <a:gd name="connsiteX41" fmla="*/ 1925678 w 9393163"/>
              <a:gd name="connsiteY41" fmla="*/ 3125933 h 4201882"/>
              <a:gd name="connsiteX42" fmla="*/ 2390031 w 9393163"/>
              <a:gd name="connsiteY42" fmla="*/ 3714226 h 4201882"/>
              <a:gd name="connsiteX43" fmla="*/ 6596743 w 9393163"/>
              <a:gd name="connsiteY43" fmla="*/ 4042225 h 4201882"/>
              <a:gd name="connsiteX44" fmla="*/ 6380876 w 9393163"/>
              <a:gd name="connsiteY44" fmla="*/ 3607073 h 4201882"/>
              <a:gd name="connsiteX45" fmla="*/ 6957753 w 9393163"/>
              <a:gd name="connsiteY45" fmla="*/ 3737701 h 4201882"/>
              <a:gd name="connsiteX46" fmla="*/ 6596743 w 9393163"/>
              <a:gd name="connsiteY46" fmla="*/ 4042225 h 4201882"/>
              <a:gd name="connsiteX47" fmla="*/ 7232614 w 9393163"/>
              <a:gd name="connsiteY47" fmla="*/ 3685197 h 4201882"/>
              <a:gd name="connsiteX48" fmla="*/ 7032173 w 9393163"/>
              <a:gd name="connsiteY48" fmla="*/ 4158339 h 4201882"/>
              <a:gd name="connsiteX49" fmla="*/ 6306459 w 9393163"/>
              <a:gd name="connsiteY49" fmla="*/ 4201881 h 4201882"/>
              <a:gd name="connsiteX50" fmla="*/ 6042666 w 9393163"/>
              <a:gd name="connsiteY50" fmla="*/ 3691989 h 4201882"/>
              <a:gd name="connsiteX51" fmla="*/ 6642348 w 9393163"/>
              <a:gd name="connsiteY51" fmla="*/ 3071499 h 4201882"/>
              <a:gd name="connsiteX52" fmla="*/ 7232614 w 9393163"/>
              <a:gd name="connsiteY52" fmla="*/ 3685197 h 4201882"/>
              <a:gd name="connsiteX53" fmla="*/ 319315 w 9393163"/>
              <a:gd name="connsiteY53" fmla="*/ 3294739 h 4201882"/>
              <a:gd name="connsiteX54" fmla="*/ 1952174 w 9393163"/>
              <a:gd name="connsiteY54" fmla="*/ 68941 h 4201882"/>
              <a:gd name="connsiteX55" fmla="*/ 8229601 w 9393163"/>
              <a:gd name="connsiteY55" fmla="*/ 0 h 4201882"/>
              <a:gd name="connsiteX56" fmla="*/ 8773887 w 9393163"/>
              <a:gd name="connsiteY56" fmla="*/ 616852 h 4201882"/>
              <a:gd name="connsiteX57" fmla="*/ 8831945 w 9393163"/>
              <a:gd name="connsiteY57" fmla="*/ 3156852 h 4201882"/>
              <a:gd name="connsiteX58" fmla="*/ 8744857 w 9393163"/>
              <a:gd name="connsiteY58" fmla="*/ 3418109 h 4201882"/>
              <a:gd name="connsiteX59" fmla="*/ 7438574 w 9393163"/>
              <a:gd name="connsiteY59" fmla="*/ 3418110 h 4201882"/>
              <a:gd name="connsiteX60" fmla="*/ 5798459 w 9393163"/>
              <a:gd name="connsiteY60" fmla="*/ 3577767 h 4201882"/>
              <a:gd name="connsiteX61" fmla="*/ 2735943 w 9393163"/>
              <a:gd name="connsiteY61" fmla="*/ 3606795 h 4201882"/>
              <a:gd name="connsiteX62" fmla="*/ 1023259 w 9393163"/>
              <a:gd name="connsiteY62" fmla="*/ 3621309 h 4201882"/>
              <a:gd name="connsiteX63" fmla="*/ 384627 w 9393163"/>
              <a:gd name="connsiteY63" fmla="*/ 3603169 h 4201882"/>
              <a:gd name="connsiteX64" fmla="*/ 319315 w 9393163"/>
              <a:gd name="connsiteY64"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668637 w 9393163"/>
              <a:gd name="connsiteY8" fmla="*/ 573309 h 4201882"/>
              <a:gd name="connsiteX9" fmla="*/ 6668637 w 9393163"/>
              <a:gd name="connsiteY9" fmla="*/ 1066795 h 4201882"/>
              <a:gd name="connsiteX10" fmla="*/ 6320971 w 9393163"/>
              <a:gd name="connsiteY10" fmla="*/ 1371596 h 4201882"/>
              <a:gd name="connsiteX11" fmla="*/ 5219949 w 9393163"/>
              <a:gd name="connsiteY11" fmla="*/ 1398892 h 4201882"/>
              <a:gd name="connsiteX12" fmla="*/ 4955724 w 9393163"/>
              <a:gd name="connsiteY12" fmla="*/ 1153880 h 4201882"/>
              <a:gd name="connsiteX13" fmla="*/ 4955724 w 9393163"/>
              <a:gd name="connsiteY13" fmla="*/ 587823 h 4201882"/>
              <a:gd name="connsiteX14" fmla="*/ 5229866 w 9393163"/>
              <a:gd name="connsiteY14" fmla="*/ 270402 h 4201882"/>
              <a:gd name="connsiteX15" fmla="*/ 6303698 w 9393163"/>
              <a:gd name="connsiteY15" fmla="*/ 262384 h 4201882"/>
              <a:gd name="connsiteX16" fmla="*/ 7133772 w 9393163"/>
              <a:gd name="connsiteY16" fmla="*/ 239481 h 4201882"/>
              <a:gd name="connsiteX17" fmla="*/ 8278552 w 9393163"/>
              <a:gd name="connsiteY17" fmla="*/ 253718 h 4201882"/>
              <a:gd name="connsiteX18" fmla="*/ 8614231 w 9393163"/>
              <a:gd name="connsiteY18" fmla="*/ 936166 h 4201882"/>
              <a:gd name="connsiteX19" fmla="*/ 8427390 w 9393163"/>
              <a:gd name="connsiteY19" fmla="*/ 1327775 h 4201882"/>
              <a:gd name="connsiteX20" fmla="*/ 7191829 w 9393163"/>
              <a:gd name="connsiteY20" fmla="*/ 1400624 h 4201882"/>
              <a:gd name="connsiteX21" fmla="*/ 6857549 w 9393163"/>
              <a:gd name="connsiteY21" fmla="*/ 1095823 h 4201882"/>
              <a:gd name="connsiteX22" fmla="*/ 6857549 w 9393163"/>
              <a:gd name="connsiteY22" fmla="*/ 631366 h 4201882"/>
              <a:gd name="connsiteX23" fmla="*/ 7133772 w 9393163"/>
              <a:gd name="connsiteY23" fmla="*/ 239481 h 4201882"/>
              <a:gd name="connsiteX24" fmla="*/ 1577230 w 9393163"/>
              <a:gd name="connsiteY24" fmla="*/ 3702269 h 4201882"/>
              <a:gd name="connsiteX25" fmla="*/ 2244992 w 9393163"/>
              <a:gd name="connsiteY25" fmla="*/ 3739316 h 4201882"/>
              <a:gd name="connsiteX26" fmla="*/ 1833995 w 9393163"/>
              <a:gd name="connsiteY26" fmla="*/ 4025979 h 4201882"/>
              <a:gd name="connsiteX27" fmla="*/ 1577230 w 9393163"/>
              <a:gd name="connsiteY27" fmla="*/ 3702269 h 4201882"/>
              <a:gd name="connsiteX28" fmla="*/ 3331029 w 9393163"/>
              <a:gd name="connsiteY28" fmla="*/ 273272 h 4201882"/>
              <a:gd name="connsiteX29" fmla="*/ 4231794 w 9393163"/>
              <a:gd name="connsiteY29" fmla="*/ 273272 h 4201882"/>
              <a:gd name="connsiteX30" fmla="*/ 4752524 w 9393163"/>
              <a:gd name="connsiteY30" fmla="*/ 616853 h 4201882"/>
              <a:gd name="connsiteX31" fmla="*/ 4752524 w 9393163"/>
              <a:gd name="connsiteY31" fmla="*/ 1124852 h 4201882"/>
              <a:gd name="connsiteX32" fmla="*/ 4434994 w 9393163"/>
              <a:gd name="connsiteY32" fmla="*/ 1388196 h 4201882"/>
              <a:gd name="connsiteX33" fmla="*/ 3316515 w 9393163"/>
              <a:gd name="connsiteY33" fmla="*/ 1415138 h 4201882"/>
              <a:gd name="connsiteX34" fmla="*/ 3011037 w 9393163"/>
              <a:gd name="connsiteY34" fmla="*/ 1124853 h 4201882"/>
              <a:gd name="connsiteX35" fmla="*/ 3011037 w 9393163"/>
              <a:gd name="connsiteY35" fmla="*/ 515252 h 4201882"/>
              <a:gd name="connsiteX36" fmla="*/ 3331029 w 9393163"/>
              <a:gd name="connsiteY36" fmla="*/ 273272 h 4201882"/>
              <a:gd name="connsiteX37" fmla="*/ 2390031 w 9393163"/>
              <a:gd name="connsiteY37" fmla="*/ 3714226 h 4201882"/>
              <a:gd name="connsiteX38" fmla="*/ 2213430 w 9393163"/>
              <a:gd name="connsiteY38" fmla="*/ 4187367 h 4201882"/>
              <a:gd name="connsiteX39" fmla="*/ 1560287 w 9393163"/>
              <a:gd name="connsiteY39" fmla="*/ 4201882 h 4201882"/>
              <a:gd name="connsiteX40" fmla="*/ 1296966 w 9393163"/>
              <a:gd name="connsiteY40" fmla="*/ 3724642 h 4201882"/>
              <a:gd name="connsiteX41" fmla="*/ 1925678 w 9393163"/>
              <a:gd name="connsiteY41" fmla="*/ 3125933 h 4201882"/>
              <a:gd name="connsiteX42" fmla="*/ 2390031 w 9393163"/>
              <a:gd name="connsiteY42" fmla="*/ 3714226 h 4201882"/>
              <a:gd name="connsiteX43" fmla="*/ 6596743 w 9393163"/>
              <a:gd name="connsiteY43" fmla="*/ 4042225 h 4201882"/>
              <a:gd name="connsiteX44" fmla="*/ 6380876 w 9393163"/>
              <a:gd name="connsiteY44" fmla="*/ 3607073 h 4201882"/>
              <a:gd name="connsiteX45" fmla="*/ 6957753 w 9393163"/>
              <a:gd name="connsiteY45" fmla="*/ 3737701 h 4201882"/>
              <a:gd name="connsiteX46" fmla="*/ 6596743 w 9393163"/>
              <a:gd name="connsiteY46" fmla="*/ 4042225 h 4201882"/>
              <a:gd name="connsiteX47" fmla="*/ 7232614 w 9393163"/>
              <a:gd name="connsiteY47" fmla="*/ 3685197 h 4201882"/>
              <a:gd name="connsiteX48" fmla="*/ 7032173 w 9393163"/>
              <a:gd name="connsiteY48" fmla="*/ 4158339 h 4201882"/>
              <a:gd name="connsiteX49" fmla="*/ 6306459 w 9393163"/>
              <a:gd name="connsiteY49" fmla="*/ 4201881 h 4201882"/>
              <a:gd name="connsiteX50" fmla="*/ 6042666 w 9393163"/>
              <a:gd name="connsiteY50" fmla="*/ 3691989 h 4201882"/>
              <a:gd name="connsiteX51" fmla="*/ 6642348 w 9393163"/>
              <a:gd name="connsiteY51" fmla="*/ 3071499 h 4201882"/>
              <a:gd name="connsiteX52" fmla="*/ 7232614 w 9393163"/>
              <a:gd name="connsiteY52" fmla="*/ 3685197 h 4201882"/>
              <a:gd name="connsiteX53" fmla="*/ 319315 w 9393163"/>
              <a:gd name="connsiteY53" fmla="*/ 3294739 h 4201882"/>
              <a:gd name="connsiteX54" fmla="*/ 1952174 w 9393163"/>
              <a:gd name="connsiteY54" fmla="*/ 68941 h 4201882"/>
              <a:gd name="connsiteX55" fmla="*/ 8229601 w 9393163"/>
              <a:gd name="connsiteY55" fmla="*/ 0 h 4201882"/>
              <a:gd name="connsiteX56" fmla="*/ 8773887 w 9393163"/>
              <a:gd name="connsiteY56" fmla="*/ 616852 h 4201882"/>
              <a:gd name="connsiteX57" fmla="*/ 8831945 w 9393163"/>
              <a:gd name="connsiteY57" fmla="*/ 3156852 h 4201882"/>
              <a:gd name="connsiteX58" fmla="*/ 8744857 w 9393163"/>
              <a:gd name="connsiteY58" fmla="*/ 3418109 h 4201882"/>
              <a:gd name="connsiteX59" fmla="*/ 7438574 w 9393163"/>
              <a:gd name="connsiteY59" fmla="*/ 3418110 h 4201882"/>
              <a:gd name="connsiteX60" fmla="*/ 5798459 w 9393163"/>
              <a:gd name="connsiteY60" fmla="*/ 3577767 h 4201882"/>
              <a:gd name="connsiteX61" fmla="*/ 2735943 w 9393163"/>
              <a:gd name="connsiteY61" fmla="*/ 3606795 h 4201882"/>
              <a:gd name="connsiteX62" fmla="*/ 1023259 w 9393163"/>
              <a:gd name="connsiteY62" fmla="*/ 3621309 h 4201882"/>
              <a:gd name="connsiteX63" fmla="*/ 384627 w 9393163"/>
              <a:gd name="connsiteY63" fmla="*/ 3603169 h 4201882"/>
              <a:gd name="connsiteX64" fmla="*/ 319315 w 9393163"/>
              <a:gd name="connsiteY64"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668637 w 9393163"/>
              <a:gd name="connsiteY8" fmla="*/ 573309 h 4201882"/>
              <a:gd name="connsiteX9" fmla="*/ 6668637 w 9393163"/>
              <a:gd name="connsiteY9" fmla="*/ 1066795 h 4201882"/>
              <a:gd name="connsiteX10" fmla="*/ 6320971 w 9393163"/>
              <a:gd name="connsiteY10" fmla="*/ 1371596 h 4201882"/>
              <a:gd name="connsiteX11" fmla="*/ 5219949 w 9393163"/>
              <a:gd name="connsiteY11" fmla="*/ 1398892 h 4201882"/>
              <a:gd name="connsiteX12" fmla="*/ 4955724 w 9393163"/>
              <a:gd name="connsiteY12" fmla="*/ 1153880 h 4201882"/>
              <a:gd name="connsiteX13" fmla="*/ 4955724 w 9393163"/>
              <a:gd name="connsiteY13" fmla="*/ 587823 h 4201882"/>
              <a:gd name="connsiteX14" fmla="*/ 5229866 w 9393163"/>
              <a:gd name="connsiteY14" fmla="*/ 270402 h 4201882"/>
              <a:gd name="connsiteX15" fmla="*/ 6303698 w 9393163"/>
              <a:gd name="connsiteY15" fmla="*/ 262384 h 4201882"/>
              <a:gd name="connsiteX16" fmla="*/ 7133772 w 9393163"/>
              <a:gd name="connsiteY16" fmla="*/ 239481 h 4201882"/>
              <a:gd name="connsiteX17" fmla="*/ 8278552 w 9393163"/>
              <a:gd name="connsiteY17" fmla="*/ 253718 h 4201882"/>
              <a:gd name="connsiteX18" fmla="*/ 8614231 w 9393163"/>
              <a:gd name="connsiteY18" fmla="*/ 936166 h 4201882"/>
              <a:gd name="connsiteX19" fmla="*/ 8122590 w 9393163"/>
              <a:gd name="connsiteY19" fmla="*/ 1419447 h 4201882"/>
              <a:gd name="connsiteX20" fmla="*/ 7191829 w 9393163"/>
              <a:gd name="connsiteY20" fmla="*/ 1400624 h 4201882"/>
              <a:gd name="connsiteX21" fmla="*/ 6857549 w 9393163"/>
              <a:gd name="connsiteY21" fmla="*/ 1095823 h 4201882"/>
              <a:gd name="connsiteX22" fmla="*/ 6857549 w 9393163"/>
              <a:gd name="connsiteY22" fmla="*/ 631366 h 4201882"/>
              <a:gd name="connsiteX23" fmla="*/ 7133772 w 9393163"/>
              <a:gd name="connsiteY23" fmla="*/ 239481 h 4201882"/>
              <a:gd name="connsiteX24" fmla="*/ 1577230 w 9393163"/>
              <a:gd name="connsiteY24" fmla="*/ 3702269 h 4201882"/>
              <a:gd name="connsiteX25" fmla="*/ 2244992 w 9393163"/>
              <a:gd name="connsiteY25" fmla="*/ 3739316 h 4201882"/>
              <a:gd name="connsiteX26" fmla="*/ 1833995 w 9393163"/>
              <a:gd name="connsiteY26" fmla="*/ 4025979 h 4201882"/>
              <a:gd name="connsiteX27" fmla="*/ 1577230 w 9393163"/>
              <a:gd name="connsiteY27" fmla="*/ 3702269 h 4201882"/>
              <a:gd name="connsiteX28" fmla="*/ 3331029 w 9393163"/>
              <a:gd name="connsiteY28" fmla="*/ 273272 h 4201882"/>
              <a:gd name="connsiteX29" fmla="*/ 4231794 w 9393163"/>
              <a:gd name="connsiteY29" fmla="*/ 273272 h 4201882"/>
              <a:gd name="connsiteX30" fmla="*/ 4752524 w 9393163"/>
              <a:gd name="connsiteY30" fmla="*/ 616853 h 4201882"/>
              <a:gd name="connsiteX31" fmla="*/ 4752524 w 9393163"/>
              <a:gd name="connsiteY31" fmla="*/ 1124852 h 4201882"/>
              <a:gd name="connsiteX32" fmla="*/ 4434994 w 9393163"/>
              <a:gd name="connsiteY32" fmla="*/ 1388196 h 4201882"/>
              <a:gd name="connsiteX33" fmla="*/ 3316515 w 9393163"/>
              <a:gd name="connsiteY33" fmla="*/ 1415138 h 4201882"/>
              <a:gd name="connsiteX34" fmla="*/ 3011037 w 9393163"/>
              <a:gd name="connsiteY34" fmla="*/ 1124853 h 4201882"/>
              <a:gd name="connsiteX35" fmla="*/ 3011037 w 9393163"/>
              <a:gd name="connsiteY35" fmla="*/ 515252 h 4201882"/>
              <a:gd name="connsiteX36" fmla="*/ 3331029 w 9393163"/>
              <a:gd name="connsiteY36" fmla="*/ 273272 h 4201882"/>
              <a:gd name="connsiteX37" fmla="*/ 2390031 w 9393163"/>
              <a:gd name="connsiteY37" fmla="*/ 3714226 h 4201882"/>
              <a:gd name="connsiteX38" fmla="*/ 2213430 w 9393163"/>
              <a:gd name="connsiteY38" fmla="*/ 4187367 h 4201882"/>
              <a:gd name="connsiteX39" fmla="*/ 1560287 w 9393163"/>
              <a:gd name="connsiteY39" fmla="*/ 4201882 h 4201882"/>
              <a:gd name="connsiteX40" fmla="*/ 1296966 w 9393163"/>
              <a:gd name="connsiteY40" fmla="*/ 3724642 h 4201882"/>
              <a:gd name="connsiteX41" fmla="*/ 1925678 w 9393163"/>
              <a:gd name="connsiteY41" fmla="*/ 3125933 h 4201882"/>
              <a:gd name="connsiteX42" fmla="*/ 2390031 w 9393163"/>
              <a:gd name="connsiteY42" fmla="*/ 3714226 h 4201882"/>
              <a:gd name="connsiteX43" fmla="*/ 6596743 w 9393163"/>
              <a:gd name="connsiteY43" fmla="*/ 4042225 h 4201882"/>
              <a:gd name="connsiteX44" fmla="*/ 6380876 w 9393163"/>
              <a:gd name="connsiteY44" fmla="*/ 3607073 h 4201882"/>
              <a:gd name="connsiteX45" fmla="*/ 6957753 w 9393163"/>
              <a:gd name="connsiteY45" fmla="*/ 3737701 h 4201882"/>
              <a:gd name="connsiteX46" fmla="*/ 6596743 w 9393163"/>
              <a:gd name="connsiteY46" fmla="*/ 4042225 h 4201882"/>
              <a:gd name="connsiteX47" fmla="*/ 7232614 w 9393163"/>
              <a:gd name="connsiteY47" fmla="*/ 3685197 h 4201882"/>
              <a:gd name="connsiteX48" fmla="*/ 7032173 w 9393163"/>
              <a:gd name="connsiteY48" fmla="*/ 4158339 h 4201882"/>
              <a:gd name="connsiteX49" fmla="*/ 6306459 w 9393163"/>
              <a:gd name="connsiteY49" fmla="*/ 4201881 h 4201882"/>
              <a:gd name="connsiteX50" fmla="*/ 6042666 w 9393163"/>
              <a:gd name="connsiteY50" fmla="*/ 3691989 h 4201882"/>
              <a:gd name="connsiteX51" fmla="*/ 6642348 w 9393163"/>
              <a:gd name="connsiteY51" fmla="*/ 3071499 h 4201882"/>
              <a:gd name="connsiteX52" fmla="*/ 7232614 w 9393163"/>
              <a:gd name="connsiteY52" fmla="*/ 3685197 h 4201882"/>
              <a:gd name="connsiteX53" fmla="*/ 319315 w 9393163"/>
              <a:gd name="connsiteY53" fmla="*/ 3294739 h 4201882"/>
              <a:gd name="connsiteX54" fmla="*/ 1952174 w 9393163"/>
              <a:gd name="connsiteY54" fmla="*/ 68941 h 4201882"/>
              <a:gd name="connsiteX55" fmla="*/ 8229601 w 9393163"/>
              <a:gd name="connsiteY55" fmla="*/ 0 h 4201882"/>
              <a:gd name="connsiteX56" fmla="*/ 8773887 w 9393163"/>
              <a:gd name="connsiteY56" fmla="*/ 616852 h 4201882"/>
              <a:gd name="connsiteX57" fmla="*/ 8831945 w 9393163"/>
              <a:gd name="connsiteY57" fmla="*/ 3156852 h 4201882"/>
              <a:gd name="connsiteX58" fmla="*/ 8744857 w 9393163"/>
              <a:gd name="connsiteY58" fmla="*/ 3418109 h 4201882"/>
              <a:gd name="connsiteX59" fmla="*/ 7438574 w 9393163"/>
              <a:gd name="connsiteY59" fmla="*/ 3418110 h 4201882"/>
              <a:gd name="connsiteX60" fmla="*/ 5798459 w 9393163"/>
              <a:gd name="connsiteY60" fmla="*/ 3577767 h 4201882"/>
              <a:gd name="connsiteX61" fmla="*/ 2735943 w 9393163"/>
              <a:gd name="connsiteY61" fmla="*/ 3606795 h 4201882"/>
              <a:gd name="connsiteX62" fmla="*/ 1023259 w 9393163"/>
              <a:gd name="connsiteY62" fmla="*/ 3621309 h 4201882"/>
              <a:gd name="connsiteX63" fmla="*/ 384627 w 9393163"/>
              <a:gd name="connsiteY63" fmla="*/ 3603169 h 4201882"/>
              <a:gd name="connsiteX64" fmla="*/ 319315 w 9393163"/>
              <a:gd name="connsiteY64"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77230 w 9041192"/>
              <a:gd name="connsiteY24" fmla="*/ 3702269 h 4201882"/>
              <a:gd name="connsiteX25" fmla="*/ 2244992 w 9041192"/>
              <a:gd name="connsiteY25" fmla="*/ 3739316 h 4201882"/>
              <a:gd name="connsiteX26" fmla="*/ 1833995 w 9041192"/>
              <a:gd name="connsiteY26" fmla="*/ 4025979 h 4201882"/>
              <a:gd name="connsiteX27" fmla="*/ 1577230 w 9041192"/>
              <a:gd name="connsiteY27" fmla="*/ 3702269 h 4201882"/>
              <a:gd name="connsiteX28" fmla="*/ 3331029 w 9041192"/>
              <a:gd name="connsiteY28" fmla="*/ 273272 h 4201882"/>
              <a:gd name="connsiteX29" fmla="*/ 4231794 w 9041192"/>
              <a:gd name="connsiteY29" fmla="*/ 273272 h 4201882"/>
              <a:gd name="connsiteX30" fmla="*/ 4752524 w 9041192"/>
              <a:gd name="connsiteY30" fmla="*/ 616853 h 4201882"/>
              <a:gd name="connsiteX31" fmla="*/ 4752524 w 9041192"/>
              <a:gd name="connsiteY31" fmla="*/ 1124852 h 4201882"/>
              <a:gd name="connsiteX32" fmla="*/ 4434994 w 9041192"/>
              <a:gd name="connsiteY32" fmla="*/ 1388196 h 4201882"/>
              <a:gd name="connsiteX33" fmla="*/ 3316515 w 9041192"/>
              <a:gd name="connsiteY33" fmla="*/ 1415138 h 4201882"/>
              <a:gd name="connsiteX34" fmla="*/ 3011037 w 9041192"/>
              <a:gd name="connsiteY34" fmla="*/ 1124853 h 4201882"/>
              <a:gd name="connsiteX35" fmla="*/ 3011037 w 9041192"/>
              <a:gd name="connsiteY35" fmla="*/ 515252 h 4201882"/>
              <a:gd name="connsiteX36" fmla="*/ 3331029 w 9041192"/>
              <a:gd name="connsiteY36" fmla="*/ 273272 h 4201882"/>
              <a:gd name="connsiteX37" fmla="*/ 2390031 w 9041192"/>
              <a:gd name="connsiteY37" fmla="*/ 3714226 h 4201882"/>
              <a:gd name="connsiteX38" fmla="*/ 2213430 w 9041192"/>
              <a:gd name="connsiteY38" fmla="*/ 4187367 h 4201882"/>
              <a:gd name="connsiteX39" fmla="*/ 1560287 w 9041192"/>
              <a:gd name="connsiteY39" fmla="*/ 4201882 h 4201882"/>
              <a:gd name="connsiteX40" fmla="*/ 1296966 w 9041192"/>
              <a:gd name="connsiteY40" fmla="*/ 3724642 h 4201882"/>
              <a:gd name="connsiteX41" fmla="*/ 1925678 w 9041192"/>
              <a:gd name="connsiteY41" fmla="*/ 3125933 h 4201882"/>
              <a:gd name="connsiteX42" fmla="*/ 2390031 w 9041192"/>
              <a:gd name="connsiteY42" fmla="*/ 3714226 h 4201882"/>
              <a:gd name="connsiteX43" fmla="*/ 6596743 w 9041192"/>
              <a:gd name="connsiteY43" fmla="*/ 4042225 h 4201882"/>
              <a:gd name="connsiteX44" fmla="*/ 6380876 w 9041192"/>
              <a:gd name="connsiteY44" fmla="*/ 3607073 h 4201882"/>
              <a:gd name="connsiteX45" fmla="*/ 6957753 w 9041192"/>
              <a:gd name="connsiteY45" fmla="*/ 3737701 h 4201882"/>
              <a:gd name="connsiteX46" fmla="*/ 6596743 w 9041192"/>
              <a:gd name="connsiteY46" fmla="*/ 4042225 h 4201882"/>
              <a:gd name="connsiteX47" fmla="*/ 7232614 w 9041192"/>
              <a:gd name="connsiteY47" fmla="*/ 3685197 h 4201882"/>
              <a:gd name="connsiteX48" fmla="*/ 7032173 w 9041192"/>
              <a:gd name="connsiteY48" fmla="*/ 4158339 h 4201882"/>
              <a:gd name="connsiteX49" fmla="*/ 6306459 w 9041192"/>
              <a:gd name="connsiteY49" fmla="*/ 4201881 h 4201882"/>
              <a:gd name="connsiteX50" fmla="*/ 6042666 w 9041192"/>
              <a:gd name="connsiteY50" fmla="*/ 3691989 h 4201882"/>
              <a:gd name="connsiteX51" fmla="*/ 6642348 w 9041192"/>
              <a:gd name="connsiteY51" fmla="*/ 3071499 h 4201882"/>
              <a:gd name="connsiteX52" fmla="*/ 7232614 w 9041192"/>
              <a:gd name="connsiteY52" fmla="*/ 3685197 h 4201882"/>
              <a:gd name="connsiteX53" fmla="*/ 319315 w 9041192"/>
              <a:gd name="connsiteY53" fmla="*/ 3294739 h 4201882"/>
              <a:gd name="connsiteX54" fmla="*/ 1952174 w 9041192"/>
              <a:gd name="connsiteY54" fmla="*/ 68941 h 4201882"/>
              <a:gd name="connsiteX55" fmla="*/ 8229601 w 9041192"/>
              <a:gd name="connsiteY55" fmla="*/ 0 h 4201882"/>
              <a:gd name="connsiteX56" fmla="*/ 8773887 w 9041192"/>
              <a:gd name="connsiteY56" fmla="*/ 616852 h 4201882"/>
              <a:gd name="connsiteX57" fmla="*/ 8831945 w 9041192"/>
              <a:gd name="connsiteY57" fmla="*/ 3156852 h 4201882"/>
              <a:gd name="connsiteX58" fmla="*/ 8744857 w 9041192"/>
              <a:gd name="connsiteY58" fmla="*/ 3418109 h 4201882"/>
              <a:gd name="connsiteX59" fmla="*/ 7438574 w 9041192"/>
              <a:gd name="connsiteY59" fmla="*/ 3418110 h 4201882"/>
              <a:gd name="connsiteX60" fmla="*/ 5798459 w 9041192"/>
              <a:gd name="connsiteY60" fmla="*/ 3577767 h 4201882"/>
              <a:gd name="connsiteX61" fmla="*/ 2735943 w 9041192"/>
              <a:gd name="connsiteY61" fmla="*/ 3606795 h 4201882"/>
              <a:gd name="connsiteX62" fmla="*/ 1023259 w 9041192"/>
              <a:gd name="connsiteY62" fmla="*/ 3621309 h 4201882"/>
              <a:gd name="connsiteX63" fmla="*/ 384627 w 9041192"/>
              <a:gd name="connsiteY63" fmla="*/ 3603169 h 4201882"/>
              <a:gd name="connsiteX64" fmla="*/ 319315 w 9041192"/>
              <a:gd name="connsiteY64"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77230 w 9041192"/>
              <a:gd name="connsiteY24" fmla="*/ 3702269 h 4201882"/>
              <a:gd name="connsiteX25" fmla="*/ 2244992 w 9041192"/>
              <a:gd name="connsiteY25" fmla="*/ 3739316 h 4201882"/>
              <a:gd name="connsiteX26" fmla="*/ 1833995 w 9041192"/>
              <a:gd name="connsiteY26" fmla="*/ 4025979 h 4201882"/>
              <a:gd name="connsiteX27" fmla="*/ 1577230 w 9041192"/>
              <a:gd name="connsiteY27" fmla="*/ 3702269 h 4201882"/>
              <a:gd name="connsiteX28" fmla="*/ 3331029 w 9041192"/>
              <a:gd name="connsiteY28" fmla="*/ 273272 h 4201882"/>
              <a:gd name="connsiteX29" fmla="*/ 4231794 w 9041192"/>
              <a:gd name="connsiteY29" fmla="*/ 273272 h 4201882"/>
              <a:gd name="connsiteX30" fmla="*/ 4752524 w 9041192"/>
              <a:gd name="connsiteY30" fmla="*/ 616853 h 4201882"/>
              <a:gd name="connsiteX31" fmla="*/ 4752524 w 9041192"/>
              <a:gd name="connsiteY31" fmla="*/ 1124852 h 4201882"/>
              <a:gd name="connsiteX32" fmla="*/ 4434994 w 9041192"/>
              <a:gd name="connsiteY32" fmla="*/ 1388196 h 4201882"/>
              <a:gd name="connsiteX33" fmla="*/ 3316515 w 9041192"/>
              <a:gd name="connsiteY33" fmla="*/ 1415138 h 4201882"/>
              <a:gd name="connsiteX34" fmla="*/ 3011037 w 9041192"/>
              <a:gd name="connsiteY34" fmla="*/ 1124853 h 4201882"/>
              <a:gd name="connsiteX35" fmla="*/ 3011037 w 9041192"/>
              <a:gd name="connsiteY35" fmla="*/ 515252 h 4201882"/>
              <a:gd name="connsiteX36" fmla="*/ 3331029 w 9041192"/>
              <a:gd name="connsiteY36" fmla="*/ 273272 h 4201882"/>
              <a:gd name="connsiteX37" fmla="*/ 2390031 w 9041192"/>
              <a:gd name="connsiteY37" fmla="*/ 3714226 h 4201882"/>
              <a:gd name="connsiteX38" fmla="*/ 2213430 w 9041192"/>
              <a:gd name="connsiteY38" fmla="*/ 4187367 h 4201882"/>
              <a:gd name="connsiteX39" fmla="*/ 1560287 w 9041192"/>
              <a:gd name="connsiteY39" fmla="*/ 4201882 h 4201882"/>
              <a:gd name="connsiteX40" fmla="*/ 1296966 w 9041192"/>
              <a:gd name="connsiteY40" fmla="*/ 3724642 h 4201882"/>
              <a:gd name="connsiteX41" fmla="*/ 1925678 w 9041192"/>
              <a:gd name="connsiteY41" fmla="*/ 3125933 h 4201882"/>
              <a:gd name="connsiteX42" fmla="*/ 2390031 w 9041192"/>
              <a:gd name="connsiteY42" fmla="*/ 3714226 h 4201882"/>
              <a:gd name="connsiteX43" fmla="*/ 6596743 w 9041192"/>
              <a:gd name="connsiteY43" fmla="*/ 4042225 h 4201882"/>
              <a:gd name="connsiteX44" fmla="*/ 6380876 w 9041192"/>
              <a:gd name="connsiteY44" fmla="*/ 3607073 h 4201882"/>
              <a:gd name="connsiteX45" fmla="*/ 6957753 w 9041192"/>
              <a:gd name="connsiteY45" fmla="*/ 3737701 h 4201882"/>
              <a:gd name="connsiteX46" fmla="*/ 6596743 w 9041192"/>
              <a:gd name="connsiteY46" fmla="*/ 4042225 h 4201882"/>
              <a:gd name="connsiteX47" fmla="*/ 7232614 w 9041192"/>
              <a:gd name="connsiteY47" fmla="*/ 3685197 h 4201882"/>
              <a:gd name="connsiteX48" fmla="*/ 7032173 w 9041192"/>
              <a:gd name="connsiteY48" fmla="*/ 4158339 h 4201882"/>
              <a:gd name="connsiteX49" fmla="*/ 6306459 w 9041192"/>
              <a:gd name="connsiteY49" fmla="*/ 4201881 h 4201882"/>
              <a:gd name="connsiteX50" fmla="*/ 6042666 w 9041192"/>
              <a:gd name="connsiteY50" fmla="*/ 3691989 h 4201882"/>
              <a:gd name="connsiteX51" fmla="*/ 6642348 w 9041192"/>
              <a:gd name="connsiteY51" fmla="*/ 3071499 h 4201882"/>
              <a:gd name="connsiteX52" fmla="*/ 7232614 w 9041192"/>
              <a:gd name="connsiteY52" fmla="*/ 3685197 h 4201882"/>
              <a:gd name="connsiteX53" fmla="*/ 319315 w 9041192"/>
              <a:gd name="connsiteY53" fmla="*/ 3294739 h 4201882"/>
              <a:gd name="connsiteX54" fmla="*/ 1952174 w 9041192"/>
              <a:gd name="connsiteY54" fmla="*/ 68941 h 4201882"/>
              <a:gd name="connsiteX55" fmla="*/ 8229601 w 9041192"/>
              <a:gd name="connsiteY55" fmla="*/ 0 h 4201882"/>
              <a:gd name="connsiteX56" fmla="*/ 8773887 w 9041192"/>
              <a:gd name="connsiteY56" fmla="*/ 616852 h 4201882"/>
              <a:gd name="connsiteX57" fmla="*/ 8831945 w 9041192"/>
              <a:gd name="connsiteY57" fmla="*/ 3156852 h 4201882"/>
              <a:gd name="connsiteX58" fmla="*/ 8744857 w 9041192"/>
              <a:gd name="connsiteY58" fmla="*/ 3418109 h 4201882"/>
              <a:gd name="connsiteX59" fmla="*/ 7438574 w 9041192"/>
              <a:gd name="connsiteY59" fmla="*/ 3418110 h 4201882"/>
              <a:gd name="connsiteX60" fmla="*/ 5798459 w 9041192"/>
              <a:gd name="connsiteY60" fmla="*/ 3577767 h 4201882"/>
              <a:gd name="connsiteX61" fmla="*/ 2735943 w 9041192"/>
              <a:gd name="connsiteY61" fmla="*/ 3606795 h 4201882"/>
              <a:gd name="connsiteX62" fmla="*/ 1023259 w 9041192"/>
              <a:gd name="connsiteY62" fmla="*/ 3621309 h 4201882"/>
              <a:gd name="connsiteX63" fmla="*/ 384627 w 9041192"/>
              <a:gd name="connsiteY63" fmla="*/ 3603169 h 4201882"/>
              <a:gd name="connsiteX64" fmla="*/ 319315 w 9041192"/>
              <a:gd name="connsiteY64"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77230 w 9041192"/>
              <a:gd name="connsiteY24" fmla="*/ 3702269 h 4201882"/>
              <a:gd name="connsiteX25" fmla="*/ 2244992 w 9041192"/>
              <a:gd name="connsiteY25" fmla="*/ 3739316 h 4201882"/>
              <a:gd name="connsiteX26" fmla="*/ 1833995 w 9041192"/>
              <a:gd name="connsiteY26" fmla="*/ 4025979 h 4201882"/>
              <a:gd name="connsiteX27" fmla="*/ 1577230 w 9041192"/>
              <a:gd name="connsiteY27" fmla="*/ 3702269 h 4201882"/>
              <a:gd name="connsiteX28" fmla="*/ 3331029 w 9041192"/>
              <a:gd name="connsiteY28" fmla="*/ 273272 h 4201882"/>
              <a:gd name="connsiteX29" fmla="*/ 4231794 w 9041192"/>
              <a:gd name="connsiteY29" fmla="*/ 273272 h 4201882"/>
              <a:gd name="connsiteX30" fmla="*/ 4752524 w 9041192"/>
              <a:gd name="connsiteY30" fmla="*/ 616853 h 4201882"/>
              <a:gd name="connsiteX31" fmla="*/ 4752524 w 9041192"/>
              <a:gd name="connsiteY31" fmla="*/ 1124852 h 4201882"/>
              <a:gd name="connsiteX32" fmla="*/ 4434994 w 9041192"/>
              <a:gd name="connsiteY32" fmla="*/ 1388196 h 4201882"/>
              <a:gd name="connsiteX33" fmla="*/ 3316515 w 9041192"/>
              <a:gd name="connsiteY33" fmla="*/ 1415138 h 4201882"/>
              <a:gd name="connsiteX34" fmla="*/ 3011037 w 9041192"/>
              <a:gd name="connsiteY34" fmla="*/ 1124853 h 4201882"/>
              <a:gd name="connsiteX35" fmla="*/ 3011037 w 9041192"/>
              <a:gd name="connsiteY35" fmla="*/ 515252 h 4201882"/>
              <a:gd name="connsiteX36" fmla="*/ 3331029 w 9041192"/>
              <a:gd name="connsiteY36" fmla="*/ 273272 h 4201882"/>
              <a:gd name="connsiteX37" fmla="*/ 2390031 w 9041192"/>
              <a:gd name="connsiteY37" fmla="*/ 3714226 h 4201882"/>
              <a:gd name="connsiteX38" fmla="*/ 2213430 w 9041192"/>
              <a:gd name="connsiteY38" fmla="*/ 4187367 h 4201882"/>
              <a:gd name="connsiteX39" fmla="*/ 1560287 w 9041192"/>
              <a:gd name="connsiteY39" fmla="*/ 4201882 h 4201882"/>
              <a:gd name="connsiteX40" fmla="*/ 1296966 w 9041192"/>
              <a:gd name="connsiteY40" fmla="*/ 3724642 h 4201882"/>
              <a:gd name="connsiteX41" fmla="*/ 2390031 w 9041192"/>
              <a:gd name="connsiteY41" fmla="*/ 3714226 h 4201882"/>
              <a:gd name="connsiteX42" fmla="*/ 6596743 w 9041192"/>
              <a:gd name="connsiteY42" fmla="*/ 4042225 h 4201882"/>
              <a:gd name="connsiteX43" fmla="*/ 6380876 w 9041192"/>
              <a:gd name="connsiteY43" fmla="*/ 3607073 h 4201882"/>
              <a:gd name="connsiteX44" fmla="*/ 6957753 w 9041192"/>
              <a:gd name="connsiteY44" fmla="*/ 3737701 h 4201882"/>
              <a:gd name="connsiteX45" fmla="*/ 6596743 w 9041192"/>
              <a:gd name="connsiteY45" fmla="*/ 4042225 h 4201882"/>
              <a:gd name="connsiteX46" fmla="*/ 7232614 w 9041192"/>
              <a:gd name="connsiteY46" fmla="*/ 3685197 h 4201882"/>
              <a:gd name="connsiteX47" fmla="*/ 7032173 w 9041192"/>
              <a:gd name="connsiteY47" fmla="*/ 4158339 h 4201882"/>
              <a:gd name="connsiteX48" fmla="*/ 6306459 w 9041192"/>
              <a:gd name="connsiteY48" fmla="*/ 4201881 h 4201882"/>
              <a:gd name="connsiteX49" fmla="*/ 6042666 w 9041192"/>
              <a:gd name="connsiteY49" fmla="*/ 3691989 h 4201882"/>
              <a:gd name="connsiteX50" fmla="*/ 6642348 w 9041192"/>
              <a:gd name="connsiteY50" fmla="*/ 3071499 h 4201882"/>
              <a:gd name="connsiteX51" fmla="*/ 7232614 w 9041192"/>
              <a:gd name="connsiteY51" fmla="*/ 3685197 h 4201882"/>
              <a:gd name="connsiteX52" fmla="*/ 319315 w 9041192"/>
              <a:gd name="connsiteY52" fmla="*/ 3294739 h 4201882"/>
              <a:gd name="connsiteX53" fmla="*/ 1952174 w 9041192"/>
              <a:gd name="connsiteY53" fmla="*/ 68941 h 4201882"/>
              <a:gd name="connsiteX54" fmla="*/ 8229601 w 9041192"/>
              <a:gd name="connsiteY54" fmla="*/ 0 h 4201882"/>
              <a:gd name="connsiteX55" fmla="*/ 8773887 w 9041192"/>
              <a:gd name="connsiteY55" fmla="*/ 616852 h 4201882"/>
              <a:gd name="connsiteX56" fmla="*/ 8831945 w 9041192"/>
              <a:gd name="connsiteY56" fmla="*/ 3156852 h 4201882"/>
              <a:gd name="connsiteX57" fmla="*/ 8744857 w 9041192"/>
              <a:gd name="connsiteY57" fmla="*/ 3418109 h 4201882"/>
              <a:gd name="connsiteX58" fmla="*/ 7438574 w 9041192"/>
              <a:gd name="connsiteY58" fmla="*/ 3418110 h 4201882"/>
              <a:gd name="connsiteX59" fmla="*/ 5798459 w 9041192"/>
              <a:gd name="connsiteY59" fmla="*/ 3577767 h 4201882"/>
              <a:gd name="connsiteX60" fmla="*/ 2735943 w 9041192"/>
              <a:gd name="connsiteY60" fmla="*/ 3606795 h 4201882"/>
              <a:gd name="connsiteX61" fmla="*/ 1023259 w 9041192"/>
              <a:gd name="connsiteY61" fmla="*/ 3621309 h 4201882"/>
              <a:gd name="connsiteX62" fmla="*/ 384627 w 9041192"/>
              <a:gd name="connsiteY62" fmla="*/ 3603169 h 4201882"/>
              <a:gd name="connsiteX63" fmla="*/ 319315 w 9041192"/>
              <a:gd name="connsiteY63"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77230 w 9041192"/>
              <a:gd name="connsiteY24" fmla="*/ 3702269 h 4201882"/>
              <a:gd name="connsiteX25" fmla="*/ 2244992 w 9041192"/>
              <a:gd name="connsiteY25" fmla="*/ 3739316 h 4201882"/>
              <a:gd name="connsiteX26" fmla="*/ 1833995 w 9041192"/>
              <a:gd name="connsiteY26" fmla="*/ 4025979 h 4201882"/>
              <a:gd name="connsiteX27" fmla="*/ 1577230 w 9041192"/>
              <a:gd name="connsiteY27" fmla="*/ 3702269 h 4201882"/>
              <a:gd name="connsiteX28" fmla="*/ 3331029 w 9041192"/>
              <a:gd name="connsiteY28" fmla="*/ 273272 h 4201882"/>
              <a:gd name="connsiteX29" fmla="*/ 4231794 w 9041192"/>
              <a:gd name="connsiteY29" fmla="*/ 273272 h 4201882"/>
              <a:gd name="connsiteX30" fmla="*/ 4752524 w 9041192"/>
              <a:gd name="connsiteY30" fmla="*/ 616853 h 4201882"/>
              <a:gd name="connsiteX31" fmla="*/ 4752524 w 9041192"/>
              <a:gd name="connsiteY31" fmla="*/ 1124852 h 4201882"/>
              <a:gd name="connsiteX32" fmla="*/ 4434994 w 9041192"/>
              <a:gd name="connsiteY32" fmla="*/ 1388196 h 4201882"/>
              <a:gd name="connsiteX33" fmla="*/ 3316515 w 9041192"/>
              <a:gd name="connsiteY33" fmla="*/ 1415138 h 4201882"/>
              <a:gd name="connsiteX34" fmla="*/ 3011037 w 9041192"/>
              <a:gd name="connsiteY34" fmla="*/ 1124853 h 4201882"/>
              <a:gd name="connsiteX35" fmla="*/ 3011037 w 9041192"/>
              <a:gd name="connsiteY35" fmla="*/ 515252 h 4201882"/>
              <a:gd name="connsiteX36" fmla="*/ 3331029 w 9041192"/>
              <a:gd name="connsiteY36" fmla="*/ 273272 h 4201882"/>
              <a:gd name="connsiteX37" fmla="*/ 2491631 w 9041192"/>
              <a:gd name="connsiteY37" fmla="*/ 3714226 h 4201882"/>
              <a:gd name="connsiteX38" fmla="*/ 2213430 w 9041192"/>
              <a:gd name="connsiteY38" fmla="*/ 4187367 h 4201882"/>
              <a:gd name="connsiteX39" fmla="*/ 1560287 w 9041192"/>
              <a:gd name="connsiteY39" fmla="*/ 4201882 h 4201882"/>
              <a:gd name="connsiteX40" fmla="*/ 1296966 w 9041192"/>
              <a:gd name="connsiteY40" fmla="*/ 3724642 h 4201882"/>
              <a:gd name="connsiteX41" fmla="*/ 2491631 w 9041192"/>
              <a:gd name="connsiteY41" fmla="*/ 3714226 h 4201882"/>
              <a:gd name="connsiteX42" fmla="*/ 6596743 w 9041192"/>
              <a:gd name="connsiteY42" fmla="*/ 4042225 h 4201882"/>
              <a:gd name="connsiteX43" fmla="*/ 6380876 w 9041192"/>
              <a:gd name="connsiteY43" fmla="*/ 3607073 h 4201882"/>
              <a:gd name="connsiteX44" fmla="*/ 6957753 w 9041192"/>
              <a:gd name="connsiteY44" fmla="*/ 3737701 h 4201882"/>
              <a:gd name="connsiteX45" fmla="*/ 6596743 w 9041192"/>
              <a:gd name="connsiteY45" fmla="*/ 4042225 h 4201882"/>
              <a:gd name="connsiteX46" fmla="*/ 7232614 w 9041192"/>
              <a:gd name="connsiteY46" fmla="*/ 3685197 h 4201882"/>
              <a:gd name="connsiteX47" fmla="*/ 7032173 w 9041192"/>
              <a:gd name="connsiteY47" fmla="*/ 4158339 h 4201882"/>
              <a:gd name="connsiteX48" fmla="*/ 6306459 w 9041192"/>
              <a:gd name="connsiteY48" fmla="*/ 4201881 h 4201882"/>
              <a:gd name="connsiteX49" fmla="*/ 6042666 w 9041192"/>
              <a:gd name="connsiteY49" fmla="*/ 3691989 h 4201882"/>
              <a:gd name="connsiteX50" fmla="*/ 6642348 w 9041192"/>
              <a:gd name="connsiteY50" fmla="*/ 3071499 h 4201882"/>
              <a:gd name="connsiteX51" fmla="*/ 7232614 w 9041192"/>
              <a:gd name="connsiteY51" fmla="*/ 3685197 h 4201882"/>
              <a:gd name="connsiteX52" fmla="*/ 319315 w 9041192"/>
              <a:gd name="connsiteY52" fmla="*/ 3294739 h 4201882"/>
              <a:gd name="connsiteX53" fmla="*/ 1952174 w 9041192"/>
              <a:gd name="connsiteY53" fmla="*/ 68941 h 4201882"/>
              <a:gd name="connsiteX54" fmla="*/ 8229601 w 9041192"/>
              <a:gd name="connsiteY54" fmla="*/ 0 h 4201882"/>
              <a:gd name="connsiteX55" fmla="*/ 8773887 w 9041192"/>
              <a:gd name="connsiteY55" fmla="*/ 616852 h 4201882"/>
              <a:gd name="connsiteX56" fmla="*/ 8831945 w 9041192"/>
              <a:gd name="connsiteY56" fmla="*/ 3156852 h 4201882"/>
              <a:gd name="connsiteX57" fmla="*/ 8744857 w 9041192"/>
              <a:gd name="connsiteY57" fmla="*/ 3418109 h 4201882"/>
              <a:gd name="connsiteX58" fmla="*/ 7438574 w 9041192"/>
              <a:gd name="connsiteY58" fmla="*/ 3418110 h 4201882"/>
              <a:gd name="connsiteX59" fmla="*/ 5798459 w 9041192"/>
              <a:gd name="connsiteY59" fmla="*/ 3577767 h 4201882"/>
              <a:gd name="connsiteX60" fmla="*/ 2735943 w 9041192"/>
              <a:gd name="connsiteY60" fmla="*/ 3606795 h 4201882"/>
              <a:gd name="connsiteX61" fmla="*/ 1023259 w 9041192"/>
              <a:gd name="connsiteY61" fmla="*/ 3621309 h 4201882"/>
              <a:gd name="connsiteX62" fmla="*/ 384627 w 9041192"/>
              <a:gd name="connsiteY62" fmla="*/ 3603169 h 4201882"/>
              <a:gd name="connsiteX63" fmla="*/ 319315 w 9041192"/>
              <a:gd name="connsiteY63"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77230 w 9041192"/>
              <a:gd name="connsiteY24" fmla="*/ 3702269 h 4201882"/>
              <a:gd name="connsiteX25" fmla="*/ 2244992 w 9041192"/>
              <a:gd name="connsiteY25" fmla="*/ 3739316 h 4201882"/>
              <a:gd name="connsiteX26" fmla="*/ 1833995 w 9041192"/>
              <a:gd name="connsiteY26" fmla="*/ 4025979 h 4201882"/>
              <a:gd name="connsiteX27" fmla="*/ 1577230 w 9041192"/>
              <a:gd name="connsiteY27" fmla="*/ 3702269 h 4201882"/>
              <a:gd name="connsiteX28" fmla="*/ 3331029 w 9041192"/>
              <a:gd name="connsiteY28" fmla="*/ 273272 h 4201882"/>
              <a:gd name="connsiteX29" fmla="*/ 4231794 w 9041192"/>
              <a:gd name="connsiteY29" fmla="*/ 273272 h 4201882"/>
              <a:gd name="connsiteX30" fmla="*/ 4752524 w 9041192"/>
              <a:gd name="connsiteY30" fmla="*/ 616853 h 4201882"/>
              <a:gd name="connsiteX31" fmla="*/ 4752524 w 9041192"/>
              <a:gd name="connsiteY31" fmla="*/ 1124852 h 4201882"/>
              <a:gd name="connsiteX32" fmla="*/ 4434994 w 9041192"/>
              <a:gd name="connsiteY32" fmla="*/ 1388196 h 4201882"/>
              <a:gd name="connsiteX33" fmla="*/ 3316515 w 9041192"/>
              <a:gd name="connsiteY33" fmla="*/ 1415138 h 4201882"/>
              <a:gd name="connsiteX34" fmla="*/ 3011037 w 9041192"/>
              <a:gd name="connsiteY34" fmla="*/ 1124853 h 4201882"/>
              <a:gd name="connsiteX35" fmla="*/ 3011037 w 9041192"/>
              <a:gd name="connsiteY35" fmla="*/ 515252 h 4201882"/>
              <a:gd name="connsiteX36" fmla="*/ 3331029 w 9041192"/>
              <a:gd name="connsiteY36" fmla="*/ 273272 h 4201882"/>
              <a:gd name="connsiteX37" fmla="*/ 2491631 w 9041192"/>
              <a:gd name="connsiteY37" fmla="*/ 3714226 h 4201882"/>
              <a:gd name="connsiteX38" fmla="*/ 2213430 w 9041192"/>
              <a:gd name="connsiteY38" fmla="*/ 4187367 h 4201882"/>
              <a:gd name="connsiteX39" fmla="*/ 1560287 w 9041192"/>
              <a:gd name="connsiteY39" fmla="*/ 4201882 h 4201882"/>
              <a:gd name="connsiteX40" fmla="*/ 1296966 w 9041192"/>
              <a:gd name="connsiteY40" fmla="*/ 3724642 h 4201882"/>
              <a:gd name="connsiteX41" fmla="*/ 2491631 w 9041192"/>
              <a:gd name="connsiteY41" fmla="*/ 3714226 h 4201882"/>
              <a:gd name="connsiteX42" fmla="*/ 6596743 w 9041192"/>
              <a:gd name="connsiteY42" fmla="*/ 4042225 h 4201882"/>
              <a:gd name="connsiteX43" fmla="*/ 6380876 w 9041192"/>
              <a:gd name="connsiteY43" fmla="*/ 3607073 h 4201882"/>
              <a:gd name="connsiteX44" fmla="*/ 6957753 w 9041192"/>
              <a:gd name="connsiteY44" fmla="*/ 3737701 h 4201882"/>
              <a:gd name="connsiteX45" fmla="*/ 6596743 w 9041192"/>
              <a:gd name="connsiteY45" fmla="*/ 4042225 h 4201882"/>
              <a:gd name="connsiteX46" fmla="*/ 7232614 w 9041192"/>
              <a:gd name="connsiteY46" fmla="*/ 3685197 h 4201882"/>
              <a:gd name="connsiteX47" fmla="*/ 7032173 w 9041192"/>
              <a:gd name="connsiteY47" fmla="*/ 4158339 h 4201882"/>
              <a:gd name="connsiteX48" fmla="*/ 6306459 w 9041192"/>
              <a:gd name="connsiteY48" fmla="*/ 4201881 h 4201882"/>
              <a:gd name="connsiteX49" fmla="*/ 6042666 w 9041192"/>
              <a:gd name="connsiteY49" fmla="*/ 3691989 h 4201882"/>
              <a:gd name="connsiteX50" fmla="*/ 6642348 w 9041192"/>
              <a:gd name="connsiteY50" fmla="*/ 3071499 h 4201882"/>
              <a:gd name="connsiteX51" fmla="*/ 7232614 w 9041192"/>
              <a:gd name="connsiteY51" fmla="*/ 3685197 h 4201882"/>
              <a:gd name="connsiteX52" fmla="*/ 319315 w 9041192"/>
              <a:gd name="connsiteY52" fmla="*/ 3294739 h 4201882"/>
              <a:gd name="connsiteX53" fmla="*/ 1952174 w 9041192"/>
              <a:gd name="connsiteY53" fmla="*/ 68941 h 4201882"/>
              <a:gd name="connsiteX54" fmla="*/ 8229601 w 9041192"/>
              <a:gd name="connsiteY54" fmla="*/ 0 h 4201882"/>
              <a:gd name="connsiteX55" fmla="*/ 8773887 w 9041192"/>
              <a:gd name="connsiteY55" fmla="*/ 616852 h 4201882"/>
              <a:gd name="connsiteX56" fmla="*/ 8831945 w 9041192"/>
              <a:gd name="connsiteY56" fmla="*/ 3156852 h 4201882"/>
              <a:gd name="connsiteX57" fmla="*/ 8744857 w 9041192"/>
              <a:gd name="connsiteY57" fmla="*/ 3418109 h 4201882"/>
              <a:gd name="connsiteX58" fmla="*/ 7438574 w 9041192"/>
              <a:gd name="connsiteY58" fmla="*/ 3418110 h 4201882"/>
              <a:gd name="connsiteX59" fmla="*/ 5798459 w 9041192"/>
              <a:gd name="connsiteY59" fmla="*/ 3577767 h 4201882"/>
              <a:gd name="connsiteX60" fmla="*/ 2735943 w 9041192"/>
              <a:gd name="connsiteY60" fmla="*/ 3606795 h 4201882"/>
              <a:gd name="connsiteX61" fmla="*/ 1023259 w 9041192"/>
              <a:gd name="connsiteY61" fmla="*/ 3621309 h 4201882"/>
              <a:gd name="connsiteX62" fmla="*/ 384627 w 9041192"/>
              <a:gd name="connsiteY62" fmla="*/ 3603169 h 4201882"/>
              <a:gd name="connsiteX63" fmla="*/ 319315 w 9041192"/>
              <a:gd name="connsiteY63"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77230 w 9041192"/>
              <a:gd name="connsiteY24" fmla="*/ 3702269 h 4201882"/>
              <a:gd name="connsiteX25" fmla="*/ 2244992 w 9041192"/>
              <a:gd name="connsiteY25" fmla="*/ 3739316 h 4201882"/>
              <a:gd name="connsiteX26" fmla="*/ 1833995 w 9041192"/>
              <a:gd name="connsiteY26" fmla="*/ 4025979 h 4201882"/>
              <a:gd name="connsiteX27" fmla="*/ 1577230 w 9041192"/>
              <a:gd name="connsiteY27" fmla="*/ 3702269 h 4201882"/>
              <a:gd name="connsiteX28" fmla="*/ 3331029 w 9041192"/>
              <a:gd name="connsiteY28" fmla="*/ 273272 h 4201882"/>
              <a:gd name="connsiteX29" fmla="*/ 4231794 w 9041192"/>
              <a:gd name="connsiteY29" fmla="*/ 273272 h 4201882"/>
              <a:gd name="connsiteX30" fmla="*/ 4752524 w 9041192"/>
              <a:gd name="connsiteY30" fmla="*/ 616853 h 4201882"/>
              <a:gd name="connsiteX31" fmla="*/ 4752524 w 9041192"/>
              <a:gd name="connsiteY31" fmla="*/ 1124852 h 4201882"/>
              <a:gd name="connsiteX32" fmla="*/ 4434994 w 9041192"/>
              <a:gd name="connsiteY32" fmla="*/ 1388196 h 4201882"/>
              <a:gd name="connsiteX33" fmla="*/ 3316515 w 9041192"/>
              <a:gd name="connsiteY33" fmla="*/ 1415138 h 4201882"/>
              <a:gd name="connsiteX34" fmla="*/ 3011037 w 9041192"/>
              <a:gd name="connsiteY34" fmla="*/ 1124853 h 4201882"/>
              <a:gd name="connsiteX35" fmla="*/ 3011037 w 9041192"/>
              <a:gd name="connsiteY35" fmla="*/ 515252 h 4201882"/>
              <a:gd name="connsiteX36" fmla="*/ 3331029 w 9041192"/>
              <a:gd name="connsiteY36" fmla="*/ 273272 h 4201882"/>
              <a:gd name="connsiteX37" fmla="*/ 2491631 w 9041192"/>
              <a:gd name="connsiteY37" fmla="*/ 3714226 h 4201882"/>
              <a:gd name="connsiteX38" fmla="*/ 2213430 w 9041192"/>
              <a:gd name="connsiteY38" fmla="*/ 4187367 h 4201882"/>
              <a:gd name="connsiteX39" fmla="*/ 1560287 w 9041192"/>
              <a:gd name="connsiteY39" fmla="*/ 4201882 h 4201882"/>
              <a:gd name="connsiteX40" fmla="*/ 1296966 w 9041192"/>
              <a:gd name="connsiteY40" fmla="*/ 3724642 h 4201882"/>
              <a:gd name="connsiteX41" fmla="*/ 2491631 w 9041192"/>
              <a:gd name="connsiteY41" fmla="*/ 3714226 h 4201882"/>
              <a:gd name="connsiteX42" fmla="*/ 6596743 w 9041192"/>
              <a:gd name="connsiteY42" fmla="*/ 4042225 h 4201882"/>
              <a:gd name="connsiteX43" fmla="*/ 6380876 w 9041192"/>
              <a:gd name="connsiteY43" fmla="*/ 3607073 h 4201882"/>
              <a:gd name="connsiteX44" fmla="*/ 6957753 w 9041192"/>
              <a:gd name="connsiteY44" fmla="*/ 3737701 h 4201882"/>
              <a:gd name="connsiteX45" fmla="*/ 6596743 w 9041192"/>
              <a:gd name="connsiteY45" fmla="*/ 4042225 h 4201882"/>
              <a:gd name="connsiteX46" fmla="*/ 7232614 w 9041192"/>
              <a:gd name="connsiteY46" fmla="*/ 3685197 h 4201882"/>
              <a:gd name="connsiteX47" fmla="*/ 7032173 w 9041192"/>
              <a:gd name="connsiteY47" fmla="*/ 4158339 h 4201882"/>
              <a:gd name="connsiteX48" fmla="*/ 6306459 w 9041192"/>
              <a:gd name="connsiteY48" fmla="*/ 4201881 h 4201882"/>
              <a:gd name="connsiteX49" fmla="*/ 6042666 w 9041192"/>
              <a:gd name="connsiteY49" fmla="*/ 3691989 h 4201882"/>
              <a:gd name="connsiteX50" fmla="*/ 6642348 w 9041192"/>
              <a:gd name="connsiteY50" fmla="*/ 3071499 h 4201882"/>
              <a:gd name="connsiteX51" fmla="*/ 7232614 w 9041192"/>
              <a:gd name="connsiteY51" fmla="*/ 3685197 h 4201882"/>
              <a:gd name="connsiteX52" fmla="*/ 319315 w 9041192"/>
              <a:gd name="connsiteY52" fmla="*/ 3294739 h 4201882"/>
              <a:gd name="connsiteX53" fmla="*/ 1952174 w 9041192"/>
              <a:gd name="connsiteY53" fmla="*/ 68941 h 4201882"/>
              <a:gd name="connsiteX54" fmla="*/ 8229601 w 9041192"/>
              <a:gd name="connsiteY54" fmla="*/ 0 h 4201882"/>
              <a:gd name="connsiteX55" fmla="*/ 8773887 w 9041192"/>
              <a:gd name="connsiteY55" fmla="*/ 616852 h 4201882"/>
              <a:gd name="connsiteX56" fmla="*/ 8831945 w 9041192"/>
              <a:gd name="connsiteY56" fmla="*/ 3156852 h 4201882"/>
              <a:gd name="connsiteX57" fmla="*/ 8744857 w 9041192"/>
              <a:gd name="connsiteY57" fmla="*/ 3418109 h 4201882"/>
              <a:gd name="connsiteX58" fmla="*/ 7438574 w 9041192"/>
              <a:gd name="connsiteY58" fmla="*/ 3418110 h 4201882"/>
              <a:gd name="connsiteX59" fmla="*/ 5798459 w 9041192"/>
              <a:gd name="connsiteY59" fmla="*/ 3577767 h 4201882"/>
              <a:gd name="connsiteX60" fmla="*/ 2735943 w 9041192"/>
              <a:gd name="connsiteY60" fmla="*/ 3606795 h 4201882"/>
              <a:gd name="connsiteX61" fmla="*/ 1023259 w 9041192"/>
              <a:gd name="connsiteY61" fmla="*/ 3621309 h 4201882"/>
              <a:gd name="connsiteX62" fmla="*/ 384627 w 9041192"/>
              <a:gd name="connsiteY62" fmla="*/ 3603169 h 4201882"/>
              <a:gd name="connsiteX63" fmla="*/ 319315 w 9041192"/>
              <a:gd name="connsiteY63"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44992 w 9041192"/>
              <a:gd name="connsiteY25" fmla="*/ 3739316 h 4201882"/>
              <a:gd name="connsiteX26" fmla="*/ 1833995 w 9041192"/>
              <a:gd name="connsiteY26" fmla="*/ 4025979 h 4201882"/>
              <a:gd name="connsiteX27" fmla="*/ 1519173 w 9041192"/>
              <a:gd name="connsiteY27" fmla="*/ 3702269 h 4201882"/>
              <a:gd name="connsiteX28" fmla="*/ 3331029 w 9041192"/>
              <a:gd name="connsiteY28" fmla="*/ 273272 h 4201882"/>
              <a:gd name="connsiteX29" fmla="*/ 4231794 w 9041192"/>
              <a:gd name="connsiteY29" fmla="*/ 273272 h 4201882"/>
              <a:gd name="connsiteX30" fmla="*/ 4752524 w 9041192"/>
              <a:gd name="connsiteY30" fmla="*/ 616853 h 4201882"/>
              <a:gd name="connsiteX31" fmla="*/ 4752524 w 9041192"/>
              <a:gd name="connsiteY31" fmla="*/ 1124852 h 4201882"/>
              <a:gd name="connsiteX32" fmla="*/ 4434994 w 9041192"/>
              <a:gd name="connsiteY32" fmla="*/ 1388196 h 4201882"/>
              <a:gd name="connsiteX33" fmla="*/ 3316515 w 9041192"/>
              <a:gd name="connsiteY33" fmla="*/ 1415138 h 4201882"/>
              <a:gd name="connsiteX34" fmla="*/ 3011037 w 9041192"/>
              <a:gd name="connsiteY34" fmla="*/ 1124853 h 4201882"/>
              <a:gd name="connsiteX35" fmla="*/ 3011037 w 9041192"/>
              <a:gd name="connsiteY35" fmla="*/ 515252 h 4201882"/>
              <a:gd name="connsiteX36" fmla="*/ 3331029 w 9041192"/>
              <a:gd name="connsiteY36" fmla="*/ 273272 h 4201882"/>
              <a:gd name="connsiteX37" fmla="*/ 2491631 w 9041192"/>
              <a:gd name="connsiteY37" fmla="*/ 3714226 h 4201882"/>
              <a:gd name="connsiteX38" fmla="*/ 2213430 w 9041192"/>
              <a:gd name="connsiteY38" fmla="*/ 4187367 h 4201882"/>
              <a:gd name="connsiteX39" fmla="*/ 1560287 w 9041192"/>
              <a:gd name="connsiteY39" fmla="*/ 4201882 h 4201882"/>
              <a:gd name="connsiteX40" fmla="*/ 1296966 w 9041192"/>
              <a:gd name="connsiteY40" fmla="*/ 3724642 h 4201882"/>
              <a:gd name="connsiteX41" fmla="*/ 2491631 w 9041192"/>
              <a:gd name="connsiteY41" fmla="*/ 3714226 h 4201882"/>
              <a:gd name="connsiteX42" fmla="*/ 6596743 w 9041192"/>
              <a:gd name="connsiteY42" fmla="*/ 4042225 h 4201882"/>
              <a:gd name="connsiteX43" fmla="*/ 6380876 w 9041192"/>
              <a:gd name="connsiteY43" fmla="*/ 3607073 h 4201882"/>
              <a:gd name="connsiteX44" fmla="*/ 6957753 w 9041192"/>
              <a:gd name="connsiteY44" fmla="*/ 3737701 h 4201882"/>
              <a:gd name="connsiteX45" fmla="*/ 6596743 w 9041192"/>
              <a:gd name="connsiteY45" fmla="*/ 4042225 h 4201882"/>
              <a:gd name="connsiteX46" fmla="*/ 7232614 w 9041192"/>
              <a:gd name="connsiteY46" fmla="*/ 3685197 h 4201882"/>
              <a:gd name="connsiteX47" fmla="*/ 7032173 w 9041192"/>
              <a:gd name="connsiteY47" fmla="*/ 4158339 h 4201882"/>
              <a:gd name="connsiteX48" fmla="*/ 6306459 w 9041192"/>
              <a:gd name="connsiteY48" fmla="*/ 4201881 h 4201882"/>
              <a:gd name="connsiteX49" fmla="*/ 6042666 w 9041192"/>
              <a:gd name="connsiteY49" fmla="*/ 3691989 h 4201882"/>
              <a:gd name="connsiteX50" fmla="*/ 6642348 w 9041192"/>
              <a:gd name="connsiteY50" fmla="*/ 3071499 h 4201882"/>
              <a:gd name="connsiteX51" fmla="*/ 7232614 w 9041192"/>
              <a:gd name="connsiteY51" fmla="*/ 3685197 h 4201882"/>
              <a:gd name="connsiteX52" fmla="*/ 319315 w 9041192"/>
              <a:gd name="connsiteY52" fmla="*/ 3294739 h 4201882"/>
              <a:gd name="connsiteX53" fmla="*/ 1952174 w 9041192"/>
              <a:gd name="connsiteY53" fmla="*/ 68941 h 4201882"/>
              <a:gd name="connsiteX54" fmla="*/ 8229601 w 9041192"/>
              <a:gd name="connsiteY54" fmla="*/ 0 h 4201882"/>
              <a:gd name="connsiteX55" fmla="*/ 8773887 w 9041192"/>
              <a:gd name="connsiteY55" fmla="*/ 616852 h 4201882"/>
              <a:gd name="connsiteX56" fmla="*/ 8831945 w 9041192"/>
              <a:gd name="connsiteY56" fmla="*/ 3156852 h 4201882"/>
              <a:gd name="connsiteX57" fmla="*/ 8744857 w 9041192"/>
              <a:gd name="connsiteY57" fmla="*/ 3418109 h 4201882"/>
              <a:gd name="connsiteX58" fmla="*/ 7438574 w 9041192"/>
              <a:gd name="connsiteY58" fmla="*/ 3418110 h 4201882"/>
              <a:gd name="connsiteX59" fmla="*/ 5798459 w 9041192"/>
              <a:gd name="connsiteY59" fmla="*/ 3577767 h 4201882"/>
              <a:gd name="connsiteX60" fmla="*/ 2735943 w 9041192"/>
              <a:gd name="connsiteY60" fmla="*/ 3606795 h 4201882"/>
              <a:gd name="connsiteX61" fmla="*/ 1023259 w 9041192"/>
              <a:gd name="connsiteY61" fmla="*/ 3621309 h 4201882"/>
              <a:gd name="connsiteX62" fmla="*/ 384627 w 9041192"/>
              <a:gd name="connsiteY62" fmla="*/ 3603169 h 4201882"/>
              <a:gd name="connsiteX63" fmla="*/ 319315 w 9041192"/>
              <a:gd name="connsiteY63"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833995 w 9041192"/>
              <a:gd name="connsiteY26" fmla="*/ 4025979 h 4201882"/>
              <a:gd name="connsiteX27" fmla="*/ 1519173 w 9041192"/>
              <a:gd name="connsiteY27" fmla="*/ 3702269 h 4201882"/>
              <a:gd name="connsiteX28" fmla="*/ 3331029 w 9041192"/>
              <a:gd name="connsiteY28" fmla="*/ 273272 h 4201882"/>
              <a:gd name="connsiteX29" fmla="*/ 4231794 w 9041192"/>
              <a:gd name="connsiteY29" fmla="*/ 273272 h 4201882"/>
              <a:gd name="connsiteX30" fmla="*/ 4752524 w 9041192"/>
              <a:gd name="connsiteY30" fmla="*/ 616853 h 4201882"/>
              <a:gd name="connsiteX31" fmla="*/ 4752524 w 9041192"/>
              <a:gd name="connsiteY31" fmla="*/ 1124852 h 4201882"/>
              <a:gd name="connsiteX32" fmla="*/ 4434994 w 9041192"/>
              <a:gd name="connsiteY32" fmla="*/ 1388196 h 4201882"/>
              <a:gd name="connsiteX33" fmla="*/ 3316515 w 9041192"/>
              <a:gd name="connsiteY33" fmla="*/ 1415138 h 4201882"/>
              <a:gd name="connsiteX34" fmla="*/ 3011037 w 9041192"/>
              <a:gd name="connsiteY34" fmla="*/ 1124853 h 4201882"/>
              <a:gd name="connsiteX35" fmla="*/ 3011037 w 9041192"/>
              <a:gd name="connsiteY35" fmla="*/ 515252 h 4201882"/>
              <a:gd name="connsiteX36" fmla="*/ 3331029 w 9041192"/>
              <a:gd name="connsiteY36" fmla="*/ 273272 h 4201882"/>
              <a:gd name="connsiteX37" fmla="*/ 2491631 w 9041192"/>
              <a:gd name="connsiteY37" fmla="*/ 3714226 h 4201882"/>
              <a:gd name="connsiteX38" fmla="*/ 2213430 w 9041192"/>
              <a:gd name="connsiteY38" fmla="*/ 4187367 h 4201882"/>
              <a:gd name="connsiteX39" fmla="*/ 1560287 w 9041192"/>
              <a:gd name="connsiteY39" fmla="*/ 4201882 h 4201882"/>
              <a:gd name="connsiteX40" fmla="*/ 1296966 w 9041192"/>
              <a:gd name="connsiteY40" fmla="*/ 3724642 h 4201882"/>
              <a:gd name="connsiteX41" fmla="*/ 2491631 w 9041192"/>
              <a:gd name="connsiteY41" fmla="*/ 3714226 h 4201882"/>
              <a:gd name="connsiteX42" fmla="*/ 6596743 w 9041192"/>
              <a:gd name="connsiteY42" fmla="*/ 4042225 h 4201882"/>
              <a:gd name="connsiteX43" fmla="*/ 6380876 w 9041192"/>
              <a:gd name="connsiteY43" fmla="*/ 3607073 h 4201882"/>
              <a:gd name="connsiteX44" fmla="*/ 6957753 w 9041192"/>
              <a:gd name="connsiteY44" fmla="*/ 3737701 h 4201882"/>
              <a:gd name="connsiteX45" fmla="*/ 6596743 w 9041192"/>
              <a:gd name="connsiteY45" fmla="*/ 4042225 h 4201882"/>
              <a:gd name="connsiteX46" fmla="*/ 7232614 w 9041192"/>
              <a:gd name="connsiteY46" fmla="*/ 3685197 h 4201882"/>
              <a:gd name="connsiteX47" fmla="*/ 7032173 w 9041192"/>
              <a:gd name="connsiteY47" fmla="*/ 4158339 h 4201882"/>
              <a:gd name="connsiteX48" fmla="*/ 6306459 w 9041192"/>
              <a:gd name="connsiteY48" fmla="*/ 4201881 h 4201882"/>
              <a:gd name="connsiteX49" fmla="*/ 6042666 w 9041192"/>
              <a:gd name="connsiteY49" fmla="*/ 3691989 h 4201882"/>
              <a:gd name="connsiteX50" fmla="*/ 6642348 w 9041192"/>
              <a:gd name="connsiteY50" fmla="*/ 3071499 h 4201882"/>
              <a:gd name="connsiteX51" fmla="*/ 7232614 w 9041192"/>
              <a:gd name="connsiteY51" fmla="*/ 3685197 h 4201882"/>
              <a:gd name="connsiteX52" fmla="*/ 319315 w 9041192"/>
              <a:gd name="connsiteY52" fmla="*/ 3294739 h 4201882"/>
              <a:gd name="connsiteX53" fmla="*/ 1952174 w 9041192"/>
              <a:gd name="connsiteY53" fmla="*/ 68941 h 4201882"/>
              <a:gd name="connsiteX54" fmla="*/ 8229601 w 9041192"/>
              <a:gd name="connsiteY54" fmla="*/ 0 h 4201882"/>
              <a:gd name="connsiteX55" fmla="*/ 8773887 w 9041192"/>
              <a:gd name="connsiteY55" fmla="*/ 616852 h 4201882"/>
              <a:gd name="connsiteX56" fmla="*/ 8831945 w 9041192"/>
              <a:gd name="connsiteY56" fmla="*/ 3156852 h 4201882"/>
              <a:gd name="connsiteX57" fmla="*/ 8744857 w 9041192"/>
              <a:gd name="connsiteY57" fmla="*/ 3418109 h 4201882"/>
              <a:gd name="connsiteX58" fmla="*/ 7438574 w 9041192"/>
              <a:gd name="connsiteY58" fmla="*/ 3418110 h 4201882"/>
              <a:gd name="connsiteX59" fmla="*/ 5798459 w 9041192"/>
              <a:gd name="connsiteY59" fmla="*/ 3577767 h 4201882"/>
              <a:gd name="connsiteX60" fmla="*/ 2735943 w 9041192"/>
              <a:gd name="connsiteY60" fmla="*/ 3606795 h 4201882"/>
              <a:gd name="connsiteX61" fmla="*/ 1023259 w 9041192"/>
              <a:gd name="connsiteY61" fmla="*/ 3621309 h 4201882"/>
              <a:gd name="connsiteX62" fmla="*/ 384627 w 9041192"/>
              <a:gd name="connsiteY62" fmla="*/ 3603169 h 4201882"/>
              <a:gd name="connsiteX63" fmla="*/ 319315 w 9041192"/>
              <a:gd name="connsiteY63"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833995 w 9041192"/>
              <a:gd name="connsiteY26" fmla="*/ 4025979 h 4201882"/>
              <a:gd name="connsiteX27" fmla="*/ 1519173 w 9041192"/>
              <a:gd name="connsiteY27" fmla="*/ 3702269 h 4201882"/>
              <a:gd name="connsiteX28" fmla="*/ 3331029 w 9041192"/>
              <a:gd name="connsiteY28" fmla="*/ 273272 h 4201882"/>
              <a:gd name="connsiteX29" fmla="*/ 4231794 w 9041192"/>
              <a:gd name="connsiteY29" fmla="*/ 273272 h 4201882"/>
              <a:gd name="connsiteX30" fmla="*/ 4752524 w 9041192"/>
              <a:gd name="connsiteY30" fmla="*/ 616853 h 4201882"/>
              <a:gd name="connsiteX31" fmla="*/ 4752524 w 9041192"/>
              <a:gd name="connsiteY31" fmla="*/ 1124852 h 4201882"/>
              <a:gd name="connsiteX32" fmla="*/ 4434994 w 9041192"/>
              <a:gd name="connsiteY32" fmla="*/ 1388196 h 4201882"/>
              <a:gd name="connsiteX33" fmla="*/ 3316515 w 9041192"/>
              <a:gd name="connsiteY33" fmla="*/ 1415138 h 4201882"/>
              <a:gd name="connsiteX34" fmla="*/ 3011037 w 9041192"/>
              <a:gd name="connsiteY34" fmla="*/ 1124853 h 4201882"/>
              <a:gd name="connsiteX35" fmla="*/ 3011037 w 9041192"/>
              <a:gd name="connsiteY35" fmla="*/ 515252 h 4201882"/>
              <a:gd name="connsiteX36" fmla="*/ 3331029 w 9041192"/>
              <a:gd name="connsiteY36" fmla="*/ 273272 h 4201882"/>
              <a:gd name="connsiteX37" fmla="*/ 2491631 w 9041192"/>
              <a:gd name="connsiteY37" fmla="*/ 3714226 h 4201882"/>
              <a:gd name="connsiteX38" fmla="*/ 2213430 w 9041192"/>
              <a:gd name="connsiteY38" fmla="*/ 4187367 h 4201882"/>
              <a:gd name="connsiteX39" fmla="*/ 1560287 w 9041192"/>
              <a:gd name="connsiteY39" fmla="*/ 4201882 h 4201882"/>
              <a:gd name="connsiteX40" fmla="*/ 1296966 w 9041192"/>
              <a:gd name="connsiteY40" fmla="*/ 3724642 h 4201882"/>
              <a:gd name="connsiteX41" fmla="*/ 2491631 w 9041192"/>
              <a:gd name="connsiteY41" fmla="*/ 3714226 h 4201882"/>
              <a:gd name="connsiteX42" fmla="*/ 6596743 w 9041192"/>
              <a:gd name="connsiteY42" fmla="*/ 4042225 h 4201882"/>
              <a:gd name="connsiteX43" fmla="*/ 6380876 w 9041192"/>
              <a:gd name="connsiteY43" fmla="*/ 3607073 h 4201882"/>
              <a:gd name="connsiteX44" fmla="*/ 6957753 w 9041192"/>
              <a:gd name="connsiteY44" fmla="*/ 3737701 h 4201882"/>
              <a:gd name="connsiteX45" fmla="*/ 6596743 w 9041192"/>
              <a:gd name="connsiteY45" fmla="*/ 4042225 h 4201882"/>
              <a:gd name="connsiteX46" fmla="*/ 7232614 w 9041192"/>
              <a:gd name="connsiteY46" fmla="*/ 3685197 h 4201882"/>
              <a:gd name="connsiteX47" fmla="*/ 7032173 w 9041192"/>
              <a:gd name="connsiteY47" fmla="*/ 4158339 h 4201882"/>
              <a:gd name="connsiteX48" fmla="*/ 6306459 w 9041192"/>
              <a:gd name="connsiteY48" fmla="*/ 4201881 h 4201882"/>
              <a:gd name="connsiteX49" fmla="*/ 6042666 w 9041192"/>
              <a:gd name="connsiteY49" fmla="*/ 3691989 h 4201882"/>
              <a:gd name="connsiteX50" fmla="*/ 6642348 w 9041192"/>
              <a:gd name="connsiteY50" fmla="*/ 3071499 h 4201882"/>
              <a:gd name="connsiteX51" fmla="*/ 7232614 w 9041192"/>
              <a:gd name="connsiteY51" fmla="*/ 3685197 h 4201882"/>
              <a:gd name="connsiteX52" fmla="*/ 319315 w 9041192"/>
              <a:gd name="connsiteY52" fmla="*/ 3294739 h 4201882"/>
              <a:gd name="connsiteX53" fmla="*/ 1952174 w 9041192"/>
              <a:gd name="connsiteY53" fmla="*/ 68941 h 4201882"/>
              <a:gd name="connsiteX54" fmla="*/ 8229601 w 9041192"/>
              <a:gd name="connsiteY54" fmla="*/ 0 h 4201882"/>
              <a:gd name="connsiteX55" fmla="*/ 8773887 w 9041192"/>
              <a:gd name="connsiteY55" fmla="*/ 616852 h 4201882"/>
              <a:gd name="connsiteX56" fmla="*/ 8831945 w 9041192"/>
              <a:gd name="connsiteY56" fmla="*/ 3156852 h 4201882"/>
              <a:gd name="connsiteX57" fmla="*/ 8744857 w 9041192"/>
              <a:gd name="connsiteY57" fmla="*/ 3418109 h 4201882"/>
              <a:gd name="connsiteX58" fmla="*/ 7438574 w 9041192"/>
              <a:gd name="connsiteY58" fmla="*/ 3418110 h 4201882"/>
              <a:gd name="connsiteX59" fmla="*/ 5798459 w 9041192"/>
              <a:gd name="connsiteY59" fmla="*/ 3577767 h 4201882"/>
              <a:gd name="connsiteX60" fmla="*/ 2735943 w 9041192"/>
              <a:gd name="connsiteY60" fmla="*/ 3606795 h 4201882"/>
              <a:gd name="connsiteX61" fmla="*/ 1023259 w 9041192"/>
              <a:gd name="connsiteY61" fmla="*/ 3621309 h 4201882"/>
              <a:gd name="connsiteX62" fmla="*/ 384627 w 9041192"/>
              <a:gd name="connsiteY62" fmla="*/ 3603169 h 4201882"/>
              <a:gd name="connsiteX63" fmla="*/ 319315 w 9041192"/>
              <a:gd name="connsiteY63"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833995 w 9041192"/>
              <a:gd name="connsiteY26" fmla="*/ 4025979 h 4201882"/>
              <a:gd name="connsiteX27" fmla="*/ 1519173 w 9041192"/>
              <a:gd name="connsiteY27" fmla="*/ 3702269 h 4201882"/>
              <a:gd name="connsiteX28" fmla="*/ 3331029 w 9041192"/>
              <a:gd name="connsiteY28" fmla="*/ 273272 h 4201882"/>
              <a:gd name="connsiteX29" fmla="*/ 4231794 w 9041192"/>
              <a:gd name="connsiteY29" fmla="*/ 273272 h 4201882"/>
              <a:gd name="connsiteX30" fmla="*/ 4752524 w 9041192"/>
              <a:gd name="connsiteY30" fmla="*/ 616853 h 4201882"/>
              <a:gd name="connsiteX31" fmla="*/ 4752524 w 9041192"/>
              <a:gd name="connsiteY31" fmla="*/ 1124852 h 4201882"/>
              <a:gd name="connsiteX32" fmla="*/ 4434994 w 9041192"/>
              <a:gd name="connsiteY32" fmla="*/ 1388196 h 4201882"/>
              <a:gd name="connsiteX33" fmla="*/ 3316515 w 9041192"/>
              <a:gd name="connsiteY33" fmla="*/ 1415138 h 4201882"/>
              <a:gd name="connsiteX34" fmla="*/ 3011037 w 9041192"/>
              <a:gd name="connsiteY34" fmla="*/ 1124853 h 4201882"/>
              <a:gd name="connsiteX35" fmla="*/ 3011037 w 9041192"/>
              <a:gd name="connsiteY35" fmla="*/ 515252 h 4201882"/>
              <a:gd name="connsiteX36" fmla="*/ 3331029 w 9041192"/>
              <a:gd name="connsiteY36" fmla="*/ 273272 h 4201882"/>
              <a:gd name="connsiteX37" fmla="*/ 2491631 w 9041192"/>
              <a:gd name="connsiteY37" fmla="*/ 3714226 h 4201882"/>
              <a:gd name="connsiteX38" fmla="*/ 2213430 w 9041192"/>
              <a:gd name="connsiteY38" fmla="*/ 4187367 h 4201882"/>
              <a:gd name="connsiteX39" fmla="*/ 1560287 w 9041192"/>
              <a:gd name="connsiteY39" fmla="*/ 4201882 h 4201882"/>
              <a:gd name="connsiteX40" fmla="*/ 1296966 w 9041192"/>
              <a:gd name="connsiteY40" fmla="*/ 3724642 h 4201882"/>
              <a:gd name="connsiteX41" fmla="*/ 2491631 w 9041192"/>
              <a:gd name="connsiteY41" fmla="*/ 3714226 h 4201882"/>
              <a:gd name="connsiteX42" fmla="*/ 6596743 w 9041192"/>
              <a:gd name="connsiteY42" fmla="*/ 4042225 h 4201882"/>
              <a:gd name="connsiteX43" fmla="*/ 6380876 w 9041192"/>
              <a:gd name="connsiteY43" fmla="*/ 3607073 h 4201882"/>
              <a:gd name="connsiteX44" fmla="*/ 6957753 w 9041192"/>
              <a:gd name="connsiteY44" fmla="*/ 3737701 h 4201882"/>
              <a:gd name="connsiteX45" fmla="*/ 6596743 w 9041192"/>
              <a:gd name="connsiteY45" fmla="*/ 4042225 h 4201882"/>
              <a:gd name="connsiteX46" fmla="*/ 7232614 w 9041192"/>
              <a:gd name="connsiteY46" fmla="*/ 3685197 h 4201882"/>
              <a:gd name="connsiteX47" fmla="*/ 7032173 w 9041192"/>
              <a:gd name="connsiteY47" fmla="*/ 4158339 h 4201882"/>
              <a:gd name="connsiteX48" fmla="*/ 6306459 w 9041192"/>
              <a:gd name="connsiteY48" fmla="*/ 4201881 h 4201882"/>
              <a:gd name="connsiteX49" fmla="*/ 6042666 w 9041192"/>
              <a:gd name="connsiteY49" fmla="*/ 3691989 h 4201882"/>
              <a:gd name="connsiteX50" fmla="*/ 6642348 w 9041192"/>
              <a:gd name="connsiteY50" fmla="*/ 3071499 h 4201882"/>
              <a:gd name="connsiteX51" fmla="*/ 7232614 w 9041192"/>
              <a:gd name="connsiteY51" fmla="*/ 3685197 h 4201882"/>
              <a:gd name="connsiteX52" fmla="*/ 319315 w 9041192"/>
              <a:gd name="connsiteY52" fmla="*/ 3294739 h 4201882"/>
              <a:gd name="connsiteX53" fmla="*/ 1952174 w 9041192"/>
              <a:gd name="connsiteY53" fmla="*/ 68941 h 4201882"/>
              <a:gd name="connsiteX54" fmla="*/ 8229601 w 9041192"/>
              <a:gd name="connsiteY54" fmla="*/ 0 h 4201882"/>
              <a:gd name="connsiteX55" fmla="*/ 8773887 w 9041192"/>
              <a:gd name="connsiteY55" fmla="*/ 616852 h 4201882"/>
              <a:gd name="connsiteX56" fmla="*/ 8831945 w 9041192"/>
              <a:gd name="connsiteY56" fmla="*/ 3156852 h 4201882"/>
              <a:gd name="connsiteX57" fmla="*/ 8744857 w 9041192"/>
              <a:gd name="connsiteY57" fmla="*/ 3418109 h 4201882"/>
              <a:gd name="connsiteX58" fmla="*/ 7438574 w 9041192"/>
              <a:gd name="connsiteY58" fmla="*/ 3418110 h 4201882"/>
              <a:gd name="connsiteX59" fmla="*/ 5798459 w 9041192"/>
              <a:gd name="connsiteY59" fmla="*/ 3577767 h 4201882"/>
              <a:gd name="connsiteX60" fmla="*/ 2735943 w 9041192"/>
              <a:gd name="connsiteY60" fmla="*/ 3606795 h 4201882"/>
              <a:gd name="connsiteX61" fmla="*/ 1023259 w 9041192"/>
              <a:gd name="connsiteY61" fmla="*/ 3621309 h 4201882"/>
              <a:gd name="connsiteX62" fmla="*/ 384627 w 9041192"/>
              <a:gd name="connsiteY62" fmla="*/ 3603169 h 4201882"/>
              <a:gd name="connsiteX63" fmla="*/ 319315 w 9041192"/>
              <a:gd name="connsiteY63"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833995 w 9041192"/>
              <a:gd name="connsiteY26" fmla="*/ 4025979 h 4201882"/>
              <a:gd name="connsiteX27" fmla="*/ 1519173 w 9041192"/>
              <a:gd name="connsiteY27" fmla="*/ 3702269 h 4201882"/>
              <a:gd name="connsiteX28" fmla="*/ 3331029 w 9041192"/>
              <a:gd name="connsiteY28" fmla="*/ 273272 h 4201882"/>
              <a:gd name="connsiteX29" fmla="*/ 4231794 w 9041192"/>
              <a:gd name="connsiteY29" fmla="*/ 273272 h 4201882"/>
              <a:gd name="connsiteX30" fmla="*/ 4752524 w 9041192"/>
              <a:gd name="connsiteY30" fmla="*/ 616853 h 4201882"/>
              <a:gd name="connsiteX31" fmla="*/ 4752524 w 9041192"/>
              <a:gd name="connsiteY31" fmla="*/ 1124852 h 4201882"/>
              <a:gd name="connsiteX32" fmla="*/ 4434994 w 9041192"/>
              <a:gd name="connsiteY32" fmla="*/ 1388196 h 4201882"/>
              <a:gd name="connsiteX33" fmla="*/ 3316515 w 9041192"/>
              <a:gd name="connsiteY33" fmla="*/ 1415138 h 4201882"/>
              <a:gd name="connsiteX34" fmla="*/ 3011037 w 9041192"/>
              <a:gd name="connsiteY34" fmla="*/ 1124853 h 4201882"/>
              <a:gd name="connsiteX35" fmla="*/ 3011037 w 9041192"/>
              <a:gd name="connsiteY35" fmla="*/ 515252 h 4201882"/>
              <a:gd name="connsiteX36" fmla="*/ 3331029 w 9041192"/>
              <a:gd name="connsiteY36" fmla="*/ 273272 h 4201882"/>
              <a:gd name="connsiteX37" fmla="*/ 2491631 w 9041192"/>
              <a:gd name="connsiteY37" fmla="*/ 3714226 h 4201882"/>
              <a:gd name="connsiteX38" fmla="*/ 2213430 w 9041192"/>
              <a:gd name="connsiteY38" fmla="*/ 4187367 h 4201882"/>
              <a:gd name="connsiteX39" fmla="*/ 1560287 w 9041192"/>
              <a:gd name="connsiteY39" fmla="*/ 4201882 h 4201882"/>
              <a:gd name="connsiteX40" fmla="*/ 1296966 w 9041192"/>
              <a:gd name="connsiteY40" fmla="*/ 3724642 h 4201882"/>
              <a:gd name="connsiteX41" fmla="*/ 2491631 w 9041192"/>
              <a:gd name="connsiteY41" fmla="*/ 3714226 h 4201882"/>
              <a:gd name="connsiteX42" fmla="*/ 6596743 w 9041192"/>
              <a:gd name="connsiteY42" fmla="*/ 4042225 h 4201882"/>
              <a:gd name="connsiteX43" fmla="*/ 6380876 w 9041192"/>
              <a:gd name="connsiteY43" fmla="*/ 3607073 h 4201882"/>
              <a:gd name="connsiteX44" fmla="*/ 6957753 w 9041192"/>
              <a:gd name="connsiteY44" fmla="*/ 3737701 h 4201882"/>
              <a:gd name="connsiteX45" fmla="*/ 6596743 w 9041192"/>
              <a:gd name="connsiteY45" fmla="*/ 4042225 h 4201882"/>
              <a:gd name="connsiteX46" fmla="*/ 7232614 w 9041192"/>
              <a:gd name="connsiteY46" fmla="*/ 3685197 h 4201882"/>
              <a:gd name="connsiteX47" fmla="*/ 7032173 w 9041192"/>
              <a:gd name="connsiteY47" fmla="*/ 4158339 h 4201882"/>
              <a:gd name="connsiteX48" fmla="*/ 6306459 w 9041192"/>
              <a:gd name="connsiteY48" fmla="*/ 4201881 h 4201882"/>
              <a:gd name="connsiteX49" fmla="*/ 6042666 w 9041192"/>
              <a:gd name="connsiteY49" fmla="*/ 3691989 h 4201882"/>
              <a:gd name="connsiteX50" fmla="*/ 7232614 w 9041192"/>
              <a:gd name="connsiteY50" fmla="*/ 3685197 h 4201882"/>
              <a:gd name="connsiteX51" fmla="*/ 319315 w 9041192"/>
              <a:gd name="connsiteY51" fmla="*/ 3294739 h 4201882"/>
              <a:gd name="connsiteX52" fmla="*/ 1952174 w 9041192"/>
              <a:gd name="connsiteY52" fmla="*/ 68941 h 4201882"/>
              <a:gd name="connsiteX53" fmla="*/ 8229601 w 9041192"/>
              <a:gd name="connsiteY53" fmla="*/ 0 h 4201882"/>
              <a:gd name="connsiteX54" fmla="*/ 8773887 w 9041192"/>
              <a:gd name="connsiteY54" fmla="*/ 616852 h 4201882"/>
              <a:gd name="connsiteX55" fmla="*/ 8831945 w 9041192"/>
              <a:gd name="connsiteY55" fmla="*/ 3156852 h 4201882"/>
              <a:gd name="connsiteX56" fmla="*/ 8744857 w 9041192"/>
              <a:gd name="connsiteY56" fmla="*/ 3418109 h 4201882"/>
              <a:gd name="connsiteX57" fmla="*/ 7438574 w 9041192"/>
              <a:gd name="connsiteY57" fmla="*/ 3418110 h 4201882"/>
              <a:gd name="connsiteX58" fmla="*/ 5798459 w 9041192"/>
              <a:gd name="connsiteY58" fmla="*/ 3577767 h 4201882"/>
              <a:gd name="connsiteX59" fmla="*/ 2735943 w 9041192"/>
              <a:gd name="connsiteY59" fmla="*/ 3606795 h 4201882"/>
              <a:gd name="connsiteX60" fmla="*/ 1023259 w 9041192"/>
              <a:gd name="connsiteY60" fmla="*/ 3621309 h 4201882"/>
              <a:gd name="connsiteX61" fmla="*/ 384627 w 9041192"/>
              <a:gd name="connsiteY61" fmla="*/ 3603169 h 4201882"/>
              <a:gd name="connsiteX62" fmla="*/ 319315 w 9041192"/>
              <a:gd name="connsiteY62"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833995 w 9041192"/>
              <a:gd name="connsiteY26" fmla="*/ 4025979 h 4201882"/>
              <a:gd name="connsiteX27" fmla="*/ 1519173 w 9041192"/>
              <a:gd name="connsiteY27" fmla="*/ 3702269 h 4201882"/>
              <a:gd name="connsiteX28" fmla="*/ 3331029 w 9041192"/>
              <a:gd name="connsiteY28" fmla="*/ 273272 h 4201882"/>
              <a:gd name="connsiteX29" fmla="*/ 4231794 w 9041192"/>
              <a:gd name="connsiteY29" fmla="*/ 273272 h 4201882"/>
              <a:gd name="connsiteX30" fmla="*/ 4752524 w 9041192"/>
              <a:gd name="connsiteY30" fmla="*/ 616853 h 4201882"/>
              <a:gd name="connsiteX31" fmla="*/ 4752524 w 9041192"/>
              <a:gd name="connsiteY31" fmla="*/ 1124852 h 4201882"/>
              <a:gd name="connsiteX32" fmla="*/ 4434994 w 9041192"/>
              <a:gd name="connsiteY32" fmla="*/ 1388196 h 4201882"/>
              <a:gd name="connsiteX33" fmla="*/ 3316515 w 9041192"/>
              <a:gd name="connsiteY33" fmla="*/ 1415138 h 4201882"/>
              <a:gd name="connsiteX34" fmla="*/ 3011037 w 9041192"/>
              <a:gd name="connsiteY34" fmla="*/ 1124853 h 4201882"/>
              <a:gd name="connsiteX35" fmla="*/ 3011037 w 9041192"/>
              <a:gd name="connsiteY35" fmla="*/ 515252 h 4201882"/>
              <a:gd name="connsiteX36" fmla="*/ 3331029 w 9041192"/>
              <a:gd name="connsiteY36" fmla="*/ 273272 h 4201882"/>
              <a:gd name="connsiteX37" fmla="*/ 2491631 w 9041192"/>
              <a:gd name="connsiteY37" fmla="*/ 3714226 h 4201882"/>
              <a:gd name="connsiteX38" fmla="*/ 2213430 w 9041192"/>
              <a:gd name="connsiteY38" fmla="*/ 4187367 h 4201882"/>
              <a:gd name="connsiteX39" fmla="*/ 1560287 w 9041192"/>
              <a:gd name="connsiteY39" fmla="*/ 4201882 h 4201882"/>
              <a:gd name="connsiteX40" fmla="*/ 1296966 w 9041192"/>
              <a:gd name="connsiteY40" fmla="*/ 3724642 h 4201882"/>
              <a:gd name="connsiteX41" fmla="*/ 2491631 w 9041192"/>
              <a:gd name="connsiteY41" fmla="*/ 3714226 h 4201882"/>
              <a:gd name="connsiteX42" fmla="*/ 6596743 w 9041192"/>
              <a:gd name="connsiteY42" fmla="*/ 4042225 h 4201882"/>
              <a:gd name="connsiteX43" fmla="*/ 6380876 w 9041192"/>
              <a:gd name="connsiteY43" fmla="*/ 3607073 h 4201882"/>
              <a:gd name="connsiteX44" fmla="*/ 6957753 w 9041192"/>
              <a:gd name="connsiteY44" fmla="*/ 3737701 h 4201882"/>
              <a:gd name="connsiteX45" fmla="*/ 6596743 w 9041192"/>
              <a:gd name="connsiteY45" fmla="*/ 4042225 h 4201882"/>
              <a:gd name="connsiteX46" fmla="*/ 7232614 w 9041192"/>
              <a:gd name="connsiteY46" fmla="*/ 3685197 h 4201882"/>
              <a:gd name="connsiteX47" fmla="*/ 7032173 w 9041192"/>
              <a:gd name="connsiteY47" fmla="*/ 4158339 h 4201882"/>
              <a:gd name="connsiteX48" fmla="*/ 6306459 w 9041192"/>
              <a:gd name="connsiteY48" fmla="*/ 4201881 h 4201882"/>
              <a:gd name="connsiteX49" fmla="*/ 6028152 w 9041192"/>
              <a:gd name="connsiteY49" fmla="*/ 3662961 h 4201882"/>
              <a:gd name="connsiteX50" fmla="*/ 7232614 w 9041192"/>
              <a:gd name="connsiteY50" fmla="*/ 3685197 h 4201882"/>
              <a:gd name="connsiteX51" fmla="*/ 319315 w 9041192"/>
              <a:gd name="connsiteY51" fmla="*/ 3294739 h 4201882"/>
              <a:gd name="connsiteX52" fmla="*/ 1952174 w 9041192"/>
              <a:gd name="connsiteY52" fmla="*/ 68941 h 4201882"/>
              <a:gd name="connsiteX53" fmla="*/ 8229601 w 9041192"/>
              <a:gd name="connsiteY53" fmla="*/ 0 h 4201882"/>
              <a:gd name="connsiteX54" fmla="*/ 8773887 w 9041192"/>
              <a:gd name="connsiteY54" fmla="*/ 616852 h 4201882"/>
              <a:gd name="connsiteX55" fmla="*/ 8831945 w 9041192"/>
              <a:gd name="connsiteY55" fmla="*/ 3156852 h 4201882"/>
              <a:gd name="connsiteX56" fmla="*/ 8744857 w 9041192"/>
              <a:gd name="connsiteY56" fmla="*/ 3418109 h 4201882"/>
              <a:gd name="connsiteX57" fmla="*/ 7438574 w 9041192"/>
              <a:gd name="connsiteY57" fmla="*/ 3418110 h 4201882"/>
              <a:gd name="connsiteX58" fmla="*/ 5798459 w 9041192"/>
              <a:gd name="connsiteY58" fmla="*/ 3577767 h 4201882"/>
              <a:gd name="connsiteX59" fmla="*/ 2735943 w 9041192"/>
              <a:gd name="connsiteY59" fmla="*/ 3606795 h 4201882"/>
              <a:gd name="connsiteX60" fmla="*/ 1023259 w 9041192"/>
              <a:gd name="connsiteY60" fmla="*/ 3621309 h 4201882"/>
              <a:gd name="connsiteX61" fmla="*/ 384627 w 9041192"/>
              <a:gd name="connsiteY61" fmla="*/ 3603169 h 4201882"/>
              <a:gd name="connsiteX62" fmla="*/ 319315 w 9041192"/>
              <a:gd name="connsiteY62"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833995 w 9041192"/>
              <a:gd name="connsiteY26" fmla="*/ 4025979 h 4201882"/>
              <a:gd name="connsiteX27" fmla="*/ 1519173 w 9041192"/>
              <a:gd name="connsiteY27" fmla="*/ 3702269 h 4201882"/>
              <a:gd name="connsiteX28" fmla="*/ 3331029 w 9041192"/>
              <a:gd name="connsiteY28" fmla="*/ 273272 h 4201882"/>
              <a:gd name="connsiteX29" fmla="*/ 4231794 w 9041192"/>
              <a:gd name="connsiteY29" fmla="*/ 273272 h 4201882"/>
              <a:gd name="connsiteX30" fmla="*/ 4752524 w 9041192"/>
              <a:gd name="connsiteY30" fmla="*/ 616853 h 4201882"/>
              <a:gd name="connsiteX31" fmla="*/ 4752524 w 9041192"/>
              <a:gd name="connsiteY31" fmla="*/ 1124852 h 4201882"/>
              <a:gd name="connsiteX32" fmla="*/ 4434994 w 9041192"/>
              <a:gd name="connsiteY32" fmla="*/ 1388196 h 4201882"/>
              <a:gd name="connsiteX33" fmla="*/ 3316515 w 9041192"/>
              <a:gd name="connsiteY33" fmla="*/ 1415138 h 4201882"/>
              <a:gd name="connsiteX34" fmla="*/ 3011037 w 9041192"/>
              <a:gd name="connsiteY34" fmla="*/ 1124853 h 4201882"/>
              <a:gd name="connsiteX35" fmla="*/ 3011037 w 9041192"/>
              <a:gd name="connsiteY35" fmla="*/ 515252 h 4201882"/>
              <a:gd name="connsiteX36" fmla="*/ 3331029 w 9041192"/>
              <a:gd name="connsiteY36" fmla="*/ 273272 h 4201882"/>
              <a:gd name="connsiteX37" fmla="*/ 2491631 w 9041192"/>
              <a:gd name="connsiteY37" fmla="*/ 3714226 h 4201882"/>
              <a:gd name="connsiteX38" fmla="*/ 2213430 w 9041192"/>
              <a:gd name="connsiteY38" fmla="*/ 4187367 h 4201882"/>
              <a:gd name="connsiteX39" fmla="*/ 1560287 w 9041192"/>
              <a:gd name="connsiteY39" fmla="*/ 4201882 h 4201882"/>
              <a:gd name="connsiteX40" fmla="*/ 1296966 w 9041192"/>
              <a:gd name="connsiteY40" fmla="*/ 3724642 h 4201882"/>
              <a:gd name="connsiteX41" fmla="*/ 2491631 w 9041192"/>
              <a:gd name="connsiteY41" fmla="*/ 3714226 h 4201882"/>
              <a:gd name="connsiteX42" fmla="*/ 6596743 w 9041192"/>
              <a:gd name="connsiteY42" fmla="*/ 4042225 h 4201882"/>
              <a:gd name="connsiteX43" fmla="*/ 6380876 w 9041192"/>
              <a:gd name="connsiteY43" fmla="*/ 3607073 h 4201882"/>
              <a:gd name="connsiteX44" fmla="*/ 6957753 w 9041192"/>
              <a:gd name="connsiteY44" fmla="*/ 3737701 h 4201882"/>
              <a:gd name="connsiteX45" fmla="*/ 6596743 w 9041192"/>
              <a:gd name="connsiteY45" fmla="*/ 4042225 h 4201882"/>
              <a:gd name="connsiteX46" fmla="*/ 7218099 w 9041192"/>
              <a:gd name="connsiteY46" fmla="*/ 3627140 h 4201882"/>
              <a:gd name="connsiteX47" fmla="*/ 7032173 w 9041192"/>
              <a:gd name="connsiteY47" fmla="*/ 4158339 h 4201882"/>
              <a:gd name="connsiteX48" fmla="*/ 6306459 w 9041192"/>
              <a:gd name="connsiteY48" fmla="*/ 4201881 h 4201882"/>
              <a:gd name="connsiteX49" fmla="*/ 6028152 w 9041192"/>
              <a:gd name="connsiteY49" fmla="*/ 3662961 h 4201882"/>
              <a:gd name="connsiteX50" fmla="*/ 7218099 w 9041192"/>
              <a:gd name="connsiteY50" fmla="*/ 3627140 h 4201882"/>
              <a:gd name="connsiteX51" fmla="*/ 319315 w 9041192"/>
              <a:gd name="connsiteY51" fmla="*/ 3294739 h 4201882"/>
              <a:gd name="connsiteX52" fmla="*/ 1952174 w 9041192"/>
              <a:gd name="connsiteY52" fmla="*/ 68941 h 4201882"/>
              <a:gd name="connsiteX53" fmla="*/ 8229601 w 9041192"/>
              <a:gd name="connsiteY53" fmla="*/ 0 h 4201882"/>
              <a:gd name="connsiteX54" fmla="*/ 8773887 w 9041192"/>
              <a:gd name="connsiteY54" fmla="*/ 616852 h 4201882"/>
              <a:gd name="connsiteX55" fmla="*/ 8831945 w 9041192"/>
              <a:gd name="connsiteY55" fmla="*/ 3156852 h 4201882"/>
              <a:gd name="connsiteX56" fmla="*/ 8744857 w 9041192"/>
              <a:gd name="connsiteY56" fmla="*/ 3418109 h 4201882"/>
              <a:gd name="connsiteX57" fmla="*/ 7438574 w 9041192"/>
              <a:gd name="connsiteY57" fmla="*/ 3418110 h 4201882"/>
              <a:gd name="connsiteX58" fmla="*/ 5798459 w 9041192"/>
              <a:gd name="connsiteY58" fmla="*/ 3577767 h 4201882"/>
              <a:gd name="connsiteX59" fmla="*/ 2735943 w 9041192"/>
              <a:gd name="connsiteY59" fmla="*/ 3606795 h 4201882"/>
              <a:gd name="connsiteX60" fmla="*/ 1023259 w 9041192"/>
              <a:gd name="connsiteY60" fmla="*/ 3621309 h 4201882"/>
              <a:gd name="connsiteX61" fmla="*/ 384627 w 9041192"/>
              <a:gd name="connsiteY61" fmla="*/ 3603169 h 4201882"/>
              <a:gd name="connsiteX62" fmla="*/ 319315 w 9041192"/>
              <a:gd name="connsiteY62"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380876 w 9041192"/>
              <a:gd name="connsiteY42" fmla="*/ 3607073 h 4201882"/>
              <a:gd name="connsiteX43" fmla="*/ 6957753 w 9041192"/>
              <a:gd name="connsiteY43" fmla="*/ 3737701 h 4201882"/>
              <a:gd name="connsiteX44" fmla="*/ 6596743 w 9041192"/>
              <a:gd name="connsiteY44" fmla="*/ 4042225 h 4201882"/>
              <a:gd name="connsiteX45" fmla="*/ 7218099 w 9041192"/>
              <a:gd name="connsiteY45" fmla="*/ 3627140 h 4201882"/>
              <a:gd name="connsiteX46" fmla="*/ 7032173 w 9041192"/>
              <a:gd name="connsiteY46" fmla="*/ 4158339 h 4201882"/>
              <a:gd name="connsiteX47" fmla="*/ 6306459 w 9041192"/>
              <a:gd name="connsiteY47" fmla="*/ 4201881 h 4201882"/>
              <a:gd name="connsiteX48" fmla="*/ 6028152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453447 w 9041192"/>
              <a:gd name="connsiteY42" fmla="*/ 3810273 h 4201882"/>
              <a:gd name="connsiteX43" fmla="*/ 6957753 w 9041192"/>
              <a:gd name="connsiteY43" fmla="*/ 3737701 h 4201882"/>
              <a:gd name="connsiteX44" fmla="*/ 6596743 w 9041192"/>
              <a:gd name="connsiteY44" fmla="*/ 4042225 h 4201882"/>
              <a:gd name="connsiteX45" fmla="*/ 7218099 w 9041192"/>
              <a:gd name="connsiteY45" fmla="*/ 3627140 h 4201882"/>
              <a:gd name="connsiteX46" fmla="*/ 7032173 w 9041192"/>
              <a:gd name="connsiteY46" fmla="*/ 4158339 h 4201882"/>
              <a:gd name="connsiteX47" fmla="*/ 6306459 w 9041192"/>
              <a:gd name="connsiteY47" fmla="*/ 4201881 h 4201882"/>
              <a:gd name="connsiteX48" fmla="*/ 6028152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453447 w 9041192"/>
              <a:gd name="connsiteY42" fmla="*/ 3810273 h 4201882"/>
              <a:gd name="connsiteX43" fmla="*/ 6957753 w 9041192"/>
              <a:gd name="connsiteY43" fmla="*/ 3737701 h 4201882"/>
              <a:gd name="connsiteX44" fmla="*/ 6596743 w 9041192"/>
              <a:gd name="connsiteY44" fmla="*/ 4042225 h 4201882"/>
              <a:gd name="connsiteX45" fmla="*/ 7218099 w 9041192"/>
              <a:gd name="connsiteY45" fmla="*/ 3627140 h 4201882"/>
              <a:gd name="connsiteX46" fmla="*/ 7032173 w 9041192"/>
              <a:gd name="connsiteY46" fmla="*/ 4158339 h 4201882"/>
              <a:gd name="connsiteX47" fmla="*/ 6306459 w 9041192"/>
              <a:gd name="connsiteY47" fmla="*/ 4201881 h 4201882"/>
              <a:gd name="connsiteX48" fmla="*/ 6028152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453447 w 9041192"/>
              <a:gd name="connsiteY42" fmla="*/ 3810273 h 4201882"/>
              <a:gd name="connsiteX43" fmla="*/ 6957753 w 9041192"/>
              <a:gd name="connsiteY43" fmla="*/ 3737701 h 4201882"/>
              <a:gd name="connsiteX44" fmla="*/ 6596743 w 9041192"/>
              <a:gd name="connsiteY44" fmla="*/ 4042225 h 4201882"/>
              <a:gd name="connsiteX45" fmla="*/ 7218099 w 9041192"/>
              <a:gd name="connsiteY45" fmla="*/ 3627140 h 4201882"/>
              <a:gd name="connsiteX46" fmla="*/ 7032173 w 9041192"/>
              <a:gd name="connsiteY46" fmla="*/ 4158339 h 4201882"/>
              <a:gd name="connsiteX47" fmla="*/ 6306459 w 9041192"/>
              <a:gd name="connsiteY47" fmla="*/ 4201881 h 4201882"/>
              <a:gd name="connsiteX48" fmla="*/ 6071695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453447 w 9041192"/>
              <a:gd name="connsiteY42" fmla="*/ 3810273 h 4201882"/>
              <a:gd name="connsiteX43" fmla="*/ 6957753 w 9041192"/>
              <a:gd name="connsiteY43" fmla="*/ 3737701 h 4201882"/>
              <a:gd name="connsiteX44" fmla="*/ 6596743 w 9041192"/>
              <a:gd name="connsiteY44" fmla="*/ 4042225 h 4201882"/>
              <a:gd name="connsiteX45" fmla="*/ 7218099 w 9041192"/>
              <a:gd name="connsiteY45" fmla="*/ 3627140 h 4201882"/>
              <a:gd name="connsiteX46" fmla="*/ 7032173 w 9041192"/>
              <a:gd name="connsiteY46" fmla="*/ 4158339 h 4201882"/>
              <a:gd name="connsiteX47" fmla="*/ 6306459 w 9041192"/>
              <a:gd name="connsiteY47" fmla="*/ 4201881 h 4201882"/>
              <a:gd name="connsiteX48" fmla="*/ 6071695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453447 w 9041192"/>
              <a:gd name="connsiteY42" fmla="*/ 3810273 h 4201882"/>
              <a:gd name="connsiteX43" fmla="*/ 6957753 w 9041192"/>
              <a:gd name="connsiteY43" fmla="*/ 3737701 h 4201882"/>
              <a:gd name="connsiteX44" fmla="*/ 6596743 w 9041192"/>
              <a:gd name="connsiteY44" fmla="*/ 4042225 h 4201882"/>
              <a:gd name="connsiteX45" fmla="*/ 7218099 w 9041192"/>
              <a:gd name="connsiteY45" fmla="*/ 3627140 h 4201882"/>
              <a:gd name="connsiteX46" fmla="*/ 7032173 w 9041192"/>
              <a:gd name="connsiteY46" fmla="*/ 4158339 h 4201882"/>
              <a:gd name="connsiteX47" fmla="*/ 6306459 w 9041192"/>
              <a:gd name="connsiteY47" fmla="*/ 4129310 h 4201882"/>
              <a:gd name="connsiteX48" fmla="*/ 6071695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453447 w 9041192"/>
              <a:gd name="connsiteY42" fmla="*/ 3810273 h 4201882"/>
              <a:gd name="connsiteX43" fmla="*/ 6957753 w 9041192"/>
              <a:gd name="connsiteY43" fmla="*/ 3737701 h 4201882"/>
              <a:gd name="connsiteX44" fmla="*/ 6596743 w 9041192"/>
              <a:gd name="connsiteY44" fmla="*/ 4042225 h 4201882"/>
              <a:gd name="connsiteX45" fmla="*/ 7218099 w 9041192"/>
              <a:gd name="connsiteY45" fmla="*/ 3627140 h 4201882"/>
              <a:gd name="connsiteX46" fmla="*/ 7032173 w 9041192"/>
              <a:gd name="connsiteY46" fmla="*/ 4158339 h 4201882"/>
              <a:gd name="connsiteX47" fmla="*/ 6306459 w 9041192"/>
              <a:gd name="connsiteY47" fmla="*/ 4129310 h 4201882"/>
              <a:gd name="connsiteX48" fmla="*/ 6071695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453447 w 9041192"/>
              <a:gd name="connsiteY42" fmla="*/ 3810273 h 4201882"/>
              <a:gd name="connsiteX43" fmla="*/ 6957753 w 9041192"/>
              <a:gd name="connsiteY43" fmla="*/ 3737701 h 4201882"/>
              <a:gd name="connsiteX44" fmla="*/ 6596743 w 9041192"/>
              <a:gd name="connsiteY44" fmla="*/ 4042225 h 4201882"/>
              <a:gd name="connsiteX45" fmla="*/ 7218099 w 9041192"/>
              <a:gd name="connsiteY45" fmla="*/ 3627140 h 4201882"/>
              <a:gd name="connsiteX46" fmla="*/ 7032173 w 9041192"/>
              <a:gd name="connsiteY46" fmla="*/ 4158339 h 4201882"/>
              <a:gd name="connsiteX47" fmla="*/ 6306459 w 9041192"/>
              <a:gd name="connsiteY47" fmla="*/ 4129310 h 4201882"/>
              <a:gd name="connsiteX48" fmla="*/ 6071695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453447 w 9041192"/>
              <a:gd name="connsiteY42" fmla="*/ 3810273 h 4201882"/>
              <a:gd name="connsiteX43" fmla="*/ 6957753 w 9041192"/>
              <a:gd name="connsiteY43" fmla="*/ 3737701 h 4201882"/>
              <a:gd name="connsiteX44" fmla="*/ 6596743 w 9041192"/>
              <a:gd name="connsiteY44" fmla="*/ 4042225 h 4201882"/>
              <a:gd name="connsiteX45" fmla="*/ 7218099 w 9041192"/>
              <a:gd name="connsiteY45" fmla="*/ 3627140 h 4201882"/>
              <a:gd name="connsiteX46" fmla="*/ 7032173 w 9041192"/>
              <a:gd name="connsiteY46" fmla="*/ 4158339 h 4201882"/>
              <a:gd name="connsiteX47" fmla="*/ 6306459 w 9041192"/>
              <a:gd name="connsiteY47" fmla="*/ 4129310 h 4201882"/>
              <a:gd name="connsiteX48" fmla="*/ 6071695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453447 w 9041192"/>
              <a:gd name="connsiteY42" fmla="*/ 3810273 h 4201882"/>
              <a:gd name="connsiteX43" fmla="*/ 6957753 w 9041192"/>
              <a:gd name="connsiteY43" fmla="*/ 3737701 h 4201882"/>
              <a:gd name="connsiteX44" fmla="*/ 6596743 w 9041192"/>
              <a:gd name="connsiteY44" fmla="*/ 4042225 h 4201882"/>
              <a:gd name="connsiteX45" fmla="*/ 7218099 w 9041192"/>
              <a:gd name="connsiteY45" fmla="*/ 3627140 h 4201882"/>
              <a:gd name="connsiteX46" fmla="*/ 7032173 w 9041192"/>
              <a:gd name="connsiteY46" fmla="*/ 4158339 h 4201882"/>
              <a:gd name="connsiteX47" fmla="*/ 6306459 w 9041192"/>
              <a:gd name="connsiteY47" fmla="*/ 4129310 h 4201882"/>
              <a:gd name="connsiteX48" fmla="*/ 6071695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453447 w 9041192"/>
              <a:gd name="connsiteY42" fmla="*/ 3810273 h 4201882"/>
              <a:gd name="connsiteX43" fmla="*/ 6957753 w 9041192"/>
              <a:gd name="connsiteY43" fmla="*/ 3737701 h 4201882"/>
              <a:gd name="connsiteX44" fmla="*/ 6596743 w 9041192"/>
              <a:gd name="connsiteY44" fmla="*/ 4042225 h 4201882"/>
              <a:gd name="connsiteX45" fmla="*/ 7218099 w 9041192"/>
              <a:gd name="connsiteY45" fmla="*/ 3627140 h 4201882"/>
              <a:gd name="connsiteX46" fmla="*/ 7032173 w 9041192"/>
              <a:gd name="connsiteY46" fmla="*/ 4158339 h 4201882"/>
              <a:gd name="connsiteX47" fmla="*/ 6306459 w 9041192"/>
              <a:gd name="connsiteY47" fmla="*/ 4129310 h 4201882"/>
              <a:gd name="connsiteX48" fmla="*/ 6071695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453447 w 9041192"/>
              <a:gd name="connsiteY42" fmla="*/ 3810273 h 4201882"/>
              <a:gd name="connsiteX43" fmla="*/ 6957753 w 9041192"/>
              <a:gd name="connsiteY43" fmla="*/ 3737701 h 4201882"/>
              <a:gd name="connsiteX44" fmla="*/ 6596743 w 9041192"/>
              <a:gd name="connsiteY44" fmla="*/ 4042225 h 4201882"/>
              <a:gd name="connsiteX45" fmla="*/ 7218099 w 9041192"/>
              <a:gd name="connsiteY45" fmla="*/ 3627140 h 4201882"/>
              <a:gd name="connsiteX46" fmla="*/ 7032173 w 9041192"/>
              <a:gd name="connsiteY46" fmla="*/ 4158339 h 4201882"/>
              <a:gd name="connsiteX47" fmla="*/ 6306459 w 9041192"/>
              <a:gd name="connsiteY47" fmla="*/ 4129310 h 4201882"/>
              <a:gd name="connsiteX48" fmla="*/ 6071695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453447 w 9041192"/>
              <a:gd name="connsiteY42" fmla="*/ 3810273 h 4201882"/>
              <a:gd name="connsiteX43" fmla="*/ 6957753 w 9041192"/>
              <a:gd name="connsiteY43" fmla="*/ 3737701 h 4201882"/>
              <a:gd name="connsiteX44" fmla="*/ 6596743 w 9041192"/>
              <a:gd name="connsiteY44" fmla="*/ 4042225 h 4201882"/>
              <a:gd name="connsiteX45" fmla="*/ 7218099 w 9041192"/>
              <a:gd name="connsiteY45" fmla="*/ 3627140 h 4201882"/>
              <a:gd name="connsiteX46" fmla="*/ 7032173 w 9041192"/>
              <a:gd name="connsiteY46" fmla="*/ 4158339 h 4201882"/>
              <a:gd name="connsiteX47" fmla="*/ 6306459 w 9041192"/>
              <a:gd name="connsiteY47" fmla="*/ 4129310 h 4201882"/>
              <a:gd name="connsiteX48" fmla="*/ 6071695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453447 w 9041192"/>
              <a:gd name="connsiteY42" fmla="*/ 3810273 h 4201882"/>
              <a:gd name="connsiteX43" fmla="*/ 6957753 w 9041192"/>
              <a:gd name="connsiteY43" fmla="*/ 3737701 h 4201882"/>
              <a:gd name="connsiteX44" fmla="*/ 6596743 w 9041192"/>
              <a:gd name="connsiteY44" fmla="*/ 4042225 h 4201882"/>
              <a:gd name="connsiteX45" fmla="*/ 7218099 w 9041192"/>
              <a:gd name="connsiteY45" fmla="*/ 3627140 h 4201882"/>
              <a:gd name="connsiteX46" fmla="*/ 7032173 w 9041192"/>
              <a:gd name="connsiteY46" fmla="*/ 4158339 h 4201882"/>
              <a:gd name="connsiteX47" fmla="*/ 6306459 w 9041192"/>
              <a:gd name="connsiteY47" fmla="*/ 4129310 h 4201882"/>
              <a:gd name="connsiteX48" fmla="*/ 6071695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453447 w 9041192"/>
              <a:gd name="connsiteY42" fmla="*/ 3810273 h 4201882"/>
              <a:gd name="connsiteX43" fmla="*/ 6957753 w 9041192"/>
              <a:gd name="connsiteY43" fmla="*/ 3737701 h 4201882"/>
              <a:gd name="connsiteX44" fmla="*/ 6596743 w 9041192"/>
              <a:gd name="connsiteY44" fmla="*/ 4042225 h 4201882"/>
              <a:gd name="connsiteX45" fmla="*/ 7218099 w 9041192"/>
              <a:gd name="connsiteY45" fmla="*/ 3627140 h 4201882"/>
              <a:gd name="connsiteX46" fmla="*/ 7032173 w 9041192"/>
              <a:gd name="connsiteY46" fmla="*/ 4158339 h 4201882"/>
              <a:gd name="connsiteX47" fmla="*/ 6306459 w 9041192"/>
              <a:gd name="connsiteY47" fmla="*/ 4129310 h 4201882"/>
              <a:gd name="connsiteX48" fmla="*/ 6071695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453447 w 9041192"/>
              <a:gd name="connsiteY42" fmla="*/ 3810273 h 4201882"/>
              <a:gd name="connsiteX43" fmla="*/ 6957753 w 9041192"/>
              <a:gd name="connsiteY43" fmla="*/ 3737701 h 4201882"/>
              <a:gd name="connsiteX44" fmla="*/ 6596743 w 9041192"/>
              <a:gd name="connsiteY44" fmla="*/ 4042225 h 4201882"/>
              <a:gd name="connsiteX45" fmla="*/ 7218099 w 9041192"/>
              <a:gd name="connsiteY45" fmla="*/ 3627140 h 4201882"/>
              <a:gd name="connsiteX46" fmla="*/ 7022648 w 9041192"/>
              <a:gd name="connsiteY46" fmla="*/ 4101189 h 4201882"/>
              <a:gd name="connsiteX47" fmla="*/ 6306459 w 9041192"/>
              <a:gd name="connsiteY47" fmla="*/ 4129310 h 4201882"/>
              <a:gd name="connsiteX48" fmla="*/ 6071695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453447 w 9041192"/>
              <a:gd name="connsiteY42" fmla="*/ 3810273 h 4201882"/>
              <a:gd name="connsiteX43" fmla="*/ 6957753 w 9041192"/>
              <a:gd name="connsiteY43" fmla="*/ 3737701 h 4201882"/>
              <a:gd name="connsiteX44" fmla="*/ 6596743 w 9041192"/>
              <a:gd name="connsiteY44" fmla="*/ 4042225 h 4201882"/>
              <a:gd name="connsiteX45" fmla="*/ 7218099 w 9041192"/>
              <a:gd name="connsiteY45" fmla="*/ 3627140 h 4201882"/>
              <a:gd name="connsiteX46" fmla="*/ 7013123 w 9041192"/>
              <a:gd name="connsiteY46" fmla="*/ 4129764 h 4201882"/>
              <a:gd name="connsiteX47" fmla="*/ 6306459 w 9041192"/>
              <a:gd name="connsiteY47" fmla="*/ 4129310 h 4201882"/>
              <a:gd name="connsiteX48" fmla="*/ 6071695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453447 w 9041192"/>
              <a:gd name="connsiteY42" fmla="*/ 3810273 h 4201882"/>
              <a:gd name="connsiteX43" fmla="*/ 6957753 w 9041192"/>
              <a:gd name="connsiteY43" fmla="*/ 3737701 h 4201882"/>
              <a:gd name="connsiteX44" fmla="*/ 6596743 w 9041192"/>
              <a:gd name="connsiteY44" fmla="*/ 4042225 h 4201882"/>
              <a:gd name="connsiteX45" fmla="*/ 7218099 w 9041192"/>
              <a:gd name="connsiteY45" fmla="*/ 3627140 h 4201882"/>
              <a:gd name="connsiteX46" fmla="*/ 7013123 w 9041192"/>
              <a:gd name="connsiteY46" fmla="*/ 4129764 h 4201882"/>
              <a:gd name="connsiteX47" fmla="*/ 6306459 w 9041192"/>
              <a:gd name="connsiteY47" fmla="*/ 4129310 h 4201882"/>
              <a:gd name="connsiteX48" fmla="*/ 6071695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291522 w 9041192"/>
              <a:gd name="connsiteY42" fmla="*/ 3657873 h 4201882"/>
              <a:gd name="connsiteX43" fmla="*/ 6957753 w 9041192"/>
              <a:gd name="connsiteY43" fmla="*/ 3737701 h 4201882"/>
              <a:gd name="connsiteX44" fmla="*/ 6596743 w 9041192"/>
              <a:gd name="connsiteY44" fmla="*/ 4042225 h 4201882"/>
              <a:gd name="connsiteX45" fmla="*/ 7218099 w 9041192"/>
              <a:gd name="connsiteY45" fmla="*/ 3627140 h 4201882"/>
              <a:gd name="connsiteX46" fmla="*/ 7013123 w 9041192"/>
              <a:gd name="connsiteY46" fmla="*/ 4129764 h 4201882"/>
              <a:gd name="connsiteX47" fmla="*/ 6306459 w 9041192"/>
              <a:gd name="connsiteY47" fmla="*/ 4129310 h 4201882"/>
              <a:gd name="connsiteX48" fmla="*/ 6071695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291522 w 9041192"/>
              <a:gd name="connsiteY42" fmla="*/ 3657873 h 4201882"/>
              <a:gd name="connsiteX43" fmla="*/ 6986328 w 9041192"/>
              <a:gd name="connsiteY43" fmla="*/ 3671026 h 4201882"/>
              <a:gd name="connsiteX44" fmla="*/ 6596743 w 9041192"/>
              <a:gd name="connsiteY44" fmla="*/ 4042225 h 4201882"/>
              <a:gd name="connsiteX45" fmla="*/ 7218099 w 9041192"/>
              <a:gd name="connsiteY45" fmla="*/ 3627140 h 4201882"/>
              <a:gd name="connsiteX46" fmla="*/ 7013123 w 9041192"/>
              <a:gd name="connsiteY46" fmla="*/ 4129764 h 4201882"/>
              <a:gd name="connsiteX47" fmla="*/ 6306459 w 9041192"/>
              <a:gd name="connsiteY47" fmla="*/ 4129310 h 4201882"/>
              <a:gd name="connsiteX48" fmla="*/ 6071695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291522 w 9041192"/>
              <a:gd name="connsiteY42" fmla="*/ 3657873 h 4201882"/>
              <a:gd name="connsiteX43" fmla="*/ 6986328 w 9041192"/>
              <a:gd name="connsiteY43" fmla="*/ 3671026 h 4201882"/>
              <a:gd name="connsiteX44" fmla="*/ 6596743 w 9041192"/>
              <a:gd name="connsiteY44" fmla="*/ 4042225 h 4201882"/>
              <a:gd name="connsiteX45" fmla="*/ 7218099 w 9041192"/>
              <a:gd name="connsiteY45" fmla="*/ 3627140 h 4201882"/>
              <a:gd name="connsiteX46" fmla="*/ 7013123 w 9041192"/>
              <a:gd name="connsiteY46" fmla="*/ 4129764 h 4201882"/>
              <a:gd name="connsiteX47" fmla="*/ 6306459 w 9041192"/>
              <a:gd name="connsiteY47" fmla="*/ 4129310 h 4201882"/>
              <a:gd name="connsiteX48" fmla="*/ 6071695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291522 w 9041192"/>
              <a:gd name="connsiteY42" fmla="*/ 3657873 h 4201882"/>
              <a:gd name="connsiteX43" fmla="*/ 6986328 w 9041192"/>
              <a:gd name="connsiteY43" fmla="*/ 3671026 h 4201882"/>
              <a:gd name="connsiteX44" fmla="*/ 6596743 w 9041192"/>
              <a:gd name="connsiteY44" fmla="*/ 4042225 h 4201882"/>
              <a:gd name="connsiteX45" fmla="*/ 7218099 w 9041192"/>
              <a:gd name="connsiteY45" fmla="*/ 3627140 h 4201882"/>
              <a:gd name="connsiteX46" fmla="*/ 7013123 w 9041192"/>
              <a:gd name="connsiteY46" fmla="*/ 4129764 h 4201882"/>
              <a:gd name="connsiteX47" fmla="*/ 6392184 w 9041192"/>
              <a:gd name="connsiteY47" fmla="*/ 4191222 h 4201882"/>
              <a:gd name="connsiteX48" fmla="*/ 6071695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291522 w 9041192"/>
              <a:gd name="connsiteY42" fmla="*/ 3657873 h 4201882"/>
              <a:gd name="connsiteX43" fmla="*/ 6986328 w 9041192"/>
              <a:gd name="connsiteY43" fmla="*/ 3671026 h 4201882"/>
              <a:gd name="connsiteX44" fmla="*/ 6596743 w 9041192"/>
              <a:gd name="connsiteY44" fmla="*/ 4042225 h 4201882"/>
              <a:gd name="connsiteX45" fmla="*/ 7218099 w 9041192"/>
              <a:gd name="connsiteY45" fmla="*/ 3627140 h 4201882"/>
              <a:gd name="connsiteX46" fmla="*/ 6857549 w 9041192"/>
              <a:gd name="connsiteY46" fmla="*/ 4191222 h 4201882"/>
              <a:gd name="connsiteX47" fmla="*/ 6392184 w 9041192"/>
              <a:gd name="connsiteY47" fmla="*/ 4191222 h 4201882"/>
              <a:gd name="connsiteX48" fmla="*/ 6071695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291522 w 9041192"/>
              <a:gd name="connsiteY42" fmla="*/ 3657873 h 4201882"/>
              <a:gd name="connsiteX43" fmla="*/ 6986328 w 9041192"/>
              <a:gd name="connsiteY43" fmla="*/ 3671026 h 4201882"/>
              <a:gd name="connsiteX44" fmla="*/ 6596743 w 9041192"/>
              <a:gd name="connsiteY44" fmla="*/ 4042225 h 4201882"/>
              <a:gd name="connsiteX45" fmla="*/ 7218099 w 9041192"/>
              <a:gd name="connsiteY45" fmla="*/ 3627140 h 4201882"/>
              <a:gd name="connsiteX46" fmla="*/ 6857549 w 9041192"/>
              <a:gd name="connsiteY46" fmla="*/ 4191222 h 4201882"/>
              <a:gd name="connsiteX47" fmla="*/ 6392184 w 9041192"/>
              <a:gd name="connsiteY47" fmla="*/ 4191222 h 4201882"/>
              <a:gd name="connsiteX48" fmla="*/ 6071695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986328 w 9041192"/>
              <a:gd name="connsiteY41" fmla="*/ 3671026 h 4201882"/>
              <a:gd name="connsiteX42" fmla="*/ 6291522 w 9041192"/>
              <a:gd name="connsiteY42" fmla="*/ 3657873 h 4201882"/>
              <a:gd name="connsiteX43" fmla="*/ 6986328 w 9041192"/>
              <a:gd name="connsiteY43" fmla="*/ 3671026 h 4201882"/>
              <a:gd name="connsiteX44" fmla="*/ 7218099 w 9041192"/>
              <a:gd name="connsiteY44" fmla="*/ 3627140 h 4201882"/>
              <a:gd name="connsiteX45" fmla="*/ 6857549 w 9041192"/>
              <a:gd name="connsiteY45" fmla="*/ 4191222 h 4201882"/>
              <a:gd name="connsiteX46" fmla="*/ 6392184 w 9041192"/>
              <a:gd name="connsiteY46" fmla="*/ 4191222 h 4201882"/>
              <a:gd name="connsiteX47" fmla="*/ 6071695 w 9041192"/>
              <a:gd name="connsiteY47" fmla="*/ 3662961 h 4201882"/>
              <a:gd name="connsiteX48" fmla="*/ 7218099 w 9041192"/>
              <a:gd name="connsiteY48" fmla="*/ 3627140 h 4201882"/>
              <a:gd name="connsiteX49" fmla="*/ 319315 w 9041192"/>
              <a:gd name="connsiteY49" fmla="*/ 3294739 h 4201882"/>
              <a:gd name="connsiteX50" fmla="*/ 1952174 w 9041192"/>
              <a:gd name="connsiteY50" fmla="*/ 68941 h 4201882"/>
              <a:gd name="connsiteX51" fmla="*/ 8229601 w 9041192"/>
              <a:gd name="connsiteY51" fmla="*/ 0 h 4201882"/>
              <a:gd name="connsiteX52" fmla="*/ 8773887 w 9041192"/>
              <a:gd name="connsiteY52" fmla="*/ 616852 h 4201882"/>
              <a:gd name="connsiteX53" fmla="*/ 8831945 w 9041192"/>
              <a:gd name="connsiteY53" fmla="*/ 3156852 h 4201882"/>
              <a:gd name="connsiteX54" fmla="*/ 8744857 w 9041192"/>
              <a:gd name="connsiteY54" fmla="*/ 3418109 h 4201882"/>
              <a:gd name="connsiteX55" fmla="*/ 7438574 w 9041192"/>
              <a:gd name="connsiteY55" fmla="*/ 3418110 h 4201882"/>
              <a:gd name="connsiteX56" fmla="*/ 5798459 w 9041192"/>
              <a:gd name="connsiteY56" fmla="*/ 3577767 h 4201882"/>
              <a:gd name="connsiteX57" fmla="*/ 2735943 w 9041192"/>
              <a:gd name="connsiteY57" fmla="*/ 3606795 h 4201882"/>
              <a:gd name="connsiteX58" fmla="*/ 1023259 w 9041192"/>
              <a:gd name="connsiteY58" fmla="*/ 3621309 h 4201882"/>
              <a:gd name="connsiteX59" fmla="*/ 384627 w 9041192"/>
              <a:gd name="connsiteY59" fmla="*/ 3603169 h 4201882"/>
              <a:gd name="connsiteX60" fmla="*/ 319315 w 9041192"/>
              <a:gd name="connsiteY60"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986328 w 9041192"/>
              <a:gd name="connsiteY41" fmla="*/ 3671026 h 4201882"/>
              <a:gd name="connsiteX42" fmla="*/ 6291522 w 9041192"/>
              <a:gd name="connsiteY42" fmla="*/ 3657873 h 4201882"/>
              <a:gd name="connsiteX43" fmla="*/ 6986328 w 9041192"/>
              <a:gd name="connsiteY43" fmla="*/ 3671026 h 4201882"/>
              <a:gd name="connsiteX44" fmla="*/ 7218099 w 9041192"/>
              <a:gd name="connsiteY44" fmla="*/ 3627140 h 4201882"/>
              <a:gd name="connsiteX45" fmla="*/ 6857549 w 9041192"/>
              <a:gd name="connsiteY45" fmla="*/ 4191222 h 4201882"/>
              <a:gd name="connsiteX46" fmla="*/ 6392184 w 9041192"/>
              <a:gd name="connsiteY46" fmla="*/ 4191222 h 4201882"/>
              <a:gd name="connsiteX47" fmla="*/ 6071695 w 9041192"/>
              <a:gd name="connsiteY47" fmla="*/ 3662961 h 4201882"/>
              <a:gd name="connsiteX48" fmla="*/ 7218099 w 9041192"/>
              <a:gd name="connsiteY48" fmla="*/ 3627140 h 4201882"/>
              <a:gd name="connsiteX49" fmla="*/ 319315 w 9041192"/>
              <a:gd name="connsiteY49" fmla="*/ 3294739 h 4201882"/>
              <a:gd name="connsiteX50" fmla="*/ 1952174 w 9041192"/>
              <a:gd name="connsiteY50" fmla="*/ 68941 h 4201882"/>
              <a:gd name="connsiteX51" fmla="*/ 8229601 w 9041192"/>
              <a:gd name="connsiteY51" fmla="*/ 0 h 4201882"/>
              <a:gd name="connsiteX52" fmla="*/ 8773887 w 9041192"/>
              <a:gd name="connsiteY52" fmla="*/ 616852 h 4201882"/>
              <a:gd name="connsiteX53" fmla="*/ 8831945 w 9041192"/>
              <a:gd name="connsiteY53" fmla="*/ 3156852 h 4201882"/>
              <a:gd name="connsiteX54" fmla="*/ 8744857 w 9041192"/>
              <a:gd name="connsiteY54" fmla="*/ 3418109 h 4201882"/>
              <a:gd name="connsiteX55" fmla="*/ 7438574 w 9041192"/>
              <a:gd name="connsiteY55" fmla="*/ 3418110 h 4201882"/>
              <a:gd name="connsiteX56" fmla="*/ 5798459 w 9041192"/>
              <a:gd name="connsiteY56" fmla="*/ 3577767 h 4201882"/>
              <a:gd name="connsiteX57" fmla="*/ 2735943 w 9041192"/>
              <a:gd name="connsiteY57" fmla="*/ 3606795 h 4201882"/>
              <a:gd name="connsiteX58" fmla="*/ 1023259 w 9041192"/>
              <a:gd name="connsiteY58" fmla="*/ 3621309 h 4201882"/>
              <a:gd name="connsiteX59" fmla="*/ 384627 w 9041192"/>
              <a:gd name="connsiteY59" fmla="*/ 3603169 h 4201882"/>
              <a:gd name="connsiteX60" fmla="*/ 319315 w 9041192"/>
              <a:gd name="connsiteY60"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986328 w 9041192"/>
              <a:gd name="connsiteY41" fmla="*/ 3671026 h 4201882"/>
              <a:gd name="connsiteX42" fmla="*/ 6291522 w 9041192"/>
              <a:gd name="connsiteY42" fmla="*/ 3657873 h 4201882"/>
              <a:gd name="connsiteX43" fmla="*/ 6986328 w 9041192"/>
              <a:gd name="connsiteY43" fmla="*/ 3671026 h 4201882"/>
              <a:gd name="connsiteX44" fmla="*/ 7218099 w 9041192"/>
              <a:gd name="connsiteY44" fmla="*/ 3627140 h 4201882"/>
              <a:gd name="connsiteX45" fmla="*/ 6857549 w 9041192"/>
              <a:gd name="connsiteY45" fmla="*/ 4191222 h 4201882"/>
              <a:gd name="connsiteX46" fmla="*/ 6392184 w 9041192"/>
              <a:gd name="connsiteY46" fmla="*/ 4191222 h 4201882"/>
              <a:gd name="connsiteX47" fmla="*/ 6071695 w 9041192"/>
              <a:gd name="connsiteY47" fmla="*/ 3662961 h 4201882"/>
              <a:gd name="connsiteX48" fmla="*/ 7218099 w 9041192"/>
              <a:gd name="connsiteY48" fmla="*/ 3627140 h 4201882"/>
              <a:gd name="connsiteX49" fmla="*/ 319315 w 9041192"/>
              <a:gd name="connsiteY49" fmla="*/ 3294739 h 4201882"/>
              <a:gd name="connsiteX50" fmla="*/ 1952174 w 9041192"/>
              <a:gd name="connsiteY50" fmla="*/ 68941 h 4201882"/>
              <a:gd name="connsiteX51" fmla="*/ 8229601 w 9041192"/>
              <a:gd name="connsiteY51" fmla="*/ 0 h 4201882"/>
              <a:gd name="connsiteX52" fmla="*/ 8773887 w 9041192"/>
              <a:gd name="connsiteY52" fmla="*/ 616852 h 4201882"/>
              <a:gd name="connsiteX53" fmla="*/ 8831945 w 9041192"/>
              <a:gd name="connsiteY53" fmla="*/ 3156852 h 4201882"/>
              <a:gd name="connsiteX54" fmla="*/ 8744857 w 9041192"/>
              <a:gd name="connsiteY54" fmla="*/ 3418109 h 4201882"/>
              <a:gd name="connsiteX55" fmla="*/ 7438574 w 9041192"/>
              <a:gd name="connsiteY55" fmla="*/ 3418110 h 4201882"/>
              <a:gd name="connsiteX56" fmla="*/ 5798459 w 9041192"/>
              <a:gd name="connsiteY56" fmla="*/ 3577767 h 4201882"/>
              <a:gd name="connsiteX57" fmla="*/ 2735943 w 9041192"/>
              <a:gd name="connsiteY57" fmla="*/ 3606795 h 4201882"/>
              <a:gd name="connsiteX58" fmla="*/ 1023259 w 9041192"/>
              <a:gd name="connsiteY58" fmla="*/ 3621309 h 4201882"/>
              <a:gd name="connsiteX59" fmla="*/ 384627 w 9041192"/>
              <a:gd name="connsiteY59" fmla="*/ 3603169 h 4201882"/>
              <a:gd name="connsiteX60" fmla="*/ 319315 w 9041192"/>
              <a:gd name="connsiteY60"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986328 w 9041192"/>
              <a:gd name="connsiteY41" fmla="*/ 3671026 h 4201882"/>
              <a:gd name="connsiteX42" fmla="*/ 6291522 w 9041192"/>
              <a:gd name="connsiteY42" fmla="*/ 3657873 h 4201882"/>
              <a:gd name="connsiteX43" fmla="*/ 6986328 w 9041192"/>
              <a:gd name="connsiteY43" fmla="*/ 3671026 h 4201882"/>
              <a:gd name="connsiteX44" fmla="*/ 7218099 w 9041192"/>
              <a:gd name="connsiteY44" fmla="*/ 3627140 h 4201882"/>
              <a:gd name="connsiteX45" fmla="*/ 6857549 w 9041192"/>
              <a:gd name="connsiteY45" fmla="*/ 4191222 h 4201882"/>
              <a:gd name="connsiteX46" fmla="*/ 6392184 w 9041192"/>
              <a:gd name="connsiteY46" fmla="*/ 4191222 h 4201882"/>
              <a:gd name="connsiteX47" fmla="*/ 6071695 w 9041192"/>
              <a:gd name="connsiteY47" fmla="*/ 3662961 h 4201882"/>
              <a:gd name="connsiteX48" fmla="*/ 7218099 w 9041192"/>
              <a:gd name="connsiteY48" fmla="*/ 3627140 h 4201882"/>
              <a:gd name="connsiteX49" fmla="*/ 319315 w 9041192"/>
              <a:gd name="connsiteY49" fmla="*/ 3294739 h 4201882"/>
              <a:gd name="connsiteX50" fmla="*/ 1952174 w 9041192"/>
              <a:gd name="connsiteY50" fmla="*/ 68941 h 4201882"/>
              <a:gd name="connsiteX51" fmla="*/ 8229601 w 9041192"/>
              <a:gd name="connsiteY51" fmla="*/ 0 h 4201882"/>
              <a:gd name="connsiteX52" fmla="*/ 8773887 w 9041192"/>
              <a:gd name="connsiteY52" fmla="*/ 616852 h 4201882"/>
              <a:gd name="connsiteX53" fmla="*/ 8831945 w 9041192"/>
              <a:gd name="connsiteY53" fmla="*/ 3156852 h 4201882"/>
              <a:gd name="connsiteX54" fmla="*/ 8744857 w 9041192"/>
              <a:gd name="connsiteY54" fmla="*/ 3418109 h 4201882"/>
              <a:gd name="connsiteX55" fmla="*/ 7438574 w 9041192"/>
              <a:gd name="connsiteY55" fmla="*/ 3418110 h 4201882"/>
              <a:gd name="connsiteX56" fmla="*/ 5798459 w 9041192"/>
              <a:gd name="connsiteY56" fmla="*/ 3577767 h 4201882"/>
              <a:gd name="connsiteX57" fmla="*/ 2735943 w 9041192"/>
              <a:gd name="connsiteY57" fmla="*/ 3606795 h 4201882"/>
              <a:gd name="connsiteX58" fmla="*/ 1023259 w 9041192"/>
              <a:gd name="connsiteY58" fmla="*/ 3621309 h 4201882"/>
              <a:gd name="connsiteX59" fmla="*/ 384627 w 9041192"/>
              <a:gd name="connsiteY59" fmla="*/ 3603169 h 4201882"/>
              <a:gd name="connsiteX60" fmla="*/ 319315 w 9041192"/>
              <a:gd name="connsiteY60"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986328 w 9041192"/>
              <a:gd name="connsiteY41" fmla="*/ 3671026 h 4201882"/>
              <a:gd name="connsiteX42" fmla="*/ 6291522 w 9041192"/>
              <a:gd name="connsiteY42" fmla="*/ 3657873 h 4201882"/>
              <a:gd name="connsiteX43" fmla="*/ 6986328 w 9041192"/>
              <a:gd name="connsiteY43" fmla="*/ 3671026 h 4201882"/>
              <a:gd name="connsiteX44" fmla="*/ 7218099 w 9041192"/>
              <a:gd name="connsiteY44" fmla="*/ 3627140 h 4201882"/>
              <a:gd name="connsiteX45" fmla="*/ 6857549 w 9041192"/>
              <a:gd name="connsiteY45" fmla="*/ 4191222 h 4201882"/>
              <a:gd name="connsiteX46" fmla="*/ 6392184 w 9041192"/>
              <a:gd name="connsiteY46" fmla="*/ 4191222 h 4201882"/>
              <a:gd name="connsiteX47" fmla="*/ 6071695 w 9041192"/>
              <a:gd name="connsiteY47" fmla="*/ 3662961 h 4201882"/>
              <a:gd name="connsiteX48" fmla="*/ 7218099 w 9041192"/>
              <a:gd name="connsiteY48" fmla="*/ 3627140 h 4201882"/>
              <a:gd name="connsiteX49" fmla="*/ 319315 w 9041192"/>
              <a:gd name="connsiteY49" fmla="*/ 3294739 h 4201882"/>
              <a:gd name="connsiteX50" fmla="*/ 1952174 w 9041192"/>
              <a:gd name="connsiteY50" fmla="*/ 68941 h 4201882"/>
              <a:gd name="connsiteX51" fmla="*/ 8229601 w 9041192"/>
              <a:gd name="connsiteY51" fmla="*/ 0 h 4201882"/>
              <a:gd name="connsiteX52" fmla="*/ 8773887 w 9041192"/>
              <a:gd name="connsiteY52" fmla="*/ 616852 h 4201882"/>
              <a:gd name="connsiteX53" fmla="*/ 8831945 w 9041192"/>
              <a:gd name="connsiteY53" fmla="*/ 3156852 h 4201882"/>
              <a:gd name="connsiteX54" fmla="*/ 8744857 w 9041192"/>
              <a:gd name="connsiteY54" fmla="*/ 3418109 h 4201882"/>
              <a:gd name="connsiteX55" fmla="*/ 7438574 w 9041192"/>
              <a:gd name="connsiteY55" fmla="*/ 3418110 h 4201882"/>
              <a:gd name="connsiteX56" fmla="*/ 5798459 w 9041192"/>
              <a:gd name="connsiteY56" fmla="*/ 3577767 h 4201882"/>
              <a:gd name="connsiteX57" fmla="*/ 2735943 w 9041192"/>
              <a:gd name="connsiteY57" fmla="*/ 3606795 h 4201882"/>
              <a:gd name="connsiteX58" fmla="*/ 1023259 w 9041192"/>
              <a:gd name="connsiteY58" fmla="*/ 3621309 h 4201882"/>
              <a:gd name="connsiteX59" fmla="*/ 384627 w 9041192"/>
              <a:gd name="connsiteY59" fmla="*/ 3603169 h 4201882"/>
              <a:gd name="connsiteX60" fmla="*/ 319315 w 9041192"/>
              <a:gd name="connsiteY60"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986328 w 9041192"/>
              <a:gd name="connsiteY41" fmla="*/ 3671026 h 4201882"/>
              <a:gd name="connsiteX42" fmla="*/ 6291522 w 9041192"/>
              <a:gd name="connsiteY42" fmla="*/ 3657873 h 4201882"/>
              <a:gd name="connsiteX43" fmla="*/ 6986328 w 9041192"/>
              <a:gd name="connsiteY43" fmla="*/ 3671026 h 4201882"/>
              <a:gd name="connsiteX44" fmla="*/ 7218099 w 9041192"/>
              <a:gd name="connsiteY44" fmla="*/ 3627140 h 4201882"/>
              <a:gd name="connsiteX45" fmla="*/ 6857549 w 9041192"/>
              <a:gd name="connsiteY45" fmla="*/ 4191222 h 4201882"/>
              <a:gd name="connsiteX46" fmla="*/ 6392184 w 9041192"/>
              <a:gd name="connsiteY46" fmla="*/ 4191222 h 4201882"/>
              <a:gd name="connsiteX47" fmla="*/ 6071695 w 9041192"/>
              <a:gd name="connsiteY47" fmla="*/ 3662961 h 4201882"/>
              <a:gd name="connsiteX48" fmla="*/ 7218099 w 9041192"/>
              <a:gd name="connsiteY48" fmla="*/ 3627140 h 4201882"/>
              <a:gd name="connsiteX49" fmla="*/ 319315 w 9041192"/>
              <a:gd name="connsiteY49" fmla="*/ 3294739 h 4201882"/>
              <a:gd name="connsiteX50" fmla="*/ 1952174 w 9041192"/>
              <a:gd name="connsiteY50" fmla="*/ 68941 h 4201882"/>
              <a:gd name="connsiteX51" fmla="*/ 8229601 w 9041192"/>
              <a:gd name="connsiteY51" fmla="*/ 0 h 4201882"/>
              <a:gd name="connsiteX52" fmla="*/ 8773887 w 9041192"/>
              <a:gd name="connsiteY52" fmla="*/ 616852 h 4201882"/>
              <a:gd name="connsiteX53" fmla="*/ 8831945 w 9041192"/>
              <a:gd name="connsiteY53" fmla="*/ 3156852 h 4201882"/>
              <a:gd name="connsiteX54" fmla="*/ 8744857 w 9041192"/>
              <a:gd name="connsiteY54" fmla="*/ 3418109 h 4201882"/>
              <a:gd name="connsiteX55" fmla="*/ 7438574 w 9041192"/>
              <a:gd name="connsiteY55" fmla="*/ 3418110 h 4201882"/>
              <a:gd name="connsiteX56" fmla="*/ 5798459 w 9041192"/>
              <a:gd name="connsiteY56" fmla="*/ 3577767 h 4201882"/>
              <a:gd name="connsiteX57" fmla="*/ 2735943 w 9041192"/>
              <a:gd name="connsiteY57" fmla="*/ 3606795 h 4201882"/>
              <a:gd name="connsiteX58" fmla="*/ 1023259 w 9041192"/>
              <a:gd name="connsiteY58" fmla="*/ 3621309 h 4201882"/>
              <a:gd name="connsiteX59" fmla="*/ 384627 w 9041192"/>
              <a:gd name="connsiteY59" fmla="*/ 3603169 h 4201882"/>
              <a:gd name="connsiteX60" fmla="*/ 319315 w 9041192"/>
              <a:gd name="connsiteY60"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986328 w 9041192"/>
              <a:gd name="connsiteY41" fmla="*/ 3671026 h 4201882"/>
              <a:gd name="connsiteX42" fmla="*/ 6291522 w 9041192"/>
              <a:gd name="connsiteY42" fmla="*/ 3657873 h 4201882"/>
              <a:gd name="connsiteX43" fmla="*/ 6986328 w 9041192"/>
              <a:gd name="connsiteY43" fmla="*/ 3671026 h 4201882"/>
              <a:gd name="connsiteX44" fmla="*/ 7218099 w 9041192"/>
              <a:gd name="connsiteY44" fmla="*/ 3627140 h 4201882"/>
              <a:gd name="connsiteX45" fmla="*/ 6857549 w 9041192"/>
              <a:gd name="connsiteY45" fmla="*/ 4191222 h 4201882"/>
              <a:gd name="connsiteX46" fmla="*/ 6392184 w 9041192"/>
              <a:gd name="connsiteY46" fmla="*/ 4191222 h 4201882"/>
              <a:gd name="connsiteX47" fmla="*/ 6071695 w 9041192"/>
              <a:gd name="connsiteY47" fmla="*/ 3662961 h 4201882"/>
              <a:gd name="connsiteX48" fmla="*/ 7218099 w 9041192"/>
              <a:gd name="connsiteY48" fmla="*/ 3627140 h 4201882"/>
              <a:gd name="connsiteX49" fmla="*/ 319315 w 9041192"/>
              <a:gd name="connsiteY49" fmla="*/ 3294739 h 4201882"/>
              <a:gd name="connsiteX50" fmla="*/ 1952174 w 9041192"/>
              <a:gd name="connsiteY50" fmla="*/ 68941 h 4201882"/>
              <a:gd name="connsiteX51" fmla="*/ 8229601 w 9041192"/>
              <a:gd name="connsiteY51" fmla="*/ 0 h 4201882"/>
              <a:gd name="connsiteX52" fmla="*/ 8773887 w 9041192"/>
              <a:gd name="connsiteY52" fmla="*/ 616852 h 4201882"/>
              <a:gd name="connsiteX53" fmla="*/ 8831945 w 9041192"/>
              <a:gd name="connsiteY53" fmla="*/ 3156852 h 4201882"/>
              <a:gd name="connsiteX54" fmla="*/ 8744857 w 9041192"/>
              <a:gd name="connsiteY54" fmla="*/ 3418109 h 4201882"/>
              <a:gd name="connsiteX55" fmla="*/ 7438574 w 9041192"/>
              <a:gd name="connsiteY55" fmla="*/ 3418110 h 4201882"/>
              <a:gd name="connsiteX56" fmla="*/ 5798459 w 9041192"/>
              <a:gd name="connsiteY56" fmla="*/ 3577767 h 4201882"/>
              <a:gd name="connsiteX57" fmla="*/ 2735943 w 9041192"/>
              <a:gd name="connsiteY57" fmla="*/ 3606795 h 4201882"/>
              <a:gd name="connsiteX58" fmla="*/ 1023259 w 9041192"/>
              <a:gd name="connsiteY58" fmla="*/ 3621309 h 4201882"/>
              <a:gd name="connsiteX59" fmla="*/ 384627 w 9041192"/>
              <a:gd name="connsiteY59" fmla="*/ 3603169 h 4201882"/>
              <a:gd name="connsiteX60" fmla="*/ 319315 w 9041192"/>
              <a:gd name="connsiteY60"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986328 w 9041192"/>
              <a:gd name="connsiteY41" fmla="*/ 3671026 h 4201882"/>
              <a:gd name="connsiteX42" fmla="*/ 6291522 w 9041192"/>
              <a:gd name="connsiteY42" fmla="*/ 3657873 h 4201882"/>
              <a:gd name="connsiteX43" fmla="*/ 6986328 w 9041192"/>
              <a:gd name="connsiteY43" fmla="*/ 3671026 h 4201882"/>
              <a:gd name="connsiteX44" fmla="*/ 7218099 w 9041192"/>
              <a:gd name="connsiteY44" fmla="*/ 3627140 h 4201882"/>
              <a:gd name="connsiteX45" fmla="*/ 6857549 w 9041192"/>
              <a:gd name="connsiteY45" fmla="*/ 4191222 h 4201882"/>
              <a:gd name="connsiteX46" fmla="*/ 6392184 w 9041192"/>
              <a:gd name="connsiteY46" fmla="*/ 4191222 h 4201882"/>
              <a:gd name="connsiteX47" fmla="*/ 6071695 w 9041192"/>
              <a:gd name="connsiteY47" fmla="*/ 3662961 h 4201882"/>
              <a:gd name="connsiteX48" fmla="*/ 7218099 w 9041192"/>
              <a:gd name="connsiteY48" fmla="*/ 3627140 h 4201882"/>
              <a:gd name="connsiteX49" fmla="*/ 319315 w 9041192"/>
              <a:gd name="connsiteY49" fmla="*/ 3294739 h 4201882"/>
              <a:gd name="connsiteX50" fmla="*/ 1952174 w 9041192"/>
              <a:gd name="connsiteY50" fmla="*/ 68941 h 4201882"/>
              <a:gd name="connsiteX51" fmla="*/ 8229601 w 9041192"/>
              <a:gd name="connsiteY51" fmla="*/ 0 h 4201882"/>
              <a:gd name="connsiteX52" fmla="*/ 8773887 w 9041192"/>
              <a:gd name="connsiteY52" fmla="*/ 616852 h 4201882"/>
              <a:gd name="connsiteX53" fmla="*/ 8831945 w 9041192"/>
              <a:gd name="connsiteY53" fmla="*/ 3156852 h 4201882"/>
              <a:gd name="connsiteX54" fmla="*/ 8744857 w 9041192"/>
              <a:gd name="connsiteY54" fmla="*/ 3418109 h 4201882"/>
              <a:gd name="connsiteX55" fmla="*/ 7438574 w 9041192"/>
              <a:gd name="connsiteY55" fmla="*/ 3418110 h 4201882"/>
              <a:gd name="connsiteX56" fmla="*/ 5798459 w 9041192"/>
              <a:gd name="connsiteY56" fmla="*/ 3577767 h 4201882"/>
              <a:gd name="connsiteX57" fmla="*/ 2735943 w 9041192"/>
              <a:gd name="connsiteY57" fmla="*/ 3606795 h 4201882"/>
              <a:gd name="connsiteX58" fmla="*/ 1023259 w 9041192"/>
              <a:gd name="connsiteY58" fmla="*/ 3621309 h 4201882"/>
              <a:gd name="connsiteX59" fmla="*/ 384627 w 9041192"/>
              <a:gd name="connsiteY59" fmla="*/ 3603169 h 4201882"/>
              <a:gd name="connsiteX60" fmla="*/ 319315 w 9041192"/>
              <a:gd name="connsiteY60"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986328 w 9041192"/>
              <a:gd name="connsiteY41" fmla="*/ 3671026 h 4201882"/>
              <a:gd name="connsiteX42" fmla="*/ 6291522 w 9041192"/>
              <a:gd name="connsiteY42" fmla="*/ 3657873 h 4201882"/>
              <a:gd name="connsiteX43" fmla="*/ 6986328 w 9041192"/>
              <a:gd name="connsiteY43" fmla="*/ 3671026 h 4201882"/>
              <a:gd name="connsiteX44" fmla="*/ 7218099 w 9041192"/>
              <a:gd name="connsiteY44" fmla="*/ 3627140 h 4201882"/>
              <a:gd name="connsiteX45" fmla="*/ 6857549 w 9041192"/>
              <a:gd name="connsiteY45" fmla="*/ 4191222 h 4201882"/>
              <a:gd name="connsiteX46" fmla="*/ 6392184 w 9041192"/>
              <a:gd name="connsiteY46" fmla="*/ 4191222 h 4201882"/>
              <a:gd name="connsiteX47" fmla="*/ 6071695 w 9041192"/>
              <a:gd name="connsiteY47" fmla="*/ 3662961 h 4201882"/>
              <a:gd name="connsiteX48" fmla="*/ 7218099 w 9041192"/>
              <a:gd name="connsiteY48" fmla="*/ 3627140 h 4201882"/>
              <a:gd name="connsiteX49" fmla="*/ 319315 w 9041192"/>
              <a:gd name="connsiteY49" fmla="*/ 3294739 h 4201882"/>
              <a:gd name="connsiteX50" fmla="*/ 1952174 w 9041192"/>
              <a:gd name="connsiteY50" fmla="*/ 68941 h 4201882"/>
              <a:gd name="connsiteX51" fmla="*/ 8229601 w 9041192"/>
              <a:gd name="connsiteY51" fmla="*/ 0 h 4201882"/>
              <a:gd name="connsiteX52" fmla="*/ 8773887 w 9041192"/>
              <a:gd name="connsiteY52" fmla="*/ 616852 h 4201882"/>
              <a:gd name="connsiteX53" fmla="*/ 8831945 w 9041192"/>
              <a:gd name="connsiteY53" fmla="*/ 3156852 h 4201882"/>
              <a:gd name="connsiteX54" fmla="*/ 8744857 w 9041192"/>
              <a:gd name="connsiteY54" fmla="*/ 3418109 h 4201882"/>
              <a:gd name="connsiteX55" fmla="*/ 7438574 w 9041192"/>
              <a:gd name="connsiteY55" fmla="*/ 3418110 h 4201882"/>
              <a:gd name="connsiteX56" fmla="*/ 5798459 w 9041192"/>
              <a:gd name="connsiteY56" fmla="*/ 3577767 h 4201882"/>
              <a:gd name="connsiteX57" fmla="*/ 2735943 w 9041192"/>
              <a:gd name="connsiteY57" fmla="*/ 3606795 h 4201882"/>
              <a:gd name="connsiteX58" fmla="*/ 1023259 w 9041192"/>
              <a:gd name="connsiteY58" fmla="*/ 3621309 h 4201882"/>
              <a:gd name="connsiteX59" fmla="*/ 384627 w 9041192"/>
              <a:gd name="connsiteY59" fmla="*/ 3603169 h 4201882"/>
              <a:gd name="connsiteX60" fmla="*/ 319315 w 9041192"/>
              <a:gd name="connsiteY60"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986328 w 9041192"/>
              <a:gd name="connsiteY41" fmla="*/ 3671026 h 4201882"/>
              <a:gd name="connsiteX42" fmla="*/ 6291522 w 9041192"/>
              <a:gd name="connsiteY42" fmla="*/ 3657873 h 4201882"/>
              <a:gd name="connsiteX43" fmla="*/ 6986328 w 9041192"/>
              <a:gd name="connsiteY43" fmla="*/ 3671026 h 4201882"/>
              <a:gd name="connsiteX44" fmla="*/ 7218099 w 9041192"/>
              <a:gd name="connsiteY44" fmla="*/ 3627140 h 4201882"/>
              <a:gd name="connsiteX45" fmla="*/ 6857549 w 9041192"/>
              <a:gd name="connsiteY45" fmla="*/ 4191222 h 4201882"/>
              <a:gd name="connsiteX46" fmla="*/ 6392184 w 9041192"/>
              <a:gd name="connsiteY46" fmla="*/ 4191222 h 4201882"/>
              <a:gd name="connsiteX47" fmla="*/ 6071695 w 9041192"/>
              <a:gd name="connsiteY47" fmla="*/ 3662961 h 4201882"/>
              <a:gd name="connsiteX48" fmla="*/ 7218099 w 9041192"/>
              <a:gd name="connsiteY48" fmla="*/ 3627140 h 4201882"/>
              <a:gd name="connsiteX49" fmla="*/ 319315 w 9041192"/>
              <a:gd name="connsiteY49" fmla="*/ 3294739 h 4201882"/>
              <a:gd name="connsiteX50" fmla="*/ 1952174 w 9041192"/>
              <a:gd name="connsiteY50" fmla="*/ 68941 h 4201882"/>
              <a:gd name="connsiteX51" fmla="*/ 8229601 w 9041192"/>
              <a:gd name="connsiteY51" fmla="*/ 0 h 4201882"/>
              <a:gd name="connsiteX52" fmla="*/ 8773887 w 9041192"/>
              <a:gd name="connsiteY52" fmla="*/ 616852 h 4201882"/>
              <a:gd name="connsiteX53" fmla="*/ 8831945 w 9041192"/>
              <a:gd name="connsiteY53" fmla="*/ 3156852 h 4201882"/>
              <a:gd name="connsiteX54" fmla="*/ 8744857 w 9041192"/>
              <a:gd name="connsiteY54" fmla="*/ 3418109 h 4201882"/>
              <a:gd name="connsiteX55" fmla="*/ 7438574 w 9041192"/>
              <a:gd name="connsiteY55" fmla="*/ 3418110 h 4201882"/>
              <a:gd name="connsiteX56" fmla="*/ 5798459 w 9041192"/>
              <a:gd name="connsiteY56" fmla="*/ 3577767 h 4201882"/>
              <a:gd name="connsiteX57" fmla="*/ 2735943 w 9041192"/>
              <a:gd name="connsiteY57" fmla="*/ 3606795 h 4201882"/>
              <a:gd name="connsiteX58" fmla="*/ 1023259 w 9041192"/>
              <a:gd name="connsiteY58" fmla="*/ 3621309 h 4201882"/>
              <a:gd name="connsiteX59" fmla="*/ 384627 w 9041192"/>
              <a:gd name="connsiteY59" fmla="*/ 3603169 h 4201882"/>
              <a:gd name="connsiteX60" fmla="*/ 319315 w 9041192"/>
              <a:gd name="connsiteY60"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986328 w 9041192"/>
              <a:gd name="connsiteY41" fmla="*/ 3671026 h 4201882"/>
              <a:gd name="connsiteX42" fmla="*/ 6291522 w 9041192"/>
              <a:gd name="connsiteY42" fmla="*/ 3657873 h 4201882"/>
              <a:gd name="connsiteX43" fmla="*/ 6986328 w 9041192"/>
              <a:gd name="connsiteY43" fmla="*/ 3671026 h 4201882"/>
              <a:gd name="connsiteX44" fmla="*/ 7218099 w 9041192"/>
              <a:gd name="connsiteY44" fmla="*/ 3627140 h 4201882"/>
              <a:gd name="connsiteX45" fmla="*/ 6857549 w 9041192"/>
              <a:gd name="connsiteY45" fmla="*/ 4191222 h 4201882"/>
              <a:gd name="connsiteX46" fmla="*/ 6392184 w 9041192"/>
              <a:gd name="connsiteY46" fmla="*/ 4191222 h 4201882"/>
              <a:gd name="connsiteX47" fmla="*/ 6071695 w 9041192"/>
              <a:gd name="connsiteY47" fmla="*/ 3662961 h 4201882"/>
              <a:gd name="connsiteX48" fmla="*/ 7218099 w 9041192"/>
              <a:gd name="connsiteY48" fmla="*/ 3627140 h 4201882"/>
              <a:gd name="connsiteX49" fmla="*/ 319315 w 9041192"/>
              <a:gd name="connsiteY49" fmla="*/ 3294739 h 4201882"/>
              <a:gd name="connsiteX50" fmla="*/ 1952174 w 9041192"/>
              <a:gd name="connsiteY50" fmla="*/ 68941 h 4201882"/>
              <a:gd name="connsiteX51" fmla="*/ 8229601 w 9041192"/>
              <a:gd name="connsiteY51" fmla="*/ 0 h 4201882"/>
              <a:gd name="connsiteX52" fmla="*/ 8773887 w 9041192"/>
              <a:gd name="connsiteY52" fmla="*/ 616852 h 4201882"/>
              <a:gd name="connsiteX53" fmla="*/ 8831945 w 9041192"/>
              <a:gd name="connsiteY53" fmla="*/ 3156852 h 4201882"/>
              <a:gd name="connsiteX54" fmla="*/ 8744857 w 9041192"/>
              <a:gd name="connsiteY54" fmla="*/ 3418109 h 4201882"/>
              <a:gd name="connsiteX55" fmla="*/ 7438574 w 9041192"/>
              <a:gd name="connsiteY55" fmla="*/ 3418110 h 4201882"/>
              <a:gd name="connsiteX56" fmla="*/ 5798459 w 9041192"/>
              <a:gd name="connsiteY56" fmla="*/ 3577767 h 4201882"/>
              <a:gd name="connsiteX57" fmla="*/ 2735943 w 9041192"/>
              <a:gd name="connsiteY57" fmla="*/ 3606795 h 4201882"/>
              <a:gd name="connsiteX58" fmla="*/ 1023259 w 9041192"/>
              <a:gd name="connsiteY58" fmla="*/ 3621309 h 4201882"/>
              <a:gd name="connsiteX59" fmla="*/ 384627 w 9041192"/>
              <a:gd name="connsiteY59" fmla="*/ 3603169 h 4201882"/>
              <a:gd name="connsiteX60" fmla="*/ 319315 w 9041192"/>
              <a:gd name="connsiteY60"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986328 w 9041192"/>
              <a:gd name="connsiteY41" fmla="*/ 3671026 h 4201882"/>
              <a:gd name="connsiteX42" fmla="*/ 6291522 w 9041192"/>
              <a:gd name="connsiteY42" fmla="*/ 3657873 h 4201882"/>
              <a:gd name="connsiteX43" fmla="*/ 6986328 w 9041192"/>
              <a:gd name="connsiteY43" fmla="*/ 3671026 h 4201882"/>
              <a:gd name="connsiteX44" fmla="*/ 7218099 w 9041192"/>
              <a:gd name="connsiteY44" fmla="*/ 3627140 h 4201882"/>
              <a:gd name="connsiteX45" fmla="*/ 6857549 w 9041192"/>
              <a:gd name="connsiteY45" fmla="*/ 4191222 h 4201882"/>
              <a:gd name="connsiteX46" fmla="*/ 6392184 w 9041192"/>
              <a:gd name="connsiteY46" fmla="*/ 4191222 h 4201882"/>
              <a:gd name="connsiteX47" fmla="*/ 6071695 w 9041192"/>
              <a:gd name="connsiteY47" fmla="*/ 3662961 h 4201882"/>
              <a:gd name="connsiteX48" fmla="*/ 7218099 w 9041192"/>
              <a:gd name="connsiteY48" fmla="*/ 3627140 h 4201882"/>
              <a:gd name="connsiteX49" fmla="*/ 319315 w 9041192"/>
              <a:gd name="connsiteY49" fmla="*/ 3294739 h 4201882"/>
              <a:gd name="connsiteX50" fmla="*/ 1952174 w 9041192"/>
              <a:gd name="connsiteY50" fmla="*/ 68941 h 4201882"/>
              <a:gd name="connsiteX51" fmla="*/ 8229601 w 9041192"/>
              <a:gd name="connsiteY51" fmla="*/ 0 h 4201882"/>
              <a:gd name="connsiteX52" fmla="*/ 8773887 w 9041192"/>
              <a:gd name="connsiteY52" fmla="*/ 616852 h 4201882"/>
              <a:gd name="connsiteX53" fmla="*/ 8831945 w 9041192"/>
              <a:gd name="connsiteY53" fmla="*/ 3156852 h 4201882"/>
              <a:gd name="connsiteX54" fmla="*/ 8744857 w 9041192"/>
              <a:gd name="connsiteY54" fmla="*/ 3418109 h 4201882"/>
              <a:gd name="connsiteX55" fmla="*/ 7438574 w 9041192"/>
              <a:gd name="connsiteY55" fmla="*/ 3418110 h 4201882"/>
              <a:gd name="connsiteX56" fmla="*/ 5798459 w 9041192"/>
              <a:gd name="connsiteY56" fmla="*/ 3577767 h 4201882"/>
              <a:gd name="connsiteX57" fmla="*/ 2735943 w 9041192"/>
              <a:gd name="connsiteY57" fmla="*/ 3606795 h 4201882"/>
              <a:gd name="connsiteX58" fmla="*/ 1023259 w 9041192"/>
              <a:gd name="connsiteY58" fmla="*/ 3621309 h 4201882"/>
              <a:gd name="connsiteX59" fmla="*/ 384627 w 9041192"/>
              <a:gd name="connsiteY59" fmla="*/ 3603169 h 4201882"/>
              <a:gd name="connsiteX60" fmla="*/ 319315 w 9041192"/>
              <a:gd name="connsiteY60"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986328 w 9041192"/>
              <a:gd name="connsiteY41" fmla="*/ 3671026 h 4201882"/>
              <a:gd name="connsiteX42" fmla="*/ 6291522 w 9041192"/>
              <a:gd name="connsiteY42" fmla="*/ 3657873 h 4201882"/>
              <a:gd name="connsiteX43" fmla="*/ 6986328 w 9041192"/>
              <a:gd name="connsiteY43" fmla="*/ 3671026 h 4201882"/>
              <a:gd name="connsiteX44" fmla="*/ 7218099 w 9041192"/>
              <a:gd name="connsiteY44" fmla="*/ 3627140 h 4201882"/>
              <a:gd name="connsiteX45" fmla="*/ 6857549 w 9041192"/>
              <a:gd name="connsiteY45" fmla="*/ 4191222 h 4201882"/>
              <a:gd name="connsiteX46" fmla="*/ 6392184 w 9041192"/>
              <a:gd name="connsiteY46" fmla="*/ 4191222 h 4201882"/>
              <a:gd name="connsiteX47" fmla="*/ 6071695 w 9041192"/>
              <a:gd name="connsiteY47" fmla="*/ 3662961 h 4201882"/>
              <a:gd name="connsiteX48" fmla="*/ 7218099 w 9041192"/>
              <a:gd name="connsiteY48" fmla="*/ 3627140 h 4201882"/>
              <a:gd name="connsiteX49" fmla="*/ 319315 w 9041192"/>
              <a:gd name="connsiteY49" fmla="*/ 3294739 h 4201882"/>
              <a:gd name="connsiteX50" fmla="*/ 1952174 w 9041192"/>
              <a:gd name="connsiteY50" fmla="*/ 68941 h 4201882"/>
              <a:gd name="connsiteX51" fmla="*/ 8229601 w 9041192"/>
              <a:gd name="connsiteY51" fmla="*/ 0 h 4201882"/>
              <a:gd name="connsiteX52" fmla="*/ 8773887 w 9041192"/>
              <a:gd name="connsiteY52" fmla="*/ 616852 h 4201882"/>
              <a:gd name="connsiteX53" fmla="*/ 8831945 w 9041192"/>
              <a:gd name="connsiteY53" fmla="*/ 3156852 h 4201882"/>
              <a:gd name="connsiteX54" fmla="*/ 8744857 w 9041192"/>
              <a:gd name="connsiteY54" fmla="*/ 3418109 h 4201882"/>
              <a:gd name="connsiteX55" fmla="*/ 7438574 w 9041192"/>
              <a:gd name="connsiteY55" fmla="*/ 3418110 h 4201882"/>
              <a:gd name="connsiteX56" fmla="*/ 5798459 w 9041192"/>
              <a:gd name="connsiteY56" fmla="*/ 3577767 h 4201882"/>
              <a:gd name="connsiteX57" fmla="*/ 2735943 w 9041192"/>
              <a:gd name="connsiteY57" fmla="*/ 3606795 h 4201882"/>
              <a:gd name="connsiteX58" fmla="*/ 1023259 w 9041192"/>
              <a:gd name="connsiteY58" fmla="*/ 3621309 h 4201882"/>
              <a:gd name="connsiteX59" fmla="*/ 384627 w 9041192"/>
              <a:gd name="connsiteY59" fmla="*/ 3603169 h 4201882"/>
              <a:gd name="connsiteX60" fmla="*/ 319315 w 9041192"/>
              <a:gd name="connsiteY60"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41319 w 9041192"/>
              <a:gd name="connsiteY28" fmla="*/ 25422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986328 w 9041192"/>
              <a:gd name="connsiteY41" fmla="*/ 3671026 h 4201882"/>
              <a:gd name="connsiteX42" fmla="*/ 6291522 w 9041192"/>
              <a:gd name="connsiteY42" fmla="*/ 3657873 h 4201882"/>
              <a:gd name="connsiteX43" fmla="*/ 6986328 w 9041192"/>
              <a:gd name="connsiteY43" fmla="*/ 3671026 h 4201882"/>
              <a:gd name="connsiteX44" fmla="*/ 7218099 w 9041192"/>
              <a:gd name="connsiteY44" fmla="*/ 3627140 h 4201882"/>
              <a:gd name="connsiteX45" fmla="*/ 6857549 w 9041192"/>
              <a:gd name="connsiteY45" fmla="*/ 4191222 h 4201882"/>
              <a:gd name="connsiteX46" fmla="*/ 6392184 w 9041192"/>
              <a:gd name="connsiteY46" fmla="*/ 4191222 h 4201882"/>
              <a:gd name="connsiteX47" fmla="*/ 6071695 w 9041192"/>
              <a:gd name="connsiteY47" fmla="*/ 3662961 h 4201882"/>
              <a:gd name="connsiteX48" fmla="*/ 7218099 w 9041192"/>
              <a:gd name="connsiteY48" fmla="*/ 3627140 h 4201882"/>
              <a:gd name="connsiteX49" fmla="*/ 319315 w 9041192"/>
              <a:gd name="connsiteY49" fmla="*/ 3294739 h 4201882"/>
              <a:gd name="connsiteX50" fmla="*/ 1952174 w 9041192"/>
              <a:gd name="connsiteY50" fmla="*/ 68941 h 4201882"/>
              <a:gd name="connsiteX51" fmla="*/ 8229601 w 9041192"/>
              <a:gd name="connsiteY51" fmla="*/ 0 h 4201882"/>
              <a:gd name="connsiteX52" fmla="*/ 8773887 w 9041192"/>
              <a:gd name="connsiteY52" fmla="*/ 616852 h 4201882"/>
              <a:gd name="connsiteX53" fmla="*/ 8831945 w 9041192"/>
              <a:gd name="connsiteY53" fmla="*/ 3156852 h 4201882"/>
              <a:gd name="connsiteX54" fmla="*/ 8744857 w 9041192"/>
              <a:gd name="connsiteY54" fmla="*/ 3418109 h 4201882"/>
              <a:gd name="connsiteX55" fmla="*/ 7438574 w 9041192"/>
              <a:gd name="connsiteY55" fmla="*/ 3418110 h 4201882"/>
              <a:gd name="connsiteX56" fmla="*/ 5798459 w 9041192"/>
              <a:gd name="connsiteY56" fmla="*/ 3577767 h 4201882"/>
              <a:gd name="connsiteX57" fmla="*/ 2735943 w 9041192"/>
              <a:gd name="connsiteY57" fmla="*/ 3606795 h 4201882"/>
              <a:gd name="connsiteX58" fmla="*/ 1023259 w 9041192"/>
              <a:gd name="connsiteY58" fmla="*/ 3621309 h 4201882"/>
              <a:gd name="connsiteX59" fmla="*/ 384627 w 9041192"/>
              <a:gd name="connsiteY59" fmla="*/ 3603169 h 4201882"/>
              <a:gd name="connsiteX60" fmla="*/ 319315 w 9041192"/>
              <a:gd name="connsiteY60"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41319 w 9041192"/>
              <a:gd name="connsiteY28" fmla="*/ 25422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986328 w 9041192"/>
              <a:gd name="connsiteY41" fmla="*/ 3671026 h 4201882"/>
              <a:gd name="connsiteX42" fmla="*/ 6291522 w 9041192"/>
              <a:gd name="connsiteY42" fmla="*/ 3657873 h 4201882"/>
              <a:gd name="connsiteX43" fmla="*/ 6986328 w 9041192"/>
              <a:gd name="connsiteY43" fmla="*/ 3671026 h 4201882"/>
              <a:gd name="connsiteX44" fmla="*/ 7218099 w 9041192"/>
              <a:gd name="connsiteY44" fmla="*/ 3627140 h 4201882"/>
              <a:gd name="connsiteX45" fmla="*/ 6857549 w 9041192"/>
              <a:gd name="connsiteY45" fmla="*/ 4191222 h 4201882"/>
              <a:gd name="connsiteX46" fmla="*/ 6392184 w 9041192"/>
              <a:gd name="connsiteY46" fmla="*/ 4191222 h 4201882"/>
              <a:gd name="connsiteX47" fmla="*/ 6071695 w 9041192"/>
              <a:gd name="connsiteY47" fmla="*/ 3662961 h 4201882"/>
              <a:gd name="connsiteX48" fmla="*/ 7218099 w 9041192"/>
              <a:gd name="connsiteY48" fmla="*/ 3627140 h 4201882"/>
              <a:gd name="connsiteX49" fmla="*/ 319315 w 9041192"/>
              <a:gd name="connsiteY49" fmla="*/ 3294739 h 4201882"/>
              <a:gd name="connsiteX50" fmla="*/ 1952174 w 9041192"/>
              <a:gd name="connsiteY50" fmla="*/ 68941 h 4201882"/>
              <a:gd name="connsiteX51" fmla="*/ 8229601 w 9041192"/>
              <a:gd name="connsiteY51" fmla="*/ 0 h 4201882"/>
              <a:gd name="connsiteX52" fmla="*/ 8773887 w 9041192"/>
              <a:gd name="connsiteY52" fmla="*/ 616852 h 4201882"/>
              <a:gd name="connsiteX53" fmla="*/ 8831945 w 9041192"/>
              <a:gd name="connsiteY53" fmla="*/ 3156852 h 4201882"/>
              <a:gd name="connsiteX54" fmla="*/ 8744857 w 9041192"/>
              <a:gd name="connsiteY54" fmla="*/ 3418109 h 4201882"/>
              <a:gd name="connsiteX55" fmla="*/ 7438574 w 9041192"/>
              <a:gd name="connsiteY55" fmla="*/ 3418110 h 4201882"/>
              <a:gd name="connsiteX56" fmla="*/ 5798459 w 9041192"/>
              <a:gd name="connsiteY56" fmla="*/ 3577767 h 4201882"/>
              <a:gd name="connsiteX57" fmla="*/ 2735943 w 9041192"/>
              <a:gd name="connsiteY57" fmla="*/ 3606795 h 4201882"/>
              <a:gd name="connsiteX58" fmla="*/ 1023259 w 9041192"/>
              <a:gd name="connsiteY58" fmla="*/ 3621309 h 4201882"/>
              <a:gd name="connsiteX59" fmla="*/ 384627 w 9041192"/>
              <a:gd name="connsiteY59" fmla="*/ 3603169 h 4201882"/>
              <a:gd name="connsiteX60" fmla="*/ 319315 w 9041192"/>
              <a:gd name="connsiteY60"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98790 w 9041192"/>
              <a:gd name="connsiteY19" fmla="*/ 1390872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41319 w 9041192"/>
              <a:gd name="connsiteY28" fmla="*/ 25422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986328 w 9041192"/>
              <a:gd name="connsiteY41" fmla="*/ 3671026 h 4201882"/>
              <a:gd name="connsiteX42" fmla="*/ 6291522 w 9041192"/>
              <a:gd name="connsiteY42" fmla="*/ 3657873 h 4201882"/>
              <a:gd name="connsiteX43" fmla="*/ 6986328 w 9041192"/>
              <a:gd name="connsiteY43" fmla="*/ 3671026 h 4201882"/>
              <a:gd name="connsiteX44" fmla="*/ 7218099 w 9041192"/>
              <a:gd name="connsiteY44" fmla="*/ 3627140 h 4201882"/>
              <a:gd name="connsiteX45" fmla="*/ 6857549 w 9041192"/>
              <a:gd name="connsiteY45" fmla="*/ 4191222 h 4201882"/>
              <a:gd name="connsiteX46" fmla="*/ 6392184 w 9041192"/>
              <a:gd name="connsiteY46" fmla="*/ 4191222 h 4201882"/>
              <a:gd name="connsiteX47" fmla="*/ 6071695 w 9041192"/>
              <a:gd name="connsiteY47" fmla="*/ 3662961 h 4201882"/>
              <a:gd name="connsiteX48" fmla="*/ 7218099 w 9041192"/>
              <a:gd name="connsiteY48" fmla="*/ 3627140 h 4201882"/>
              <a:gd name="connsiteX49" fmla="*/ 319315 w 9041192"/>
              <a:gd name="connsiteY49" fmla="*/ 3294739 h 4201882"/>
              <a:gd name="connsiteX50" fmla="*/ 1952174 w 9041192"/>
              <a:gd name="connsiteY50" fmla="*/ 68941 h 4201882"/>
              <a:gd name="connsiteX51" fmla="*/ 8229601 w 9041192"/>
              <a:gd name="connsiteY51" fmla="*/ 0 h 4201882"/>
              <a:gd name="connsiteX52" fmla="*/ 8773887 w 9041192"/>
              <a:gd name="connsiteY52" fmla="*/ 616852 h 4201882"/>
              <a:gd name="connsiteX53" fmla="*/ 8831945 w 9041192"/>
              <a:gd name="connsiteY53" fmla="*/ 3156852 h 4201882"/>
              <a:gd name="connsiteX54" fmla="*/ 8744857 w 9041192"/>
              <a:gd name="connsiteY54" fmla="*/ 3418109 h 4201882"/>
              <a:gd name="connsiteX55" fmla="*/ 7438574 w 9041192"/>
              <a:gd name="connsiteY55" fmla="*/ 3418110 h 4201882"/>
              <a:gd name="connsiteX56" fmla="*/ 5798459 w 9041192"/>
              <a:gd name="connsiteY56" fmla="*/ 3577767 h 4201882"/>
              <a:gd name="connsiteX57" fmla="*/ 2735943 w 9041192"/>
              <a:gd name="connsiteY57" fmla="*/ 3606795 h 4201882"/>
              <a:gd name="connsiteX58" fmla="*/ 1023259 w 9041192"/>
              <a:gd name="connsiteY58" fmla="*/ 3621309 h 4201882"/>
              <a:gd name="connsiteX59" fmla="*/ 384627 w 9041192"/>
              <a:gd name="connsiteY59" fmla="*/ 3603169 h 4201882"/>
              <a:gd name="connsiteX60" fmla="*/ 319315 w 9041192"/>
              <a:gd name="connsiteY60"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98790 w 9041192"/>
              <a:gd name="connsiteY19" fmla="*/ 1390872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41319 w 9041192"/>
              <a:gd name="connsiteY28" fmla="*/ 25422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986328 w 9041192"/>
              <a:gd name="connsiteY41" fmla="*/ 3671026 h 4201882"/>
              <a:gd name="connsiteX42" fmla="*/ 6291522 w 9041192"/>
              <a:gd name="connsiteY42" fmla="*/ 3657873 h 4201882"/>
              <a:gd name="connsiteX43" fmla="*/ 6986328 w 9041192"/>
              <a:gd name="connsiteY43" fmla="*/ 3671026 h 4201882"/>
              <a:gd name="connsiteX44" fmla="*/ 7218099 w 9041192"/>
              <a:gd name="connsiteY44" fmla="*/ 3627140 h 4201882"/>
              <a:gd name="connsiteX45" fmla="*/ 6857549 w 9041192"/>
              <a:gd name="connsiteY45" fmla="*/ 4191222 h 4201882"/>
              <a:gd name="connsiteX46" fmla="*/ 6392184 w 9041192"/>
              <a:gd name="connsiteY46" fmla="*/ 4191222 h 4201882"/>
              <a:gd name="connsiteX47" fmla="*/ 6071695 w 9041192"/>
              <a:gd name="connsiteY47" fmla="*/ 3662961 h 4201882"/>
              <a:gd name="connsiteX48" fmla="*/ 7218099 w 9041192"/>
              <a:gd name="connsiteY48" fmla="*/ 3627140 h 4201882"/>
              <a:gd name="connsiteX49" fmla="*/ 319315 w 9041192"/>
              <a:gd name="connsiteY49" fmla="*/ 3294739 h 4201882"/>
              <a:gd name="connsiteX50" fmla="*/ 1952174 w 9041192"/>
              <a:gd name="connsiteY50" fmla="*/ 68941 h 4201882"/>
              <a:gd name="connsiteX51" fmla="*/ 8229601 w 9041192"/>
              <a:gd name="connsiteY51" fmla="*/ 0 h 4201882"/>
              <a:gd name="connsiteX52" fmla="*/ 8773887 w 9041192"/>
              <a:gd name="connsiteY52" fmla="*/ 616852 h 4201882"/>
              <a:gd name="connsiteX53" fmla="*/ 8831945 w 9041192"/>
              <a:gd name="connsiteY53" fmla="*/ 3156852 h 4201882"/>
              <a:gd name="connsiteX54" fmla="*/ 8744857 w 9041192"/>
              <a:gd name="connsiteY54" fmla="*/ 3418109 h 4201882"/>
              <a:gd name="connsiteX55" fmla="*/ 7438574 w 9041192"/>
              <a:gd name="connsiteY55" fmla="*/ 3418110 h 4201882"/>
              <a:gd name="connsiteX56" fmla="*/ 5798459 w 9041192"/>
              <a:gd name="connsiteY56" fmla="*/ 3577767 h 4201882"/>
              <a:gd name="connsiteX57" fmla="*/ 2735943 w 9041192"/>
              <a:gd name="connsiteY57" fmla="*/ 3606795 h 4201882"/>
              <a:gd name="connsiteX58" fmla="*/ 1023259 w 9041192"/>
              <a:gd name="connsiteY58" fmla="*/ 3621309 h 4201882"/>
              <a:gd name="connsiteX59" fmla="*/ 384627 w 9041192"/>
              <a:gd name="connsiteY59" fmla="*/ 3603169 h 4201882"/>
              <a:gd name="connsiteX60" fmla="*/ 319315 w 9041192"/>
              <a:gd name="connsiteY60"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98790 w 9041192"/>
              <a:gd name="connsiteY19" fmla="*/ 1390872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41319 w 9041192"/>
              <a:gd name="connsiteY28" fmla="*/ 25422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986328 w 9041192"/>
              <a:gd name="connsiteY41" fmla="*/ 3671026 h 4201882"/>
              <a:gd name="connsiteX42" fmla="*/ 6291522 w 9041192"/>
              <a:gd name="connsiteY42" fmla="*/ 3657873 h 4201882"/>
              <a:gd name="connsiteX43" fmla="*/ 6986328 w 9041192"/>
              <a:gd name="connsiteY43" fmla="*/ 3671026 h 4201882"/>
              <a:gd name="connsiteX44" fmla="*/ 7218099 w 9041192"/>
              <a:gd name="connsiteY44" fmla="*/ 3627140 h 4201882"/>
              <a:gd name="connsiteX45" fmla="*/ 6857549 w 9041192"/>
              <a:gd name="connsiteY45" fmla="*/ 4191222 h 4201882"/>
              <a:gd name="connsiteX46" fmla="*/ 6392184 w 9041192"/>
              <a:gd name="connsiteY46" fmla="*/ 4191222 h 4201882"/>
              <a:gd name="connsiteX47" fmla="*/ 6071695 w 9041192"/>
              <a:gd name="connsiteY47" fmla="*/ 3662961 h 4201882"/>
              <a:gd name="connsiteX48" fmla="*/ 7218099 w 9041192"/>
              <a:gd name="connsiteY48" fmla="*/ 3627140 h 4201882"/>
              <a:gd name="connsiteX49" fmla="*/ 319315 w 9041192"/>
              <a:gd name="connsiteY49" fmla="*/ 3294739 h 4201882"/>
              <a:gd name="connsiteX50" fmla="*/ 1952174 w 9041192"/>
              <a:gd name="connsiteY50" fmla="*/ 68941 h 4201882"/>
              <a:gd name="connsiteX51" fmla="*/ 8229601 w 9041192"/>
              <a:gd name="connsiteY51" fmla="*/ 0 h 4201882"/>
              <a:gd name="connsiteX52" fmla="*/ 8773887 w 9041192"/>
              <a:gd name="connsiteY52" fmla="*/ 616852 h 4201882"/>
              <a:gd name="connsiteX53" fmla="*/ 8831945 w 9041192"/>
              <a:gd name="connsiteY53" fmla="*/ 3156852 h 4201882"/>
              <a:gd name="connsiteX54" fmla="*/ 8744857 w 9041192"/>
              <a:gd name="connsiteY54" fmla="*/ 3418109 h 4201882"/>
              <a:gd name="connsiteX55" fmla="*/ 7438574 w 9041192"/>
              <a:gd name="connsiteY55" fmla="*/ 3418110 h 4201882"/>
              <a:gd name="connsiteX56" fmla="*/ 5798459 w 9041192"/>
              <a:gd name="connsiteY56" fmla="*/ 3577767 h 4201882"/>
              <a:gd name="connsiteX57" fmla="*/ 2735943 w 9041192"/>
              <a:gd name="connsiteY57" fmla="*/ 3606795 h 4201882"/>
              <a:gd name="connsiteX58" fmla="*/ 1023259 w 9041192"/>
              <a:gd name="connsiteY58" fmla="*/ 3621309 h 4201882"/>
              <a:gd name="connsiteX59" fmla="*/ 384627 w 9041192"/>
              <a:gd name="connsiteY59" fmla="*/ 3603169 h 4201882"/>
              <a:gd name="connsiteX60" fmla="*/ 319315 w 9041192"/>
              <a:gd name="connsiteY60"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98790 w 9041192"/>
              <a:gd name="connsiteY19" fmla="*/ 1390872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41319 w 9041192"/>
              <a:gd name="connsiteY28" fmla="*/ 25422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986328 w 9041192"/>
              <a:gd name="connsiteY41" fmla="*/ 3671026 h 4201882"/>
              <a:gd name="connsiteX42" fmla="*/ 6291522 w 9041192"/>
              <a:gd name="connsiteY42" fmla="*/ 3657873 h 4201882"/>
              <a:gd name="connsiteX43" fmla="*/ 6986328 w 9041192"/>
              <a:gd name="connsiteY43" fmla="*/ 3671026 h 4201882"/>
              <a:gd name="connsiteX44" fmla="*/ 7218099 w 9041192"/>
              <a:gd name="connsiteY44" fmla="*/ 3627140 h 4201882"/>
              <a:gd name="connsiteX45" fmla="*/ 6857549 w 9041192"/>
              <a:gd name="connsiteY45" fmla="*/ 4191222 h 4201882"/>
              <a:gd name="connsiteX46" fmla="*/ 6392184 w 9041192"/>
              <a:gd name="connsiteY46" fmla="*/ 4191222 h 4201882"/>
              <a:gd name="connsiteX47" fmla="*/ 6071695 w 9041192"/>
              <a:gd name="connsiteY47" fmla="*/ 3662961 h 4201882"/>
              <a:gd name="connsiteX48" fmla="*/ 7218099 w 9041192"/>
              <a:gd name="connsiteY48" fmla="*/ 3627140 h 4201882"/>
              <a:gd name="connsiteX49" fmla="*/ 319315 w 9041192"/>
              <a:gd name="connsiteY49" fmla="*/ 3294739 h 4201882"/>
              <a:gd name="connsiteX50" fmla="*/ 1952174 w 9041192"/>
              <a:gd name="connsiteY50" fmla="*/ 68941 h 4201882"/>
              <a:gd name="connsiteX51" fmla="*/ 8229601 w 9041192"/>
              <a:gd name="connsiteY51" fmla="*/ 0 h 4201882"/>
              <a:gd name="connsiteX52" fmla="*/ 8773887 w 9041192"/>
              <a:gd name="connsiteY52" fmla="*/ 616852 h 4201882"/>
              <a:gd name="connsiteX53" fmla="*/ 8831945 w 9041192"/>
              <a:gd name="connsiteY53" fmla="*/ 3156852 h 4201882"/>
              <a:gd name="connsiteX54" fmla="*/ 8744857 w 9041192"/>
              <a:gd name="connsiteY54" fmla="*/ 3418109 h 4201882"/>
              <a:gd name="connsiteX55" fmla="*/ 7438574 w 9041192"/>
              <a:gd name="connsiteY55" fmla="*/ 3418110 h 4201882"/>
              <a:gd name="connsiteX56" fmla="*/ 5798459 w 9041192"/>
              <a:gd name="connsiteY56" fmla="*/ 3577767 h 4201882"/>
              <a:gd name="connsiteX57" fmla="*/ 2735943 w 9041192"/>
              <a:gd name="connsiteY57" fmla="*/ 3606795 h 4201882"/>
              <a:gd name="connsiteX58" fmla="*/ 1023259 w 9041192"/>
              <a:gd name="connsiteY58" fmla="*/ 3621309 h 4201882"/>
              <a:gd name="connsiteX59" fmla="*/ 384627 w 9041192"/>
              <a:gd name="connsiteY59" fmla="*/ 3603169 h 4201882"/>
              <a:gd name="connsiteX60" fmla="*/ 319315 w 9041192"/>
              <a:gd name="connsiteY60"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154727 w 9041192"/>
              <a:gd name="connsiteY17" fmla="*/ 225143 h 4201882"/>
              <a:gd name="connsiteX18" fmla="*/ 8614231 w 9041192"/>
              <a:gd name="connsiteY18" fmla="*/ 936166 h 4201882"/>
              <a:gd name="connsiteX19" fmla="*/ 8198790 w 9041192"/>
              <a:gd name="connsiteY19" fmla="*/ 1390872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41319 w 9041192"/>
              <a:gd name="connsiteY28" fmla="*/ 25422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986328 w 9041192"/>
              <a:gd name="connsiteY41" fmla="*/ 3671026 h 4201882"/>
              <a:gd name="connsiteX42" fmla="*/ 6291522 w 9041192"/>
              <a:gd name="connsiteY42" fmla="*/ 3657873 h 4201882"/>
              <a:gd name="connsiteX43" fmla="*/ 6986328 w 9041192"/>
              <a:gd name="connsiteY43" fmla="*/ 3671026 h 4201882"/>
              <a:gd name="connsiteX44" fmla="*/ 7218099 w 9041192"/>
              <a:gd name="connsiteY44" fmla="*/ 3627140 h 4201882"/>
              <a:gd name="connsiteX45" fmla="*/ 6857549 w 9041192"/>
              <a:gd name="connsiteY45" fmla="*/ 4191222 h 4201882"/>
              <a:gd name="connsiteX46" fmla="*/ 6392184 w 9041192"/>
              <a:gd name="connsiteY46" fmla="*/ 4191222 h 4201882"/>
              <a:gd name="connsiteX47" fmla="*/ 6071695 w 9041192"/>
              <a:gd name="connsiteY47" fmla="*/ 3662961 h 4201882"/>
              <a:gd name="connsiteX48" fmla="*/ 7218099 w 9041192"/>
              <a:gd name="connsiteY48" fmla="*/ 3627140 h 4201882"/>
              <a:gd name="connsiteX49" fmla="*/ 319315 w 9041192"/>
              <a:gd name="connsiteY49" fmla="*/ 3294739 h 4201882"/>
              <a:gd name="connsiteX50" fmla="*/ 1952174 w 9041192"/>
              <a:gd name="connsiteY50" fmla="*/ 68941 h 4201882"/>
              <a:gd name="connsiteX51" fmla="*/ 8229601 w 9041192"/>
              <a:gd name="connsiteY51" fmla="*/ 0 h 4201882"/>
              <a:gd name="connsiteX52" fmla="*/ 8773887 w 9041192"/>
              <a:gd name="connsiteY52" fmla="*/ 616852 h 4201882"/>
              <a:gd name="connsiteX53" fmla="*/ 8831945 w 9041192"/>
              <a:gd name="connsiteY53" fmla="*/ 3156852 h 4201882"/>
              <a:gd name="connsiteX54" fmla="*/ 8744857 w 9041192"/>
              <a:gd name="connsiteY54" fmla="*/ 3418109 h 4201882"/>
              <a:gd name="connsiteX55" fmla="*/ 7438574 w 9041192"/>
              <a:gd name="connsiteY55" fmla="*/ 3418110 h 4201882"/>
              <a:gd name="connsiteX56" fmla="*/ 5798459 w 9041192"/>
              <a:gd name="connsiteY56" fmla="*/ 3577767 h 4201882"/>
              <a:gd name="connsiteX57" fmla="*/ 2735943 w 9041192"/>
              <a:gd name="connsiteY57" fmla="*/ 3606795 h 4201882"/>
              <a:gd name="connsiteX58" fmla="*/ 1023259 w 9041192"/>
              <a:gd name="connsiteY58" fmla="*/ 3621309 h 4201882"/>
              <a:gd name="connsiteX59" fmla="*/ 384627 w 9041192"/>
              <a:gd name="connsiteY59" fmla="*/ 3603169 h 4201882"/>
              <a:gd name="connsiteX60" fmla="*/ 319315 w 9041192"/>
              <a:gd name="connsiteY60"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154727 w 9041192"/>
              <a:gd name="connsiteY17" fmla="*/ 225143 h 4201882"/>
              <a:gd name="connsiteX18" fmla="*/ 8614231 w 9041192"/>
              <a:gd name="connsiteY18" fmla="*/ 936166 h 4201882"/>
              <a:gd name="connsiteX19" fmla="*/ 8198790 w 9041192"/>
              <a:gd name="connsiteY19" fmla="*/ 1390872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41319 w 9041192"/>
              <a:gd name="connsiteY28" fmla="*/ 25422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986328 w 9041192"/>
              <a:gd name="connsiteY41" fmla="*/ 3671026 h 4201882"/>
              <a:gd name="connsiteX42" fmla="*/ 6291522 w 9041192"/>
              <a:gd name="connsiteY42" fmla="*/ 3657873 h 4201882"/>
              <a:gd name="connsiteX43" fmla="*/ 6986328 w 9041192"/>
              <a:gd name="connsiteY43" fmla="*/ 3671026 h 4201882"/>
              <a:gd name="connsiteX44" fmla="*/ 7218099 w 9041192"/>
              <a:gd name="connsiteY44" fmla="*/ 3627140 h 4201882"/>
              <a:gd name="connsiteX45" fmla="*/ 6857549 w 9041192"/>
              <a:gd name="connsiteY45" fmla="*/ 4191222 h 4201882"/>
              <a:gd name="connsiteX46" fmla="*/ 6392184 w 9041192"/>
              <a:gd name="connsiteY46" fmla="*/ 4191222 h 4201882"/>
              <a:gd name="connsiteX47" fmla="*/ 6071695 w 9041192"/>
              <a:gd name="connsiteY47" fmla="*/ 3662961 h 4201882"/>
              <a:gd name="connsiteX48" fmla="*/ 7218099 w 9041192"/>
              <a:gd name="connsiteY48" fmla="*/ 3627140 h 4201882"/>
              <a:gd name="connsiteX49" fmla="*/ 319315 w 9041192"/>
              <a:gd name="connsiteY49" fmla="*/ 3294739 h 4201882"/>
              <a:gd name="connsiteX50" fmla="*/ 1952174 w 9041192"/>
              <a:gd name="connsiteY50" fmla="*/ 68941 h 4201882"/>
              <a:gd name="connsiteX51" fmla="*/ 8229601 w 9041192"/>
              <a:gd name="connsiteY51" fmla="*/ 0 h 4201882"/>
              <a:gd name="connsiteX52" fmla="*/ 8773887 w 9041192"/>
              <a:gd name="connsiteY52" fmla="*/ 616852 h 4201882"/>
              <a:gd name="connsiteX53" fmla="*/ 8831945 w 9041192"/>
              <a:gd name="connsiteY53" fmla="*/ 3156852 h 4201882"/>
              <a:gd name="connsiteX54" fmla="*/ 8744857 w 9041192"/>
              <a:gd name="connsiteY54" fmla="*/ 3418109 h 4201882"/>
              <a:gd name="connsiteX55" fmla="*/ 7438574 w 9041192"/>
              <a:gd name="connsiteY55" fmla="*/ 3418110 h 4201882"/>
              <a:gd name="connsiteX56" fmla="*/ 5798459 w 9041192"/>
              <a:gd name="connsiteY56" fmla="*/ 3577767 h 4201882"/>
              <a:gd name="connsiteX57" fmla="*/ 2735943 w 9041192"/>
              <a:gd name="connsiteY57" fmla="*/ 3606795 h 4201882"/>
              <a:gd name="connsiteX58" fmla="*/ 1023259 w 9041192"/>
              <a:gd name="connsiteY58" fmla="*/ 3621309 h 4201882"/>
              <a:gd name="connsiteX59" fmla="*/ 384627 w 9041192"/>
              <a:gd name="connsiteY59" fmla="*/ 3603169 h 4201882"/>
              <a:gd name="connsiteX60" fmla="*/ 319315 w 9041192"/>
              <a:gd name="connsiteY60"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154727 w 9041192"/>
              <a:gd name="connsiteY17" fmla="*/ 225143 h 4201882"/>
              <a:gd name="connsiteX18" fmla="*/ 8614231 w 9041192"/>
              <a:gd name="connsiteY18" fmla="*/ 936166 h 4201882"/>
              <a:gd name="connsiteX19" fmla="*/ 8198790 w 9041192"/>
              <a:gd name="connsiteY19" fmla="*/ 1390872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41319 w 9041192"/>
              <a:gd name="connsiteY28" fmla="*/ 25422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986328 w 9041192"/>
              <a:gd name="connsiteY41" fmla="*/ 3671026 h 4201882"/>
              <a:gd name="connsiteX42" fmla="*/ 6291522 w 9041192"/>
              <a:gd name="connsiteY42" fmla="*/ 3657873 h 4201882"/>
              <a:gd name="connsiteX43" fmla="*/ 6986328 w 9041192"/>
              <a:gd name="connsiteY43" fmla="*/ 3671026 h 4201882"/>
              <a:gd name="connsiteX44" fmla="*/ 7218099 w 9041192"/>
              <a:gd name="connsiteY44" fmla="*/ 3627140 h 4201882"/>
              <a:gd name="connsiteX45" fmla="*/ 6857549 w 9041192"/>
              <a:gd name="connsiteY45" fmla="*/ 4191222 h 4201882"/>
              <a:gd name="connsiteX46" fmla="*/ 6392184 w 9041192"/>
              <a:gd name="connsiteY46" fmla="*/ 4191222 h 4201882"/>
              <a:gd name="connsiteX47" fmla="*/ 6071695 w 9041192"/>
              <a:gd name="connsiteY47" fmla="*/ 3662961 h 4201882"/>
              <a:gd name="connsiteX48" fmla="*/ 7218099 w 9041192"/>
              <a:gd name="connsiteY48" fmla="*/ 3627140 h 4201882"/>
              <a:gd name="connsiteX49" fmla="*/ 319315 w 9041192"/>
              <a:gd name="connsiteY49" fmla="*/ 3294739 h 4201882"/>
              <a:gd name="connsiteX50" fmla="*/ 1952174 w 9041192"/>
              <a:gd name="connsiteY50" fmla="*/ 68941 h 4201882"/>
              <a:gd name="connsiteX51" fmla="*/ 8229601 w 9041192"/>
              <a:gd name="connsiteY51" fmla="*/ 0 h 4201882"/>
              <a:gd name="connsiteX52" fmla="*/ 8773887 w 9041192"/>
              <a:gd name="connsiteY52" fmla="*/ 616852 h 4201882"/>
              <a:gd name="connsiteX53" fmla="*/ 8831945 w 9041192"/>
              <a:gd name="connsiteY53" fmla="*/ 3156852 h 4201882"/>
              <a:gd name="connsiteX54" fmla="*/ 8744857 w 9041192"/>
              <a:gd name="connsiteY54" fmla="*/ 3418109 h 4201882"/>
              <a:gd name="connsiteX55" fmla="*/ 7438574 w 9041192"/>
              <a:gd name="connsiteY55" fmla="*/ 3418110 h 4201882"/>
              <a:gd name="connsiteX56" fmla="*/ 5798459 w 9041192"/>
              <a:gd name="connsiteY56" fmla="*/ 3577767 h 4201882"/>
              <a:gd name="connsiteX57" fmla="*/ 2735943 w 9041192"/>
              <a:gd name="connsiteY57" fmla="*/ 3606795 h 4201882"/>
              <a:gd name="connsiteX58" fmla="*/ 1023259 w 9041192"/>
              <a:gd name="connsiteY58" fmla="*/ 3621309 h 4201882"/>
              <a:gd name="connsiteX59" fmla="*/ 384627 w 9041192"/>
              <a:gd name="connsiteY59" fmla="*/ 3622219 h 4201882"/>
              <a:gd name="connsiteX60" fmla="*/ 319315 w 9041192"/>
              <a:gd name="connsiteY60" fmla="*/ 3294739 h 4201882"/>
              <a:gd name="connsiteX0" fmla="*/ 1928132 w 9031667"/>
              <a:gd name="connsiteY0" fmla="*/ 273272 h 4201882"/>
              <a:gd name="connsiteX1" fmla="*/ 2536852 w 9031667"/>
              <a:gd name="connsiteY1" fmla="*/ 273272 h 4201882"/>
              <a:gd name="connsiteX2" fmla="*/ 2798992 w 9031667"/>
              <a:gd name="connsiteY2" fmla="*/ 641571 h 4201882"/>
              <a:gd name="connsiteX3" fmla="*/ 2769963 w 9031667"/>
              <a:gd name="connsiteY3" fmla="*/ 1614028 h 4201882"/>
              <a:gd name="connsiteX4" fmla="*/ 2479678 w 9031667"/>
              <a:gd name="connsiteY4" fmla="*/ 2169880 h 4201882"/>
              <a:gd name="connsiteX5" fmla="*/ 1201538 w 9031667"/>
              <a:gd name="connsiteY5" fmla="*/ 2196824 h 4201882"/>
              <a:gd name="connsiteX6" fmla="*/ 1928132 w 9031667"/>
              <a:gd name="connsiteY6" fmla="*/ 273272 h 4201882"/>
              <a:gd name="connsiteX7" fmla="*/ 6294173 w 9031667"/>
              <a:gd name="connsiteY7" fmla="*/ 262384 h 4201882"/>
              <a:gd name="connsiteX8" fmla="*/ 6659112 w 9031667"/>
              <a:gd name="connsiteY8" fmla="*/ 573309 h 4201882"/>
              <a:gd name="connsiteX9" fmla="*/ 6659112 w 9031667"/>
              <a:gd name="connsiteY9" fmla="*/ 1066795 h 4201882"/>
              <a:gd name="connsiteX10" fmla="*/ 6311446 w 9031667"/>
              <a:gd name="connsiteY10" fmla="*/ 1371596 h 4201882"/>
              <a:gd name="connsiteX11" fmla="*/ 5210424 w 9031667"/>
              <a:gd name="connsiteY11" fmla="*/ 1398892 h 4201882"/>
              <a:gd name="connsiteX12" fmla="*/ 4946199 w 9031667"/>
              <a:gd name="connsiteY12" fmla="*/ 1153880 h 4201882"/>
              <a:gd name="connsiteX13" fmla="*/ 4946199 w 9031667"/>
              <a:gd name="connsiteY13" fmla="*/ 587823 h 4201882"/>
              <a:gd name="connsiteX14" fmla="*/ 5220341 w 9031667"/>
              <a:gd name="connsiteY14" fmla="*/ 270402 h 4201882"/>
              <a:gd name="connsiteX15" fmla="*/ 6294173 w 9031667"/>
              <a:gd name="connsiteY15" fmla="*/ 262384 h 4201882"/>
              <a:gd name="connsiteX16" fmla="*/ 7124247 w 9031667"/>
              <a:gd name="connsiteY16" fmla="*/ 239481 h 4201882"/>
              <a:gd name="connsiteX17" fmla="*/ 8145202 w 9031667"/>
              <a:gd name="connsiteY17" fmla="*/ 225143 h 4201882"/>
              <a:gd name="connsiteX18" fmla="*/ 8604706 w 9031667"/>
              <a:gd name="connsiteY18" fmla="*/ 936166 h 4201882"/>
              <a:gd name="connsiteX19" fmla="*/ 8189265 w 9031667"/>
              <a:gd name="connsiteY19" fmla="*/ 1390872 h 4201882"/>
              <a:gd name="connsiteX20" fmla="*/ 7182304 w 9031667"/>
              <a:gd name="connsiteY20" fmla="*/ 1400624 h 4201882"/>
              <a:gd name="connsiteX21" fmla="*/ 6848024 w 9031667"/>
              <a:gd name="connsiteY21" fmla="*/ 1095823 h 4201882"/>
              <a:gd name="connsiteX22" fmla="*/ 6848024 w 9031667"/>
              <a:gd name="connsiteY22" fmla="*/ 631366 h 4201882"/>
              <a:gd name="connsiteX23" fmla="*/ 7124247 w 9031667"/>
              <a:gd name="connsiteY23" fmla="*/ 239481 h 4201882"/>
              <a:gd name="connsiteX24" fmla="*/ 1509648 w 9031667"/>
              <a:gd name="connsiteY24" fmla="*/ 3702269 h 4201882"/>
              <a:gd name="connsiteX25" fmla="*/ 2206438 w 9031667"/>
              <a:gd name="connsiteY25" fmla="*/ 3695773 h 4201882"/>
              <a:gd name="connsiteX26" fmla="*/ 1509648 w 9031667"/>
              <a:gd name="connsiteY26" fmla="*/ 3702269 h 4201882"/>
              <a:gd name="connsiteX27" fmla="*/ 3321504 w 9031667"/>
              <a:gd name="connsiteY27" fmla="*/ 273272 h 4201882"/>
              <a:gd name="connsiteX28" fmla="*/ 4231794 w 9031667"/>
              <a:gd name="connsiteY28" fmla="*/ 254222 h 4201882"/>
              <a:gd name="connsiteX29" fmla="*/ 4742999 w 9031667"/>
              <a:gd name="connsiteY29" fmla="*/ 616853 h 4201882"/>
              <a:gd name="connsiteX30" fmla="*/ 4742999 w 9031667"/>
              <a:gd name="connsiteY30" fmla="*/ 1124852 h 4201882"/>
              <a:gd name="connsiteX31" fmla="*/ 4425469 w 9031667"/>
              <a:gd name="connsiteY31" fmla="*/ 1388196 h 4201882"/>
              <a:gd name="connsiteX32" fmla="*/ 3306990 w 9031667"/>
              <a:gd name="connsiteY32" fmla="*/ 1415138 h 4201882"/>
              <a:gd name="connsiteX33" fmla="*/ 3001512 w 9031667"/>
              <a:gd name="connsiteY33" fmla="*/ 1124853 h 4201882"/>
              <a:gd name="connsiteX34" fmla="*/ 3001512 w 9031667"/>
              <a:gd name="connsiteY34" fmla="*/ 515252 h 4201882"/>
              <a:gd name="connsiteX35" fmla="*/ 3321504 w 9031667"/>
              <a:gd name="connsiteY35" fmla="*/ 273272 h 4201882"/>
              <a:gd name="connsiteX36" fmla="*/ 2482106 w 9031667"/>
              <a:gd name="connsiteY36" fmla="*/ 3714226 h 4201882"/>
              <a:gd name="connsiteX37" fmla="*/ 2203905 w 9031667"/>
              <a:gd name="connsiteY37" fmla="*/ 4187367 h 4201882"/>
              <a:gd name="connsiteX38" fmla="*/ 1550762 w 9031667"/>
              <a:gd name="connsiteY38" fmla="*/ 4201882 h 4201882"/>
              <a:gd name="connsiteX39" fmla="*/ 1287441 w 9031667"/>
              <a:gd name="connsiteY39" fmla="*/ 3724642 h 4201882"/>
              <a:gd name="connsiteX40" fmla="*/ 2482106 w 9031667"/>
              <a:gd name="connsiteY40" fmla="*/ 3714226 h 4201882"/>
              <a:gd name="connsiteX41" fmla="*/ 6976803 w 9031667"/>
              <a:gd name="connsiteY41" fmla="*/ 3671026 h 4201882"/>
              <a:gd name="connsiteX42" fmla="*/ 6281997 w 9031667"/>
              <a:gd name="connsiteY42" fmla="*/ 3657873 h 4201882"/>
              <a:gd name="connsiteX43" fmla="*/ 6976803 w 9031667"/>
              <a:gd name="connsiteY43" fmla="*/ 3671026 h 4201882"/>
              <a:gd name="connsiteX44" fmla="*/ 7208574 w 9031667"/>
              <a:gd name="connsiteY44" fmla="*/ 3627140 h 4201882"/>
              <a:gd name="connsiteX45" fmla="*/ 6848024 w 9031667"/>
              <a:gd name="connsiteY45" fmla="*/ 4191222 h 4201882"/>
              <a:gd name="connsiteX46" fmla="*/ 6382659 w 9031667"/>
              <a:gd name="connsiteY46" fmla="*/ 4191222 h 4201882"/>
              <a:gd name="connsiteX47" fmla="*/ 6062170 w 9031667"/>
              <a:gd name="connsiteY47" fmla="*/ 3662961 h 4201882"/>
              <a:gd name="connsiteX48" fmla="*/ 7208574 w 9031667"/>
              <a:gd name="connsiteY48" fmla="*/ 3627140 h 4201882"/>
              <a:gd name="connsiteX49" fmla="*/ 309790 w 9031667"/>
              <a:gd name="connsiteY49" fmla="*/ 3294739 h 4201882"/>
              <a:gd name="connsiteX50" fmla="*/ 1942649 w 9031667"/>
              <a:gd name="connsiteY50" fmla="*/ 68941 h 4201882"/>
              <a:gd name="connsiteX51" fmla="*/ 8220076 w 9031667"/>
              <a:gd name="connsiteY51" fmla="*/ 0 h 4201882"/>
              <a:gd name="connsiteX52" fmla="*/ 8764362 w 9031667"/>
              <a:gd name="connsiteY52" fmla="*/ 616852 h 4201882"/>
              <a:gd name="connsiteX53" fmla="*/ 8822420 w 9031667"/>
              <a:gd name="connsiteY53" fmla="*/ 3156852 h 4201882"/>
              <a:gd name="connsiteX54" fmla="*/ 8735332 w 9031667"/>
              <a:gd name="connsiteY54" fmla="*/ 3418109 h 4201882"/>
              <a:gd name="connsiteX55" fmla="*/ 7429049 w 9031667"/>
              <a:gd name="connsiteY55" fmla="*/ 3418110 h 4201882"/>
              <a:gd name="connsiteX56" fmla="*/ 5788934 w 9031667"/>
              <a:gd name="connsiteY56" fmla="*/ 3577767 h 4201882"/>
              <a:gd name="connsiteX57" fmla="*/ 2726418 w 9031667"/>
              <a:gd name="connsiteY57" fmla="*/ 3606795 h 4201882"/>
              <a:gd name="connsiteX58" fmla="*/ 1013734 w 9031667"/>
              <a:gd name="connsiteY58" fmla="*/ 3621309 h 4201882"/>
              <a:gd name="connsiteX59" fmla="*/ 375102 w 9031667"/>
              <a:gd name="connsiteY59" fmla="*/ 3622219 h 4201882"/>
              <a:gd name="connsiteX60" fmla="*/ 309790 w 9031667"/>
              <a:gd name="connsiteY60" fmla="*/ 3294739 h 4201882"/>
              <a:gd name="connsiteX0" fmla="*/ 1928132 w 9031667"/>
              <a:gd name="connsiteY0" fmla="*/ 273272 h 4201882"/>
              <a:gd name="connsiteX1" fmla="*/ 2536852 w 9031667"/>
              <a:gd name="connsiteY1" fmla="*/ 273272 h 4201882"/>
              <a:gd name="connsiteX2" fmla="*/ 2798992 w 9031667"/>
              <a:gd name="connsiteY2" fmla="*/ 641571 h 4201882"/>
              <a:gd name="connsiteX3" fmla="*/ 2769963 w 9031667"/>
              <a:gd name="connsiteY3" fmla="*/ 1614028 h 4201882"/>
              <a:gd name="connsiteX4" fmla="*/ 2479678 w 9031667"/>
              <a:gd name="connsiteY4" fmla="*/ 2169880 h 4201882"/>
              <a:gd name="connsiteX5" fmla="*/ 1201538 w 9031667"/>
              <a:gd name="connsiteY5" fmla="*/ 2196824 h 4201882"/>
              <a:gd name="connsiteX6" fmla="*/ 1928132 w 9031667"/>
              <a:gd name="connsiteY6" fmla="*/ 273272 h 4201882"/>
              <a:gd name="connsiteX7" fmla="*/ 6294173 w 9031667"/>
              <a:gd name="connsiteY7" fmla="*/ 262384 h 4201882"/>
              <a:gd name="connsiteX8" fmla="*/ 6659112 w 9031667"/>
              <a:gd name="connsiteY8" fmla="*/ 573309 h 4201882"/>
              <a:gd name="connsiteX9" fmla="*/ 6659112 w 9031667"/>
              <a:gd name="connsiteY9" fmla="*/ 1066795 h 4201882"/>
              <a:gd name="connsiteX10" fmla="*/ 6311446 w 9031667"/>
              <a:gd name="connsiteY10" fmla="*/ 1371596 h 4201882"/>
              <a:gd name="connsiteX11" fmla="*/ 5210424 w 9031667"/>
              <a:gd name="connsiteY11" fmla="*/ 1398892 h 4201882"/>
              <a:gd name="connsiteX12" fmla="*/ 4946199 w 9031667"/>
              <a:gd name="connsiteY12" fmla="*/ 1153880 h 4201882"/>
              <a:gd name="connsiteX13" fmla="*/ 4946199 w 9031667"/>
              <a:gd name="connsiteY13" fmla="*/ 587823 h 4201882"/>
              <a:gd name="connsiteX14" fmla="*/ 5220341 w 9031667"/>
              <a:gd name="connsiteY14" fmla="*/ 270402 h 4201882"/>
              <a:gd name="connsiteX15" fmla="*/ 6294173 w 9031667"/>
              <a:gd name="connsiteY15" fmla="*/ 262384 h 4201882"/>
              <a:gd name="connsiteX16" fmla="*/ 7124247 w 9031667"/>
              <a:gd name="connsiteY16" fmla="*/ 239481 h 4201882"/>
              <a:gd name="connsiteX17" fmla="*/ 8145202 w 9031667"/>
              <a:gd name="connsiteY17" fmla="*/ 225143 h 4201882"/>
              <a:gd name="connsiteX18" fmla="*/ 8604706 w 9031667"/>
              <a:gd name="connsiteY18" fmla="*/ 936166 h 4201882"/>
              <a:gd name="connsiteX19" fmla="*/ 8189265 w 9031667"/>
              <a:gd name="connsiteY19" fmla="*/ 1390872 h 4201882"/>
              <a:gd name="connsiteX20" fmla="*/ 7182304 w 9031667"/>
              <a:gd name="connsiteY20" fmla="*/ 1400624 h 4201882"/>
              <a:gd name="connsiteX21" fmla="*/ 6848024 w 9031667"/>
              <a:gd name="connsiteY21" fmla="*/ 1095823 h 4201882"/>
              <a:gd name="connsiteX22" fmla="*/ 6848024 w 9031667"/>
              <a:gd name="connsiteY22" fmla="*/ 631366 h 4201882"/>
              <a:gd name="connsiteX23" fmla="*/ 7124247 w 9031667"/>
              <a:gd name="connsiteY23" fmla="*/ 239481 h 4201882"/>
              <a:gd name="connsiteX24" fmla="*/ 1509648 w 9031667"/>
              <a:gd name="connsiteY24" fmla="*/ 3702269 h 4201882"/>
              <a:gd name="connsiteX25" fmla="*/ 2206438 w 9031667"/>
              <a:gd name="connsiteY25" fmla="*/ 3695773 h 4201882"/>
              <a:gd name="connsiteX26" fmla="*/ 1509648 w 9031667"/>
              <a:gd name="connsiteY26" fmla="*/ 3702269 h 4201882"/>
              <a:gd name="connsiteX27" fmla="*/ 3321504 w 9031667"/>
              <a:gd name="connsiteY27" fmla="*/ 273272 h 4201882"/>
              <a:gd name="connsiteX28" fmla="*/ 4231794 w 9031667"/>
              <a:gd name="connsiteY28" fmla="*/ 254222 h 4201882"/>
              <a:gd name="connsiteX29" fmla="*/ 4742999 w 9031667"/>
              <a:gd name="connsiteY29" fmla="*/ 616853 h 4201882"/>
              <a:gd name="connsiteX30" fmla="*/ 4742999 w 9031667"/>
              <a:gd name="connsiteY30" fmla="*/ 1124852 h 4201882"/>
              <a:gd name="connsiteX31" fmla="*/ 4425469 w 9031667"/>
              <a:gd name="connsiteY31" fmla="*/ 1388196 h 4201882"/>
              <a:gd name="connsiteX32" fmla="*/ 3306990 w 9031667"/>
              <a:gd name="connsiteY32" fmla="*/ 1415138 h 4201882"/>
              <a:gd name="connsiteX33" fmla="*/ 3001512 w 9031667"/>
              <a:gd name="connsiteY33" fmla="*/ 1124853 h 4201882"/>
              <a:gd name="connsiteX34" fmla="*/ 3001512 w 9031667"/>
              <a:gd name="connsiteY34" fmla="*/ 515252 h 4201882"/>
              <a:gd name="connsiteX35" fmla="*/ 3321504 w 9031667"/>
              <a:gd name="connsiteY35" fmla="*/ 273272 h 4201882"/>
              <a:gd name="connsiteX36" fmla="*/ 2482106 w 9031667"/>
              <a:gd name="connsiteY36" fmla="*/ 3714226 h 4201882"/>
              <a:gd name="connsiteX37" fmla="*/ 2203905 w 9031667"/>
              <a:gd name="connsiteY37" fmla="*/ 4187367 h 4201882"/>
              <a:gd name="connsiteX38" fmla="*/ 1550762 w 9031667"/>
              <a:gd name="connsiteY38" fmla="*/ 4201882 h 4201882"/>
              <a:gd name="connsiteX39" fmla="*/ 1287441 w 9031667"/>
              <a:gd name="connsiteY39" fmla="*/ 3724642 h 4201882"/>
              <a:gd name="connsiteX40" fmla="*/ 2482106 w 9031667"/>
              <a:gd name="connsiteY40" fmla="*/ 3714226 h 4201882"/>
              <a:gd name="connsiteX41" fmla="*/ 6976803 w 9031667"/>
              <a:gd name="connsiteY41" fmla="*/ 3671026 h 4201882"/>
              <a:gd name="connsiteX42" fmla="*/ 6281997 w 9031667"/>
              <a:gd name="connsiteY42" fmla="*/ 3657873 h 4201882"/>
              <a:gd name="connsiteX43" fmla="*/ 6976803 w 9031667"/>
              <a:gd name="connsiteY43" fmla="*/ 3671026 h 4201882"/>
              <a:gd name="connsiteX44" fmla="*/ 7208574 w 9031667"/>
              <a:gd name="connsiteY44" fmla="*/ 3627140 h 4201882"/>
              <a:gd name="connsiteX45" fmla="*/ 6848024 w 9031667"/>
              <a:gd name="connsiteY45" fmla="*/ 4191222 h 4201882"/>
              <a:gd name="connsiteX46" fmla="*/ 6382659 w 9031667"/>
              <a:gd name="connsiteY46" fmla="*/ 4191222 h 4201882"/>
              <a:gd name="connsiteX47" fmla="*/ 6062170 w 9031667"/>
              <a:gd name="connsiteY47" fmla="*/ 3662961 h 4201882"/>
              <a:gd name="connsiteX48" fmla="*/ 7208574 w 9031667"/>
              <a:gd name="connsiteY48" fmla="*/ 3627140 h 4201882"/>
              <a:gd name="connsiteX49" fmla="*/ 309790 w 9031667"/>
              <a:gd name="connsiteY49" fmla="*/ 3294739 h 4201882"/>
              <a:gd name="connsiteX50" fmla="*/ 1942649 w 9031667"/>
              <a:gd name="connsiteY50" fmla="*/ 68941 h 4201882"/>
              <a:gd name="connsiteX51" fmla="*/ 8220076 w 9031667"/>
              <a:gd name="connsiteY51" fmla="*/ 0 h 4201882"/>
              <a:gd name="connsiteX52" fmla="*/ 8764362 w 9031667"/>
              <a:gd name="connsiteY52" fmla="*/ 616852 h 4201882"/>
              <a:gd name="connsiteX53" fmla="*/ 8822420 w 9031667"/>
              <a:gd name="connsiteY53" fmla="*/ 3156852 h 4201882"/>
              <a:gd name="connsiteX54" fmla="*/ 8735332 w 9031667"/>
              <a:gd name="connsiteY54" fmla="*/ 3418109 h 4201882"/>
              <a:gd name="connsiteX55" fmla="*/ 7429049 w 9031667"/>
              <a:gd name="connsiteY55" fmla="*/ 3418110 h 4201882"/>
              <a:gd name="connsiteX56" fmla="*/ 5788934 w 9031667"/>
              <a:gd name="connsiteY56" fmla="*/ 3577767 h 4201882"/>
              <a:gd name="connsiteX57" fmla="*/ 2726418 w 9031667"/>
              <a:gd name="connsiteY57" fmla="*/ 3606795 h 4201882"/>
              <a:gd name="connsiteX58" fmla="*/ 1013734 w 9031667"/>
              <a:gd name="connsiteY58" fmla="*/ 3621309 h 4201882"/>
              <a:gd name="connsiteX59" fmla="*/ 375102 w 9031667"/>
              <a:gd name="connsiteY59" fmla="*/ 3622219 h 4201882"/>
              <a:gd name="connsiteX60" fmla="*/ 309790 w 9031667"/>
              <a:gd name="connsiteY60" fmla="*/ 3294739 h 4201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9031667" h="4201882">
                <a:moveTo>
                  <a:pt x="1928132" y="273272"/>
                </a:moveTo>
                <a:lnTo>
                  <a:pt x="2536852" y="273272"/>
                </a:lnTo>
                <a:cubicBezTo>
                  <a:pt x="2783889" y="275161"/>
                  <a:pt x="2827726" y="214005"/>
                  <a:pt x="2798992" y="641571"/>
                </a:cubicBezTo>
                <a:lnTo>
                  <a:pt x="2769963" y="1614028"/>
                </a:lnTo>
                <a:cubicBezTo>
                  <a:pt x="2745772" y="1944455"/>
                  <a:pt x="2663526" y="2144254"/>
                  <a:pt x="2479678" y="2169880"/>
                </a:cubicBezTo>
                <a:lnTo>
                  <a:pt x="1201538" y="2196824"/>
                </a:lnTo>
                <a:cubicBezTo>
                  <a:pt x="239050" y="1870645"/>
                  <a:pt x="1265020" y="275827"/>
                  <a:pt x="1928132" y="273272"/>
                </a:cubicBezTo>
                <a:close/>
                <a:moveTo>
                  <a:pt x="6294173" y="262384"/>
                </a:moveTo>
                <a:cubicBezTo>
                  <a:pt x="6498294" y="269339"/>
                  <a:pt x="6658191" y="445477"/>
                  <a:pt x="6659112" y="573309"/>
                </a:cubicBezTo>
                <a:lnTo>
                  <a:pt x="6659112" y="1066795"/>
                </a:lnTo>
                <a:cubicBezTo>
                  <a:pt x="6572931" y="1371595"/>
                  <a:pt x="6543450" y="1400625"/>
                  <a:pt x="6311446" y="1371596"/>
                </a:cubicBezTo>
                <a:lnTo>
                  <a:pt x="5210424" y="1398892"/>
                </a:lnTo>
                <a:cubicBezTo>
                  <a:pt x="4997548" y="1352930"/>
                  <a:pt x="4990237" y="1289058"/>
                  <a:pt x="4946199" y="1153880"/>
                </a:cubicBezTo>
                <a:cubicBezTo>
                  <a:pt x="4902162" y="1018702"/>
                  <a:pt x="4900509" y="735069"/>
                  <a:pt x="4946199" y="587823"/>
                </a:cubicBezTo>
                <a:cubicBezTo>
                  <a:pt x="4991889" y="440577"/>
                  <a:pt x="5036954" y="343994"/>
                  <a:pt x="5220341" y="270402"/>
                </a:cubicBezTo>
                <a:lnTo>
                  <a:pt x="6294173" y="262384"/>
                </a:lnTo>
                <a:close/>
                <a:moveTo>
                  <a:pt x="7124247" y="239481"/>
                </a:moveTo>
                <a:lnTo>
                  <a:pt x="8145202" y="225143"/>
                </a:lnTo>
                <a:cubicBezTo>
                  <a:pt x="8525295" y="293632"/>
                  <a:pt x="8585343" y="578450"/>
                  <a:pt x="8604706" y="936166"/>
                </a:cubicBezTo>
                <a:cubicBezTo>
                  <a:pt x="8625429" y="1195516"/>
                  <a:pt x="8486948" y="1361936"/>
                  <a:pt x="8189265" y="1390872"/>
                </a:cubicBezTo>
                <a:lnTo>
                  <a:pt x="7182304" y="1400624"/>
                </a:lnTo>
                <a:cubicBezTo>
                  <a:pt x="6838648" y="1294715"/>
                  <a:pt x="6930876" y="1313537"/>
                  <a:pt x="6848024" y="1095823"/>
                </a:cubicBezTo>
                <a:lnTo>
                  <a:pt x="6848024" y="631366"/>
                </a:lnTo>
                <a:cubicBezTo>
                  <a:pt x="6911523" y="355595"/>
                  <a:pt x="6916059" y="365346"/>
                  <a:pt x="7124247" y="239481"/>
                </a:cubicBezTo>
                <a:close/>
                <a:moveTo>
                  <a:pt x="1509648" y="3702269"/>
                </a:moveTo>
                <a:cubicBezTo>
                  <a:pt x="1567739" y="3206619"/>
                  <a:pt x="2220918" y="3189938"/>
                  <a:pt x="2206438" y="3695773"/>
                </a:cubicBezTo>
                <a:cubicBezTo>
                  <a:pt x="2177375" y="4118853"/>
                  <a:pt x="1567739" y="4150047"/>
                  <a:pt x="1509648" y="3702269"/>
                </a:cubicBezTo>
                <a:close/>
                <a:moveTo>
                  <a:pt x="3321504" y="273272"/>
                </a:moveTo>
                <a:lnTo>
                  <a:pt x="4231794" y="254222"/>
                </a:lnTo>
                <a:cubicBezTo>
                  <a:pt x="4495632" y="230347"/>
                  <a:pt x="4750849" y="389217"/>
                  <a:pt x="4742999" y="616853"/>
                </a:cubicBezTo>
                <a:lnTo>
                  <a:pt x="4742999" y="1124852"/>
                </a:lnTo>
                <a:cubicBezTo>
                  <a:pt x="4714262" y="1285205"/>
                  <a:pt x="4671919" y="1329443"/>
                  <a:pt x="4425469" y="1388196"/>
                </a:cubicBezTo>
                <a:lnTo>
                  <a:pt x="3306990" y="1415138"/>
                </a:lnTo>
                <a:cubicBezTo>
                  <a:pt x="3200553" y="1449004"/>
                  <a:pt x="3020863" y="1352244"/>
                  <a:pt x="3001512" y="1124853"/>
                </a:cubicBezTo>
                <a:lnTo>
                  <a:pt x="3001512" y="515252"/>
                </a:lnTo>
                <a:cubicBezTo>
                  <a:pt x="3045054" y="348338"/>
                  <a:pt x="3118986" y="314546"/>
                  <a:pt x="3321504" y="273272"/>
                </a:cubicBezTo>
                <a:close/>
                <a:moveTo>
                  <a:pt x="2482106" y="3714226"/>
                </a:moveTo>
                <a:cubicBezTo>
                  <a:pt x="2484622" y="3900515"/>
                  <a:pt x="2382364" y="4182053"/>
                  <a:pt x="2203905" y="4187367"/>
                </a:cubicBezTo>
                <a:lnTo>
                  <a:pt x="1550762" y="4201882"/>
                </a:lnTo>
                <a:cubicBezTo>
                  <a:pt x="1419445" y="4115373"/>
                  <a:pt x="1317158" y="4043379"/>
                  <a:pt x="1287441" y="3724642"/>
                </a:cubicBezTo>
                <a:cubicBezTo>
                  <a:pt x="1309617" y="2917651"/>
                  <a:pt x="2445476" y="2853334"/>
                  <a:pt x="2482106" y="3714226"/>
                </a:cubicBezTo>
                <a:close/>
                <a:moveTo>
                  <a:pt x="6976803" y="3671026"/>
                </a:moveTo>
                <a:cubicBezTo>
                  <a:pt x="6981738" y="4068279"/>
                  <a:pt x="6275474" y="4113106"/>
                  <a:pt x="6281997" y="3657873"/>
                </a:cubicBezTo>
                <a:cubicBezTo>
                  <a:pt x="6313574" y="3159019"/>
                  <a:pt x="6991263" y="3238017"/>
                  <a:pt x="6976803" y="3671026"/>
                </a:cubicBezTo>
                <a:close/>
                <a:moveTo>
                  <a:pt x="7208574" y="3627140"/>
                </a:moveTo>
                <a:cubicBezTo>
                  <a:pt x="7232324" y="3899456"/>
                  <a:pt x="7014774" y="4166556"/>
                  <a:pt x="6848024" y="4191222"/>
                </a:cubicBezTo>
                <a:lnTo>
                  <a:pt x="6382659" y="4191222"/>
                </a:lnTo>
                <a:cubicBezTo>
                  <a:pt x="6285354" y="4169122"/>
                  <a:pt x="6054700" y="3961286"/>
                  <a:pt x="6062170" y="3662961"/>
                </a:cubicBezTo>
                <a:cubicBezTo>
                  <a:pt x="6095961" y="2881763"/>
                  <a:pt x="7189750" y="2855309"/>
                  <a:pt x="7208574" y="3627140"/>
                </a:cubicBezTo>
                <a:close/>
                <a:moveTo>
                  <a:pt x="309790" y="3294739"/>
                </a:moveTo>
                <a:cubicBezTo>
                  <a:pt x="150134" y="2691187"/>
                  <a:pt x="595239" y="129417"/>
                  <a:pt x="1942649" y="68941"/>
                </a:cubicBezTo>
                <a:lnTo>
                  <a:pt x="8220076" y="0"/>
                </a:lnTo>
                <a:cubicBezTo>
                  <a:pt x="8686952" y="142193"/>
                  <a:pt x="8663971" y="90710"/>
                  <a:pt x="8764362" y="616852"/>
                </a:cubicBezTo>
                <a:cubicBezTo>
                  <a:pt x="8922811" y="1288137"/>
                  <a:pt x="8853868" y="2745614"/>
                  <a:pt x="8822420" y="3156852"/>
                </a:cubicBezTo>
                <a:cubicBezTo>
                  <a:pt x="9031667" y="3162899"/>
                  <a:pt x="8994171" y="3471328"/>
                  <a:pt x="8735332" y="3418109"/>
                </a:cubicBezTo>
                <a:lnTo>
                  <a:pt x="7429049" y="3418110"/>
                </a:lnTo>
                <a:cubicBezTo>
                  <a:pt x="7395182" y="2585957"/>
                  <a:pt x="5825221" y="2578700"/>
                  <a:pt x="5788934" y="3577767"/>
                </a:cubicBezTo>
                <a:lnTo>
                  <a:pt x="2726418" y="3606795"/>
                </a:lnTo>
                <a:cubicBezTo>
                  <a:pt x="2736094" y="2508547"/>
                  <a:pt x="1033086" y="2644013"/>
                  <a:pt x="1013734" y="3621309"/>
                </a:cubicBezTo>
                <a:cubicBezTo>
                  <a:pt x="614591" y="3615867"/>
                  <a:pt x="499683" y="3674228"/>
                  <a:pt x="375102" y="3622219"/>
                </a:cubicBezTo>
                <a:cubicBezTo>
                  <a:pt x="150282" y="3714446"/>
                  <a:pt x="0" y="3349017"/>
                  <a:pt x="309790" y="3294739"/>
                </a:cubicBezTo>
                <a:close/>
              </a:path>
            </a:pathLst>
          </a:custGeom>
          <a:solidFill>
            <a:schemeClr val="accent1">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84" name="Group 283"/>
          <p:cNvGrpSpPr/>
          <p:nvPr/>
        </p:nvGrpSpPr>
        <p:grpSpPr>
          <a:xfrm>
            <a:off x="4815793" y="1159159"/>
            <a:ext cx="108000" cy="144000"/>
            <a:chOff x="1714500" y="781050"/>
            <a:chExt cx="2438400" cy="3619500"/>
          </a:xfrm>
        </p:grpSpPr>
        <p:sp>
          <p:nvSpPr>
            <p:cNvPr id="285" name="Rounded Rectangle 284"/>
            <p:cNvSpPr/>
            <p:nvPr/>
          </p:nvSpPr>
          <p:spPr>
            <a:xfrm>
              <a:off x="1714500" y="781050"/>
              <a:ext cx="2438400" cy="3619500"/>
            </a:xfrm>
            <a:prstGeom prst="roundRect">
              <a:avLst>
                <a:gd name="adj" fmla="val 6079"/>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6" name="Rounded Rectangle 285"/>
            <p:cNvSpPr/>
            <p:nvPr/>
          </p:nvSpPr>
          <p:spPr>
            <a:xfrm>
              <a:off x="1977844" y="1009652"/>
              <a:ext cx="813173" cy="800097"/>
            </a:xfrm>
            <a:prstGeom prst="roundRect">
              <a:avLst>
                <a:gd name="adj" fmla="val 2381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7" name="Rounded Rectangle 286"/>
            <p:cNvSpPr/>
            <p:nvPr/>
          </p:nvSpPr>
          <p:spPr>
            <a:xfrm>
              <a:off x="3009895" y="1009652"/>
              <a:ext cx="813173" cy="800097"/>
            </a:xfrm>
            <a:prstGeom prst="roundRect">
              <a:avLst>
                <a:gd name="adj" fmla="val 2381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8" name="Rounded Rectangle 287"/>
            <p:cNvSpPr/>
            <p:nvPr/>
          </p:nvSpPr>
          <p:spPr>
            <a:xfrm>
              <a:off x="1977844" y="2032519"/>
              <a:ext cx="813173" cy="800097"/>
            </a:xfrm>
            <a:prstGeom prst="roundRect">
              <a:avLst>
                <a:gd name="adj" fmla="val 2381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9" name="Rounded Rectangle 288"/>
            <p:cNvSpPr/>
            <p:nvPr/>
          </p:nvSpPr>
          <p:spPr>
            <a:xfrm>
              <a:off x="3009895" y="2032519"/>
              <a:ext cx="813173" cy="800097"/>
            </a:xfrm>
            <a:prstGeom prst="roundRect">
              <a:avLst>
                <a:gd name="adj" fmla="val 2381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290" name="Group 289"/>
          <p:cNvGrpSpPr/>
          <p:nvPr/>
        </p:nvGrpSpPr>
        <p:grpSpPr>
          <a:xfrm>
            <a:off x="3671956" y="4620988"/>
            <a:ext cx="195195" cy="182207"/>
            <a:chOff x="5086350" y="889054"/>
            <a:chExt cx="3540718" cy="3305121"/>
          </a:xfrm>
          <a:solidFill>
            <a:schemeClr val="tx2">
              <a:lumMod val="50000"/>
            </a:schemeClr>
          </a:solidFill>
        </p:grpSpPr>
        <p:sp>
          <p:nvSpPr>
            <p:cNvPr id="291" name="Freeform 290"/>
            <p:cNvSpPr/>
            <p:nvPr/>
          </p:nvSpPr>
          <p:spPr>
            <a:xfrm>
              <a:off x="5086350" y="889054"/>
              <a:ext cx="3540718" cy="3305121"/>
            </a:xfrm>
            <a:custGeom>
              <a:avLst/>
              <a:gdLst>
                <a:gd name="connsiteX0" fmla="*/ 0 w 6591300"/>
                <a:gd name="connsiteY0" fmla="*/ 2124075 h 4248150"/>
                <a:gd name="connsiteX1" fmla="*/ 1510270 w 6591300"/>
                <a:gd name="connsiteY1" fmla="*/ 338694 h 4248150"/>
                <a:gd name="connsiteX2" fmla="*/ 3295654 w 6591300"/>
                <a:gd name="connsiteY2" fmla="*/ 4 h 4248150"/>
                <a:gd name="connsiteX3" fmla="*/ 5081039 w 6591300"/>
                <a:gd name="connsiteY3" fmla="*/ 338697 h 4248150"/>
                <a:gd name="connsiteX4" fmla="*/ 6591302 w 6591300"/>
                <a:gd name="connsiteY4" fmla="*/ 2124085 h 4248150"/>
                <a:gd name="connsiteX5" fmla="*/ 5081035 w 6591300"/>
                <a:gd name="connsiteY5" fmla="*/ 3909469 h 4248150"/>
                <a:gd name="connsiteX6" fmla="*/ 3295651 w 6591300"/>
                <a:gd name="connsiteY6" fmla="*/ 4248160 h 4248150"/>
                <a:gd name="connsiteX7" fmla="*/ 1510266 w 6591300"/>
                <a:gd name="connsiteY7" fmla="*/ 3909468 h 4248150"/>
                <a:gd name="connsiteX8" fmla="*/ 2 w 6591300"/>
                <a:gd name="connsiteY8" fmla="*/ 2124081 h 4248150"/>
                <a:gd name="connsiteX9" fmla="*/ 0 w 6591300"/>
                <a:gd name="connsiteY9" fmla="*/ 2124075 h 4248150"/>
                <a:gd name="connsiteX10" fmla="*/ 5324545 w 6591300"/>
                <a:gd name="connsiteY10" fmla="*/ 2899197 h 4248150"/>
                <a:gd name="connsiteX11" fmla="*/ 4105137 w 6591300"/>
                <a:gd name="connsiteY11" fmla="*/ 868098 h 4248150"/>
                <a:gd name="connsiteX12" fmla="*/ 2113507 w 6591300"/>
                <a:gd name="connsiteY12" fmla="*/ 954440 h 4248150"/>
                <a:gd name="connsiteX13" fmla="*/ 5324545 w 6591300"/>
                <a:gd name="connsiteY13" fmla="*/ 2899197 h 4248150"/>
                <a:gd name="connsiteX14" fmla="*/ 1266755 w 6591300"/>
                <a:gd name="connsiteY14" fmla="*/ 1348953 h 4248150"/>
                <a:gd name="connsiteX15" fmla="*/ 2486167 w 6591300"/>
                <a:gd name="connsiteY15" fmla="*/ 3380051 h 4248150"/>
                <a:gd name="connsiteX16" fmla="*/ 4477798 w 6591300"/>
                <a:gd name="connsiteY16" fmla="*/ 3293708 h 4248150"/>
                <a:gd name="connsiteX17" fmla="*/ 1266755 w 6591300"/>
                <a:gd name="connsiteY17" fmla="*/ 1348953 h 4248150"/>
                <a:gd name="connsiteX0" fmla="*/ 2735964 w 9327269"/>
                <a:gd name="connsiteY0" fmla="*/ 2543872 h 4667957"/>
                <a:gd name="connsiteX1" fmla="*/ 4246234 w 9327269"/>
                <a:gd name="connsiteY1" fmla="*/ 758491 h 4667957"/>
                <a:gd name="connsiteX2" fmla="*/ 297564 w 9327269"/>
                <a:gd name="connsiteY2" fmla="*/ 3277297 h 4667957"/>
                <a:gd name="connsiteX3" fmla="*/ 6031618 w 9327269"/>
                <a:gd name="connsiteY3" fmla="*/ 419801 h 4667957"/>
                <a:gd name="connsiteX4" fmla="*/ 7817003 w 9327269"/>
                <a:gd name="connsiteY4" fmla="*/ 758494 h 4667957"/>
                <a:gd name="connsiteX5" fmla="*/ 9327266 w 9327269"/>
                <a:gd name="connsiteY5" fmla="*/ 2543882 h 4667957"/>
                <a:gd name="connsiteX6" fmla="*/ 7816999 w 9327269"/>
                <a:gd name="connsiteY6" fmla="*/ 4329266 h 4667957"/>
                <a:gd name="connsiteX7" fmla="*/ 6031615 w 9327269"/>
                <a:gd name="connsiteY7" fmla="*/ 4667957 h 4667957"/>
                <a:gd name="connsiteX8" fmla="*/ 4246230 w 9327269"/>
                <a:gd name="connsiteY8" fmla="*/ 4329265 h 4667957"/>
                <a:gd name="connsiteX9" fmla="*/ 2735966 w 9327269"/>
                <a:gd name="connsiteY9" fmla="*/ 2543878 h 4667957"/>
                <a:gd name="connsiteX10" fmla="*/ 2735964 w 9327269"/>
                <a:gd name="connsiteY10" fmla="*/ 2543872 h 4667957"/>
                <a:gd name="connsiteX11" fmla="*/ 8060509 w 9327269"/>
                <a:gd name="connsiteY11" fmla="*/ 3318994 h 4667957"/>
                <a:gd name="connsiteX12" fmla="*/ 6841101 w 9327269"/>
                <a:gd name="connsiteY12" fmla="*/ 1287895 h 4667957"/>
                <a:gd name="connsiteX13" fmla="*/ 4849471 w 9327269"/>
                <a:gd name="connsiteY13" fmla="*/ 1374237 h 4667957"/>
                <a:gd name="connsiteX14" fmla="*/ 8060509 w 9327269"/>
                <a:gd name="connsiteY14" fmla="*/ 3318994 h 4667957"/>
                <a:gd name="connsiteX15" fmla="*/ 4002719 w 9327269"/>
                <a:gd name="connsiteY15" fmla="*/ 1768750 h 4667957"/>
                <a:gd name="connsiteX16" fmla="*/ 5222131 w 9327269"/>
                <a:gd name="connsiteY16" fmla="*/ 3799848 h 4667957"/>
                <a:gd name="connsiteX17" fmla="*/ 7213762 w 9327269"/>
                <a:gd name="connsiteY17" fmla="*/ 3713505 h 4667957"/>
                <a:gd name="connsiteX18" fmla="*/ 4002719 w 9327269"/>
                <a:gd name="connsiteY18" fmla="*/ 1768750 h 4667957"/>
                <a:gd name="connsiteX0" fmla="*/ 3679313 w 10270618"/>
                <a:gd name="connsiteY0" fmla="*/ 2543872 h 4667957"/>
                <a:gd name="connsiteX1" fmla="*/ 941433 w 10270618"/>
                <a:gd name="connsiteY1" fmla="*/ 3615991 h 4667957"/>
                <a:gd name="connsiteX2" fmla="*/ 1240913 w 10270618"/>
                <a:gd name="connsiteY2" fmla="*/ 3277297 h 4667957"/>
                <a:gd name="connsiteX3" fmla="*/ 6974967 w 10270618"/>
                <a:gd name="connsiteY3" fmla="*/ 419801 h 4667957"/>
                <a:gd name="connsiteX4" fmla="*/ 8760352 w 10270618"/>
                <a:gd name="connsiteY4" fmla="*/ 758494 h 4667957"/>
                <a:gd name="connsiteX5" fmla="*/ 10270615 w 10270618"/>
                <a:gd name="connsiteY5" fmla="*/ 2543882 h 4667957"/>
                <a:gd name="connsiteX6" fmla="*/ 8760348 w 10270618"/>
                <a:gd name="connsiteY6" fmla="*/ 4329266 h 4667957"/>
                <a:gd name="connsiteX7" fmla="*/ 6974964 w 10270618"/>
                <a:gd name="connsiteY7" fmla="*/ 4667957 h 4667957"/>
                <a:gd name="connsiteX8" fmla="*/ 5189579 w 10270618"/>
                <a:gd name="connsiteY8" fmla="*/ 4329265 h 4667957"/>
                <a:gd name="connsiteX9" fmla="*/ 3679315 w 10270618"/>
                <a:gd name="connsiteY9" fmla="*/ 2543878 h 4667957"/>
                <a:gd name="connsiteX10" fmla="*/ 3679313 w 10270618"/>
                <a:gd name="connsiteY10" fmla="*/ 2543872 h 4667957"/>
                <a:gd name="connsiteX11" fmla="*/ 9003858 w 10270618"/>
                <a:gd name="connsiteY11" fmla="*/ 3318994 h 4667957"/>
                <a:gd name="connsiteX12" fmla="*/ 7784450 w 10270618"/>
                <a:gd name="connsiteY12" fmla="*/ 1287895 h 4667957"/>
                <a:gd name="connsiteX13" fmla="*/ 5792820 w 10270618"/>
                <a:gd name="connsiteY13" fmla="*/ 1374237 h 4667957"/>
                <a:gd name="connsiteX14" fmla="*/ 9003858 w 10270618"/>
                <a:gd name="connsiteY14" fmla="*/ 3318994 h 4667957"/>
                <a:gd name="connsiteX15" fmla="*/ 4946068 w 10270618"/>
                <a:gd name="connsiteY15" fmla="*/ 1768750 h 4667957"/>
                <a:gd name="connsiteX16" fmla="*/ 6165480 w 10270618"/>
                <a:gd name="connsiteY16" fmla="*/ 3799848 h 4667957"/>
                <a:gd name="connsiteX17" fmla="*/ 8157111 w 10270618"/>
                <a:gd name="connsiteY17" fmla="*/ 3713505 h 4667957"/>
                <a:gd name="connsiteX18" fmla="*/ 4946068 w 10270618"/>
                <a:gd name="connsiteY18" fmla="*/ 1768750 h 4667957"/>
                <a:gd name="connsiteX0" fmla="*/ 898013 w 10270618"/>
                <a:gd name="connsiteY0" fmla="*/ 4715572 h 4715574"/>
                <a:gd name="connsiteX1" fmla="*/ 941433 w 10270618"/>
                <a:gd name="connsiteY1" fmla="*/ 3615991 h 4715574"/>
                <a:gd name="connsiteX2" fmla="*/ 1240913 w 10270618"/>
                <a:gd name="connsiteY2" fmla="*/ 3277297 h 4715574"/>
                <a:gd name="connsiteX3" fmla="*/ 6974967 w 10270618"/>
                <a:gd name="connsiteY3" fmla="*/ 419801 h 4715574"/>
                <a:gd name="connsiteX4" fmla="*/ 8760352 w 10270618"/>
                <a:gd name="connsiteY4" fmla="*/ 758494 h 4715574"/>
                <a:gd name="connsiteX5" fmla="*/ 10270615 w 10270618"/>
                <a:gd name="connsiteY5" fmla="*/ 2543882 h 4715574"/>
                <a:gd name="connsiteX6" fmla="*/ 8760348 w 10270618"/>
                <a:gd name="connsiteY6" fmla="*/ 4329266 h 4715574"/>
                <a:gd name="connsiteX7" fmla="*/ 6974964 w 10270618"/>
                <a:gd name="connsiteY7" fmla="*/ 4667957 h 4715574"/>
                <a:gd name="connsiteX8" fmla="*/ 5189579 w 10270618"/>
                <a:gd name="connsiteY8" fmla="*/ 4329265 h 4715574"/>
                <a:gd name="connsiteX9" fmla="*/ 3679315 w 10270618"/>
                <a:gd name="connsiteY9" fmla="*/ 2543878 h 4715574"/>
                <a:gd name="connsiteX10" fmla="*/ 898013 w 10270618"/>
                <a:gd name="connsiteY10" fmla="*/ 4715572 h 4715574"/>
                <a:gd name="connsiteX11" fmla="*/ 9003858 w 10270618"/>
                <a:gd name="connsiteY11" fmla="*/ 3318994 h 4715574"/>
                <a:gd name="connsiteX12" fmla="*/ 7784450 w 10270618"/>
                <a:gd name="connsiteY12" fmla="*/ 1287895 h 4715574"/>
                <a:gd name="connsiteX13" fmla="*/ 5792820 w 10270618"/>
                <a:gd name="connsiteY13" fmla="*/ 1374237 h 4715574"/>
                <a:gd name="connsiteX14" fmla="*/ 9003858 w 10270618"/>
                <a:gd name="connsiteY14" fmla="*/ 3318994 h 4715574"/>
                <a:gd name="connsiteX15" fmla="*/ 4946068 w 10270618"/>
                <a:gd name="connsiteY15" fmla="*/ 1768750 h 4715574"/>
                <a:gd name="connsiteX16" fmla="*/ 6165480 w 10270618"/>
                <a:gd name="connsiteY16" fmla="*/ 3799848 h 4715574"/>
                <a:gd name="connsiteX17" fmla="*/ 8157111 w 10270618"/>
                <a:gd name="connsiteY17" fmla="*/ 3713505 h 4715574"/>
                <a:gd name="connsiteX18" fmla="*/ 4946068 w 10270618"/>
                <a:gd name="connsiteY18" fmla="*/ 1768750 h 4715574"/>
                <a:gd name="connsiteX0" fmla="*/ 898013 w 10270618"/>
                <a:gd name="connsiteY0" fmla="*/ 4715572 h 6675694"/>
                <a:gd name="connsiteX1" fmla="*/ 941433 w 10270618"/>
                <a:gd name="connsiteY1" fmla="*/ 3615991 h 6675694"/>
                <a:gd name="connsiteX2" fmla="*/ 1240913 w 10270618"/>
                <a:gd name="connsiteY2" fmla="*/ 3277297 h 6675694"/>
                <a:gd name="connsiteX3" fmla="*/ 6974967 w 10270618"/>
                <a:gd name="connsiteY3" fmla="*/ 419801 h 6675694"/>
                <a:gd name="connsiteX4" fmla="*/ 8760352 w 10270618"/>
                <a:gd name="connsiteY4" fmla="*/ 758494 h 6675694"/>
                <a:gd name="connsiteX5" fmla="*/ 10270615 w 10270618"/>
                <a:gd name="connsiteY5" fmla="*/ 2543882 h 6675694"/>
                <a:gd name="connsiteX6" fmla="*/ 8760348 w 10270618"/>
                <a:gd name="connsiteY6" fmla="*/ 4329266 h 6675694"/>
                <a:gd name="connsiteX7" fmla="*/ 6974964 w 10270618"/>
                <a:gd name="connsiteY7" fmla="*/ 4667957 h 6675694"/>
                <a:gd name="connsiteX8" fmla="*/ 5189579 w 10270618"/>
                <a:gd name="connsiteY8" fmla="*/ 4329265 h 6675694"/>
                <a:gd name="connsiteX9" fmla="*/ 2364865 w 10270618"/>
                <a:gd name="connsiteY9" fmla="*/ 5953828 h 6675694"/>
                <a:gd name="connsiteX10" fmla="*/ 898013 w 10270618"/>
                <a:gd name="connsiteY10" fmla="*/ 4715572 h 6675694"/>
                <a:gd name="connsiteX11" fmla="*/ 9003858 w 10270618"/>
                <a:gd name="connsiteY11" fmla="*/ 3318994 h 6675694"/>
                <a:gd name="connsiteX12" fmla="*/ 7784450 w 10270618"/>
                <a:gd name="connsiteY12" fmla="*/ 1287895 h 6675694"/>
                <a:gd name="connsiteX13" fmla="*/ 5792820 w 10270618"/>
                <a:gd name="connsiteY13" fmla="*/ 1374237 h 6675694"/>
                <a:gd name="connsiteX14" fmla="*/ 9003858 w 10270618"/>
                <a:gd name="connsiteY14" fmla="*/ 3318994 h 6675694"/>
                <a:gd name="connsiteX15" fmla="*/ 4946068 w 10270618"/>
                <a:gd name="connsiteY15" fmla="*/ 1768750 h 6675694"/>
                <a:gd name="connsiteX16" fmla="*/ 6165480 w 10270618"/>
                <a:gd name="connsiteY16" fmla="*/ 3799848 h 6675694"/>
                <a:gd name="connsiteX17" fmla="*/ 8157111 w 10270618"/>
                <a:gd name="connsiteY17" fmla="*/ 3713505 h 6675694"/>
                <a:gd name="connsiteX18" fmla="*/ 4946068 w 10270618"/>
                <a:gd name="connsiteY18" fmla="*/ 1768750 h 6675694"/>
                <a:gd name="connsiteX0" fmla="*/ 898013 w 10270618"/>
                <a:gd name="connsiteY0" fmla="*/ 4715572 h 6675694"/>
                <a:gd name="connsiteX1" fmla="*/ 941433 w 10270618"/>
                <a:gd name="connsiteY1" fmla="*/ 3615991 h 6675694"/>
                <a:gd name="connsiteX2" fmla="*/ 1240913 w 10270618"/>
                <a:gd name="connsiteY2" fmla="*/ 3277297 h 6675694"/>
                <a:gd name="connsiteX3" fmla="*/ 6974967 w 10270618"/>
                <a:gd name="connsiteY3" fmla="*/ 419801 h 6675694"/>
                <a:gd name="connsiteX4" fmla="*/ 8760352 w 10270618"/>
                <a:gd name="connsiteY4" fmla="*/ 758494 h 6675694"/>
                <a:gd name="connsiteX5" fmla="*/ 10270615 w 10270618"/>
                <a:gd name="connsiteY5" fmla="*/ 2543882 h 6675694"/>
                <a:gd name="connsiteX6" fmla="*/ 8760348 w 10270618"/>
                <a:gd name="connsiteY6" fmla="*/ 4329266 h 6675694"/>
                <a:gd name="connsiteX7" fmla="*/ 6974964 w 10270618"/>
                <a:gd name="connsiteY7" fmla="*/ 4667957 h 6675694"/>
                <a:gd name="connsiteX8" fmla="*/ 2713079 w 10270618"/>
                <a:gd name="connsiteY8" fmla="*/ 6215215 h 6675694"/>
                <a:gd name="connsiteX9" fmla="*/ 2364865 w 10270618"/>
                <a:gd name="connsiteY9" fmla="*/ 5953828 h 6675694"/>
                <a:gd name="connsiteX10" fmla="*/ 898013 w 10270618"/>
                <a:gd name="connsiteY10" fmla="*/ 4715572 h 6675694"/>
                <a:gd name="connsiteX11" fmla="*/ 9003858 w 10270618"/>
                <a:gd name="connsiteY11" fmla="*/ 3318994 h 6675694"/>
                <a:gd name="connsiteX12" fmla="*/ 7784450 w 10270618"/>
                <a:gd name="connsiteY12" fmla="*/ 1287895 h 6675694"/>
                <a:gd name="connsiteX13" fmla="*/ 5792820 w 10270618"/>
                <a:gd name="connsiteY13" fmla="*/ 1374237 h 6675694"/>
                <a:gd name="connsiteX14" fmla="*/ 9003858 w 10270618"/>
                <a:gd name="connsiteY14" fmla="*/ 3318994 h 6675694"/>
                <a:gd name="connsiteX15" fmla="*/ 4946068 w 10270618"/>
                <a:gd name="connsiteY15" fmla="*/ 1768750 h 6675694"/>
                <a:gd name="connsiteX16" fmla="*/ 6165480 w 10270618"/>
                <a:gd name="connsiteY16" fmla="*/ 3799848 h 6675694"/>
                <a:gd name="connsiteX17" fmla="*/ 8157111 w 10270618"/>
                <a:gd name="connsiteY17" fmla="*/ 3713505 h 6675694"/>
                <a:gd name="connsiteX18" fmla="*/ 4946068 w 10270618"/>
                <a:gd name="connsiteY18" fmla="*/ 1768750 h 6675694"/>
                <a:gd name="connsiteX0" fmla="*/ 898013 w 10270618"/>
                <a:gd name="connsiteY0" fmla="*/ 4715572 h 6675694"/>
                <a:gd name="connsiteX1" fmla="*/ 941433 w 10270618"/>
                <a:gd name="connsiteY1" fmla="*/ 3615991 h 6675694"/>
                <a:gd name="connsiteX2" fmla="*/ 1240913 w 10270618"/>
                <a:gd name="connsiteY2" fmla="*/ 3277297 h 6675694"/>
                <a:gd name="connsiteX3" fmla="*/ 6974967 w 10270618"/>
                <a:gd name="connsiteY3" fmla="*/ 419801 h 6675694"/>
                <a:gd name="connsiteX4" fmla="*/ 8760352 w 10270618"/>
                <a:gd name="connsiteY4" fmla="*/ 758494 h 6675694"/>
                <a:gd name="connsiteX5" fmla="*/ 10270615 w 10270618"/>
                <a:gd name="connsiteY5" fmla="*/ 2543882 h 6675694"/>
                <a:gd name="connsiteX6" fmla="*/ 8760348 w 10270618"/>
                <a:gd name="connsiteY6" fmla="*/ 4329266 h 6675694"/>
                <a:gd name="connsiteX7" fmla="*/ 3679314 w 10270618"/>
                <a:gd name="connsiteY7" fmla="*/ 6172907 h 6675694"/>
                <a:gd name="connsiteX8" fmla="*/ 2713079 w 10270618"/>
                <a:gd name="connsiteY8" fmla="*/ 6215215 h 6675694"/>
                <a:gd name="connsiteX9" fmla="*/ 2364865 w 10270618"/>
                <a:gd name="connsiteY9" fmla="*/ 5953828 h 6675694"/>
                <a:gd name="connsiteX10" fmla="*/ 898013 w 10270618"/>
                <a:gd name="connsiteY10" fmla="*/ 4715572 h 6675694"/>
                <a:gd name="connsiteX11" fmla="*/ 9003858 w 10270618"/>
                <a:gd name="connsiteY11" fmla="*/ 3318994 h 6675694"/>
                <a:gd name="connsiteX12" fmla="*/ 7784450 w 10270618"/>
                <a:gd name="connsiteY12" fmla="*/ 1287895 h 6675694"/>
                <a:gd name="connsiteX13" fmla="*/ 5792820 w 10270618"/>
                <a:gd name="connsiteY13" fmla="*/ 1374237 h 6675694"/>
                <a:gd name="connsiteX14" fmla="*/ 9003858 w 10270618"/>
                <a:gd name="connsiteY14" fmla="*/ 3318994 h 6675694"/>
                <a:gd name="connsiteX15" fmla="*/ 4946068 w 10270618"/>
                <a:gd name="connsiteY15" fmla="*/ 1768750 h 6675694"/>
                <a:gd name="connsiteX16" fmla="*/ 6165480 w 10270618"/>
                <a:gd name="connsiteY16" fmla="*/ 3799848 h 6675694"/>
                <a:gd name="connsiteX17" fmla="*/ 8157111 w 10270618"/>
                <a:gd name="connsiteY17" fmla="*/ 3713505 h 6675694"/>
                <a:gd name="connsiteX18" fmla="*/ 4946068 w 10270618"/>
                <a:gd name="connsiteY18" fmla="*/ 1768750 h 6675694"/>
                <a:gd name="connsiteX0" fmla="*/ 898013 w 10270618"/>
                <a:gd name="connsiteY0" fmla="*/ 4715572 h 6675694"/>
                <a:gd name="connsiteX1" fmla="*/ 941433 w 10270618"/>
                <a:gd name="connsiteY1" fmla="*/ 3615991 h 6675694"/>
                <a:gd name="connsiteX2" fmla="*/ 1240913 w 10270618"/>
                <a:gd name="connsiteY2" fmla="*/ 3277297 h 6675694"/>
                <a:gd name="connsiteX3" fmla="*/ 6974967 w 10270618"/>
                <a:gd name="connsiteY3" fmla="*/ 419801 h 6675694"/>
                <a:gd name="connsiteX4" fmla="*/ 8760352 w 10270618"/>
                <a:gd name="connsiteY4" fmla="*/ 758494 h 6675694"/>
                <a:gd name="connsiteX5" fmla="*/ 10270615 w 10270618"/>
                <a:gd name="connsiteY5" fmla="*/ 2543882 h 6675694"/>
                <a:gd name="connsiteX6" fmla="*/ 3997848 w 10270618"/>
                <a:gd name="connsiteY6" fmla="*/ 5853266 h 6675694"/>
                <a:gd name="connsiteX7" fmla="*/ 3679314 w 10270618"/>
                <a:gd name="connsiteY7" fmla="*/ 6172907 h 6675694"/>
                <a:gd name="connsiteX8" fmla="*/ 2713079 w 10270618"/>
                <a:gd name="connsiteY8" fmla="*/ 6215215 h 6675694"/>
                <a:gd name="connsiteX9" fmla="*/ 2364865 w 10270618"/>
                <a:gd name="connsiteY9" fmla="*/ 5953828 h 6675694"/>
                <a:gd name="connsiteX10" fmla="*/ 898013 w 10270618"/>
                <a:gd name="connsiteY10" fmla="*/ 4715572 h 6675694"/>
                <a:gd name="connsiteX11" fmla="*/ 9003858 w 10270618"/>
                <a:gd name="connsiteY11" fmla="*/ 3318994 h 6675694"/>
                <a:gd name="connsiteX12" fmla="*/ 7784450 w 10270618"/>
                <a:gd name="connsiteY12" fmla="*/ 1287895 h 6675694"/>
                <a:gd name="connsiteX13" fmla="*/ 5792820 w 10270618"/>
                <a:gd name="connsiteY13" fmla="*/ 1374237 h 6675694"/>
                <a:gd name="connsiteX14" fmla="*/ 9003858 w 10270618"/>
                <a:gd name="connsiteY14" fmla="*/ 3318994 h 6675694"/>
                <a:gd name="connsiteX15" fmla="*/ 4946068 w 10270618"/>
                <a:gd name="connsiteY15" fmla="*/ 1768750 h 6675694"/>
                <a:gd name="connsiteX16" fmla="*/ 6165480 w 10270618"/>
                <a:gd name="connsiteY16" fmla="*/ 3799848 h 6675694"/>
                <a:gd name="connsiteX17" fmla="*/ 8157111 w 10270618"/>
                <a:gd name="connsiteY17" fmla="*/ 3713505 h 6675694"/>
                <a:gd name="connsiteX18" fmla="*/ 4946068 w 10270618"/>
                <a:gd name="connsiteY18" fmla="*/ 1768750 h 6675694"/>
                <a:gd name="connsiteX0" fmla="*/ 898013 w 9982634"/>
                <a:gd name="connsiteY0" fmla="*/ 4715572 h 6675694"/>
                <a:gd name="connsiteX1" fmla="*/ 941433 w 9982634"/>
                <a:gd name="connsiteY1" fmla="*/ 3615991 h 6675694"/>
                <a:gd name="connsiteX2" fmla="*/ 1240913 w 9982634"/>
                <a:gd name="connsiteY2" fmla="*/ 3277297 h 6675694"/>
                <a:gd name="connsiteX3" fmla="*/ 6974967 w 9982634"/>
                <a:gd name="connsiteY3" fmla="*/ 419801 h 6675694"/>
                <a:gd name="connsiteX4" fmla="*/ 8760352 w 9982634"/>
                <a:gd name="connsiteY4" fmla="*/ 758494 h 6675694"/>
                <a:gd name="connsiteX5" fmla="*/ 3926965 w 9982634"/>
                <a:gd name="connsiteY5" fmla="*/ 4887032 h 6675694"/>
                <a:gd name="connsiteX6" fmla="*/ 3997848 w 9982634"/>
                <a:gd name="connsiteY6" fmla="*/ 5853266 h 6675694"/>
                <a:gd name="connsiteX7" fmla="*/ 3679314 w 9982634"/>
                <a:gd name="connsiteY7" fmla="*/ 6172907 h 6675694"/>
                <a:gd name="connsiteX8" fmla="*/ 2713079 w 9982634"/>
                <a:gd name="connsiteY8" fmla="*/ 6215215 h 6675694"/>
                <a:gd name="connsiteX9" fmla="*/ 2364865 w 9982634"/>
                <a:gd name="connsiteY9" fmla="*/ 5953828 h 6675694"/>
                <a:gd name="connsiteX10" fmla="*/ 898013 w 9982634"/>
                <a:gd name="connsiteY10" fmla="*/ 4715572 h 6675694"/>
                <a:gd name="connsiteX11" fmla="*/ 9003858 w 9982634"/>
                <a:gd name="connsiteY11" fmla="*/ 3318994 h 6675694"/>
                <a:gd name="connsiteX12" fmla="*/ 7784450 w 9982634"/>
                <a:gd name="connsiteY12" fmla="*/ 1287895 h 6675694"/>
                <a:gd name="connsiteX13" fmla="*/ 5792820 w 9982634"/>
                <a:gd name="connsiteY13" fmla="*/ 1374237 h 6675694"/>
                <a:gd name="connsiteX14" fmla="*/ 9003858 w 9982634"/>
                <a:gd name="connsiteY14" fmla="*/ 3318994 h 6675694"/>
                <a:gd name="connsiteX15" fmla="*/ 4946068 w 9982634"/>
                <a:gd name="connsiteY15" fmla="*/ 1768750 h 6675694"/>
                <a:gd name="connsiteX16" fmla="*/ 6165480 w 9982634"/>
                <a:gd name="connsiteY16" fmla="*/ 3799848 h 6675694"/>
                <a:gd name="connsiteX17" fmla="*/ 8157111 w 9982634"/>
                <a:gd name="connsiteY17" fmla="*/ 3713505 h 6675694"/>
                <a:gd name="connsiteX18" fmla="*/ 4946068 w 9982634"/>
                <a:gd name="connsiteY18" fmla="*/ 1768750 h 6675694"/>
                <a:gd name="connsiteX0" fmla="*/ 898013 w 9982634"/>
                <a:gd name="connsiteY0" fmla="*/ 4334572 h 6675694"/>
                <a:gd name="connsiteX1" fmla="*/ 941433 w 9982634"/>
                <a:gd name="connsiteY1" fmla="*/ 3615991 h 6675694"/>
                <a:gd name="connsiteX2" fmla="*/ 1240913 w 9982634"/>
                <a:gd name="connsiteY2" fmla="*/ 3277297 h 6675694"/>
                <a:gd name="connsiteX3" fmla="*/ 6974967 w 9982634"/>
                <a:gd name="connsiteY3" fmla="*/ 419801 h 6675694"/>
                <a:gd name="connsiteX4" fmla="*/ 8760352 w 9982634"/>
                <a:gd name="connsiteY4" fmla="*/ 758494 h 6675694"/>
                <a:gd name="connsiteX5" fmla="*/ 3926965 w 9982634"/>
                <a:gd name="connsiteY5" fmla="*/ 4887032 h 6675694"/>
                <a:gd name="connsiteX6" fmla="*/ 3997848 w 9982634"/>
                <a:gd name="connsiteY6" fmla="*/ 5853266 h 6675694"/>
                <a:gd name="connsiteX7" fmla="*/ 3679314 w 9982634"/>
                <a:gd name="connsiteY7" fmla="*/ 6172907 h 6675694"/>
                <a:gd name="connsiteX8" fmla="*/ 2713079 w 9982634"/>
                <a:gd name="connsiteY8" fmla="*/ 6215215 h 6675694"/>
                <a:gd name="connsiteX9" fmla="*/ 2364865 w 9982634"/>
                <a:gd name="connsiteY9" fmla="*/ 5953828 h 6675694"/>
                <a:gd name="connsiteX10" fmla="*/ 898013 w 9982634"/>
                <a:gd name="connsiteY10" fmla="*/ 4334572 h 6675694"/>
                <a:gd name="connsiteX11" fmla="*/ 9003858 w 9982634"/>
                <a:gd name="connsiteY11" fmla="*/ 3318994 h 6675694"/>
                <a:gd name="connsiteX12" fmla="*/ 7784450 w 9982634"/>
                <a:gd name="connsiteY12" fmla="*/ 1287895 h 6675694"/>
                <a:gd name="connsiteX13" fmla="*/ 5792820 w 9982634"/>
                <a:gd name="connsiteY13" fmla="*/ 1374237 h 6675694"/>
                <a:gd name="connsiteX14" fmla="*/ 9003858 w 9982634"/>
                <a:gd name="connsiteY14" fmla="*/ 3318994 h 6675694"/>
                <a:gd name="connsiteX15" fmla="*/ 4946068 w 9982634"/>
                <a:gd name="connsiteY15" fmla="*/ 1768750 h 6675694"/>
                <a:gd name="connsiteX16" fmla="*/ 6165480 w 9982634"/>
                <a:gd name="connsiteY16" fmla="*/ 3799848 h 6675694"/>
                <a:gd name="connsiteX17" fmla="*/ 8157111 w 9982634"/>
                <a:gd name="connsiteY17" fmla="*/ 3713505 h 6675694"/>
                <a:gd name="connsiteX18" fmla="*/ 4946068 w 9982634"/>
                <a:gd name="connsiteY18" fmla="*/ 1768750 h 6675694"/>
                <a:gd name="connsiteX0" fmla="*/ 898013 w 9982634"/>
                <a:gd name="connsiteY0" fmla="*/ 4334572 h 6675694"/>
                <a:gd name="connsiteX1" fmla="*/ 941433 w 9982634"/>
                <a:gd name="connsiteY1" fmla="*/ 3615991 h 6675694"/>
                <a:gd name="connsiteX2" fmla="*/ 1240913 w 9982634"/>
                <a:gd name="connsiteY2" fmla="*/ 3277297 h 6675694"/>
                <a:gd name="connsiteX3" fmla="*/ 6974967 w 9982634"/>
                <a:gd name="connsiteY3" fmla="*/ 419801 h 6675694"/>
                <a:gd name="connsiteX4" fmla="*/ 8760352 w 9982634"/>
                <a:gd name="connsiteY4" fmla="*/ 758494 h 6675694"/>
                <a:gd name="connsiteX5" fmla="*/ 3926965 w 9982634"/>
                <a:gd name="connsiteY5" fmla="*/ 4887032 h 6675694"/>
                <a:gd name="connsiteX6" fmla="*/ 3997848 w 9982634"/>
                <a:gd name="connsiteY6" fmla="*/ 5853266 h 6675694"/>
                <a:gd name="connsiteX7" fmla="*/ 3679314 w 9982634"/>
                <a:gd name="connsiteY7" fmla="*/ 6172907 h 6675694"/>
                <a:gd name="connsiteX8" fmla="*/ 2713079 w 9982634"/>
                <a:gd name="connsiteY8" fmla="*/ 6215215 h 6675694"/>
                <a:gd name="connsiteX9" fmla="*/ 2364865 w 9982634"/>
                <a:gd name="connsiteY9" fmla="*/ 5953828 h 6675694"/>
                <a:gd name="connsiteX10" fmla="*/ 478913 w 9982634"/>
                <a:gd name="connsiteY10" fmla="*/ 4572697 h 6675694"/>
                <a:gd name="connsiteX11" fmla="*/ 898013 w 9982634"/>
                <a:gd name="connsiteY11" fmla="*/ 4334572 h 6675694"/>
                <a:gd name="connsiteX12" fmla="*/ 9003858 w 9982634"/>
                <a:gd name="connsiteY12" fmla="*/ 3318994 h 6675694"/>
                <a:gd name="connsiteX13" fmla="*/ 7784450 w 9982634"/>
                <a:gd name="connsiteY13" fmla="*/ 1287895 h 6675694"/>
                <a:gd name="connsiteX14" fmla="*/ 5792820 w 9982634"/>
                <a:gd name="connsiteY14" fmla="*/ 1374237 h 6675694"/>
                <a:gd name="connsiteX15" fmla="*/ 9003858 w 9982634"/>
                <a:gd name="connsiteY15" fmla="*/ 3318994 h 6675694"/>
                <a:gd name="connsiteX16" fmla="*/ 4946068 w 9982634"/>
                <a:gd name="connsiteY16" fmla="*/ 1768750 h 6675694"/>
                <a:gd name="connsiteX17" fmla="*/ 6165480 w 9982634"/>
                <a:gd name="connsiteY17" fmla="*/ 3799848 h 6675694"/>
                <a:gd name="connsiteX18" fmla="*/ 8157111 w 9982634"/>
                <a:gd name="connsiteY18" fmla="*/ 3713505 h 6675694"/>
                <a:gd name="connsiteX19" fmla="*/ 4946068 w 9982634"/>
                <a:gd name="connsiteY19" fmla="*/ 1768750 h 6675694"/>
                <a:gd name="connsiteX0" fmla="*/ 898013 w 9982634"/>
                <a:gd name="connsiteY0" fmla="*/ 4334572 h 6675694"/>
                <a:gd name="connsiteX1" fmla="*/ 941433 w 9982634"/>
                <a:gd name="connsiteY1" fmla="*/ 3615991 h 6675694"/>
                <a:gd name="connsiteX2" fmla="*/ 1240913 w 9982634"/>
                <a:gd name="connsiteY2" fmla="*/ 3277297 h 6675694"/>
                <a:gd name="connsiteX3" fmla="*/ 6974967 w 9982634"/>
                <a:gd name="connsiteY3" fmla="*/ 419801 h 6675694"/>
                <a:gd name="connsiteX4" fmla="*/ 8760352 w 9982634"/>
                <a:gd name="connsiteY4" fmla="*/ 758494 h 6675694"/>
                <a:gd name="connsiteX5" fmla="*/ 3926965 w 9982634"/>
                <a:gd name="connsiteY5" fmla="*/ 4887032 h 6675694"/>
                <a:gd name="connsiteX6" fmla="*/ 3997848 w 9982634"/>
                <a:gd name="connsiteY6" fmla="*/ 5853266 h 6675694"/>
                <a:gd name="connsiteX7" fmla="*/ 3679314 w 9982634"/>
                <a:gd name="connsiteY7" fmla="*/ 6172907 h 6675694"/>
                <a:gd name="connsiteX8" fmla="*/ 2713079 w 9982634"/>
                <a:gd name="connsiteY8" fmla="*/ 6215215 h 6675694"/>
                <a:gd name="connsiteX9" fmla="*/ 2364865 w 9982634"/>
                <a:gd name="connsiteY9" fmla="*/ 5953828 h 6675694"/>
                <a:gd name="connsiteX10" fmla="*/ 783713 w 9982634"/>
                <a:gd name="connsiteY10" fmla="*/ 5639497 h 6675694"/>
                <a:gd name="connsiteX11" fmla="*/ 478913 w 9982634"/>
                <a:gd name="connsiteY11" fmla="*/ 4572697 h 6675694"/>
                <a:gd name="connsiteX12" fmla="*/ 898013 w 9982634"/>
                <a:gd name="connsiteY12" fmla="*/ 4334572 h 6675694"/>
                <a:gd name="connsiteX13" fmla="*/ 9003858 w 9982634"/>
                <a:gd name="connsiteY13" fmla="*/ 3318994 h 6675694"/>
                <a:gd name="connsiteX14" fmla="*/ 7784450 w 9982634"/>
                <a:gd name="connsiteY14" fmla="*/ 1287895 h 6675694"/>
                <a:gd name="connsiteX15" fmla="*/ 5792820 w 9982634"/>
                <a:gd name="connsiteY15" fmla="*/ 1374237 h 6675694"/>
                <a:gd name="connsiteX16" fmla="*/ 9003858 w 9982634"/>
                <a:gd name="connsiteY16" fmla="*/ 3318994 h 6675694"/>
                <a:gd name="connsiteX17" fmla="*/ 4946068 w 9982634"/>
                <a:gd name="connsiteY17" fmla="*/ 1768750 h 6675694"/>
                <a:gd name="connsiteX18" fmla="*/ 6165480 w 9982634"/>
                <a:gd name="connsiteY18" fmla="*/ 3799848 h 6675694"/>
                <a:gd name="connsiteX19" fmla="*/ 8157111 w 9982634"/>
                <a:gd name="connsiteY19" fmla="*/ 3713505 h 6675694"/>
                <a:gd name="connsiteX20" fmla="*/ 4946068 w 9982634"/>
                <a:gd name="connsiteY20" fmla="*/ 1768750 h 6675694"/>
                <a:gd name="connsiteX0" fmla="*/ 898013 w 9982634"/>
                <a:gd name="connsiteY0" fmla="*/ 4334572 h 6675694"/>
                <a:gd name="connsiteX1" fmla="*/ 941433 w 9982634"/>
                <a:gd name="connsiteY1" fmla="*/ 3615991 h 6675694"/>
                <a:gd name="connsiteX2" fmla="*/ 1240913 w 9982634"/>
                <a:gd name="connsiteY2" fmla="*/ 3277297 h 6675694"/>
                <a:gd name="connsiteX3" fmla="*/ 6974967 w 9982634"/>
                <a:gd name="connsiteY3" fmla="*/ 419801 h 6675694"/>
                <a:gd name="connsiteX4" fmla="*/ 8760352 w 9982634"/>
                <a:gd name="connsiteY4" fmla="*/ 758494 h 6675694"/>
                <a:gd name="connsiteX5" fmla="*/ 3926965 w 9982634"/>
                <a:gd name="connsiteY5" fmla="*/ 4887032 h 6675694"/>
                <a:gd name="connsiteX6" fmla="*/ 3997848 w 9982634"/>
                <a:gd name="connsiteY6" fmla="*/ 5853266 h 6675694"/>
                <a:gd name="connsiteX7" fmla="*/ 3679314 w 9982634"/>
                <a:gd name="connsiteY7" fmla="*/ 6172907 h 6675694"/>
                <a:gd name="connsiteX8" fmla="*/ 2713079 w 9982634"/>
                <a:gd name="connsiteY8" fmla="*/ 6215215 h 6675694"/>
                <a:gd name="connsiteX9" fmla="*/ 2364865 w 9982634"/>
                <a:gd name="connsiteY9" fmla="*/ 5953828 h 6675694"/>
                <a:gd name="connsiteX10" fmla="*/ 1564763 w 9982634"/>
                <a:gd name="connsiteY10" fmla="*/ 6268147 h 6675694"/>
                <a:gd name="connsiteX11" fmla="*/ 783713 w 9982634"/>
                <a:gd name="connsiteY11" fmla="*/ 5639497 h 6675694"/>
                <a:gd name="connsiteX12" fmla="*/ 478913 w 9982634"/>
                <a:gd name="connsiteY12" fmla="*/ 4572697 h 6675694"/>
                <a:gd name="connsiteX13" fmla="*/ 898013 w 9982634"/>
                <a:gd name="connsiteY13" fmla="*/ 4334572 h 6675694"/>
                <a:gd name="connsiteX14" fmla="*/ 9003858 w 9982634"/>
                <a:gd name="connsiteY14" fmla="*/ 3318994 h 6675694"/>
                <a:gd name="connsiteX15" fmla="*/ 7784450 w 9982634"/>
                <a:gd name="connsiteY15" fmla="*/ 1287895 h 6675694"/>
                <a:gd name="connsiteX16" fmla="*/ 5792820 w 9982634"/>
                <a:gd name="connsiteY16" fmla="*/ 1374237 h 6675694"/>
                <a:gd name="connsiteX17" fmla="*/ 9003858 w 9982634"/>
                <a:gd name="connsiteY17" fmla="*/ 3318994 h 6675694"/>
                <a:gd name="connsiteX18" fmla="*/ 4946068 w 9982634"/>
                <a:gd name="connsiteY18" fmla="*/ 1768750 h 6675694"/>
                <a:gd name="connsiteX19" fmla="*/ 6165480 w 9982634"/>
                <a:gd name="connsiteY19" fmla="*/ 3799848 h 6675694"/>
                <a:gd name="connsiteX20" fmla="*/ 8157111 w 9982634"/>
                <a:gd name="connsiteY20" fmla="*/ 3713505 h 6675694"/>
                <a:gd name="connsiteX21" fmla="*/ 4946068 w 9982634"/>
                <a:gd name="connsiteY21" fmla="*/ 1768750 h 6675694"/>
                <a:gd name="connsiteX0" fmla="*/ 898013 w 9982634"/>
                <a:gd name="connsiteY0" fmla="*/ 4334572 h 6675694"/>
                <a:gd name="connsiteX1" fmla="*/ 941433 w 9982634"/>
                <a:gd name="connsiteY1" fmla="*/ 3615991 h 6675694"/>
                <a:gd name="connsiteX2" fmla="*/ 1240913 w 9982634"/>
                <a:gd name="connsiteY2" fmla="*/ 3277297 h 6675694"/>
                <a:gd name="connsiteX3" fmla="*/ 6974967 w 9982634"/>
                <a:gd name="connsiteY3" fmla="*/ 419801 h 6675694"/>
                <a:gd name="connsiteX4" fmla="*/ 8760352 w 9982634"/>
                <a:gd name="connsiteY4" fmla="*/ 758494 h 6675694"/>
                <a:gd name="connsiteX5" fmla="*/ 3926965 w 9982634"/>
                <a:gd name="connsiteY5" fmla="*/ 4887032 h 6675694"/>
                <a:gd name="connsiteX6" fmla="*/ 3997848 w 9982634"/>
                <a:gd name="connsiteY6" fmla="*/ 5853266 h 6675694"/>
                <a:gd name="connsiteX7" fmla="*/ 3679314 w 9982634"/>
                <a:gd name="connsiteY7" fmla="*/ 6172907 h 6675694"/>
                <a:gd name="connsiteX8" fmla="*/ 2713079 w 9982634"/>
                <a:gd name="connsiteY8" fmla="*/ 6215215 h 6675694"/>
                <a:gd name="connsiteX9" fmla="*/ 2364865 w 9982634"/>
                <a:gd name="connsiteY9" fmla="*/ 5953828 h 6675694"/>
                <a:gd name="connsiteX10" fmla="*/ 1012313 w 9982634"/>
                <a:gd name="connsiteY10" fmla="*/ 4801297 h 6675694"/>
                <a:gd name="connsiteX11" fmla="*/ 1564763 w 9982634"/>
                <a:gd name="connsiteY11" fmla="*/ 6268147 h 6675694"/>
                <a:gd name="connsiteX12" fmla="*/ 783713 w 9982634"/>
                <a:gd name="connsiteY12" fmla="*/ 5639497 h 6675694"/>
                <a:gd name="connsiteX13" fmla="*/ 478913 w 9982634"/>
                <a:gd name="connsiteY13" fmla="*/ 4572697 h 6675694"/>
                <a:gd name="connsiteX14" fmla="*/ 898013 w 9982634"/>
                <a:gd name="connsiteY14" fmla="*/ 4334572 h 6675694"/>
                <a:gd name="connsiteX15" fmla="*/ 9003858 w 9982634"/>
                <a:gd name="connsiteY15" fmla="*/ 3318994 h 6675694"/>
                <a:gd name="connsiteX16" fmla="*/ 7784450 w 9982634"/>
                <a:gd name="connsiteY16" fmla="*/ 1287895 h 6675694"/>
                <a:gd name="connsiteX17" fmla="*/ 5792820 w 9982634"/>
                <a:gd name="connsiteY17" fmla="*/ 1374237 h 6675694"/>
                <a:gd name="connsiteX18" fmla="*/ 9003858 w 9982634"/>
                <a:gd name="connsiteY18" fmla="*/ 3318994 h 6675694"/>
                <a:gd name="connsiteX19" fmla="*/ 4946068 w 9982634"/>
                <a:gd name="connsiteY19" fmla="*/ 1768750 h 6675694"/>
                <a:gd name="connsiteX20" fmla="*/ 6165480 w 9982634"/>
                <a:gd name="connsiteY20" fmla="*/ 3799848 h 6675694"/>
                <a:gd name="connsiteX21" fmla="*/ 8157111 w 9982634"/>
                <a:gd name="connsiteY21" fmla="*/ 3713505 h 6675694"/>
                <a:gd name="connsiteX22" fmla="*/ 4946068 w 9982634"/>
                <a:gd name="connsiteY22" fmla="*/ 1768750 h 6675694"/>
                <a:gd name="connsiteX0" fmla="*/ 898013 w 9982634"/>
                <a:gd name="connsiteY0" fmla="*/ 4334572 h 6523294"/>
                <a:gd name="connsiteX1" fmla="*/ 941433 w 9982634"/>
                <a:gd name="connsiteY1" fmla="*/ 3615991 h 6523294"/>
                <a:gd name="connsiteX2" fmla="*/ 1240913 w 9982634"/>
                <a:gd name="connsiteY2" fmla="*/ 3277297 h 6523294"/>
                <a:gd name="connsiteX3" fmla="*/ 6974967 w 9982634"/>
                <a:gd name="connsiteY3" fmla="*/ 419801 h 6523294"/>
                <a:gd name="connsiteX4" fmla="*/ 8760352 w 9982634"/>
                <a:gd name="connsiteY4" fmla="*/ 758494 h 6523294"/>
                <a:gd name="connsiteX5" fmla="*/ 3926965 w 9982634"/>
                <a:gd name="connsiteY5" fmla="*/ 4887032 h 6523294"/>
                <a:gd name="connsiteX6" fmla="*/ 3997848 w 9982634"/>
                <a:gd name="connsiteY6" fmla="*/ 5853266 h 6523294"/>
                <a:gd name="connsiteX7" fmla="*/ 3679314 w 9982634"/>
                <a:gd name="connsiteY7" fmla="*/ 6172907 h 6523294"/>
                <a:gd name="connsiteX8" fmla="*/ 2713079 w 9982634"/>
                <a:gd name="connsiteY8" fmla="*/ 6215215 h 6523294"/>
                <a:gd name="connsiteX9" fmla="*/ 1983865 w 9982634"/>
                <a:gd name="connsiteY9" fmla="*/ 5801428 h 6523294"/>
                <a:gd name="connsiteX10" fmla="*/ 1012313 w 9982634"/>
                <a:gd name="connsiteY10" fmla="*/ 4801297 h 6523294"/>
                <a:gd name="connsiteX11" fmla="*/ 1564763 w 9982634"/>
                <a:gd name="connsiteY11" fmla="*/ 6268147 h 6523294"/>
                <a:gd name="connsiteX12" fmla="*/ 783713 w 9982634"/>
                <a:gd name="connsiteY12" fmla="*/ 5639497 h 6523294"/>
                <a:gd name="connsiteX13" fmla="*/ 478913 w 9982634"/>
                <a:gd name="connsiteY13" fmla="*/ 4572697 h 6523294"/>
                <a:gd name="connsiteX14" fmla="*/ 898013 w 9982634"/>
                <a:gd name="connsiteY14" fmla="*/ 4334572 h 6523294"/>
                <a:gd name="connsiteX15" fmla="*/ 9003858 w 9982634"/>
                <a:gd name="connsiteY15" fmla="*/ 3318994 h 6523294"/>
                <a:gd name="connsiteX16" fmla="*/ 7784450 w 9982634"/>
                <a:gd name="connsiteY16" fmla="*/ 1287895 h 6523294"/>
                <a:gd name="connsiteX17" fmla="*/ 5792820 w 9982634"/>
                <a:gd name="connsiteY17" fmla="*/ 1374237 h 6523294"/>
                <a:gd name="connsiteX18" fmla="*/ 9003858 w 9982634"/>
                <a:gd name="connsiteY18" fmla="*/ 3318994 h 6523294"/>
                <a:gd name="connsiteX19" fmla="*/ 4946068 w 9982634"/>
                <a:gd name="connsiteY19" fmla="*/ 1768750 h 6523294"/>
                <a:gd name="connsiteX20" fmla="*/ 6165480 w 9982634"/>
                <a:gd name="connsiteY20" fmla="*/ 3799848 h 6523294"/>
                <a:gd name="connsiteX21" fmla="*/ 8157111 w 9982634"/>
                <a:gd name="connsiteY21" fmla="*/ 3713505 h 6523294"/>
                <a:gd name="connsiteX22" fmla="*/ 4946068 w 9982634"/>
                <a:gd name="connsiteY22" fmla="*/ 1768750 h 6523294"/>
                <a:gd name="connsiteX0" fmla="*/ 898013 w 9982634"/>
                <a:gd name="connsiteY0" fmla="*/ 4334572 h 6607770"/>
                <a:gd name="connsiteX1" fmla="*/ 941433 w 9982634"/>
                <a:gd name="connsiteY1" fmla="*/ 3615991 h 6607770"/>
                <a:gd name="connsiteX2" fmla="*/ 1240913 w 9982634"/>
                <a:gd name="connsiteY2" fmla="*/ 3277297 h 6607770"/>
                <a:gd name="connsiteX3" fmla="*/ 6974967 w 9982634"/>
                <a:gd name="connsiteY3" fmla="*/ 419801 h 6607770"/>
                <a:gd name="connsiteX4" fmla="*/ 8760352 w 9982634"/>
                <a:gd name="connsiteY4" fmla="*/ 758494 h 6607770"/>
                <a:gd name="connsiteX5" fmla="*/ 3926965 w 9982634"/>
                <a:gd name="connsiteY5" fmla="*/ 4887032 h 6607770"/>
                <a:gd name="connsiteX6" fmla="*/ 3997848 w 9982634"/>
                <a:gd name="connsiteY6" fmla="*/ 5853266 h 6607770"/>
                <a:gd name="connsiteX7" fmla="*/ 3679314 w 9982634"/>
                <a:gd name="connsiteY7" fmla="*/ 6172907 h 6607770"/>
                <a:gd name="connsiteX8" fmla="*/ 2027279 w 9982634"/>
                <a:gd name="connsiteY8" fmla="*/ 6386665 h 6607770"/>
                <a:gd name="connsiteX9" fmla="*/ 1983865 w 9982634"/>
                <a:gd name="connsiteY9" fmla="*/ 5801428 h 6607770"/>
                <a:gd name="connsiteX10" fmla="*/ 1012313 w 9982634"/>
                <a:gd name="connsiteY10" fmla="*/ 4801297 h 6607770"/>
                <a:gd name="connsiteX11" fmla="*/ 1564763 w 9982634"/>
                <a:gd name="connsiteY11" fmla="*/ 6268147 h 6607770"/>
                <a:gd name="connsiteX12" fmla="*/ 783713 w 9982634"/>
                <a:gd name="connsiteY12" fmla="*/ 5639497 h 6607770"/>
                <a:gd name="connsiteX13" fmla="*/ 478913 w 9982634"/>
                <a:gd name="connsiteY13" fmla="*/ 4572697 h 6607770"/>
                <a:gd name="connsiteX14" fmla="*/ 898013 w 9982634"/>
                <a:gd name="connsiteY14" fmla="*/ 4334572 h 6607770"/>
                <a:gd name="connsiteX15" fmla="*/ 9003858 w 9982634"/>
                <a:gd name="connsiteY15" fmla="*/ 3318994 h 6607770"/>
                <a:gd name="connsiteX16" fmla="*/ 7784450 w 9982634"/>
                <a:gd name="connsiteY16" fmla="*/ 1287895 h 6607770"/>
                <a:gd name="connsiteX17" fmla="*/ 5792820 w 9982634"/>
                <a:gd name="connsiteY17" fmla="*/ 1374237 h 6607770"/>
                <a:gd name="connsiteX18" fmla="*/ 9003858 w 9982634"/>
                <a:gd name="connsiteY18" fmla="*/ 3318994 h 6607770"/>
                <a:gd name="connsiteX19" fmla="*/ 4946068 w 9982634"/>
                <a:gd name="connsiteY19" fmla="*/ 1768750 h 6607770"/>
                <a:gd name="connsiteX20" fmla="*/ 6165480 w 9982634"/>
                <a:gd name="connsiteY20" fmla="*/ 3799848 h 6607770"/>
                <a:gd name="connsiteX21" fmla="*/ 8157111 w 9982634"/>
                <a:gd name="connsiteY21" fmla="*/ 3713505 h 6607770"/>
                <a:gd name="connsiteX22" fmla="*/ 4946068 w 9982634"/>
                <a:gd name="connsiteY22" fmla="*/ 1768750 h 6607770"/>
                <a:gd name="connsiteX0" fmla="*/ 898013 w 9982634"/>
                <a:gd name="connsiteY0" fmla="*/ 4334572 h 6523294"/>
                <a:gd name="connsiteX1" fmla="*/ 941433 w 9982634"/>
                <a:gd name="connsiteY1" fmla="*/ 3615991 h 6523294"/>
                <a:gd name="connsiteX2" fmla="*/ 1240913 w 9982634"/>
                <a:gd name="connsiteY2" fmla="*/ 3277297 h 6523294"/>
                <a:gd name="connsiteX3" fmla="*/ 6974967 w 9982634"/>
                <a:gd name="connsiteY3" fmla="*/ 419801 h 6523294"/>
                <a:gd name="connsiteX4" fmla="*/ 8760352 w 9982634"/>
                <a:gd name="connsiteY4" fmla="*/ 758494 h 6523294"/>
                <a:gd name="connsiteX5" fmla="*/ 3926965 w 9982634"/>
                <a:gd name="connsiteY5" fmla="*/ 4887032 h 6523294"/>
                <a:gd name="connsiteX6" fmla="*/ 3997848 w 9982634"/>
                <a:gd name="connsiteY6" fmla="*/ 5853266 h 6523294"/>
                <a:gd name="connsiteX7" fmla="*/ 3679314 w 9982634"/>
                <a:gd name="connsiteY7" fmla="*/ 6172907 h 6523294"/>
                <a:gd name="connsiteX8" fmla="*/ 1660013 w 9982634"/>
                <a:gd name="connsiteY8" fmla="*/ 6344347 h 6523294"/>
                <a:gd name="connsiteX9" fmla="*/ 2027279 w 9982634"/>
                <a:gd name="connsiteY9" fmla="*/ 6386665 h 6523294"/>
                <a:gd name="connsiteX10" fmla="*/ 1983865 w 9982634"/>
                <a:gd name="connsiteY10" fmla="*/ 5801428 h 6523294"/>
                <a:gd name="connsiteX11" fmla="*/ 1012313 w 9982634"/>
                <a:gd name="connsiteY11" fmla="*/ 4801297 h 6523294"/>
                <a:gd name="connsiteX12" fmla="*/ 1564763 w 9982634"/>
                <a:gd name="connsiteY12" fmla="*/ 6268147 h 6523294"/>
                <a:gd name="connsiteX13" fmla="*/ 783713 w 9982634"/>
                <a:gd name="connsiteY13" fmla="*/ 5639497 h 6523294"/>
                <a:gd name="connsiteX14" fmla="*/ 478913 w 9982634"/>
                <a:gd name="connsiteY14" fmla="*/ 4572697 h 6523294"/>
                <a:gd name="connsiteX15" fmla="*/ 898013 w 9982634"/>
                <a:gd name="connsiteY15" fmla="*/ 4334572 h 6523294"/>
                <a:gd name="connsiteX16" fmla="*/ 9003858 w 9982634"/>
                <a:gd name="connsiteY16" fmla="*/ 3318994 h 6523294"/>
                <a:gd name="connsiteX17" fmla="*/ 7784450 w 9982634"/>
                <a:gd name="connsiteY17" fmla="*/ 1287895 h 6523294"/>
                <a:gd name="connsiteX18" fmla="*/ 5792820 w 9982634"/>
                <a:gd name="connsiteY18" fmla="*/ 1374237 h 6523294"/>
                <a:gd name="connsiteX19" fmla="*/ 9003858 w 9982634"/>
                <a:gd name="connsiteY19" fmla="*/ 3318994 h 6523294"/>
                <a:gd name="connsiteX20" fmla="*/ 4946068 w 9982634"/>
                <a:gd name="connsiteY20" fmla="*/ 1768750 h 6523294"/>
                <a:gd name="connsiteX21" fmla="*/ 6165480 w 9982634"/>
                <a:gd name="connsiteY21" fmla="*/ 3799848 h 6523294"/>
                <a:gd name="connsiteX22" fmla="*/ 8157111 w 9982634"/>
                <a:gd name="connsiteY22" fmla="*/ 3713505 h 6523294"/>
                <a:gd name="connsiteX23" fmla="*/ 4946068 w 9982634"/>
                <a:gd name="connsiteY23" fmla="*/ 1768750 h 6523294"/>
                <a:gd name="connsiteX0" fmla="*/ 898013 w 9982634"/>
                <a:gd name="connsiteY0" fmla="*/ 4334572 h 6582470"/>
                <a:gd name="connsiteX1" fmla="*/ 941433 w 9982634"/>
                <a:gd name="connsiteY1" fmla="*/ 3615991 h 6582470"/>
                <a:gd name="connsiteX2" fmla="*/ 1240913 w 9982634"/>
                <a:gd name="connsiteY2" fmla="*/ 3277297 h 6582470"/>
                <a:gd name="connsiteX3" fmla="*/ 6974967 w 9982634"/>
                <a:gd name="connsiteY3" fmla="*/ 419801 h 6582470"/>
                <a:gd name="connsiteX4" fmla="*/ 8760352 w 9982634"/>
                <a:gd name="connsiteY4" fmla="*/ 758494 h 6582470"/>
                <a:gd name="connsiteX5" fmla="*/ 3926965 w 9982634"/>
                <a:gd name="connsiteY5" fmla="*/ 4887032 h 6582470"/>
                <a:gd name="connsiteX6" fmla="*/ 3997848 w 9982634"/>
                <a:gd name="connsiteY6" fmla="*/ 5853266 h 6582470"/>
                <a:gd name="connsiteX7" fmla="*/ 3679314 w 9982634"/>
                <a:gd name="connsiteY7" fmla="*/ 6172907 h 6582470"/>
                <a:gd name="connsiteX8" fmla="*/ 1717163 w 9982634"/>
                <a:gd name="connsiteY8" fmla="*/ 6553897 h 6582470"/>
                <a:gd name="connsiteX9" fmla="*/ 1660013 w 9982634"/>
                <a:gd name="connsiteY9" fmla="*/ 6344347 h 6582470"/>
                <a:gd name="connsiteX10" fmla="*/ 2027279 w 9982634"/>
                <a:gd name="connsiteY10" fmla="*/ 6386665 h 6582470"/>
                <a:gd name="connsiteX11" fmla="*/ 1983865 w 9982634"/>
                <a:gd name="connsiteY11" fmla="*/ 5801428 h 6582470"/>
                <a:gd name="connsiteX12" fmla="*/ 1012313 w 9982634"/>
                <a:gd name="connsiteY12" fmla="*/ 4801297 h 6582470"/>
                <a:gd name="connsiteX13" fmla="*/ 1564763 w 9982634"/>
                <a:gd name="connsiteY13" fmla="*/ 6268147 h 6582470"/>
                <a:gd name="connsiteX14" fmla="*/ 783713 w 9982634"/>
                <a:gd name="connsiteY14" fmla="*/ 5639497 h 6582470"/>
                <a:gd name="connsiteX15" fmla="*/ 478913 w 9982634"/>
                <a:gd name="connsiteY15" fmla="*/ 4572697 h 6582470"/>
                <a:gd name="connsiteX16" fmla="*/ 898013 w 9982634"/>
                <a:gd name="connsiteY16" fmla="*/ 4334572 h 6582470"/>
                <a:gd name="connsiteX17" fmla="*/ 9003858 w 9982634"/>
                <a:gd name="connsiteY17" fmla="*/ 3318994 h 6582470"/>
                <a:gd name="connsiteX18" fmla="*/ 7784450 w 9982634"/>
                <a:gd name="connsiteY18" fmla="*/ 1287895 h 6582470"/>
                <a:gd name="connsiteX19" fmla="*/ 5792820 w 9982634"/>
                <a:gd name="connsiteY19" fmla="*/ 1374237 h 6582470"/>
                <a:gd name="connsiteX20" fmla="*/ 9003858 w 9982634"/>
                <a:gd name="connsiteY20" fmla="*/ 3318994 h 6582470"/>
                <a:gd name="connsiteX21" fmla="*/ 4946068 w 9982634"/>
                <a:gd name="connsiteY21" fmla="*/ 1768750 h 6582470"/>
                <a:gd name="connsiteX22" fmla="*/ 6165480 w 9982634"/>
                <a:gd name="connsiteY22" fmla="*/ 3799848 h 6582470"/>
                <a:gd name="connsiteX23" fmla="*/ 8157111 w 9982634"/>
                <a:gd name="connsiteY23" fmla="*/ 3713505 h 6582470"/>
                <a:gd name="connsiteX24" fmla="*/ 4946068 w 9982634"/>
                <a:gd name="connsiteY24" fmla="*/ 1768750 h 6582470"/>
                <a:gd name="connsiteX0" fmla="*/ 898013 w 9982634"/>
                <a:gd name="connsiteY0" fmla="*/ 4334572 h 6598345"/>
                <a:gd name="connsiteX1" fmla="*/ 941433 w 9982634"/>
                <a:gd name="connsiteY1" fmla="*/ 3615991 h 6598345"/>
                <a:gd name="connsiteX2" fmla="*/ 1240913 w 9982634"/>
                <a:gd name="connsiteY2" fmla="*/ 3277297 h 6598345"/>
                <a:gd name="connsiteX3" fmla="*/ 6974967 w 9982634"/>
                <a:gd name="connsiteY3" fmla="*/ 419801 h 6598345"/>
                <a:gd name="connsiteX4" fmla="*/ 8760352 w 9982634"/>
                <a:gd name="connsiteY4" fmla="*/ 758494 h 6598345"/>
                <a:gd name="connsiteX5" fmla="*/ 3926965 w 9982634"/>
                <a:gd name="connsiteY5" fmla="*/ 4887032 h 6598345"/>
                <a:gd name="connsiteX6" fmla="*/ 3997848 w 9982634"/>
                <a:gd name="connsiteY6" fmla="*/ 5853266 h 6598345"/>
                <a:gd name="connsiteX7" fmla="*/ 3679314 w 9982634"/>
                <a:gd name="connsiteY7" fmla="*/ 6172907 h 6598345"/>
                <a:gd name="connsiteX8" fmla="*/ 2726813 w 9982634"/>
                <a:gd name="connsiteY8" fmla="*/ 6534847 h 6598345"/>
                <a:gd name="connsiteX9" fmla="*/ 1717163 w 9982634"/>
                <a:gd name="connsiteY9" fmla="*/ 6553897 h 6598345"/>
                <a:gd name="connsiteX10" fmla="*/ 1660013 w 9982634"/>
                <a:gd name="connsiteY10" fmla="*/ 6344347 h 6598345"/>
                <a:gd name="connsiteX11" fmla="*/ 2027279 w 9982634"/>
                <a:gd name="connsiteY11" fmla="*/ 6386665 h 6598345"/>
                <a:gd name="connsiteX12" fmla="*/ 1983865 w 9982634"/>
                <a:gd name="connsiteY12" fmla="*/ 5801428 h 6598345"/>
                <a:gd name="connsiteX13" fmla="*/ 1012313 w 9982634"/>
                <a:gd name="connsiteY13" fmla="*/ 4801297 h 6598345"/>
                <a:gd name="connsiteX14" fmla="*/ 1564763 w 9982634"/>
                <a:gd name="connsiteY14" fmla="*/ 6268147 h 6598345"/>
                <a:gd name="connsiteX15" fmla="*/ 783713 w 9982634"/>
                <a:gd name="connsiteY15" fmla="*/ 5639497 h 6598345"/>
                <a:gd name="connsiteX16" fmla="*/ 478913 w 9982634"/>
                <a:gd name="connsiteY16" fmla="*/ 4572697 h 6598345"/>
                <a:gd name="connsiteX17" fmla="*/ 898013 w 9982634"/>
                <a:gd name="connsiteY17" fmla="*/ 4334572 h 6598345"/>
                <a:gd name="connsiteX18" fmla="*/ 9003858 w 9982634"/>
                <a:gd name="connsiteY18" fmla="*/ 3318994 h 6598345"/>
                <a:gd name="connsiteX19" fmla="*/ 7784450 w 9982634"/>
                <a:gd name="connsiteY19" fmla="*/ 1287895 h 6598345"/>
                <a:gd name="connsiteX20" fmla="*/ 5792820 w 9982634"/>
                <a:gd name="connsiteY20" fmla="*/ 1374237 h 6598345"/>
                <a:gd name="connsiteX21" fmla="*/ 9003858 w 9982634"/>
                <a:gd name="connsiteY21" fmla="*/ 3318994 h 6598345"/>
                <a:gd name="connsiteX22" fmla="*/ 4946068 w 9982634"/>
                <a:gd name="connsiteY22" fmla="*/ 1768750 h 6598345"/>
                <a:gd name="connsiteX23" fmla="*/ 6165480 w 9982634"/>
                <a:gd name="connsiteY23" fmla="*/ 3799848 h 6598345"/>
                <a:gd name="connsiteX24" fmla="*/ 8157111 w 9982634"/>
                <a:gd name="connsiteY24" fmla="*/ 3713505 h 6598345"/>
                <a:gd name="connsiteX25" fmla="*/ 4946068 w 9982634"/>
                <a:gd name="connsiteY25" fmla="*/ 1768750 h 6598345"/>
                <a:gd name="connsiteX0" fmla="*/ 898013 w 9982634"/>
                <a:gd name="connsiteY0" fmla="*/ 4334572 h 6623747"/>
                <a:gd name="connsiteX1" fmla="*/ 941433 w 9982634"/>
                <a:gd name="connsiteY1" fmla="*/ 3615991 h 6623747"/>
                <a:gd name="connsiteX2" fmla="*/ 1240913 w 9982634"/>
                <a:gd name="connsiteY2" fmla="*/ 3277297 h 6623747"/>
                <a:gd name="connsiteX3" fmla="*/ 6974967 w 9982634"/>
                <a:gd name="connsiteY3" fmla="*/ 419801 h 6623747"/>
                <a:gd name="connsiteX4" fmla="*/ 8760352 w 9982634"/>
                <a:gd name="connsiteY4" fmla="*/ 758494 h 6623747"/>
                <a:gd name="connsiteX5" fmla="*/ 3926965 w 9982634"/>
                <a:gd name="connsiteY5" fmla="*/ 4887032 h 6623747"/>
                <a:gd name="connsiteX6" fmla="*/ 3997848 w 9982634"/>
                <a:gd name="connsiteY6" fmla="*/ 5853266 h 6623747"/>
                <a:gd name="connsiteX7" fmla="*/ 3679314 w 9982634"/>
                <a:gd name="connsiteY7" fmla="*/ 6172907 h 6623747"/>
                <a:gd name="connsiteX8" fmla="*/ 2402963 w 9982634"/>
                <a:gd name="connsiteY8" fmla="*/ 6020497 h 6623747"/>
                <a:gd name="connsiteX9" fmla="*/ 2726813 w 9982634"/>
                <a:gd name="connsiteY9" fmla="*/ 6534847 h 6623747"/>
                <a:gd name="connsiteX10" fmla="*/ 1717163 w 9982634"/>
                <a:gd name="connsiteY10" fmla="*/ 6553897 h 6623747"/>
                <a:gd name="connsiteX11" fmla="*/ 1660013 w 9982634"/>
                <a:gd name="connsiteY11" fmla="*/ 6344347 h 6623747"/>
                <a:gd name="connsiteX12" fmla="*/ 2027279 w 9982634"/>
                <a:gd name="connsiteY12" fmla="*/ 6386665 h 6623747"/>
                <a:gd name="connsiteX13" fmla="*/ 1983865 w 9982634"/>
                <a:gd name="connsiteY13" fmla="*/ 5801428 h 6623747"/>
                <a:gd name="connsiteX14" fmla="*/ 1012313 w 9982634"/>
                <a:gd name="connsiteY14" fmla="*/ 4801297 h 6623747"/>
                <a:gd name="connsiteX15" fmla="*/ 1564763 w 9982634"/>
                <a:gd name="connsiteY15" fmla="*/ 6268147 h 6623747"/>
                <a:gd name="connsiteX16" fmla="*/ 783713 w 9982634"/>
                <a:gd name="connsiteY16" fmla="*/ 5639497 h 6623747"/>
                <a:gd name="connsiteX17" fmla="*/ 478913 w 9982634"/>
                <a:gd name="connsiteY17" fmla="*/ 4572697 h 6623747"/>
                <a:gd name="connsiteX18" fmla="*/ 898013 w 9982634"/>
                <a:gd name="connsiteY18" fmla="*/ 4334572 h 6623747"/>
                <a:gd name="connsiteX19" fmla="*/ 9003858 w 9982634"/>
                <a:gd name="connsiteY19" fmla="*/ 3318994 h 6623747"/>
                <a:gd name="connsiteX20" fmla="*/ 7784450 w 9982634"/>
                <a:gd name="connsiteY20" fmla="*/ 1287895 h 6623747"/>
                <a:gd name="connsiteX21" fmla="*/ 5792820 w 9982634"/>
                <a:gd name="connsiteY21" fmla="*/ 1374237 h 6623747"/>
                <a:gd name="connsiteX22" fmla="*/ 9003858 w 9982634"/>
                <a:gd name="connsiteY22" fmla="*/ 3318994 h 6623747"/>
                <a:gd name="connsiteX23" fmla="*/ 4946068 w 9982634"/>
                <a:gd name="connsiteY23" fmla="*/ 1768750 h 6623747"/>
                <a:gd name="connsiteX24" fmla="*/ 6165480 w 9982634"/>
                <a:gd name="connsiteY24" fmla="*/ 3799848 h 6623747"/>
                <a:gd name="connsiteX25" fmla="*/ 8157111 w 9982634"/>
                <a:gd name="connsiteY25" fmla="*/ 3713505 h 6623747"/>
                <a:gd name="connsiteX26" fmla="*/ 4946068 w 9982634"/>
                <a:gd name="connsiteY26" fmla="*/ 1768750 h 6623747"/>
                <a:gd name="connsiteX0" fmla="*/ 898013 w 9982634"/>
                <a:gd name="connsiteY0" fmla="*/ 4334572 h 6585647"/>
                <a:gd name="connsiteX1" fmla="*/ 941433 w 9982634"/>
                <a:gd name="connsiteY1" fmla="*/ 3615991 h 6585647"/>
                <a:gd name="connsiteX2" fmla="*/ 1240913 w 9982634"/>
                <a:gd name="connsiteY2" fmla="*/ 3277297 h 6585647"/>
                <a:gd name="connsiteX3" fmla="*/ 6974967 w 9982634"/>
                <a:gd name="connsiteY3" fmla="*/ 419801 h 6585647"/>
                <a:gd name="connsiteX4" fmla="*/ 8760352 w 9982634"/>
                <a:gd name="connsiteY4" fmla="*/ 758494 h 6585647"/>
                <a:gd name="connsiteX5" fmla="*/ 3926965 w 9982634"/>
                <a:gd name="connsiteY5" fmla="*/ 4887032 h 6585647"/>
                <a:gd name="connsiteX6" fmla="*/ 3997848 w 9982634"/>
                <a:gd name="connsiteY6" fmla="*/ 5853266 h 6585647"/>
                <a:gd name="connsiteX7" fmla="*/ 3679314 w 9982634"/>
                <a:gd name="connsiteY7" fmla="*/ 6172907 h 6585647"/>
                <a:gd name="connsiteX8" fmla="*/ 2402963 w 9982634"/>
                <a:gd name="connsiteY8" fmla="*/ 6020497 h 6585647"/>
                <a:gd name="connsiteX9" fmla="*/ 2345813 w 9982634"/>
                <a:gd name="connsiteY9" fmla="*/ 6363397 h 6585647"/>
                <a:gd name="connsiteX10" fmla="*/ 2726813 w 9982634"/>
                <a:gd name="connsiteY10" fmla="*/ 6534847 h 6585647"/>
                <a:gd name="connsiteX11" fmla="*/ 1717163 w 9982634"/>
                <a:gd name="connsiteY11" fmla="*/ 6553897 h 6585647"/>
                <a:gd name="connsiteX12" fmla="*/ 1660013 w 9982634"/>
                <a:gd name="connsiteY12" fmla="*/ 6344347 h 6585647"/>
                <a:gd name="connsiteX13" fmla="*/ 2027279 w 9982634"/>
                <a:gd name="connsiteY13" fmla="*/ 6386665 h 6585647"/>
                <a:gd name="connsiteX14" fmla="*/ 1983865 w 9982634"/>
                <a:gd name="connsiteY14" fmla="*/ 5801428 h 6585647"/>
                <a:gd name="connsiteX15" fmla="*/ 1012313 w 9982634"/>
                <a:gd name="connsiteY15" fmla="*/ 4801297 h 6585647"/>
                <a:gd name="connsiteX16" fmla="*/ 1564763 w 9982634"/>
                <a:gd name="connsiteY16" fmla="*/ 6268147 h 6585647"/>
                <a:gd name="connsiteX17" fmla="*/ 783713 w 9982634"/>
                <a:gd name="connsiteY17" fmla="*/ 5639497 h 6585647"/>
                <a:gd name="connsiteX18" fmla="*/ 478913 w 9982634"/>
                <a:gd name="connsiteY18" fmla="*/ 4572697 h 6585647"/>
                <a:gd name="connsiteX19" fmla="*/ 898013 w 9982634"/>
                <a:gd name="connsiteY19" fmla="*/ 4334572 h 6585647"/>
                <a:gd name="connsiteX20" fmla="*/ 9003858 w 9982634"/>
                <a:gd name="connsiteY20" fmla="*/ 3318994 h 6585647"/>
                <a:gd name="connsiteX21" fmla="*/ 7784450 w 9982634"/>
                <a:gd name="connsiteY21" fmla="*/ 1287895 h 6585647"/>
                <a:gd name="connsiteX22" fmla="*/ 5792820 w 9982634"/>
                <a:gd name="connsiteY22" fmla="*/ 1374237 h 6585647"/>
                <a:gd name="connsiteX23" fmla="*/ 9003858 w 9982634"/>
                <a:gd name="connsiteY23" fmla="*/ 3318994 h 6585647"/>
                <a:gd name="connsiteX24" fmla="*/ 4946068 w 9982634"/>
                <a:gd name="connsiteY24" fmla="*/ 1768750 h 6585647"/>
                <a:gd name="connsiteX25" fmla="*/ 6165480 w 9982634"/>
                <a:gd name="connsiteY25" fmla="*/ 3799848 h 6585647"/>
                <a:gd name="connsiteX26" fmla="*/ 8157111 w 9982634"/>
                <a:gd name="connsiteY26" fmla="*/ 3713505 h 6585647"/>
                <a:gd name="connsiteX27" fmla="*/ 4946068 w 9982634"/>
                <a:gd name="connsiteY27" fmla="*/ 1768750 h 6585647"/>
                <a:gd name="connsiteX0" fmla="*/ 898013 w 9982634"/>
                <a:gd name="connsiteY0" fmla="*/ 4334572 h 6585647"/>
                <a:gd name="connsiteX1" fmla="*/ 941433 w 9982634"/>
                <a:gd name="connsiteY1" fmla="*/ 3615991 h 6585647"/>
                <a:gd name="connsiteX2" fmla="*/ 1240913 w 9982634"/>
                <a:gd name="connsiteY2" fmla="*/ 3277297 h 6585647"/>
                <a:gd name="connsiteX3" fmla="*/ 6974967 w 9982634"/>
                <a:gd name="connsiteY3" fmla="*/ 419801 h 6585647"/>
                <a:gd name="connsiteX4" fmla="*/ 8760352 w 9982634"/>
                <a:gd name="connsiteY4" fmla="*/ 758494 h 6585647"/>
                <a:gd name="connsiteX5" fmla="*/ 3926965 w 9982634"/>
                <a:gd name="connsiteY5" fmla="*/ 4887032 h 6585647"/>
                <a:gd name="connsiteX6" fmla="*/ 3997848 w 9982634"/>
                <a:gd name="connsiteY6" fmla="*/ 5853266 h 6585647"/>
                <a:gd name="connsiteX7" fmla="*/ 3679314 w 9982634"/>
                <a:gd name="connsiteY7" fmla="*/ 6172907 h 6585647"/>
                <a:gd name="connsiteX8" fmla="*/ 2402963 w 9982634"/>
                <a:gd name="connsiteY8" fmla="*/ 6020497 h 6585647"/>
                <a:gd name="connsiteX9" fmla="*/ 2345813 w 9982634"/>
                <a:gd name="connsiteY9" fmla="*/ 6363397 h 6585647"/>
                <a:gd name="connsiteX10" fmla="*/ 2650613 w 9982634"/>
                <a:gd name="connsiteY10" fmla="*/ 6363397 h 6585647"/>
                <a:gd name="connsiteX11" fmla="*/ 2726813 w 9982634"/>
                <a:gd name="connsiteY11" fmla="*/ 6534847 h 6585647"/>
                <a:gd name="connsiteX12" fmla="*/ 1717163 w 9982634"/>
                <a:gd name="connsiteY12" fmla="*/ 6553897 h 6585647"/>
                <a:gd name="connsiteX13" fmla="*/ 1660013 w 9982634"/>
                <a:gd name="connsiteY13" fmla="*/ 6344347 h 6585647"/>
                <a:gd name="connsiteX14" fmla="*/ 2027279 w 9982634"/>
                <a:gd name="connsiteY14" fmla="*/ 6386665 h 6585647"/>
                <a:gd name="connsiteX15" fmla="*/ 1983865 w 9982634"/>
                <a:gd name="connsiteY15" fmla="*/ 5801428 h 6585647"/>
                <a:gd name="connsiteX16" fmla="*/ 1012313 w 9982634"/>
                <a:gd name="connsiteY16" fmla="*/ 4801297 h 6585647"/>
                <a:gd name="connsiteX17" fmla="*/ 1564763 w 9982634"/>
                <a:gd name="connsiteY17" fmla="*/ 6268147 h 6585647"/>
                <a:gd name="connsiteX18" fmla="*/ 783713 w 9982634"/>
                <a:gd name="connsiteY18" fmla="*/ 5639497 h 6585647"/>
                <a:gd name="connsiteX19" fmla="*/ 478913 w 9982634"/>
                <a:gd name="connsiteY19" fmla="*/ 4572697 h 6585647"/>
                <a:gd name="connsiteX20" fmla="*/ 898013 w 9982634"/>
                <a:gd name="connsiteY20" fmla="*/ 4334572 h 6585647"/>
                <a:gd name="connsiteX21" fmla="*/ 9003858 w 9982634"/>
                <a:gd name="connsiteY21" fmla="*/ 3318994 h 6585647"/>
                <a:gd name="connsiteX22" fmla="*/ 7784450 w 9982634"/>
                <a:gd name="connsiteY22" fmla="*/ 1287895 h 6585647"/>
                <a:gd name="connsiteX23" fmla="*/ 5792820 w 9982634"/>
                <a:gd name="connsiteY23" fmla="*/ 1374237 h 6585647"/>
                <a:gd name="connsiteX24" fmla="*/ 9003858 w 9982634"/>
                <a:gd name="connsiteY24" fmla="*/ 3318994 h 6585647"/>
                <a:gd name="connsiteX25" fmla="*/ 4946068 w 9982634"/>
                <a:gd name="connsiteY25" fmla="*/ 1768750 h 6585647"/>
                <a:gd name="connsiteX26" fmla="*/ 6165480 w 9982634"/>
                <a:gd name="connsiteY26" fmla="*/ 3799848 h 6585647"/>
                <a:gd name="connsiteX27" fmla="*/ 8157111 w 9982634"/>
                <a:gd name="connsiteY27" fmla="*/ 3713505 h 6585647"/>
                <a:gd name="connsiteX28" fmla="*/ 4946068 w 9982634"/>
                <a:gd name="connsiteY28" fmla="*/ 1768750 h 6585647"/>
                <a:gd name="connsiteX0" fmla="*/ 898013 w 9982634"/>
                <a:gd name="connsiteY0" fmla="*/ 4334572 h 6585647"/>
                <a:gd name="connsiteX1" fmla="*/ 941433 w 9982634"/>
                <a:gd name="connsiteY1" fmla="*/ 3615991 h 6585647"/>
                <a:gd name="connsiteX2" fmla="*/ 1240913 w 9982634"/>
                <a:gd name="connsiteY2" fmla="*/ 3277297 h 6585647"/>
                <a:gd name="connsiteX3" fmla="*/ 6974967 w 9982634"/>
                <a:gd name="connsiteY3" fmla="*/ 419801 h 6585647"/>
                <a:gd name="connsiteX4" fmla="*/ 8760352 w 9982634"/>
                <a:gd name="connsiteY4" fmla="*/ 758494 h 6585647"/>
                <a:gd name="connsiteX5" fmla="*/ 3926965 w 9982634"/>
                <a:gd name="connsiteY5" fmla="*/ 4887032 h 6585647"/>
                <a:gd name="connsiteX6" fmla="*/ 3997848 w 9982634"/>
                <a:gd name="connsiteY6" fmla="*/ 5853266 h 6585647"/>
                <a:gd name="connsiteX7" fmla="*/ 3679314 w 9982634"/>
                <a:gd name="connsiteY7" fmla="*/ 6172907 h 6585647"/>
                <a:gd name="connsiteX8" fmla="*/ 2631563 w 9982634"/>
                <a:gd name="connsiteY8" fmla="*/ 6191947 h 6585647"/>
                <a:gd name="connsiteX9" fmla="*/ 2402963 w 9982634"/>
                <a:gd name="connsiteY9" fmla="*/ 6020497 h 6585647"/>
                <a:gd name="connsiteX10" fmla="*/ 2345813 w 9982634"/>
                <a:gd name="connsiteY10" fmla="*/ 6363397 h 6585647"/>
                <a:gd name="connsiteX11" fmla="*/ 2650613 w 9982634"/>
                <a:gd name="connsiteY11" fmla="*/ 6363397 h 6585647"/>
                <a:gd name="connsiteX12" fmla="*/ 2726813 w 9982634"/>
                <a:gd name="connsiteY12" fmla="*/ 6534847 h 6585647"/>
                <a:gd name="connsiteX13" fmla="*/ 1717163 w 9982634"/>
                <a:gd name="connsiteY13" fmla="*/ 6553897 h 6585647"/>
                <a:gd name="connsiteX14" fmla="*/ 1660013 w 9982634"/>
                <a:gd name="connsiteY14" fmla="*/ 6344347 h 6585647"/>
                <a:gd name="connsiteX15" fmla="*/ 2027279 w 9982634"/>
                <a:gd name="connsiteY15" fmla="*/ 6386665 h 6585647"/>
                <a:gd name="connsiteX16" fmla="*/ 1983865 w 9982634"/>
                <a:gd name="connsiteY16" fmla="*/ 5801428 h 6585647"/>
                <a:gd name="connsiteX17" fmla="*/ 1012313 w 9982634"/>
                <a:gd name="connsiteY17" fmla="*/ 4801297 h 6585647"/>
                <a:gd name="connsiteX18" fmla="*/ 1564763 w 9982634"/>
                <a:gd name="connsiteY18" fmla="*/ 6268147 h 6585647"/>
                <a:gd name="connsiteX19" fmla="*/ 783713 w 9982634"/>
                <a:gd name="connsiteY19" fmla="*/ 5639497 h 6585647"/>
                <a:gd name="connsiteX20" fmla="*/ 478913 w 9982634"/>
                <a:gd name="connsiteY20" fmla="*/ 4572697 h 6585647"/>
                <a:gd name="connsiteX21" fmla="*/ 898013 w 9982634"/>
                <a:gd name="connsiteY21" fmla="*/ 4334572 h 6585647"/>
                <a:gd name="connsiteX22" fmla="*/ 9003858 w 9982634"/>
                <a:gd name="connsiteY22" fmla="*/ 3318994 h 6585647"/>
                <a:gd name="connsiteX23" fmla="*/ 7784450 w 9982634"/>
                <a:gd name="connsiteY23" fmla="*/ 1287895 h 6585647"/>
                <a:gd name="connsiteX24" fmla="*/ 5792820 w 9982634"/>
                <a:gd name="connsiteY24" fmla="*/ 1374237 h 6585647"/>
                <a:gd name="connsiteX25" fmla="*/ 9003858 w 9982634"/>
                <a:gd name="connsiteY25" fmla="*/ 3318994 h 6585647"/>
                <a:gd name="connsiteX26" fmla="*/ 4946068 w 9982634"/>
                <a:gd name="connsiteY26" fmla="*/ 1768750 h 6585647"/>
                <a:gd name="connsiteX27" fmla="*/ 6165480 w 9982634"/>
                <a:gd name="connsiteY27" fmla="*/ 3799848 h 6585647"/>
                <a:gd name="connsiteX28" fmla="*/ 8157111 w 9982634"/>
                <a:gd name="connsiteY28" fmla="*/ 3713505 h 6585647"/>
                <a:gd name="connsiteX29" fmla="*/ 4946068 w 9982634"/>
                <a:gd name="connsiteY29" fmla="*/ 1768750 h 6585647"/>
                <a:gd name="connsiteX0" fmla="*/ 898013 w 9982634"/>
                <a:gd name="connsiteY0" fmla="*/ 4334572 h 6585647"/>
                <a:gd name="connsiteX1" fmla="*/ 941433 w 9982634"/>
                <a:gd name="connsiteY1" fmla="*/ 3615991 h 6585647"/>
                <a:gd name="connsiteX2" fmla="*/ 1240913 w 9982634"/>
                <a:gd name="connsiteY2" fmla="*/ 3277297 h 6585647"/>
                <a:gd name="connsiteX3" fmla="*/ 6974967 w 9982634"/>
                <a:gd name="connsiteY3" fmla="*/ 419801 h 6585647"/>
                <a:gd name="connsiteX4" fmla="*/ 8760352 w 9982634"/>
                <a:gd name="connsiteY4" fmla="*/ 758494 h 6585647"/>
                <a:gd name="connsiteX5" fmla="*/ 3926965 w 9982634"/>
                <a:gd name="connsiteY5" fmla="*/ 4887032 h 6585647"/>
                <a:gd name="connsiteX6" fmla="*/ 3997848 w 9982634"/>
                <a:gd name="connsiteY6" fmla="*/ 5853266 h 6585647"/>
                <a:gd name="connsiteX7" fmla="*/ 3679314 w 9982634"/>
                <a:gd name="connsiteY7" fmla="*/ 6172907 h 6585647"/>
                <a:gd name="connsiteX8" fmla="*/ 2631563 w 9982634"/>
                <a:gd name="connsiteY8" fmla="*/ 6191947 h 6585647"/>
                <a:gd name="connsiteX9" fmla="*/ 2402963 w 9982634"/>
                <a:gd name="connsiteY9" fmla="*/ 6020497 h 6585647"/>
                <a:gd name="connsiteX10" fmla="*/ 2345813 w 9982634"/>
                <a:gd name="connsiteY10" fmla="*/ 6363397 h 6585647"/>
                <a:gd name="connsiteX11" fmla="*/ 2650613 w 9982634"/>
                <a:gd name="connsiteY11" fmla="*/ 6363397 h 6585647"/>
                <a:gd name="connsiteX12" fmla="*/ 2726813 w 9982634"/>
                <a:gd name="connsiteY12" fmla="*/ 6534847 h 6585647"/>
                <a:gd name="connsiteX13" fmla="*/ 1717163 w 9982634"/>
                <a:gd name="connsiteY13" fmla="*/ 6553897 h 6585647"/>
                <a:gd name="connsiteX14" fmla="*/ 1660013 w 9982634"/>
                <a:gd name="connsiteY14" fmla="*/ 6344347 h 6585647"/>
                <a:gd name="connsiteX15" fmla="*/ 2027279 w 9982634"/>
                <a:gd name="connsiteY15" fmla="*/ 6386665 h 6585647"/>
                <a:gd name="connsiteX16" fmla="*/ 1983865 w 9982634"/>
                <a:gd name="connsiteY16" fmla="*/ 5801428 h 6585647"/>
                <a:gd name="connsiteX17" fmla="*/ 1012313 w 9982634"/>
                <a:gd name="connsiteY17" fmla="*/ 4801297 h 6585647"/>
                <a:gd name="connsiteX18" fmla="*/ 1564763 w 9982634"/>
                <a:gd name="connsiteY18" fmla="*/ 6268147 h 6585647"/>
                <a:gd name="connsiteX19" fmla="*/ 783713 w 9982634"/>
                <a:gd name="connsiteY19" fmla="*/ 5639497 h 6585647"/>
                <a:gd name="connsiteX20" fmla="*/ 478913 w 9982634"/>
                <a:gd name="connsiteY20" fmla="*/ 4572697 h 6585647"/>
                <a:gd name="connsiteX21" fmla="*/ 898013 w 9982634"/>
                <a:gd name="connsiteY21" fmla="*/ 4334572 h 6585647"/>
                <a:gd name="connsiteX22" fmla="*/ 9003858 w 9982634"/>
                <a:gd name="connsiteY22" fmla="*/ 3318994 h 6585647"/>
                <a:gd name="connsiteX23" fmla="*/ 7784450 w 9982634"/>
                <a:gd name="connsiteY23" fmla="*/ 1287895 h 6585647"/>
                <a:gd name="connsiteX24" fmla="*/ 5792820 w 9982634"/>
                <a:gd name="connsiteY24" fmla="*/ 1374237 h 6585647"/>
                <a:gd name="connsiteX25" fmla="*/ 9003858 w 9982634"/>
                <a:gd name="connsiteY25" fmla="*/ 3318994 h 6585647"/>
                <a:gd name="connsiteX26" fmla="*/ 1136068 w 9982634"/>
                <a:gd name="connsiteY26" fmla="*/ 3407050 h 6585647"/>
                <a:gd name="connsiteX27" fmla="*/ 6165480 w 9982634"/>
                <a:gd name="connsiteY27" fmla="*/ 3799848 h 6585647"/>
                <a:gd name="connsiteX28" fmla="*/ 8157111 w 9982634"/>
                <a:gd name="connsiteY28" fmla="*/ 3713505 h 6585647"/>
                <a:gd name="connsiteX29" fmla="*/ 1136068 w 9982634"/>
                <a:gd name="connsiteY29" fmla="*/ 3407050 h 6585647"/>
                <a:gd name="connsiteX0" fmla="*/ 898013 w 9982634"/>
                <a:gd name="connsiteY0" fmla="*/ 4334572 h 6585647"/>
                <a:gd name="connsiteX1" fmla="*/ 941433 w 9982634"/>
                <a:gd name="connsiteY1" fmla="*/ 3615991 h 6585647"/>
                <a:gd name="connsiteX2" fmla="*/ 1240913 w 9982634"/>
                <a:gd name="connsiteY2" fmla="*/ 3277297 h 6585647"/>
                <a:gd name="connsiteX3" fmla="*/ 6974967 w 9982634"/>
                <a:gd name="connsiteY3" fmla="*/ 419801 h 6585647"/>
                <a:gd name="connsiteX4" fmla="*/ 8760352 w 9982634"/>
                <a:gd name="connsiteY4" fmla="*/ 758494 h 6585647"/>
                <a:gd name="connsiteX5" fmla="*/ 3926965 w 9982634"/>
                <a:gd name="connsiteY5" fmla="*/ 4887032 h 6585647"/>
                <a:gd name="connsiteX6" fmla="*/ 3997848 w 9982634"/>
                <a:gd name="connsiteY6" fmla="*/ 5853266 h 6585647"/>
                <a:gd name="connsiteX7" fmla="*/ 3679314 w 9982634"/>
                <a:gd name="connsiteY7" fmla="*/ 6172907 h 6585647"/>
                <a:gd name="connsiteX8" fmla="*/ 2631563 w 9982634"/>
                <a:gd name="connsiteY8" fmla="*/ 6191947 h 6585647"/>
                <a:gd name="connsiteX9" fmla="*/ 2402963 w 9982634"/>
                <a:gd name="connsiteY9" fmla="*/ 6020497 h 6585647"/>
                <a:gd name="connsiteX10" fmla="*/ 2345813 w 9982634"/>
                <a:gd name="connsiteY10" fmla="*/ 6363397 h 6585647"/>
                <a:gd name="connsiteX11" fmla="*/ 2650613 w 9982634"/>
                <a:gd name="connsiteY11" fmla="*/ 6363397 h 6585647"/>
                <a:gd name="connsiteX12" fmla="*/ 2726813 w 9982634"/>
                <a:gd name="connsiteY12" fmla="*/ 6534847 h 6585647"/>
                <a:gd name="connsiteX13" fmla="*/ 1717163 w 9982634"/>
                <a:gd name="connsiteY13" fmla="*/ 6553897 h 6585647"/>
                <a:gd name="connsiteX14" fmla="*/ 1660013 w 9982634"/>
                <a:gd name="connsiteY14" fmla="*/ 6344347 h 6585647"/>
                <a:gd name="connsiteX15" fmla="*/ 2027279 w 9982634"/>
                <a:gd name="connsiteY15" fmla="*/ 6386665 h 6585647"/>
                <a:gd name="connsiteX16" fmla="*/ 1983865 w 9982634"/>
                <a:gd name="connsiteY16" fmla="*/ 5801428 h 6585647"/>
                <a:gd name="connsiteX17" fmla="*/ 1012313 w 9982634"/>
                <a:gd name="connsiteY17" fmla="*/ 4801297 h 6585647"/>
                <a:gd name="connsiteX18" fmla="*/ 1564763 w 9982634"/>
                <a:gd name="connsiteY18" fmla="*/ 6268147 h 6585647"/>
                <a:gd name="connsiteX19" fmla="*/ 783713 w 9982634"/>
                <a:gd name="connsiteY19" fmla="*/ 5639497 h 6585647"/>
                <a:gd name="connsiteX20" fmla="*/ 478913 w 9982634"/>
                <a:gd name="connsiteY20" fmla="*/ 4572697 h 6585647"/>
                <a:gd name="connsiteX21" fmla="*/ 898013 w 9982634"/>
                <a:gd name="connsiteY21" fmla="*/ 4334572 h 6585647"/>
                <a:gd name="connsiteX22" fmla="*/ 9003858 w 9982634"/>
                <a:gd name="connsiteY22" fmla="*/ 3318994 h 6585647"/>
                <a:gd name="connsiteX23" fmla="*/ 7784450 w 9982634"/>
                <a:gd name="connsiteY23" fmla="*/ 1287895 h 6585647"/>
                <a:gd name="connsiteX24" fmla="*/ 5792820 w 9982634"/>
                <a:gd name="connsiteY24" fmla="*/ 1374237 h 6585647"/>
                <a:gd name="connsiteX25" fmla="*/ 9003858 w 9982634"/>
                <a:gd name="connsiteY25" fmla="*/ 3318994 h 6585647"/>
                <a:gd name="connsiteX26" fmla="*/ 1136068 w 9982634"/>
                <a:gd name="connsiteY26" fmla="*/ 3407050 h 6585647"/>
                <a:gd name="connsiteX27" fmla="*/ 6165480 w 9982634"/>
                <a:gd name="connsiteY27" fmla="*/ 3799848 h 6585647"/>
                <a:gd name="connsiteX28" fmla="*/ 3203063 w 9982634"/>
                <a:gd name="connsiteY28" fmla="*/ 4610797 h 6585647"/>
                <a:gd name="connsiteX29" fmla="*/ 8157111 w 9982634"/>
                <a:gd name="connsiteY29" fmla="*/ 3713505 h 6585647"/>
                <a:gd name="connsiteX30" fmla="*/ 1136068 w 9982634"/>
                <a:gd name="connsiteY30" fmla="*/ 3407050 h 6585647"/>
                <a:gd name="connsiteX0" fmla="*/ 898013 w 9982634"/>
                <a:gd name="connsiteY0" fmla="*/ 4334572 h 6585647"/>
                <a:gd name="connsiteX1" fmla="*/ 941433 w 9982634"/>
                <a:gd name="connsiteY1" fmla="*/ 3615991 h 6585647"/>
                <a:gd name="connsiteX2" fmla="*/ 1240913 w 9982634"/>
                <a:gd name="connsiteY2" fmla="*/ 3277297 h 6585647"/>
                <a:gd name="connsiteX3" fmla="*/ 6974967 w 9982634"/>
                <a:gd name="connsiteY3" fmla="*/ 419801 h 6585647"/>
                <a:gd name="connsiteX4" fmla="*/ 8760352 w 9982634"/>
                <a:gd name="connsiteY4" fmla="*/ 758494 h 6585647"/>
                <a:gd name="connsiteX5" fmla="*/ 3926965 w 9982634"/>
                <a:gd name="connsiteY5" fmla="*/ 4887032 h 6585647"/>
                <a:gd name="connsiteX6" fmla="*/ 3997848 w 9982634"/>
                <a:gd name="connsiteY6" fmla="*/ 5853266 h 6585647"/>
                <a:gd name="connsiteX7" fmla="*/ 3679314 w 9982634"/>
                <a:gd name="connsiteY7" fmla="*/ 6172907 h 6585647"/>
                <a:gd name="connsiteX8" fmla="*/ 2631563 w 9982634"/>
                <a:gd name="connsiteY8" fmla="*/ 6191947 h 6585647"/>
                <a:gd name="connsiteX9" fmla="*/ 2402963 w 9982634"/>
                <a:gd name="connsiteY9" fmla="*/ 6020497 h 6585647"/>
                <a:gd name="connsiteX10" fmla="*/ 2345813 w 9982634"/>
                <a:gd name="connsiteY10" fmla="*/ 6363397 h 6585647"/>
                <a:gd name="connsiteX11" fmla="*/ 2650613 w 9982634"/>
                <a:gd name="connsiteY11" fmla="*/ 6363397 h 6585647"/>
                <a:gd name="connsiteX12" fmla="*/ 2726813 w 9982634"/>
                <a:gd name="connsiteY12" fmla="*/ 6534847 h 6585647"/>
                <a:gd name="connsiteX13" fmla="*/ 1717163 w 9982634"/>
                <a:gd name="connsiteY13" fmla="*/ 6553897 h 6585647"/>
                <a:gd name="connsiteX14" fmla="*/ 1660013 w 9982634"/>
                <a:gd name="connsiteY14" fmla="*/ 6344347 h 6585647"/>
                <a:gd name="connsiteX15" fmla="*/ 2027279 w 9982634"/>
                <a:gd name="connsiteY15" fmla="*/ 6386665 h 6585647"/>
                <a:gd name="connsiteX16" fmla="*/ 1983865 w 9982634"/>
                <a:gd name="connsiteY16" fmla="*/ 5801428 h 6585647"/>
                <a:gd name="connsiteX17" fmla="*/ 1012313 w 9982634"/>
                <a:gd name="connsiteY17" fmla="*/ 4801297 h 6585647"/>
                <a:gd name="connsiteX18" fmla="*/ 1564763 w 9982634"/>
                <a:gd name="connsiteY18" fmla="*/ 6268147 h 6585647"/>
                <a:gd name="connsiteX19" fmla="*/ 783713 w 9982634"/>
                <a:gd name="connsiteY19" fmla="*/ 5639497 h 6585647"/>
                <a:gd name="connsiteX20" fmla="*/ 478913 w 9982634"/>
                <a:gd name="connsiteY20" fmla="*/ 4572697 h 6585647"/>
                <a:gd name="connsiteX21" fmla="*/ 898013 w 9982634"/>
                <a:gd name="connsiteY21" fmla="*/ 4334572 h 6585647"/>
                <a:gd name="connsiteX22" fmla="*/ 9003858 w 9982634"/>
                <a:gd name="connsiteY22" fmla="*/ 3318994 h 6585647"/>
                <a:gd name="connsiteX23" fmla="*/ 7784450 w 9982634"/>
                <a:gd name="connsiteY23" fmla="*/ 1287895 h 6585647"/>
                <a:gd name="connsiteX24" fmla="*/ 5792820 w 9982634"/>
                <a:gd name="connsiteY24" fmla="*/ 1374237 h 6585647"/>
                <a:gd name="connsiteX25" fmla="*/ 9003858 w 9982634"/>
                <a:gd name="connsiteY25" fmla="*/ 3318994 h 6585647"/>
                <a:gd name="connsiteX26" fmla="*/ 1136068 w 9982634"/>
                <a:gd name="connsiteY26" fmla="*/ 3407050 h 6585647"/>
                <a:gd name="connsiteX27" fmla="*/ 3203063 w 9982634"/>
                <a:gd name="connsiteY27" fmla="*/ 4610797 h 6585647"/>
                <a:gd name="connsiteX28" fmla="*/ 8157111 w 9982634"/>
                <a:gd name="connsiteY28" fmla="*/ 3713505 h 6585647"/>
                <a:gd name="connsiteX29" fmla="*/ 1136068 w 9982634"/>
                <a:gd name="connsiteY29" fmla="*/ 3407050 h 6585647"/>
                <a:gd name="connsiteX0" fmla="*/ 898013 w 9982634"/>
                <a:gd name="connsiteY0" fmla="*/ 4334572 h 6585647"/>
                <a:gd name="connsiteX1" fmla="*/ 941433 w 9982634"/>
                <a:gd name="connsiteY1" fmla="*/ 3615991 h 6585647"/>
                <a:gd name="connsiteX2" fmla="*/ 1240913 w 9982634"/>
                <a:gd name="connsiteY2" fmla="*/ 3277297 h 6585647"/>
                <a:gd name="connsiteX3" fmla="*/ 6974967 w 9982634"/>
                <a:gd name="connsiteY3" fmla="*/ 419801 h 6585647"/>
                <a:gd name="connsiteX4" fmla="*/ 8760352 w 9982634"/>
                <a:gd name="connsiteY4" fmla="*/ 758494 h 6585647"/>
                <a:gd name="connsiteX5" fmla="*/ 3926965 w 9982634"/>
                <a:gd name="connsiteY5" fmla="*/ 4887032 h 6585647"/>
                <a:gd name="connsiteX6" fmla="*/ 3997848 w 9982634"/>
                <a:gd name="connsiteY6" fmla="*/ 5853266 h 6585647"/>
                <a:gd name="connsiteX7" fmla="*/ 3679314 w 9982634"/>
                <a:gd name="connsiteY7" fmla="*/ 6172907 h 6585647"/>
                <a:gd name="connsiteX8" fmla="*/ 2631563 w 9982634"/>
                <a:gd name="connsiteY8" fmla="*/ 6191947 h 6585647"/>
                <a:gd name="connsiteX9" fmla="*/ 2402963 w 9982634"/>
                <a:gd name="connsiteY9" fmla="*/ 6020497 h 6585647"/>
                <a:gd name="connsiteX10" fmla="*/ 2345813 w 9982634"/>
                <a:gd name="connsiteY10" fmla="*/ 6363397 h 6585647"/>
                <a:gd name="connsiteX11" fmla="*/ 2650613 w 9982634"/>
                <a:gd name="connsiteY11" fmla="*/ 6363397 h 6585647"/>
                <a:gd name="connsiteX12" fmla="*/ 2726813 w 9982634"/>
                <a:gd name="connsiteY12" fmla="*/ 6534847 h 6585647"/>
                <a:gd name="connsiteX13" fmla="*/ 1717163 w 9982634"/>
                <a:gd name="connsiteY13" fmla="*/ 6553897 h 6585647"/>
                <a:gd name="connsiteX14" fmla="*/ 1660013 w 9982634"/>
                <a:gd name="connsiteY14" fmla="*/ 6344347 h 6585647"/>
                <a:gd name="connsiteX15" fmla="*/ 2027279 w 9982634"/>
                <a:gd name="connsiteY15" fmla="*/ 6386665 h 6585647"/>
                <a:gd name="connsiteX16" fmla="*/ 1983865 w 9982634"/>
                <a:gd name="connsiteY16" fmla="*/ 5801428 h 6585647"/>
                <a:gd name="connsiteX17" fmla="*/ 1012313 w 9982634"/>
                <a:gd name="connsiteY17" fmla="*/ 4801297 h 6585647"/>
                <a:gd name="connsiteX18" fmla="*/ 1564763 w 9982634"/>
                <a:gd name="connsiteY18" fmla="*/ 6268147 h 6585647"/>
                <a:gd name="connsiteX19" fmla="*/ 783713 w 9982634"/>
                <a:gd name="connsiteY19" fmla="*/ 5639497 h 6585647"/>
                <a:gd name="connsiteX20" fmla="*/ 478913 w 9982634"/>
                <a:gd name="connsiteY20" fmla="*/ 4572697 h 6585647"/>
                <a:gd name="connsiteX21" fmla="*/ 898013 w 9982634"/>
                <a:gd name="connsiteY21" fmla="*/ 4334572 h 6585647"/>
                <a:gd name="connsiteX22" fmla="*/ 9003858 w 9982634"/>
                <a:gd name="connsiteY22" fmla="*/ 3318994 h 6585647"/>
                <a:gd name="connsiteX23" fmla="*/ 7784450 w 9982634"/>
                <a:gd name="connsiteY23" fmla="*/ 1287895 h 6585647"/>
                <a:gd name="connsiteX24" fmla="*/ 5792820 w 9982634"/>
                <a:gd name="connsiteY24" fmla="*/ 1374237 h 6585647"/>
                <a:gd name="connsiteX25" fmla="*/ 9003858 w 9982634"/>
                <a:gd name="connsiteY25" fmla="*/ 3318994 h 6585647"/>
                <a:gd name="connsiteX26" fmla="*/ 1136068 w 9982634"/>
                <a:gd name="connsiteY26" fmla="*/ 3407050 h 6585647"/>
                <a:gd name="connsiteX27" fmla="*/ 3203063 w 9982634"/>
                <a:gd name="connsiteY27" fmla="*/ 4610797 h 6585647"/>
                <a:gd name="connsiteX28" fmla="*/ 2423061 w 9982634"/>
                <a:gd name="connsiteY28" fmla="*/ 4532655 h 6585647"/>
                <a:gd name="connsiteX29" fmla="*/ 1136068 w 9982634"/>
                <a:gd name="connsiteY29" fmla="*/ 3407050 h 6585647"/>
                <a:gd name="connsiteX0" fmla="*/ 898013 w 9982634"/>
                <a:gd name="connsiteY0" fmla="*/ 4334572 h 6585647"/>
                <a:gd name="connsiteX1" fmla="*/ 941433 w 9982634"/>
                <a:gd name="connsiteY1" fmla="*/ 3615991 h 6585647"/>
                <a:gd name="connsiteX2" fmla="*/ 1240913 w 9982634"/>
                <a:gd name="connsiteY2" fmla="*/ 3277297 h 6585647"/>
                <a:gd name="connsiteX3" fmla="*/ 6974967 w 9982634"/>
                <a:gd name="connsiteY3" fmla="*/ 419801 h 6585647"/>
                <a:gd name="connsiteX4" fmla="*/ 8760352 w 9982634"/>
                <a:gd name="connsiteY4" fmla="*/ 758494 h 6585647"/>
                <a:gd name="connsiteX5" fmla="*/ 3926965 w 9982634"/>
                <a:gd name="connsiteY5" fmla="*/ 4887032 h 6585647"/>
                <a:gd name="connsiteX6" fmla="*/ 3997848 w 9982634"/>
                <a:gd name="connsiteY6" fmla="*/ 5853266 h 6585647"/>
                <a:gd name="connsiteX7" fmla="*/ 3679314 w 9982634"/>
                <a:gd name="connsiteY7" fmla="*/ 6172907 h 6585647"/>
                <a:gd name="connsiteX8" fmla="*/ 2631563 w 9982634"/>
                <a:gd name="connsiteY8" fmla="*/ 6191947 h 6585647"/>
                <a:gd name="connsiteX9" fmla="*/ 2402963 w 9982634"/>
                <a:gd name="connsiteY9" fmla="*/ 6020497 h 6585647"/>
                <a:gd name="connsiteX10" fmla="*/ 2345813 w 9982634"/>
                <a:gd name="connsiteY10" fmla="*/ 6363397 h 6585647"/>
                <a:gd name="connsiteX11" fmla="*/ 2650613 w 9982634"/>
                <a:gd name="connsiteY11" fmla="*/ 6363397 h 6585647"/>
                <a:gd name="connsiteX12" fmla="*/ 2726813 w 9982634"/>
                <a:gd name="connsiteY12" fmla="*/ 6534847 h 6585647"/>
                <a:gd name="connsiteX13" fmla="*/ 1717163 w 9982634"/>
                <a:gd name="connsiteY13" fmla="*/ 6553897 h 6585647"/>
                <a:gd name="connsiteX14" fmla="*/ 1660013 w 9982634"/>
                <a:gd name="connsiteY14" fmla="*/ 6344347 h 6585647"/>
                <a:gd name="connsiteX15" fmla="*/ 2027279 w 9982634"/>
                <a:gd name="connsiteY15" fmla="*/ 6386665 h 6585647"/>
                <a:gd name="connsiteX16" fmla="*/ 1983865 w 9982634"/>
                <a:gd name="connsiteY16" fmla="*/ 5801428 h 6585647"/>
                <a:gd name="connsiteX17" fmla="*/ 1012313 w 9982634"/>
                <a:gd name="connsiteY17" fmla="*/ 4801297 h 6585647"/>
                <a:gd name="connsiteX18" fmla="*/ 1564763 w 9982634"/>
                <a:gd name="connsiteY18" fmla="*/ 6268147 h 6585647"/>
                <a:gd name="connsiteX19" fmla="*/ 783713 w 9982634"/>
                <a:gd name="connsiteY19" fmla="*/ 5639497 h 6585647"/>
                <a:gd name="connsiteX20" fmla="*/ 478913 w 9982634"/>
                <a:gd name="connsiteY20" fmla="*/ 4572697 h 6585647"/>
                <a:gd name="connsiteX21" fmla="*/ 898013 w 9982634"/>
                <a:gd name="connsiteY21" fmla="*/ 4334572 h 6585647"/>
                <a:gd name="connsiteX22" fmla="*/ 9003858 w 9982634"/>
                <a:gd name="connsiteY22" fmla="*/ 3318994 h 6585647"/>
                <a:gd name="connsiteX23" fmla="*/ 7784450 w 9982634"/>
                <a:gd name="connsiteY23" fmla="*/ 1287895 h 6585647"/>
                <a:gd name="connsiteX24" fmla="*/ 5792820 w 9982634"/>
                <a:gd name="connsiteY24" fmla="*/ 1374237 h 6585647"/>
                <a:gd name="connsiteX25" fmla="*/ 9003858 w 9982634"/>
                <a:gd name="connsiteY25" fmla="*/ 3318994 h 6585647"/>
                <a:gd name="connsiteX26" fmla="*/ 1136068 w 9982634"/>
                <a:gd name="connsiteY26" fmla="*/ 3407050 h 6585647"/>
                <a:gd name="connsiteX27" fmla="*/ 3203063 w 9982634"/>
                <a:gd name="connsiteY27" fmla="*/ 4610797 h 6585647"/>
                <a:gd name="connsiteX28" fmla="*/ 2365911 w 9982634"/>
                <a:gd name="connsiteY28" fmla="*/ 4685055 h 6585647"/>
                <a:gd name="connsiteX29" fmla="*/ 1136068 w 9982634"/>
                <a:gd name="connsiteY29" fmla="*/ 3407050 h 6585647"/>
                <a:gd name="connsiteX0" fmla="*/ 898013 w 9982634"/>
                <a:gd name="connsiteY0" fmla="*/ 4334572 h 6585647"/>
                <a:gd name="connsiteX1" fmla="*/ 941433 w 9982634"/>
                <a:gd name="connsiteY1" fmla="*/ 3615991 h 6585647"/>
                <a:gd name="connsiteX2" fmla="*/ 1240913 w 9982634"/>
                <a:gd name="connsiteY2" fmla="*/ 3277297 h 6585647"/>
                <a:gd name="connsiteX3" fmla="*/ 6974967 w 9982634"/>
                <a:gd name="connsiteY3" fmla="*/ 419801 h 6585647"/>
                <a:gd name="connsiteX4" fmla="*/ 8760352 w 9982634"/>
                <a:gd name="connsiteY4" fmla="*/ 758494 h 6585647"/>
                <a:gd name="connsiteX5" fmla="*/ 3926965 w 9982634"/>
                <a:gd name="connsiteY5" fmla="*/ 4887032 h 6585647"/>
                <a:gd name="connsiteX6" fmla="*/ 3997848 w 9982634"/>
                <a:gd name="connsiteY6" fmla="*/ 5853266 h 6585647"/>
                <a:gd name="connsiteX7" fmla="*/ 3679314 w 9982634"/>
                <a:gd name="connsiteY7" fmla="*/ 6172907 h 6585647"/>
                <a:gd name="connsiteX8" fmla="*/ 2631563 w 9982634"/>
                <a:gd name="connsiteY8" fmla="*/ 6191947 h 6585647"/>
                <a:gd name="connsiteX9" fmla="*/ 2402963 w 9982634"/>
                <a:gd name="connsiteY9" fmla="*/ 6020497 h 6585647"/>
                <a:gd name="connsiteX10" fmla="*/ 2345813 w 9982634"/>
                <a:gd name="connsiteY10" fmla="*/ 6363397 h 6585647"/>
                <a:gd name="connsiteX11" fmla="*/ 2650613 w 9982634"/>
                <a:gd name="connsiteY11" fmla="*/ 6363397 h 6585647"/>
                <a:gd name="connsiteX12" fmla="*/ 2726813 w 9982634"/>
                <a:gd name="connsiteY12" fmla="*/ 6534847 h 6585647"/>
                <a:gd name="connsiteX13" fmla="*/ 1717163 w 9982634"/>
                <a:gd name="connsiteY13" fmla="*/ 6553897 h 6585647"/>
                <a:gd name="connsiteX14" fmla="*/ 1660013 w 9982634"/>
                <a:gd name="connsiteY14" fmla="*/ 6344347 h 6585647"/>
                <a:gd name="connsiteX15" fmla="*/ 2027279 w 9982634"/>
                <a:gd name="connsiteY15" fmla="*/ 6386665 h 6585647"/>
                <a:gd name="connsiteX16" fmla="*/ 1983865 w 9982634"/>
                <a:gd name="connsiteY16" fmla="*/ 5801428 h 6585647"/>
                <a:gd name="connsiteX17" fmla="*/ 1012313 w 9982634"/>
                <a:gd name="connsiteY17" fmla="*/ 4801297 h 6585647"/>
                <a:gd name="connsiteX18" fmla="*/ 1564763 w 9982634"/>
                <a:gd name="connsiteY18" fmla="*/ 6268147 h 6585647"/>
                <a:gd name="connsiteX19" fmla="*/ 783713 w 9982634"/>
                <a:gd name="connsiteY19" fmla="*/ 5639497 h 6585647"/>
                <a:gd name="connsiteX20" fmla="*/ 478913 w 9982634"/>
                <a:gd name="connsiteY20" fmla="*/ 4572697 h 6585647"/>
                <a:gd name="connsiteX21" fmla="*/ 898013 w 9982634"/>
                <a:gd name="connsiteY21" fmla="*/ 4334572 h 6585647"/>
                <a:gd name="connsiteX22" fmla="*/ 9003858 w 9982634"/>
                <a:gd name="connsiteY22" fmla="*/ 3318994 h 6585647"/>
                <a:gd name="connsiteX23" fmla="*/ 7784450 w 9982634"/>
                <a:gd name="connsiteY23" fmla="*/ 1287895 h 6585647"/>
                <a:gd name="connsiteX24" fmla="*/ 5792820 w 9982634"/>
                <a:gd name="connsiteY24" fmla="*/ 1374237 h 6585647"/>
                <a:gd name="connsiteX25" fmla="*/ 9003858 w 9982634"/>
                <a:gd name="connsiteY25" fmla="*/ 3318994 h 6585647"/>
                <a:gd name="connsiteX26" fmla="*/ 1136068 w 9982634"/>
                <a:gd name="connsiteY26" fmla="*/ 3407050 h 6585647"/>
                <a:gd name="connsiteX27" fmla="*/ 2498213 w 9982634"/>
                <a:gd name="connsiteY27" fmla="*/ 4496497 h 6585647"/>
                <a:gd name="connsiteX28" fmla="*/ 2365911 w 9982634"/>
                <a:gd name="connsiteY28" fmla="*/ 4685055 h 6585647"/>
                <a:gd name="connsiteX29" fmla="*/ 1136068 w 9982634"/>
                <a:gd name="connsiteY29" fmla="*/ 3407050 h 6585647"/>
                <a:gd name="connsiteX0" fmla="*/ 898013 w 9982634"/>
                <a:gd name="connsiteY0" fmla="*/ 4334572 h 6585647"/>
                <a:gd name="connsiteX1" fmla="*/ 941433 w 9982634"/>
                <a:gd name="connsiteY1" fmla="*/ 3615991 h 6585647"/>
                <a:gd name="connsiteX2" fmla="*/ 1240913 w 9982634"/>
                <a:gd name="connsiteY2" fmla="*/ 3277297 h 6585647"/>
                <a:gd name="connsiteX3" fmla="*/ 6974967 w 9982634"/>
                <a:gd name="connsiteY3" fmla="*/ 419801 h 6585647"/>
                <a:gd name="connsiteX4" fmla="*/ 8760352 w 9982634"/>
                <a:gd name="connsiteY4" fmla="*/ 758494 h 6585647"/>
                <a:gd name="connsiteX5" fmla="*/ 3926965 w 9982634"/>
                <a:gd name="connsiteY5" fmla="*/ 4887032 h 6585647"/>
                <a:gd name="connsiteX6" fmla="*/ 3997848 w 9982634"/>
                <a:gd name="connsiteY6" fmla="*/ 5853266 h 6585647"/>
                <a:gd name="connsiteX7" fmla="*/ 3679314 w 9982634"/>
                <a:gd name="connsiteY7" fmla="*/ 6172907 h 6585647"/>
                <a:gd name="connsiteX8" fmla="*/ 2631563 w 9982634"/>
                <a:gd name="connsiteY8" fmla="*/ 6191947 h 6585647"/>
                <a:gd name="connsiteX9" fmla="*/ 2402963 w 9982634"/>
                <a:gd name="connsiteY9" fmla="*/ 6020497 h 6585647"/>
                <a:gd name="connsiteX10" fmla="*/ 2345813 w 9982634"/>
                <a:gd name="connsiteY10" fmla="*/ 6363397 h 6585647"/>
                <a:gd name="connsiteX11" fmla="*/ 2650613 w 9982634"/>
                <a:gd name="connsiteY11" fmla="*/ 6363397 h 6585647"/>
                <a:gd name="connsiteX12" fmla="*/ 2726813 w 9982634"/>
                <a:gd name="connsiteY12" fmla="*/ 6534847 h 6585647"/>
                <a:gd name="connsiteX13" fmla="*/ 1717163 w 9982634"/>
                <a:gd name="connsiteY13" fmla="*/ 6553897 h 6585647"/>
                <a:gd name="connsiteX14" fmla="*/ 1660013 w 9982634"/>
                <a:gd name="connsiteY14" fmla="*/ 6344347 h 6585647"/>
                <a:gd name="connsiteX15" fmla="*/ 2027279 w 9982634"/>
                <a:gd name="connsiteY15" fmla="*/ 6386665 h 6585647"/>
                <a:gd name="connsiteX16" fmla="*/ 1983865 w 9982634"/>
                <a:gd name="connsiteY16" fmla="*/ 5801428 h 6585647"/>
                <a:gd name="connsiteX17" fmla="*/ 1012313 w 9982634"/>
                <a:gd name="connsiteY17" fmla="*/ 4801297 h 6585647"/>
                <a:gd name="connsiteX18" fmla="*/ 1564763 w 9982634"/>
                <a:gd name="connsiteY18" fmla="*/ 6268147 h 6585647"/>
                <a:gd name="connsiteX19" fmla="*/ 783713 w 9982634"/>
                <a:gd name="connsiteY19" fmla="*/ 5639497 h 6585647"/>
                <a:gd name="connsiteX20" fmla="*/ 478913 w 9982634"/>
                <a:gd name="connsiteY20" fmla="*/ 4572697 h 6585647"/>
                <a:gd name="connsiteX21" fmla="*/ 898013 w 9982634"/>
                <a:gd name="connsiteY21" fmla="*/ 4334572 h 6585647"/>
                <a:gd name="connsiteX22" fmla="*/ 9003858 w 9982634"/>
                <a:gd name="connsiteY22" fmla="*/ 3318994 h 6585647"/>
                <a:gd name="connsiteX23" fmla="*/ 7784450 w 9982634"/>
                <a:gd name="connsiteY23" fmla="*/ 1287895 h 6585647"/>
                <a:gd name="connsiteX24" fmla="*/ 5792820 w 9982634"/>
                <a:gd name="connsiteY24" fmla="*/ 1374237 h 6585647"/>
                <a:gd name="connsiteX25" fmla="*/ 9003858 w 9982634"/>
                <a:gd name="connsiteY25" fmla="*/ 3318994 h 6585647"/>
                <a:gd name="connsiteX26" fmla="*/ 1136068 w 9982634"/>
                <a:gd name="connsiteY26" fmla="*/ 3407050 h 6585647"/>
                <a:gd name="connsiteX27" fmla="*/ 2498213 w 9982634"/>
                <a:gd name="connsiteY27" fmla="*/ 4496497 h 6585647"/>
                <a:gd name="connsiteX28" fmla="*/ 2346861 w 9982634"/>
                <a:gd name="connsiteY28" fmla="*/ 4342155 h 6585647"/>
                <a:gd name="connsiteX29" fmla="*/ 1136068 w 9982634"/>
                <a:gd name="connsiteY29" fmla="*/ 3407050 h 6585647"/>
                <a:gd name="connsiteX0" fmla="*/ 898013 w 9982634"/>
                <a:gd name="connsiteY0" fmla="*/ 4334572 h 6585647"/>
                <a:gd name="connsiteX1" fmla="*/ 941433 w 9982634"/>
                <a:gd name="connsiteY1" fmla="*/ 3615991 h 6585647"/>
                <a:gd name="connsiteX2" fmla="*/ 1240913 w 9982634"/>
                <a:gd name="connsiteY2" fmla="*/ 3277297 h 6585647"/>
                <a:gd name="connsiteX3" fmla="*/ 6974967 w 9982634"/>
                <a:gd name="connsiteY3" fmla="*/ 419801 h 6585647"/>
                <a:gd name="connsiteX4" fmla="*/ 8760352 w 9982634"/>
                <a:gd name="connsiteY4" fmla="*/ 758494 h 6585647"/>
                <a:gd name="connsiteX5" fmla="*/ 3926965 w 9982634"/>
                <a:gd name="connsiteY5" fmla="*/ 4887032 h 6585647"/>
                <a:gd name="connsiteX6" fmla="*/ 3997848 w 9982634"/>
                <a:gd name="connsiteY6" fmla="*/ 5853266 h 6585647"/>
                <a:gd name="connsiteX7" fmla="*/ 3679314 w 9982634"/>
                <a:gd name="connsiteY7" fmla="*/ 6172907 h 6585647"/>
                <a:gd name="connsiteX8" fmla="*/ 2631563 w 9982634"/>
                <a:gd name="connsiteY8" fmla="*/ 6191947 h 6585647"/>
                <a:gd name="connsiteX9" fmla="*/ 2402963 w 9982634"/>
                <a:gd name="connsiteY9" fmla="*/ 6020497 h 6585647"/>
                <a:gd name="connsiteX10" fmla="*/ 2345813 w 9982634"/>
                <a:gd name="connsiteY10" fmla="*/ 6363397 h 6585647"/>
                <a:gd name="connsiteX11" fmla="*/ 2650613 w 9982634"/>
                <a:gd name="connsiteY11" fmla="*/ 6363397 h 6585647"/>
                <a:gd name="connsiteX12" fmla="*/ 2726813 w 9982634"/>
                <a:gd name="connsiteY12" fmla="*/ 6534847 h 6585647"/>
                <a:gd name="connsiteX13" fmla="*/ 1717163 w 9982634"/>
                <a:gd name="connsiteY13" fmla="*/ 6553897 h 6585647"/>
                <a:gd name="connsiteX14" fmla="*/ 1660013 w 9982634"/>
                <a:gd name="connsiteY14" fmla="*/ 6344347 h 6585647"/>
                <a:gd name="connsiteX15" fmla="*/ 2027279 w 9982634"/>
                <a:gd name="connsiteY15" fmla="*/ 6386665 h 6585647"/>
                <a:gd name="connsiteX16" fmla="*/ 1983865 w 9982634"/>
                <a:gd name="connsiteY16" fmla="*/ 5801428 h 6585647"/>
                <a:gd name="connsiteX17" fmla="*/ 1012313 w 9982634"/>
                <a:gd name="connsiteY17" fmla="*/ 4801297 h 6585647"/>
                <a:gd name="connsiteX18" fmla="*/ 1564763 w 9982634"/>
                <a:gd name="connsiteY18" fmla="*/ 6268147 h 6585647"/>
                <a:gd name="connsiteX19" fmla="*/ 783713 w 9982634"/>
                <a:gd name="connsiteY19" fmla="*/ 5639497 h 6585647"/>
                <a:gd name="connsiteX20" fmla="*/ 478913 w 9982634"/>
                <a:gd name="connsiteY20" fmla="*/ 4572697 h 6585647"/>
                <a:gd name="connsiteX21" fmla="*/ 898013 w 9982634"/>
                <a:gd name="connsiteY21" fmla="*/ 4334572 h 6585647"/>
                <a:gd name="connsiteX22" fmla="*/ 9003858 w 9982634"/>
                <a:gd name="connsiteY22" fmla="*/ 3318994 h 6585647"/>
                <a:gd name="connsiteX23" fmla="*/ 7784450 w 9982634"/>
                <a:gd name="connsiteY23" fmla="*/ 1287895 h 6585647"/>
                <a:gd name="connsiteX24" fmla="*/ 5792820 w 9982634"/>
                <a:gd name="connsiteY24" fmla="*/ 1374237 h 6585647"/>
                <a:gd name="connsiteX25" fmla="*/ 9003858 w 9982634"/>
                <a:gd name="connsiteY25" fmla="*/ 3318994 h 6585647"/>
                <a:gd name="connsiteX26" fmla="*/ 1136068 w 9982634"/>
                <a:gd name="connsiteY26" fmla="*/ 3407050 h 6585647"/>
                <a:gd name="connsiteX27" fmla="*/ 2402963 w 9982634"/>
                <a:gd name="connsiteY27" fmla="*/ 4706047 h 6585647"/>
                <a:gd name="connsiteX28" fmla="*/ 2346861 w 9982634"/>
                <a:gd name="connsiteY28" fmla="*/ 4342155 h 6585647"/>
                <a:gd name="connsiteX29" fmla="*/ 1136068 w 9982634"/>
                <a:gd name="connsiteY29" fmla="*/ 3407050 h 6585647"/>
                <a:gd name="connsiteX0" fmla="*/ 898013 w 9982634"/>
                <a:gd name="connsiteY0" fmla="*/ 4334572 h 6585647"/>
                <a:gd name="connsiteX1" fmla="*/ 941433 w 9982634"/>
                <a:gd name="connsiteY1" fmla="*/ 3615991 h 6585647"/>
                <a:gd name="connsiteX2" fmla="*/ 1240913 w 9982634"/>
                <a:gd name="connsiteY2" fmla="*/ 3277297 h 6585647"/>
                <a:gd name="connsiteX3" fmla="*/ 6974967 w 9982634"/>
                <a:gd name="connsiteY3" fmla="*/ 419801 h 6585647"/>
                <a:gd name="connsiteX4" fmla="*/ 8760352 w 9982634"/>
                <a:gd name="connsiteY4" fmla="*/ 758494 h 6585647"/>
                <a:gd name="connsiteX5" fmla="*/ 3926965 w 9982634"/>
                <a:gd name="connsiteY5" fmla="*/ 4887032 h 6585647"/>
                <a:gd name="connsiteX6" fmla="*/ 3997848 w 9982634"/>
                <a:gd name="connsiteY6" fmla="*/ 5853266 h 6585647"/>
                <a:gd name="connsiteX7" fmla="*/ 3679314 w 9982634"/>
                <a:gd name="connsiteY7" fmla="*/ 6172907 h 6585647"/>
                <a:gd name="connsiteX8" fmla="*/ 2631563 w 9982634"/>
                <a:gd name="connsiteY8" fmla="*/ 6191947 h 6585647"/>
                <a:gd name="connsiteX9" fmla="*/ 2402963 w 9982634"/>
                <a:gd name="connsiteY9" fmla="*/ 6020497 h 6585647"/>
                <a:gd name="connsiteX10" fmla="*/ 2345813 w 9982634"/>
                <a:gd name="connsiteY10" fmla="*/ 6363397 h 6585647"/>
                <a:gd name="connsiteX11" fmla="*/ 2650613 w 9982634"/>
                <a:gd name="connsiteY11" fmla="*/ 6363397 h 6585647"/>
                <a:gd name="connsiteX12" fmla="*/ 2726813 w 9982634"/>
                <a:gd name="connsiteY12" fmla="*/ 6534847 h 6585647"/>
                <a:gd name="connsiteX13" fmla="*/ 1717163 w 9982634"/>
                <a:gd name="connsiteY13" fmla="*/ 6553897 h 6585647"/>
                <a:gd name="connsiteX14" fmla="*/ 1660013 w 9982634"/>
                <a:gd name="connsiteY14" fmla="*/ 6344347 h 6585647"/>
                <a:gd name="connsiteX15" fmla="*/ 2027279 w 9982634"/>
                <a:gd name="connsiteY15" fmla="*/ 6386665 h 6585647"/>
                <a:gd name="connsiteX16" fmla="*/ 1983865 w 9982634"/>
                <a:gd name="connsiteY16" fmla="*/ 5801428 h 6585647"/>
                <a:gd name="connsiteX17" fmla="*/ 1012313 w 9982634"/>
                <a:gd name="connsiteY17" fmla="*/ 4801297 h 6585647"/>
                <a:gd name="connsiteX18" fmla="*/ 1564763 w 9982634"/>
                <a:gd name="connsiteY18" fmla="*/ 6268147 h 6585647"/>
                <a:gd name="connsiteX19" fmla="*/ 783713 w 9982634"/>
                <a:gd name="connsiteY19" fmla="*/ 5639497 h 6585647"/>
                <a:gd name="connsiteX20" fmla="*/ 478913 w 9982634"/>
                <a:gd name="connsiteY20" fmla="*/ 4572697 h 6585647"/>
                <a:gd name="connsiteX21" fmla="*/ 898013 w 9982634"/>
                <a:gd name="connsiteY21" fmla="*/ 4334572 h 6585647"/>
                <a:gd name="connsiteX22" fmla="*/ 9003858 w 9982634"/>
                <a:gd name="connsiteY22" fmla="*/ 3318994 h 6585647"/>
                <a:gd name="connsiteX23" fmla="*/ 7784450 w 9982634"/>
                <a:gd name="connsiteY23" fmla="*/ 1287895 h 6585647"/>
                <a:gd name="connsiteX24" fmla="*/ 5792820 w 9982634"/>
                <a:gd name="connsiteY24" fmla="*/ 1374237 h 6585647"/>
                <a:gd name="connsiteX25" fmla="*/ 9003858 w 9982634"/>
                <a:gd name="connsiteY25" fmla="*/ 3318994 h 6585647"/>
                <a:gd name="connsiteX26" fmla="*/ 1136068 w 9982634"/>
                <a:gd name="connsiteY26" fmla="*/ 3407050 h 6585647"/>
                <a:gd name="connsiteX27" fmla="*/ 2402963 w 9982634"/>
                <a:gd name="connsiteY27" fmla="*/ 4706047 h 6585647"/>
                <a:gd name="connsiteX28" fmla="*/ 2365911 w 9982634"/>
                <a:gd name="connsiteY28" fmla="*/ 4570755 h 6585647"/>
                <a:gd name="connsiteX29" fmla="*/ 1136068 w 9982634"/>
                <a:gd name="connsiteY29" fmla="*/ 3407050 h 6585647"/>
                <a:gd name="connsiteX0" fmla="*/ 898013 w 9982634"/>
                <a:gd name="connsiteY0" fmla="*/ 4334572 h 6585647"/>
                <a:gd name="connsiteX1" fmla="*/ 941433 w 9982634"/>
                <a:gd name="connsiteY1" fmla="*/ 3615991 h 6585647"/>
                <a:gd name="connsiteX2" fmla="*/ 1240913 w 9982634"/>
                <a:gd name="connsiteY2" fmla="*/ 3277297 h 6585647"/>
                <a:gd name="connsiteX3" fmla="*/ 6974967 w 9982634"/>
                <a:gd name="connsiteY3" fmla="*/ 419801 h 6585647"/>
                <a:gd name="connsiteX4" fmla="*/ 8760352 w 9982634"/>
                <a:gd name="connsiteY4" fmla="*/ 758494 h 6585647"/>
                <a:gd name="connsiteX5" fmla="*/ 3926965 w 9982634"/>
                <a:gd name="connsiteY5" fmla="*/ 4887032 h 6585647"/>
                <a:gd name="connsiteX6" fmla="*/ 3997848 w 9982634"/>
                <a:gd name="connsiteY6" fmla="*/ 5853266 h 6585647"/>
                <a:gd name="connsiteX7" fmla="*/ 3679314 w 9982634"/>
                <a:gd name="connsiteY7" fmla="*/ 6172907 h 6585647"/>
                <a:gd name="connsiteX8" fmla="*/ 2631563 w 9982634"/>
                <a:gd name="connsiteY8" fmla="*/ 6191947 h 6585647"/>
                <a:gd name="connsiteX9" fmla="*/ 2402963 w 9982634"/>
                <a:gd name="connsiteY9" fmla="*/ 6020497 h 6585647"/>
                <a:gd name="connsiteX10" fmla="*/ 2345813 w 9982634"/>
                <a:gd name="connsiteY10" fmla="*/ 6363397 h 6585647"/>
                <a:gd name="connsiteX11" fmla="*/ 2650613 w 9982634"/>
                <a:gd name="connsiteY11" fmla="*/ 6363397 h 6585647"/>
                <a:gd name="connsiteX12" fmla="*/ 2726813 w 9982634"/>
                <a:gd name="connsiteY12" fmla="*/ 6534847 h 6585647"/>
                <a:gd name="connsiteX13" fmla="*/ 1717163 w 9982634"/>
                <a:gd name="connsiteY13" fmla="*/ 6553897 h 6585647"/>
                <a:gd name="connsiteX14" fmla="*/ 1660013 w 9982634"/>
                <a:gd name="connsiteY14" fmla="*/ 6344347 h 6585647"/>
                <a:gd name="connsiteX15" fmla="*/ 2027279 w 9982634"/>
                <a:gd name="connsiteY15" fmla="*/ 6386665 h 6585647"/>
                <a:gd name="connsiteX16" fmla="*/ 1983865 w 9982634"/>
                <a:gd name="connsiteY16" fmla="*/ 5801428 h 6585647"/>
                <a:gd name="connsiteX17" fmla="*/ 1012313 w 9982634"/>
                <a:gd name="connsiteY17" fmla="*/ 4801297 h 6585647"/>
                <a:gd name="connsiteX18" fmla="*/ 1564763 w 9982634"/>
                <a:gd name="connsiteY18" fmla="*/ 6268147 h 6585647"/>
                <a:gd name="connsiteX19" fmla="*/ 783713 w 9982634"/>
                <a:gd name="connsiteY19" fmla="*/ 5639497 h 6585647"/>
                <a:gd name="connsiteX20" fmla="*/ 478913 w 9982634"/>
                <a:gd name="connsiteY20" fmla="*/ 4572697 h 6585647"/>
                <a:gd name="connsiteX21" fmla="*/ 898013 w 9982634"/>
                <a:gd name="connsiteY21" fmla="*/ 4334572 h 6585647"/>
                <a:gd name="connsiteX22" fmla="*/ 9003858 w 9982634"/>
                <a:gd name="connsiteY22" fmla="*/ 3318994 h 6585647"/>
                <a:gd name="connsiteX23" fmla="*/ 7784450 w 9982634"/>
                <a:gd name="connsiteY23" fmla="*/ 1287895 h 6585647"/>
                <a:gd name="connsiteX24" fmla="*/ 2840070 w 9982634"/>
                <a:gd name="connsiteY24" fmla="*/ 4841337 h 6585647"/>
                <a:gd name="connsiteX25" fmla="*/ 9003858 w 9982634"/>
                <a:gd name="connsiteY25" fmla="*/ 3318994 h 6585647"/>
                <a:gd name="connsiteX26" fmla="*/ 1136068 w 9982634"/>
                <a:gd name="connsiteY26" fmla="*/ 3407050 h 6585647"/>
                <a:gd name="connsiteX27" fmla="*/ 2402963 w 9982634"/>
                <a:gd name="connsiteY27" fmla="*/ 4706047 h 6585647"/>
                <a:gd name="connsiteX28" fmla="*/ 2365911 w 9982634"/>
                <a:gd name="connsiteY28" fmla="*/ 4570755 h 6585647"/>
                <a:gd name="connsiteX29" fmla="*/ 1136068 w 9982634"/>
                <a:gd name="connsiteY29" fmla="*/ 3407050 h 6585647"/>
                <a:gd name="connsiteX0" fmla="*/ 898013 w 9982634"/>
                <a:gd name="connsiteY0" fmla="*/ 4334572 h 6585647"/>
                <a:gd name="connsiteX1" fmla="*/ 941433 w 9982634"/>
                <a:gd name="connsiteY1" fmla="*/ 3615991 h 6585647"/>
                <a:gd name="connsiteX2" fmla="*/ 1240913 w 9982634"/>
                <a:gd name="connsiteY2" fmla="*/ 3277297 h 6585647"/>
                <a:gd name="connsiteX3" fmla="*/ 6974967 w 9982634"/>
                <a:gd name="connsiteY3" fmla="*/ 419801 h 6585647"/>
                <a:gd name="connsiteX4" fmla="*/ 8760352 w 9982634"/>
                <a:gd name="connsiteY4" fmla="*/ 758494 h 6585647"/>
                <a:gd name="connsiteX5" fmla="*/ 3926965 w 9982634"/>
                <a:gd name="connsiteY5" fmla="*/ 4887032 h 6585647"/>
                <a:gd name="connsiteX6" fmla="*/ 3997848 w 9982634"/>
                <a:gd name="connsiteY6" fmla="*/ 5853266 h 6585647"/>
                <a:gd name="connsiteX7" fmla="*/ 3679314 w 9982634"/>
                <a:gd name="connsiteY7" fmla="*/ 6172907 h 6585647"/>
                <a:gd name="connsiteX8" fmla="*/ 2631563 w 9982634"/>
                <a:gd name="connsiteY8" fmla="*/ 6191947 h 6585647"/>
                <a:gd name="connsiteX9" fmla="*/ 2402963 w 9982634"/>
                <a:gd name="connsiteY9" fmla="*/ 6020497 h 6585647"/>
                <a:gd name="connsiteX10" fmla="*/ 2345813 w 9982634"/>
                <a:gd name="connsiteY10" fmla="*/ 6363397 h 6585647"/>
                <a:gd name="connsiteX11" fmla="*/ 2650613 w 9982634"/>
                <a:gd name="connsiteY11" fmla="*/ 6363397 h 6585647"/>
                <a:gd name="connsiteX12" fmla="*/ 2726813 w 9982634"/>
                <a:gd name="connsiteY12" fmla="*/ 6534847 h 6585647"/>
                <a:gd name="connsiteX13" fmla="*/ 1717163 w 9982634"/>
                <a:gd name="connsiteY13" fmla="*/ 6553897 h 6585647"/>
                <a:gd name="connsiteX14" fmla="*/ 1660013 w 9982634"/>
                <a:gd name="connsiteY14" fmla="*/ 6344347 h 6585647"/>
                <a:gd name="connsiteX15" fmla="*/ 2027279 w 9982634"/>
                <a:gd name="connsiteY15" fmla="*/ 6386665 h 6585647"/>
                <a:gd name="connsiteX16" fmla="*/ 1983865 w 9982634"/>
                <a:gd name="connsiteY16" fmla="*/ 5801428 h 6585647"/>
                <a:gd name="connsiteX17" fmla="*/ 1012313 w 9982634"/>
                <a:gd name="connsiteY17" fmla="*/ 4801297 h 6585647"/>
                <a:gd name="connsiteX18" fmla="*/ 1564763 w 9982634"/>
                <a:gd name="connsiteY18" fmla="*/ 6268147 h 6585647"/>
                <a:gd name="connsiteX19" fmla="*/ 783713 w 9982634"/>
                <a:gd name="connsiteY19" fmla="*/ 5639497 h 6585647"/>
                <a:gd name="connsiteX20" fmla="*/ 478913 w 9982634"/>
                <a:gd name="connsiteY20" fmla="*/ 4572697 h 6585647"/>
                <a:gd name="connsiteX21" fmla="*/ 898013 w 9982634"/>
                <a:gd name="connsiteY21" fmla="*/ 4334572 h 6585647"/>
                <a:gd name="connsiteX22" fmla="*/ 9003858 w 9982634"/>
                <a:gd name="connsiteY22" fmla="*/ 3318994 h 6585647"/>
                <a:gd name="connsiteX23" fmla="*/ 3364850 w 9982634"/>
                <a:gd name="connsiteY23" fmla="*/ 4831195 h 6585647"/>
                <a:gd name="connsiteX24" fmla="*/ 2840070 w 9982634"/>
                <a:gd name="connsiteY24" fmla="*/ 4841337 h 6585647"/>
                <a:gd name="connsiteX25" fmla="*/ 9003858 w 9982634"/>
                <a:gd name="connsiteY25" fmla="*/ 3318994 h 6585647"/>
                <a:gd name="connsiteX26" fmla="*/ 1136068 w 9982634"/>
                <a:gd name="connsiteY26" fmla="*/ 3407050 h 6585647"/>
                <a:gd name="connsiteX27" fmla="*/ 2402963 w 9982634"/>
                <a:gd name="connsiteY27" fmla="*/ 4706047 h 6585647"/>
                <a:gd name="connsiteX28" fmla="*/ 2365911 w 9982634"/>
                <a:gd name="connsiteY28" fmla="*/ 4570755 h 6585647"/>
                <a:gd name="connsiteX29" fmla="*/ 1136068 w 9982634"/>
                <a:gd name="connsiteY29" fmla="*/ 3407050 h 6585647"/>
                <a:gd name="connsiteX0" fmla="*/ 898013 w 9701785"/>
                <a:gd name="connsiteY0" fmla="*/ 4334572 h 6585647"/>
                <a:gd name="connsiteX1" fmla="*/ 941433 w 9701785"/>
                <a:gd name="connsiteY1" fmla="*/ 3615991 h 6585647"/>
                <a:gd name="connsiteX2" fmla="*/ 1240913 w 9701785"/>
                <a:gd name="connsiteY2" fmla="*/ 3277297 h 6585647"/>
                <a:gd name="connsiteX3" fmla="*/ 6974967 w 9701785"/>
                <a:gd name="connsiteY3" fmla="*/ 419801 h 6585647"/>
                <a:gd name="connsiteX4" fmla="*/ 8760352 w 9701785"/>
                <a:gd name="connsiteY4" fmla="*/ 758494 h 6585647"/>
                <a:gd name="connsiteX5" fmla="*/ 3926965 w 9701785"/>
                <a:gd name="connsiteY5" fmla="*/ 4887032 h 6585647"/>
                <a:gd name="connsiteX6" fmla="*/ 3997848 w 9701785"/>
                <a:gd name="connsiteY6" fmla="*/ 5853266 h 6585647"/>
                <a:gd name="connsiteX7" fmla="*/ 3679314 w 9701785"/>
                <a:gd name="connsiteY7" fmla="*/ 6172907 h 6585647"/>
                <a:gd name="connsiteX8" fmla="*/ 2631563 w 9701785"/>
                <a:gd name="connsiteY8" fmla="*/ 6191947 h 6585647"/>
                <a:gd name="connsiteX9" fmla="*/ 2402963 w 9701785"/>
                <a:gd name="connsiteY9" fmla="*/ 6020497 h 6585647"/>
                <a:gd name="connsiteX10" fmla="*/ 2345813 w 9701785"/>
                <a:gd name="connsiteY10" fmla="*/ 6363397 h 6585647"/>
                <a:gd name="connsiteX11" fmla="*/ 2650613 w 9701785"/>
                <a:gd name="connsiteY11" fmla="*/ 6363397 h 6585647"/>
                <a:gd name="connsiteX12" fmla="*/ 2726813 w 9701785"/>
                <a:gd name="connsiteY12" fmla="*/ 6534847 h 6585647"/>
                <a:gd name="connsiteX13" fmla="*/ 1717163 w 9701785"/>
                <a:gd name="connsiteY13" fmla="*/ 6553897 h 6585647"/>
                <a:gd name="connsiteX14" fmla="*/ 1660013 w 9701785"/>
                <a:gd name="connsiteY14" fmla="*/ 6344347 h 6585647"/>
                <a:gd name="connsiteX15" fmla="*/ 2027279 w 9701785"/>
                <a:gd name="connsiteY15" fmla="*/ 6386665 h 6585647"/>
                <a:gd name="connsiteX16" fmla="*/ 1983865 w 9701785"/>
                <a:gd name="connsiteY16" fmla="*/ 5801428 h 6585647"/>
                <a:gd name="connsiteX17" fmla="*/ 1012313 w 9701785"/>
                <a:gd name="connsiteY17" fmla="*/ 4801297 h 6585647"/>
                <a:gd name="connsiteX18" fmla="*/ 1564763 w 9701785"/>
                <a:gd name="connsiteY18" fmla="*/ 6268147 h 6585647"/>
                <a:gd name="connsiteX19" fmla="*/ 783713 w 9701785"/>
                <a:gd name="connsiteY19" fmla="*/ 5639497 h 6585647"/>
                <a:gd name="connsiteX20" fmla="*/ 478913 w 9701785"/>
                <a:gd name="connsiteY20" fmla="*/ 4572697 h 6585647"/>
                <a:gd name="connsiteX21" fmla="*/ 898013 w 9701785"/>
                <a:gd name="connsiteY21" fmla="*/ 4334572 h 6585647"/>
                <a:gd name="connsiteX22" fmla="*/ 3727008 w 9701785"/>
                <a:gd name="connsiteY22" fmla="*/ 5852644 h 6585647"/>
                <a:gd name="connsiteX23" fmla="*/ 3364850 w 9701785"/>
                <a:gd name="connsiteY23" fmla="*/ 4831195 h 6585647"/>
                <a:gd name="connsiteX24" fmla="*/ 2840070 w 9701785"/>
                <a:gd name="connsiteY24" fmla="*/ 4841337 h 6585647"/>
                <a:gd name="connsiteX25" fmla="*/ 3727008 w 9701785"/>
                <a:gd name="connsiteY25" fmla="*/ 5852644 h 6585647"/>
                <a:gd name="connsiteX26" fmla="*/ 1136068 w 9701785"/>
                <a:gd name="connsiteY26" fmla="*/ 3407050 h 6585647"/>
                <a:gd name="connsiteX27" fmla="*/ 2402963 w 9701785"/>
                <a:gd name="connsiteY27" fmla="*/ 4706047 h 6585647"/>
                <a:gd name="connsiteX28" fmla="*/ 2365911 w 9701785"/>
                <a:gd name="connsiteY28" fmla="*/ 4570755 h 6585647"/>
                <a:gd name="connsiteX29" fmla="*/ 1136068 w 9701785"/>
                <a:gd name="connsiteY29" fmla="*/ 3407050 h 6585647"/>
                <a:gd name="connsiteX0" fmla="*/ 898013 w 9701785"/>
                <a:gd name="connsiteY0" fmla="*/ 4334572 h 6585647"/>
                <a:gd name="connsiteX1" fmla="*/ 941433 w 9701785"/>
                <a:gd name="connsiteY1" fmla="*/ 3615991 h 6585647"/>
                <a:gd name="connsiteX2" fmla="*/ 1240913 w 9701785"/>
                <a:gd name="connsiteY2" fmla="*/ 3277297 h 6585647"/>
                <a:gd name="connsiteX3" fmla="*/ 6974967 w 9701785"/>
                <a:gd name="connsiteY3" fmla="*/ 419801 h 6585647"/>
                <a:gd name="connsiteX4" fmla="*/ 8760352 w 9701785"/>
                <a:gd name="connsiteY4" fmla="*/ 758494 h 6585647"/>
                <a:gd name="connsiteX5" fmla="*/ 3926965 w 9701785"/>
                <a:gd name="connsiteY5" fmla="*/ 4887032 h 6585647"/>
                <a:gd name="connsiteX6" fmla="*/ 3997848 w 9701785"/>
                <a:gd name="connsiteY6" fmla="*/ 5853266 h 6585647"/>
                <a:gd name="connsiteX7" fmla="*/ 3679314 w 9701785"/>
                <a:gd name="connsiteY7" fmla="*/ 6172907 h 6585647"/>
                <a:gd name="connsiteX8" fmla="*/ 2631563 w 9701785"/>
                <a:gd name="connsiteY8" fmla="*/ 6191947 h 6585647"/>
                <a:gd name="connsiteX9" fmla="*/ 2402963 w 9701785"/>
                <a:gd name="connsiteY9" fmla="*/ 6020497 h 6585647"/>
                <a:gd name="connsiteX10" fmla="*/ 2345813 w 9701785"/>
                <a:gd name="connsiteY10" fmla="*/ 6363397 h 6585647"/>
                <a:gd name="connsiteX11" fmla="*/ 2650613 w 9701785"/>
                <a:gd name="connsiteY11" fmla="*/ 6363397 h 6585647"/>
                <a:gd name="connsiteX12" fmla="*/ 2726813 w 9701785"/>
                <a:gd name="connsiteY12" fmla="*/ 6534847 h 6585647"/>
                <a:gd name="connsiteX13" fmla="*/ 1717163 w 9701785"/>
                <a:gd name="connsiteY13" fmla="*/ 6553897 h 6585647"/>
                <a:gd name="connsiteX14" fmla="*/ 1660013 w 9701785"/>
                <a:gd name="connsiteY14" fmla="*/ 6344347 h 6585647"/>
                <a:gd name="connsiteX15" fmla="*/ 2027279 w 9701785"/>
                <a:gd name="connsiteY15" fmla="*/ 6386665 h 6585647"/>
                <a:gd name="connsiteX16" fmla="*/ 1983865 w 9701785"/>
                <a:gd name="connsiteY16" fmla="*/ 5801428 h 6585647"/>
                <a:gd name="connsiteX17" fmla="*/ 1012313 w 9701785"/>
                <a:gd name="connsiteY17" fmla="*/ 4801297 h 6585647"/>
                <a:gd name="connsiteX18" fmla="*/ 1564763 w 9701785"/>
                <a:gd name="connsiteY18" fmla="*/ 6268147 h 6585647"/>
                <a:gd name="connsiteX19" fmla="*/ 783713 w 9701785"/>
                <a:gd name="connsiteY19" fmla="*/ 5639497 h 6585647"/>
                <a:gd name="connsiteX20" fmla="*/ 478913 w 9701785"/>
                <a:gd name="connsiteY20" fmla="*/ 4572697 h 6585647"/>
                <a:gd name="connsiteX21" fmla="*/ 898013 w 9701785"/>
                <a:gd name="connsiteY21" fmla="*/ 4334572 h 6585647"/>
                <a:gd name="connsiteX22" fmla="*/ 3727008 w 9701785"/>
                <a:gd name="connsiteY22" fmla="*/ 5852644 h 6585647"/>
                <a:gd name="connsiteX23" fmla="*/ 3364850 w 9701785"/>
                <a:gd name="connsiteY23" fmla="*/ 4831195 h 6585647"/>
                <a:gd name="connsiteX24" fmla="*/ 2840070 w 9701785"/>
                <a:gd name="connsiteY24" fmla="*/ 4841337 h 6585647"/>
                <a:gd name="connsiteX25" fmla="*/ 2612514 w 9701785"/>
                <a:gd name="connsiteY25" fmla="*/ 5010847 h 6585647"/>
                <a:gd name="connsiteX26" fmla="*/ 3727008 w 9701785"/>
                <a:gd name="connsiteY26" fmla="*/ 5852644 h 6585647"/>
                <a:gd name="connsiteX27" fmla="*/ 1136068 w 9701785"/>
                <a:gd name="connsiteY27" fmla="*/ 3407050 h 6585647"/>
                <a:gd name="connsiteX28" fmla="*/ 2402963 w 9701785"/>
                <a:gd name="connsiteY28" fmla="*/ 4706047 h 6585647"/>
                <a:gd name="connsiteX29" fmla="*/ 2365911 w 9701785"/>
                <a:gd name="connsiteY29" fmla="*/ 4570755 h 6585647"/>
                <a:gd name="connsiteX30" fmla="*/ 1136068 w 9701785"/>
                <a:gd name="connsiteY30" fmla="*/ 3407050 h 6585647"/>
                <a:gd name="connsiteX0" fmla="*/ 898013 w 9701785"/>
                <a:gd name="connsiteY0" fmla="*/ 4334572 h 6585647"/>
                <a:gd name="connsiteX1" fmla="*/ 941433 w 9701785"/>
                <a:gd name="connsiteY1" fmla="*/ 3615991 h 6585647"/>
                <a:gd name="connsiteX2" fmla="*/ 1240913 w 9701785"/>
                <a:gd name="connsiteY2" fmla="*/ 3277297 h 6585647"/>
                <a:gd name="connsiteX3" fmla="*/ 6974967 w 9701785"/>
                <a:gd name="connsiteY3" fmla="*/ 419801 h 6585647"/>
                <a:gd name="connsiteX4" fmla="*/ 8760352 w 9701785"/>
                <a:gd name="connsiteY4" fmla="*/ 758494 h 6585647"/>
                <a:gd name="connsiteX5" fmla="*/ 3926965 w 9701785"/>
                <a:gd name="connsiteY5" fmla="*/ 4887032 h 6585647"/>
                <a:gd name="connsiteX6" fmla="*/ 3997848 w 9701785"/>
                <a:gd name="connsiteY6" fmla="*/ 5853266 h 6585647"/>
                <a:gd name="connsiteX7" fmla="*/ 3679314 w 9701785"/>
                <a:gd name="connsiteY7" fmla="*/ 6172907 h 6585647"/>
                <a:gd name="connsiteX8" fmla="*/ 2631563 w 9701785"/>
                <a:gd name="connsiteY8" fmla="*/ 6191947 h 6585647"/>
                <a:gd name="connsiteX9" fmla="*/ 2402963 w 9701785"/>
                <a:gd name="connsiteY9" fmla="*/ 6020497 h 6585647"/>
                <a:gd name="connsiteX10" fmla="*/ 2345813 w 9701785"/>
                <a:gd name="connsiteY10" fmla="*/ 6363397 h 6585647"/>
                <a:gd name="connsiteX11" fmla="*/ 2650613 w 9701785"/>
                <a:gd name="connsiteY11" fmla="*/ 6363397 h 6585647"/>
                <a:gd name="connsiteX12" fmla="*/ 2726813 w 9701785"/>
                <a:gd name="connsiteY12" fmla="*/ 6534847 h 6585647"/>
                <a:gd name="connsiteX13" fmla="*/ 1717163 w 9701785"/>
                <a:gd name="connsiteY13" fmla="*/ 6553897 h 6585647"/>
                <a:gd name="connsiteX14" fmla="*/ 1660013 w 9701785"/>
                <a:gd name="connsiteY14" fmla="*/ 6344347 h 6585647"/>
                <a:gd name="connsiteX15" fmla="*/ 2027279 w 9701785"/>
                <a:gd name="connsiteY15" fmla="*/ 6386665 h 6585647"/>
                <a:gd name="connsiteX16" fmla="*/ 1983865 w 9701785"/>
                <a:gd name="connsiteY16" fmla="*/ 5801428 h 6585647"/>
                <a:gd name="connsiteX17" fmla="*/ 1012313 w 9701785"/>
                <a:gd name="connsiteY17" fmla="*/ 4801297 h 6585647"/>
                <a:gd name="connsiteX18" fmla="*/ 1564763 w 9701785"/>
                <a:gd name="connsiteY18" fmla="*/ 6268147 h 6585647"/>
                <a:gd name="connsiteX19" fmla="*/ 783713 w 9701785"/>
                <a:gd name="connsiteY19" fmla="*/ 5639497 h 6585647"/>
                <a:gd name="connsiteX20" fmla="*/ 478913 w 9701785"/>
                <a:gd name="connsiteY20" fmla="*/ 4572697 h 6585647"/>
                <a:gd name="connsiteX21" fmla="*/ 898013 w 9701785"/>
                <a:gd name="connsiteY21" fmla="*/ 4334572 h 6585647"/>
                <a:gd name="connsiteX22" fmla="*/ 3727008 w 9701785"/>
                <a:gd name="connsiteY22" fmla="*/ 5852644 h 6585647"/>
                <a:gd name="connsiteX23" fmla="*/ 3364850 w 9701785"/>
                <a:gd name="connsiteY23" fmla="*/ 4831195 h 6585647"/>
                <a:gd name="connsiteX24" fmla="*/ 2840070 w 9701785"/>
                <a:gd name="connsiteY24" fmla="*/ 4841337 h 6585647"/>
                <a:gd name="connsiteX25" fmla="*/ 2612514 w 9701785"/>
                <a:gd name="connsiteY25" fmla="*/ 5010847 h 6585647"/>
                <a:gd name="connsiteX26" fmla="*/ 2612514 w 9701785"/>
                <a:gd name="connsiteY26" fmla="*/ 5868097 h 6585647"/>
                <a:gd name="connsiteX27" fmla="*/ 3727008 w 9701785"/>
                <a:gd name="connsiteY27" fmla="*/ 5852644 h 6585647"/>
                <a:gd name="connsiteX28" fmla="*/ 1136068 w 9701785"/>
                <a:gd name="connsiteY28" fmla="*/ 3407050 h 6585647"/>
                <a:gd name="connsiteX29" fmla="*/ 2402963 w 9701785"/>
                <a:gd name="connsiteY29" fmla="*/ 4706047 h 6585647"/>
                <a:gd name="connsiteX30" fmla="*/ 2365911 w 9701785"/>
                <a:gd name="connsiteY30" fmla="*/ 4570755 h 6585647"/>
                <a:gd name="connsiteX31" fmla="*/ 1136068 w 9701785"/>
                <a:gd name="connsiteY31" fmla="*/ 3407050 h 6585647"/>
                <a:gd name="connsiteX0" fmla="*/ 898013 w 9701785"/>
                <a:gd name="connsiteY0" fmla="*/ 4334572 h 6585647"/>
                <a:gd name="connsiteX1" fmla="*/ 941433 w 9701785"/>
                <a:gd name="connsiteY1" fmla="*/ 3615991 h 6585647"/>
                <a:gd name="connsiteX2" fmla="*/ 1240913 w 9701785"/>
                <a:gd name="connsiteY2" fmla="*/ 3277297 h 6585647"/>
                <a:gd name="connsiteX3" fmla="*/ 6974967 w 9701785"/>
                <a:gd name="connsiteY3" fmla="*/ 419801 h 6585647"/>
                <a:gd name="connsiteX4" fmla="*/ 8760352 w 9701785"/>
                <a:gd name="connsiteY4" fmla="*/ 758494 h 6585647"/>
                <a:gd name="connsiteX5" fmla="*/ 3926965 w 9701785"/>
                <a:gd name="connsiteY5" fmla="*/ 4887032 h 6585647"/>
                <a:gd name="connsiteX6" fmla="*/ 3997848 w 9701785"/>
                <a:gd name="connsiteY6" fmla="*/ 5853266 h 6585647"/>
                <a:gd name="connsiteX7" fmla="*/ 3679314 w 9701785"/>
                <a:gd name="connsiteY7" fmla="*/ 6172907 h 6585647"/>
                <a:gd name="connsiteX8" fmla="*/ 2631563 w 9701785"/>
                <a:gd name="connsiteY8" fmla="*/ 6191947 h 6585647"/>
                <a:gd name="connsiteX9" fmla="*/ 2402963 w 9701785"/>
                <a:gd name="connsiteY9" fmla="*/ 6020497 h 6585647"/>
                <a:gd name="connsiteX10" fmla="*/ 2345813 w 9701785"/>
                <a:gd name="connsiteY10" fmla="*/ 6363397 h 6585647"/>
                <a:gd name="connsiteX11" fmla="*/ 2650613 w 9701785"/>
                <a:gd name="connsiteY11" fmla="*/ 6363397 h 6585647"/>
                <a:gd name="connsiteX12" fmla="*/ 2726813 w 9701785"/>
                <a:gd name="connsiteY12" fmla="*/ 6534847 h 6585647"/>
                <a:gd name="connsiteX13" fmla="*/ 1717163 w 9701785"/>
                <a:gd name="connsiteY13" fmla="*/ 6553897 h 6585647"/>
                <a:gd name="connsiteX14" fmla="*/ 1660013 w 9701785"/>
                <a:gd name="connsiteY14" fmla="*/ 6344347 h 6585647"/>
                <a:gd name="connsiteX15" fmla="*/ 2027279 w 9701785"/>
                <a:gd name="connsiteY15" fmla="*/ 6386665 h 6585647"/>
                <a:gd name="connsiteX16" fmla="*/ 1983865 w 9701785"/>
                <a:gd name="connsiteY16" fmla="*/ 5801428 h 6585647"/>
                <a:gd name="connsiteX17" fmla="*/ 1012313 w 9701785"/>
                <a:gd name="connsiteY17" fmla="*/ 4801297 h 6585647"/>
                <a:gd name="connsiteX18" fmla="*/ 1564763 w 9701785"/>
                <a:gd name="connsiteY18" fmla="*/ 6268147 h 6585647"/>
                <a:gd name="connsiteX19" fmla="*/ 783713 w 9701785"/>
                <a:gd name="connsiteY19" fmla="*/ 5639497 h 6585647"/>
                <a:gd name="connsiteX20" fmla="*/ 478913 w 9701785"/>
                <a:gd name="connsiteY20" fmla="*/ 4572697 h 6585647"/>
                <a:gd name="connsiteX21" fmla="*/ 898013 w 9701785"/>
                <a:gd name="connsiteY21" fmla="*/ 4334572 h 6585647"/>
                <a:gd name="connsiteX22" fmla="*/ 3727008 w 9701785"/>
                <a:gd name="connsiteY22" fmla="*/ 5852644 h 6585647"/>
                <a:gd name="connsiteX23" fmla="*/ 3364850 w 9701785"/>
                <a:gd name="connsiteY23" fmla="*/ 4831195 h 6585647"/>
                <a:gd name="connsiteX24" fmla="*/ 2840070 w 9701785"/>
                <a:gd name="connsiteY24" fmla="*/ 4841337 h 6585647"/>
                <a:gd name="connsiteX25" fmla="*/ 2612514 w 9701785"/>
                <a:gd name="connsiteY25" fmla="*/ 5010847 h 6585647"/>
                <a:gd name="connsiteX26" fmla="*/ 2612514 w 9701785"/>
                <a:gd name="connsiteY26" fmla="*/ 5868097 h 6585647"/>
                <a:gd name="connsiteX27" fmla="*/ 2898264 w 9701785"/>
                <a:gd name="connsiteY27" fmla="*/ 6020497 h 6585647"/>
                <a:gd name="connsiteX28" fmla="*/ 3727008 w 9701785"/>
                <a:gd name="connsiteY28" fmla="*/ 5852644 h 6585647"/>
                <a:gd name="connsiteX29" fmla="*/ 1136068 w 9701785"/>
                <a:gd name="connsiteY29" fmla="*/ 3407050 h 6585647"/>
                <a:gd name="connsiteX30" fmla="*/ 2402963 w 9701785"/>
                <a:gd name="connsiteY30" fmla="*/ 4706047 h 6585647"/>
                <a:gd name="connsiteX31" fmla="*/ 2365911 w 9701785"/>
                <a:gd name="connsiteY31" fmla="*/ 4570755 h 6585647"/>
                <a:gd name="connsiteX32" fmla="*/ 1136068 w 9701785"/>
                <a:gd name="connsiteY32" fmla="*/ 3407050 h 6585647"/>
                <a:gd name="connsiteX0" fmla="*/ 898013 w 9701785"/>
                <a:gd name="connsiteY0" fmla="*/ 4334572 h 6585647"/>
                <a:gd name="connsiteX1" fmla="*/ 941433 w 9701785"/>
                <a:gd name="connsiteY1" fmla="*/ 3615991 h 6585647"/>
                <a:gd name="connsiteX2" fmla="*/ 1240913 w 9701785"/>
                <a:gd name="connsiteY2" fmla="*/ 3277297 h 6585647"/>
                <a:gd name="connsiteX3" fmla="*/ 6974967 w 9701785"/>
                <a:gd name="connsiteY3" fmla="*/ 419801 h 6585647"/>
                <a:gd name="connsiteX4" fmla="*/ 8760352 w 9701785"/>
                <a:gd name="connsiteY4" fmla="*/ 758494 h 6585647"/>
                <a:gd name="connsiteX5" fmla="*/ 3926965 w 9701785"/>
                <a:gd name="connsiteY5" fmla="*/ 4887032 h 6585647"/>
                <a:gd name="connsiteX6" fmla="*/ 3997848 w 9701785"/>
                <a:gd name="connsiteY6" fmla="*/ 5853266 h 6585647"/>
                <a:gd name="connsiteX7" fmla="*/ 3679314 w 9701785"/>
                <a:gd name="connsiteY7" fmla="*/ 6172907 h 6585647"/>
                <a:gd name="connsiteX8" fmla="*/ 2631563 w 9701785"/>
                <a:gd name="connsiteY8" fmla="*/ 6191947 h 6585647"/>
                <a:gd name="connsiteX9" fmla="*/ 2402963 w 9701785"/>
                <a:gd name="connsiteY9" fmla="*/ 6020497 h 6585647"/>
                <a:gd name="connsiteX10" fmla="*/ 2345813 w 9701785"/>
                <a:gd name="connsiteY10" fmla="*/ 6363397 h 6585647"/>
                <a:gd name="connsiteX11" fmla="*/ 2650613 w 9701785"/>
                <a:gd name="connsiteY11" fmla="*/ 6363397 h 6585647"/>
                <a:gd name="connsiteX12" fmla="*/ 2726813 w 9701785"/>
                <a:gd name="connsiteY12" fmla="*/ 6534847 h 6585647"/>
                <a:gd name="connsiteX13" fmla="*/ 1717163 w 9701785"/>
                <a:gd name="connsiteY13" fmla="*/ 6553897 h 6585647"/>
                <a:gd name="connsiteX14" fmla="*/ 1660013 w 9701785"/>
                <a:gd name="connsiteY14" fmla="*/ 6344347 h 6585647"/>
                <a:gd name="connsiteX15" fmla="*/ 2027279 w 9701785"/>
                <a:gd name="connsiteY15" fmla="*/ 6386665 h 6585647"/>
                <a:gd name="connsiteX16" fmla="*/ 1983865 w 9701785"/>
                <a:gd name="connsiteY16" fmla="*/ 5801428 h 6585647"/>
                <a:gd name="connsiteX17" fmla="*/ 1012313 w 9701785"/>
                <a:gd name="connsiteY17" fmla="*/ 4801297 h 6585647"/>
                <a:gd name="connsiteX18" fmla="*/ 1564763 w 9701785"/>
                <a:gd name="connsiteY18" fmla="*/ 6268147 h 6585647"/>
                <a:gd name="connsiteX19" fmla="*/ 783713 w 9701785"/>
                <a:gd name="connsiteY19" fmla="*/ 5639497 h 6585647"/>
                <a:gd name="connsiteX20" fmla="*/ 478913 w 9701785"/>
                <a:gd name="connsiteY20" fmla="*/ 4572697 h 6585647"/>
                <a:gd name="connsiteX21" fmla="*/ 898013 w 9701785"/>
                <a:gd name="connsiteY21" fmla="*/ 4334572 h 6585647"/>
                <a:gd name="connsiteX22" fmla="*/ 3727008 w 9701785"/>
                <a:gd name="connsiteY22" fmla="*/ 5852644 h 6585647"/>
                <a:gd name="connsiteX23" fmla="*/ 3364850 w 9701785"/>
                <a:gd name="connsiteY23" fmla="*/ 4831195 h 6585647"/>
                <a:gd name="connsiteX24" fmla="*/ 2840070 w 9701785"/>
                <a:gd name="connsiteY24" fmla="*/ 4841337 h 6585647"/>
                <a:gd name="connsiteX25" fmla="*/ 2612514 w 9701785"/>
                <a:gd name="connsiteY25" fmla="*/ 5010847 h 6585647"/>
                <a:gd name="connsiteX26" fmla="*/ 2612514 w 9701785"/>
                <a:gd name="connsiteY26" fmla="*/ 5868097 h 6585647"/>
                <a:gd name="connsiteX27" fmla="*/ 2898264 w 9701785"/>
                <a:gd name="connsiteY27" fmla="*/ 6020497 h 6585647"/>
                <a:gd name="connsiteX28" fmla="*/ 3526914 w 9701785"/>
                <a:gd name="connsiteY28" fmla="*/ 6039547 h 6585647"/>
                <a:gd name="connsiteX29" fmla="*/ 3727008 w 9701785"/>
                <a:gd name="connsiteY29" fmla="*/ 5852644 h 6585647"/>
                <a:gd name="connsiteX30" fmla="*/ 1136068 w 9701785"/>
                <a:gd name="connsiteY30" fmla="*/ 3407050 h 6585647"/>
                <a:gd name="connsiteX31" fmla="*/ 2402963 w 9701785"/>
                <a:gd name="connsiteY31" fmla="*/ 4706047 h 6585647"/>
                <a:gd name="connsiteX32" fmla="*/ 2365911 w 9701785"/>
                <a:gd name="connsiteY32" fmla="*/ 4570755 h 6585647"/>
                <a:gd name="connsiteX33" fmla="*/ 1136068 w 9701785"/>
                <a:gd name="connsiteY33" fmla="*/ 3407050 h 6585647"/>
                <a:gd name="connsiteX0" fmla="*/ 898013 w 9701785"/>
                <a:gd name="connsiteY0" fmla="*/ 3797184 h 6048259"/>
                <a:gd name="connsiteX1" fmla="*/ 941433 w 9701785"/>
                <a:gd name="connsiteY1" fmla="*/ 3078603 h 6048259"/>
                <a:gd name="connsiteX2" fmla="*/ 1240913 w 9701785"/>
                <a:gd name="connsiteY2" fmla="*/ 2739909 h 6048259"/>
                <a:gd name="connsiteX3" fmla="*/ 2345817 w 9701785"/>
                <a:gd name="connsiteY3" fmla="*/ 2682763 h 6048259"/>
                <a:gd name="connsiteX4" fmla="*/ 8760352 w 9701785"/>
                <a:gd name="connsiteY4" fmla="*/ 221106 h 6048259"/>
                <a:gd name="connsiteX5" fmla="*/ 3926965 w 9701785"/>
                <a:gd name="connsiteY5" fmla="*/ 4349644 h 6048259"/>
                <a:gd name="connsiteX6" fmla="*/ 3997848 w 9701785"/>
                <a:gd name="connsiteY6" fmla="*/ 5315878 h 6048259"/>
                <a:gd name="connsiteX7" fmla="*/ 3679314 w 9701785"/>
                <a:gd name="connsiteY7" fmla="*/ 5635519 h 6048259"/>
                <a:gd name="connsiteX8" fmla="*/ 2631563 w 9701785"/>
                <a:gd name="connsiteY8" fmla="*/ 5654559 h 6048259"/>
                <a:gd name="connsiteX9" fmla="*/ 2402963 w 9701785"/>
                <a:gd name="connsiteY9" fmla="*/ 5483109 h 6048259"/>
                <a:gd name="connsiteX10" fmla="*/ 2345813 w 9701785"/>
                <a:gd name="connsiteY10" fmla="*/ 5826009 h 6048259"/>
                <a:gd name="connsiteX11" fmla="*/ 2650613 w 9701785"/>
                <a:gd name="connsiteY11" fmla="*/ 5826009 h 6048259"/>
                <a:gd name="connsiteX12" fmla="*/ 2726813 w 9701785"/>
                <a:gd name="connsiteY12" fmla="*/ 5997459 h 6048259"/>
                <a:gd name="connsiteX13" fmla="*/ 1717163 w 9701785"/>
                <a:gd name="connsiteY13" fmla="*/ 6016509 h 6048259"/>
                <a:gd name="connsiteX14" fmla="*/ 1660013 w 9701785"/>
                <a:gd name="connsiteY14" fmla="*/ 5806959 h 6048259"/>
                <a:gd name="connsiteX15" fmla="*/ 2027279 w 9701785"/>
                <a:gd name="connsiteY15" fmla="*/ 5849277 h 6048259"/>
                <a:gd name="connsiteX16" fmla="*/ 1983865 w 9701785"/>
                <a:gd name="connsiteY16" fmla="*/ 5264040 h 6048259"/>
                <a:gd name="connsiteX17" fmla="*/ 1012313 w 9701785"/>
                <a:gd name="connsiteY17" fmla="*/ 4263909 h 6048259"/>
                <a:gd name="connsiteX18" fmla="*/ 1564763 w 9701785"/>
                <a:gd name="connsiteY18" fmla="*/ 5730759 h 6048259"/>
                <a:gd name="connsiteX19" fmla="*/ 783713 w 9701785"/>
                <a:gd name="connsiteY19" fmla="*/ 5102109 h 6048259"/>
                <a:gd name="connsiteX20" fmla="*/ 478913 w 9701785"/>
                <a:gd name="connsiteY20" fmla="*/ 4035309 h 6048259"/>
                <a:gd name="connsiteX21" fmla="*/ 898013 w 9701785"/>
                <a:gd name="connsiteY21" fmla="*/ 3797184 h 6048259"/>
                <a:gd name="connsiteX22" fmla="*/ 3727008 w 9701785"/>
                <a:gd name="connsiteY22" fmla="*/ 5315256 h 6048259"/>
                <a:gd name="connsiteX23" fmla="*/ 3364850 w 9701785"/>
                <a:gd name="connsiteY23" fmla="*/ 4293807 h 6048259"/>
                <a:gd name="connsiteX24" fmla="*/ 2840070 w 9701785"/>
                <a:gd name="connsiteY24" fmla="*/ 4303949 h 6048259"/>
                <a:gd name="connsiteX25" fmla="*/ 2612514 w 9701785"/>
                <a:gd name="connsiteY25" fmla="*/ 4473459 h 6048259"/>
                <a:gd name="connsiteX26" fmla="*/ 2612514 w 9701785"/>
                <a:gd name="connsiteY26" fmla="*/ 5330709 h 6048259"/>
                <a:gd name="connsiteX27" fmla="*/ 2898264 w 9701785"/>
                <a:gd name="connsiteY27" fmla="*/ 5483109 h 6048259"/>
                <a:gd name="connsiteX28" fmla="*/ 3526914 w 9701785"/>
                <a:gd name="connsiteY28" fmla="*/ 5502159 h 6048259"/>
                <a:gd name="connsiteX29" fmla="*/ 3727008 w 9701785"/>
                <a:gd name="connsiteY29" fmla="*/ 5315256 h 6048259"/>
                <a:gd name="connsiteX30" fmla="*/ 1136068 w 9701785"/>
                <a:gd name="connsiteY30" fmla="*/ 2869662 h 6048259"/>
                <a:gd name="connsiteX31" fmla="*/ 2402963 w 9701785"/>
                <a:gd name="connsiteY31" fmla="*/ 4168659 h 6048259"/>
                <a:gd name="connsiteX32" fmla="*/ 2365911 w 9701785"/>
                <a:gd name="connsiteY32" fmla="*/ 4033367 h 6048259"/>
                <a:gd name="connsiteX33" fmla="*/ 1136068 w 9701785"/>
                <a:gd name="connsiteY33" fmla="*/ 2869662 h 6048259"/>
                <a:gd name="connsiteX0" fmla="*/ 898013 w 9644635"/>
                <a:gd name="connsiteY0" fmla="*/ 3720984 h 5972059"/>
                <a:gd name="connsiteX1" fmla="*/ 941433 w 9644635"/>
                <a:gd name="connsiteY1" fmla="*/ 3002403 h 5972059"/>
                <a:gd name="connsiteX2" fmla="*/ 1240913 w 9644635"/>
                <a:gd name="connsiteY2" fmla="*/ 2663709 h 5972059"/>
                <a:gd name="connsiteX3" fmla="*/ 2345817 w 9644635"/>
                <a:gd name="connsiteY3" fmla="*/ 2606563 h 5972059"/>
                <a:gd name="connsiteX4" fmla="*/ 8703202 w 9644635"/>
                <a:gd name="connsiteY4" fmla="*/ 221106 h 5972059"/>
                <a:gd name="connsiteX5" fmla="*/ 3926965 w 9644635"/>
                <a:gd name="connsiteY5" fmla="*/ 4273444 h 5972059"/>
                <a:gd name="connsiteX6" fmla="*/ 3997848 w 9644635"/>
                <a:gd name="connsiteY6" fmla="*/ 5239678 h 5972059"/>
                <a:gd name="connsiteX7" fmla="*/ 3679314 w 9644635"/>
                <a:gd name="connsiteY7" fmla="*/ 5559319 h 5972059"/>
                <a:gd name="connsiteX8" fmla="*/ 2631563 w 9644635"/>
                <a:gd name="connsiteY8" fmla="*/ 5578359 h 5972059"/>
                <a:gd name="connsiteX9" fmla="*/ 2402963 w 9644635"/>
                <a:gd name="connsiteY9" fmla="*/ 5406909 h 5972059"/>
                <a:gd name="connsiteX10" fmla="*/ 2345813 w 9644635"/>
                <a:gd name="connsiteY10" fmla="*/ 5749809 h 5972059"/>
                <a:gd name="connsiteX11" fmla="*/ 2650613 w 9644635"/>
                <a:gd name="connsiteY11" fmla="*/ 5749809 h 5972059"/>
                <a:gd name="connsiteX12" fmla="*/ 2726813 w 9644635"/>
                <a:gd name="connsiteY12" fmla="*/ 5921259 h 5972059"/>
                <a:gd name="connsiteX13" fmla="*/ 1717163 w 9644635"/>
                <a:gd name="connsiteY13" fmla="*/ 5940309 h 5972059"/>
                <a:gd name="connsiteX14" fmla="*/ 1660013 w 9644635"/>
                <a:gd name="connsiteY14" fmla="*/ 5730759 h 5972059"/>
                <a:gd name="connsiteX15" fmla="*/ 2027279 w 9644635"/>
                <a:gd name="connsiteY15" fmla="*/ 5773077 h 5972059"/>
                <a:gd name="connsiteX16" fmla="*/ 1983865 w 9644635"/>
                <a:gd name="connsiteY16" fmla="*/ 5187840 h 5972059"/>
                <a:gd name="connsiteX17" fmla="*/ 1012313 w 9644635"/>
                <a:gd name="connsiteY17" fmla="*/ 4187709 h 5972059"/>
                <a:gd name="connsiteX18" fmla="*/ 1564763 w 9644635"/>
                <a:gd name="connsiteY18" fmla="*/ 5654559 h 5972059"/>
                <a:gd name="connsiteX19" fmla="*/ 783713 w 9644635"/>
                <a:gd name="connsiteY19" fmla="*/ 5025909 h 5972059"/>
                <a:gd name="connsiteX20" fmla="*/ 478913 w 9644635"/>
                <a:gd name="connsiteY20" fmla="*/ 3959109 h 5972059"/>
                <a:gd name="connsiteX21" fmla="*/ 898013 w 9644635"/>
                <a:gd name="connsiteY21" fmla="*/ 3720984 h 5972059"/>
                <a:gd name="connsiteX22" fmla="*/ 3727008 w 9644635"/>
                <a:gd name="connsiteY22" fmla="*/ 5239056 h 5972059"/>
                <a:gd name="connsiteX23" fmla="*/ 3364850 w 9644635"/>
                <a:gd name="connsiteY23" fmla="*/ 4217607 h 5972059"/>
                <a:gd name="connsiteX24" fmla="*/ 2840070 w 9644635"/>
                <a:gd name="connsiteY24" fmla="*/ 4227749 h 5972059"/>
                <a:gd name="connsiteX25" fmla="*/ 2612514 w 9644635"/>
                <a:gd name="connsiteY25" fmla="*/ 4397259 h 5972059"/>
                <a:gd name="connsiteX26" fmla="*/ 2612514 w 9644635"/>
                <a:gd name="connsiteY26" fmla="*/ 5254509 h 5972059"/>
                <a:gd name="connsiteX27" fmla="*/ 2898264 w 9644635"/>
                <a:gd name="connsiteY27" fmla="*/ 5406909 h 5972059"/>
                <a:gd name="connsiteX28" fmla="*/ 3526914 w 9644635"/>
                <a:gd name="connsiteY28" fmla="*/ 5425959 h 5972059"/>
                <a:gd name="connsiteX29" fmla="*/ 3727008 w 9644635"/>
                <a:gd name="connsiteY29" fmla="*/ 5239056 h 5972059"/>
                <a:gd name="connsiteX30" fmla="*/ 1136068 w 9644635"/>
                <a:gd name="connsiteY30" fmla="*/ 2793462 h 5972059"/>
                <a:gd name="connsiteX31" fmla="*/ 2402963 w 9644635"/>
                <a:gd name="connsiteY31" fmla="*/ 4092459 h 5972059"/>
                <a:gd name="connsiteX32" fmla="*/ 2365911 w 9644635"/>
                <a:gd name="connsiteY32" fmla="*/ 3957167 h 5972059"/>
                <a:gd name="connsiteX33" fmla="*/ 1136068 w 9644635"/>
                <a:gd name="connsiteY33" fmla="*/ 2793462 h 5972059"/>
                <a:gd name="connsiteX0" fmla="*/ 898013 w 4950818"/>
                <a:gd name="connsiteY0" fmla="*/ 1382710 h 3633785"/>
                <a:gd name="connsiteX1" fmla="*/ 941433 w 4950818"/>
                <a:gd name="connsiteY1" fmla="*/ 664129 h 3633785"/>
                <a:gd name="connsiteX2" fmla="*/ 1240913 w 4950818"/>
                <a:gd name="connsiteY2" fmla="*/ 325435 h 3633785"/>
                <a:gd name="connsiteX3" fmla="*/ 2345817 w 4950818"/>
                <a:gd name="connsiteY3" fmla="*/ 268289 h 3633785"/>
                <a:gd name="connsiteX4" fmla="*/ 3926965 w 4950818"/>
                <a:gd name="connsiteY4" fmla="*/ 1935170 h 3633785"/>
                <a:gd name="connsiteX5" fmla="*/ 3997848 w 4950818"/>
                <a:gd name="connsiteY5" fmla="*/ 2901404 h 3633785"/>
                <a:gd name="connsiteX6" fmla="*/ 3679314 w 4950818"/>
                <a:gd name="connsiteY6" fmla="*/ 3221045 h 3633785"/>
                <a:gd name="connsiteX7" fmla="*/ 2631563 w 4950818"/>
                <a:gd name="connsiteY7" fmla="*/ 3240085 h 3633785"/>
                <a:gd name="connsiteX8" fmla="*/ 2402963 w 4950818"/>
                <a:gd name="connsiteY8" fmla="*/ 3068635 h 3633785"/>
                <a:gd name="connsiteX9" fmla="*/ 2345813 w 4950818"/>
                <a:gd name="connsiteY9" fmla="*/ 3411535 h 3633785"/>
                <a:gd name="connsiteX10" fmla="*/ 2650613 w 4950818"/>
                <a:gd name="connsiteY10" fmla="*/ 3411535 h 3633785"/>
                <a:gd name="connsiteX11" fmla="*/ 2726813 w 4950818"/>
                <a:gd name="connsiteY11" fmla="*/ 3582985 h 3633785"/>
                <a:gd name="connsiteX12" fmla="*/ 1717163 w 4950818"/>
                <a:gd name="connsiteY12" fmla="*/ 3602035 h 3633785"/>
                <a:gd name="connsiteX13" fmla="*/ 1660013 w 4950818"/>
                <a:gd name="connsiteY13" fmla="*/ 3392485 h 3633785"/>
                <a:gd name="connsiteX14" fmla="*/ 2027279 w 4950818"/>
                <a:gd name="connsiteY14" fmla="*/ 3434803 h 3633785"/>
                <a:gd name="connsiteX15" fmla="*/ 1983865 w 4950818"/>
                <a:gd name="connsiteY15" fmla="*/ 2849566 h 3633785"/>
                <a:gd name="connsiteX16" fmla="*/ 1012313 w 4950818"/>
                <a:gd name="connsiteY16" fmla="*/ 1849435 h 3633785"/>
                <a:gd name="connsiteX17" fmla="*/ 1564763 w 4950818"/>
                <a:gd name="connsiteY17" fmla="*/ 3316285 h 3633785"/>
                <a:gd name="connsiteX18" fmla="*/ 783713 w 4950818"/>
                <a:gd name="connsiteY18" fmla="*/ 2687635 h 3633785"/>
                <a:gd name="connsiteX19" fmla="*/ 478913 w 4950818"/>
                <a:gd name="connsiteY19" fmla="*/ 1620835 h 3633785"/>
                <a:gd name="connsiteX20" fmla="*/ 898013 w 4950818"/>
                <a:gd name="connsiteY20" fmla="*/ 1382710 h 3633785"/>
                <a:gd name="connsiteX21" fmla="*/ 3727008 w 4950818"/>
                <a:gd name="connsiteY21" fmla="*/ 2900782 h 3633785"/>
                <a:gd name="connsiteX22" fmla="*/ 3364850 w 4950818"/>
                <a:gd name="connsiteY22" fmla="*/ 1879333 h 3633785"/>
                <a:gd name="connsiteX23" fmla="*/ 2840070 w 4950818"/>
                <a:gd name="connsiteY23" fmla="*/ 1889475 h 3633785"/>
                <a:gd name="connsiteX24" fmla="*/ 2612514 w 4950818"/>
                <a:gd name="connsiteY24" fmla="*/ 2058985 h 3633785"/>
                <a:gd name="connsiteX25" fmla="*/ 2612514 w 4950818"/>
                <a:gd name="connsiteY25" fmla="*/ 2916235 h 3633785"/>
                <a:gd name="connsiteX26" fmla="*/ 2898264 w 4950818"/>
                <a:gd name="connsiteY26" fmla="*/ 3068635 h 3633785"/>
                <a:gd name="connsiteX27" fmla="*/ 3526914 w 4950818"/>
                <a:gd name="connsiteY27" fmla="*/ 3087685 h 3633785"/>
                <a:gd name="connsiteX28" fmla="*/ 3727008 w 4950818"/>
                <a:gd name="connsiteY28" fmla="*/ 2900782 h 3633785"/>
                <a:gd name="connsiteX29" fmla="*/ 1136068 w 4950818"/>
                <a:gd name="connsiteY29" fmla="*/ 455188 h 3633785"/>
                <a:gd name="connsiteX30" fmla="*/ 2402963 w 4950818"/>
                <a:gd name="connsiteY30" fmla="*/ 1754185 h 3633785"/>
                <a:gd name="connsiteX31" fmla="*/ 2365911 w 4950818"/>
                <a:gd name="connsiteY31" fmla="*/ 1618893 h 3633785"/>
                <a:gd name="connsiteX32" fmla="*/ 1136068 w 4950818"/>
                <a:gd name="connsiteY32" fmla="*/ 455188 h 3633785"/>
                <a:gd name="connsiteX0" fmla="*/ 898013 w 4950818"/>
                <a:gd name="connsiteY0" fmla="*/ 1382710 h 3633785"/>
                <a:gd name="connsiteX1" fmla="*/ 941433 w 4950818"/>
                <a:gd name="connsiteY1" fmla="*/ 664129 h 3633785"/>
                <a:gd name="connsiteX2" fmla="*/ 1240913 w 4950818"/>
                <a:gd name="connsiteY2" fmla="*/ 325435 h 3633785"/>
                <a:gd name="connsiteX3" fmla="*/ 2345817 w 4950818"/>
                <a:gd name="connsiteY3" fmla="*/ 268289 h 3633785"/>
                <a:gd name="connsiteX4" fmla="*/ 3926965 w 4950818"/>
                <a:gd name="connsiteY4" fmla="*/ 1935170 h 3633785"/>
                <a:gd name="connsiteX5" fmla="*/ 3997848 w 4950818"/>
                <a:gd name="connsiteY5" fmla="*/ 2901404 h 3633785"/>
                <a:gd name="connsiteX6" fmla="*/ 3679314 w 4950818"/>
                <a:gd name="connsiteY6" fmla="*/ 3221045 h 3633785"/>
                <a:gd name="connsiteX7" fmla="*/ 2631563 w 4950818"/>
                <a:gd name="connsiteY7" fmla="*/ 3240085 h 3633785"/>
                <a:gd name="connsiteX8" fmla="*/ 2402963 w 4950818"/>
                <a:gd name="connsiteY8" fmla="*/ 3068635 h 3633785"/>
                <a:gd name="connsiteX9" fmla="*/ 2345813 w 4950818"/>
                <a:gd name="connsiteY9" fmla="*/ 3411535 h 3633785"/>
                <a:gd name="connsiteX10" fmla="*/ 2650613 w 4950818"/>
                <a:gd name="connsiteY10" fmla="*/ 3411535 h 3633785"/>
                <a:gd name="connsiteX11" fmla="*/ 2726813 w 4950818"/>
                <a:gd name="connsiteY11" fmla="*/ 3582985 h 3633785"/>
                <a:gd name="connsiteX12" fmla="*/ 1717163 w 4950818"/>
                <a:gd name="connsiteY12" fmla="*/ 3602035 h 3633785"/>
                <a:gd name="connsiteX13" fmla="*/ 1660013 w 4950818"/>
                <a:gd name="connsiteY13" fmla="*/ 3392485 h 3633785"/>
                <a:gd name="connsiteX14" fmla="*/ 2027279 w 4950818"/>
                <a:gd name="connsiteY14" fmla="*/ 3434803 h 3633785"/>
                <a:gd name="connsiteX15" fmla="*/ 1983865 w 4950818"/>
                <a:gd name="connsiteY15" fmla="*/ 2849566 h 3633785"/>
                <a:gd name="connsiteX16" fmla="*/ 1012313 w 4950818"/>
                <a:gd name="connsiteY16" fmla="*/ 1849435 h 3633785"/>
                <a:gd name="connsiteX17" fmla="*/ 1564763 w 4950818"/>
                <a:gd name="connsiteY17" fmla="*/ 3316285 h 3633785"/>
                <a:gd name="connsiteX18" fmla="*/ 783713 w 4950818"/>
                <a:gd name="connsiteY18" fmla="*/ 2687635 h 3633785"/>
                <a:gd name="connsiteX19" fmla="*/ 478913 w 4950818"/>
                <a:gd name="connsiteY19" fmla="*/ 1620835 h 3633785"/>
                <a:gd name="connsiteX20" fmla="*/ 898013 w 4950818"/>
                <a:gd name="connsiteY20" fmla="*/ 1382710 h 3633785"/>
                <a:gd name="connsiteX21" fmla="*/ 3727008 w 4950818"/>
                <a:gd name="connsiteY21" fmla="*/ 2900782 h 3633785"/>
                <a:gd name="connsiteX22" fmla="*/ 3364850 w 4950818"/>
                <a:gd name="connsiteY22" fmla="*/ 1879333 h 3633785"/>
                <a:gd name="connsiteX23" fmla="*/ 2840070 w 4950818"/>
                <a:gd name="connsiteY23" fmla="*/ 1889475 h 3633785"/>
                <a:gd name="connsiteX24" fmla="*/ 2612514 w 4950818"/>
                <a:gd name="connsiteY24" fmla="*/ 2058985 h 3633785"/>
                <a:gd name="connsiteX25" fmla="*/ 2612514 w 4950818"/>
                <a:gd name="connsiteY25" fmla="*/ 2916235 h 3633785"/>
                <a:gd name="connsiteX26" fmla="*/ 2898264 w 4950818"/>
                <a:gd name="connsiteY26" fmla="*/ 3068635 h 3633785"/>
                <a:gd name="connsiteX27" fmla="*/ 3526914 w 4950818"/>
                <a:gd name="connsiteY27" fmla="*/ 3087685 h 3633785"/>
                <a:gd name="connsiteX28" fmla="*/ 3727008 w 4950818"/>
                <a:gd name="connsiteY28" fmla="*/ 2900782 h 3633785"/>
                <a:gd name="connsiteX29" fmla="*/ 1136068 w 4950818"/>
                <a:gd name="connsiteY29" fmla="*/ 455188 h 3633785"/>
                <a:gd name="connsiteX30" fmla="*/ 2402963 w 4950818"/>
                <a:gd name="connsiteY30" fmla="*/ 1754185 h 3633785"/>
                <a:gd name="connsiteX31" fmla="*/ 2365911 w 4950818"/>
                <a:gd name="connsiteY31" fmla="*/ 1618893 h 3633785"/>
                <a:gd name="connsiteX32" fmla="*/ 1136068 w 4950818"/>
                <a:gd name="connsiteY32" fmla="*/ 455188 h 3633785"/>
                <a:gd name="connsiteX0" fmla="*/ 898013 w 4950818"/>
                <a:gd name="connsiteY0" fmla="*/ 1114421 h 3365496"/>
                <a:gd name="connsiteX1" fmla="*/ 941433 w 4950818"/>
                <a:gd name="connsiteY1" fmla="*/ 395840 h 3365496"/>
                <a:gd name="connsiteX2" fmla="*/ 1240913 w 4950818"/>
                <a:gd name="connsiteY2" fmla="*/ 57146 h 3365496"/>
                <a:gd name="connsiteX3" fmla="*/ 2345817 w 4950818"/>
                <a:gd name="connsiteY3" fmla="*/ 0 h 3365496"/>
                <a:gd name="connsiteX4" fmla="*/ 3926965 w 4950818"/>
                <a:gd name="connsiteY4" fmla="*/ 1666881 h 3365496"/>
                <a:gd name="connsiteX5" fmla="*/ 3997848 w 4950818"/>
                <a:gd name="connsiteY5" fmla="*/ 2633115 h 3365496"/>
                <a:gd name="connsiteX6" fmla="*/ 3679314 w 4950818"/>
                <a:gd name="connsiteY6" fmla="*/ 2952756 h 3365496"/>
                <a:gd name="connsiteX7" fmla="*/ 2631563 w 4950818"/>
                <a:gd name="connsiteY7" fmla="*/ 2971796 h 3365496"/>
                <a:gd name="connsiteX8" fmla="*/ 2402963 w 4950818"/>
                <a:gd name="connsiteY8" fmla="*/ 2800346 h 3365496"/>
                <a:gd name="connsiteX9" fmla="*/ 2345813 w 4950818"/>
                <a:gd name="connsiteY9" fmla="*/ 3143246 h 3365496"/>
                <a:gd name="connsiteX10" fmla="*/ 2650613 w 4950818"/>
                <a:gd name="connsiteY10" fmla="*/ 3143246 h 3365496"/>
                <a:gd name="connsiteX11" fmla="*/ 2726813 w 4950818"/>
                <a:gd name="connsiteY11" fmla="*/ 3314696 h 3365496"/>
                <a:gd name="connsiteX12" fmla="*/ 1717163 w 4950818"/>
                <a:gd name="connsiteY12" fmla="*/ 3333746 h 3365496"/>
                <a:gd name="connsiteX13" fmla="*/ 1660013 w 4950818"/>
                <a:gd name="connsiteY13" fmla="*/ 3124196 h 3365496"/>
                <a:gd name="connsiteX14" fmla="*/ 2027279 w 4950818"/>
                <a:gd name="connsiteY14" fmla="*/ 3166514 h 3365496"/>
                <a:gd name="connsiteX15" fmla="*/ 1983865 w 4950818"/>
                <a:gd name="connsiteY15" fmla="*/ 2581277 h 3365496"/>
                <a:gd name="connsiteX16" fmla="*/ 1012313 w 4950818"/>
                <a:gd name="connsiteY16" fmla="*/ 1581146 h 3365496"/>
                <a:gd name="connsiteX17" fmla="*/ 1564763 w 4950818"/>
                <a:gd name="connsiteY17" fmla="*/ 3047996 h 3365496"/>
                <a:gd name="connsiteX18" fmla="*/ 783713 w 4950818"/>
                <a:gd name="connsiteY18" fmla="*/ 2419346 h 3365496"/>
                <a:gd name="connsiteX19" fmla="*/ 478913 w 4950818"/>
                <a:gd name="connsiteY19" fmla="*/ 1352546 h 3365496"/>
                <a:gd name="connsiteX20" fmla="*/ 898013 w 4950818"/>
                <a:gd name="connsiteY20" fmla="*/ 1114421 h 3365496"/>
                <a:gd name="connsiteX21" fmla="*/ 3727008 w 4950818"/>
                <a:gd name="connsiteY21" fmla="*/ 2632493 h 3365496"/>
                <a:gd name="connsiteX22" fmla="*/ 3364850 w 4950818"/>
                <a:gd name="connsiteY22" fmla="*/ 1611044 h 3365496"/>
                <a:gd name="connsiteX23" fmla="*/ 2840070 w 4950818"/>
                <a:gd name="connsiteY23" fmla="*/ 1621186 h 3365496"/>
                <a:gd name="connsiteX24" fmla="*/ 2612514 w 4950818"/>
                <a:gd name="connsiteY24" fmla="*/ 1790696 h 3365496"/>
                <a:gd name="connsiteX25" fmla="*/ 2612514 w 4950818"/>
                <a:gd name="connsiteY25" fmla="*/ 2647946 h 3365496"/>
                <a:gd name="connsiteX26" fmla="*/ 2898264 w 4950818"/>
                <a:gd name="connsiteY26" fmla="*/ 2800346 h 3365496"/>
                <a:gd name="connsiteX27" fmla="*/ 3526914 w 4950818"/>
                <a:gd name="connsiteY27" fmla="*/ 2819396 h 3365496"/>
                <a:gd name="connsiteX28" fmla="*/ 3727008 w 4950818"/>
                <a:gd name="connsiteY28" fmla="*/ 2632493 h 3365496"/>
                <a:gd name="connsiteX29" fmla="*/ 1136068 w 4950818"/>
                <a:gd name="connsiteY29" fmla="*/ 186899 h 3365496"/>
                <a:gd name="connsiteX30" fmla="*/ 2402963 w 4950818"/>
                <a:gd name="connsiteY30" fmla="*/ 1485896 h 3365496"/>
                <a:gd name="connsiteX31" fmla="*/ 2365911 w 4950818"/>
                <a:gd name="connsiteY31" fmla="*/ 1350604 h 3365496"/>
                <a:gd name="connsiteX32" fmla="*/ 1136068 w 4950818"/>
                <a:gd name="connsiteY32" fmla="*/ 186899 h 3365496"/>
                <a:gd name="connsiteX0" fmla="*/ 898013 w 4950818"/>
                <a:gd name="connsiteY0" fmla="*/ 1114421 h 3365496"/>
                <a:gd name="connsiteX1" fmla="*/ 941433 w 4950818"/>
                <a:gd name="connsiteY1" fmla="*/ 395840 h 3365496"/>
                <a:gd name="connsiteX2" fmla="*/ 1240913 w 4950818"/>
                <a:gd name="connsiteY2" fmla="*/ 57146 h 3365496"/>
                <a:gd name="connsiteX3" fmla="*/ 2345817 w 4950818"/>
                <a:gd name="connsiteY3" fmla="*/ 0 h 3365496"/>
                <a:gd name="connsiteX4" fmla="*/ 3926965 w 4950818"/>
                <a:gd name="connsiteY4" fmla="*/ 1666881 h 3365496"/>
                <a:gd name="connsiteX5" fmla="*/ 3997848 w 4950818"/>
                <a:gd name="connsiteY5" fmla="*/ 2633115 h 3365496"/>
                <a:gd name="connsiteX6" fmla="*/ 3679314 w 4950818"/>
                <a:gd name="connsiteY6" fmla="*/ 2952756 h 3365496"/>
                <a:gd name="connsiteX7" fmla="*/ 2631563 w 4950818"/>
                <a:gd name="connsiteY7" fmla="*/ 2971796 h 3365496"/>
                <a:gd name="connsiteX8" fmla="*/ 2402963 w 4950818"/>
                <a:gd name="connsiteY8" fmla="*/ 2800346 h 3365496"/>
                <a:gd name="connsiteX9" fmla="*/ 2345813 w 4950818"/>
                <a:gd name="connsiteY9" fmla="*/ 3143246 h 3365496"/>
                <a:gd name="connsiteX10" fmla="*/ 2650613 w 4950818"/>
                <a:gd name="connsiteY10" fmla="*/ 3143246 h 3365496"/>
                <a:gd name="connsiteX11" fmla="*/ 2726813 w 4950818"/>
                <a:gd name="connsiteY11" fmla="*/ 3314696 h 3365496"/>
                <a:gd name="connsiteX12" fmla="*/ 1717163 w 4950818"/>
                <a:gd name="connsiteY12" fmla="*/ 3333746 h 3365496"/>
                <a:gd name="connsiteX13" fmla="*/ 1660013 w 4950818"/>
                <a:gd name="connsiteY13" fmla="*/ 3124196 h 3365496"/>
                <a:gd name="connsiteX14" fmla="*/ 2027279 w 4950818"/>
                <a:gd name="connsiteY14" fmla="*/ 3166514 h 3365496"/>
                <a:gd name="connsiteX15" fmla="*/ 1983865 w 4950818"/>
                <a:gd name="connsiteY15" fmla="*/ 2581277 h 3365496"/>
                <a:gd name="connsiteX16" fmla="*/ 1012313 w 4950818"/>
                <a:gd name="connsiteY16" fmla="*/ 1581146 h 3365496"/>
                <a:gd name="connsiteX17" fmla="*/ 1564763 w 4950818"/>
                <a:gd name="connsiteY17" fmla="*/ 3047996 h 3365496"/>
                <a:gd name="connsiteX18" fmla="*/ 783713 w 4950818"/>
                <a:gd name="connsiteY18" fmla="*/ 2419346 h 3365496"/>
                <a:gd name="connsiteX19" fmla="*/ 478913 w 4950818"/>
                <a:gd name="connsiteY19" fmla="*/ 1352546 h 3365496"/>
                <a:gd name="connsiteX20" fmla="*/ 898013 w 4950818"/>
                <a:gd name="connsiteY20" fmla="*/ 1114421 h 3365496"/>
                <a:gd name="connsiteX21" fmla="*/ 3727008 w 4950818"/>
                <a:gd name="connsiteY21" fmla="*/ 2632493 h 3365496"/>
                <a:gd name="connsiteX22" fmla="*/ 3364850 w 4950818"/>
                <a:gd name="connsiteY22" fmla="*/ 1611044 h 3365496"/>
                <a:gd name="connsiteX23" fmla="*/ 2840070 w 4950818"/>
                <a:gd name="connsiteY23" fmla="*/ 1621186 h 3365496"/>
                <a:gd name="connsiteX24" fmla="*/ 2612514 w 4950818"/>
                <a:gd name="connsiteY24" fmla="*/ 1790696 h 3365496"/>
                <a:gd name="connsiteX25" fmla="*/ 2612514 w 4950818"/>
                <a:gd name="connsiteY25" fmla="*/ 2647946 h 3365496"/>
                <a:gd name="connsiteX26" fmla="*/ 2898264 w 4950818"/>
                <a:gd name="connsiteY26" fmla="*/ 2800346 h 3365496"/>
                <a:gd name="connsiteX27" fmla="*/ 3526914 w 4950818"/>
                <a:gd name="connsiteY27" fmla="*/ 2819396 h 3365496"/>
                <a:gd name="connsiteX28" fmla="*/ 3727008 w 4950818"/>
                <a:gd name="connsiteY28" fmla="*/ 2632493 h 3365496"/>
                <a:gd name="connsiteX29" fmla="*/ 1136068 w 4950818"/>
                <a:gd name="connsiteY29" fmla="*/ 186899 h 3365496"/>
                <a:gd name="connsiteX30" fmla="*/ 2402963 w 4950818"/>
                <a:gd name="connsiteY30" fmla="*/ 1485896 h 3365496"/>
                <a:gd name="connsiteX31" fmla="*/ 2365911 w 4950818"/>
                <a:gd name="connsiteY31" fmla="*/ 1350604 h 3365496"/>
                <a:gd name="connsiteX32" fmla="*/ 1136068 w 4950818"/>
                <a:gd name="connsiteY32" fmla="*/ 186899 h 3365496"/>
                <a:gd name="connsiteX0" fmla="*/ 898013 w 4950818"/>
                <a:gd name="connsiteY0" fmla="*/ 1114421 h 3365496"/>
                <a:gd name="connsiteX1" fmla="*/ 941433 w 4950818"/>
                <a:gd name="connsiteY1" fmla="*/ 395840 h 3365496"/>
                <a:gd name="connsiteX2" fmla="*/ 1240913 w 4950818"/>
                <a:gd name="connsiteY2" fmla="*/ 57146 h 3365496"/>
                <a:gd name="connsiteX3" fmla="*/ 2345817 w 4950818"/>
                <a:gd name="connsiteY3" fmla="*/ 0 h 3365496"/>
                <a:gd name="connsiteX4" fmla="*/ 3926965 w 4950818"/>
                <a:gd name="connsiteY4" fmla="*/ 1666881 h 3365496"/>
                <a:gd name="connsiteX5" fmla="*/ 3997848 w 4950818"/>
                <a:gd name="connsiteY5" fmla="*/ 2633115 h 3365496"/>
                <a:gd name="connsiteX6" fmla="*/ 3679314 w 4950818"/>
                <a:gd name="connsiteY6" fmla="*/ 2952756 h 3365496"/>
                <a:gd name="connsiteX7" fmla="*/ 2631563 w 4950818"/>
                <a:gd name="connsiteY7" fmla="*/ 2971796 h 3365496"/>
                <a:gd name="connsiteX8" fmla="*/ 2402963 w 4950818"/>
                <a:gd name="connsiteY8" fmla="*/ 2800346 h 3365496"/>
                <a:gd name="connsiteX9" fmla="*/ 2345813 w 4950818"/>
                <a:gd name="connsiteY9" fmla="*/ 3143246 h 3365496"/>
                <a:gd name="connsiteX10" fmla="*/ 2650613 w 4950818"/>
                <a:gd name="connsiteY10" fmla="*/ 3143246 h 3365496"/>
                <a:gd name="connsiteX11" fmla="*/ 2726813 w 4950818"/>
                <a:gd name="connsiteY11" fmla="*/ 3314696 h 3365496"/>
                <a:gd name="connsiteX12" fmla="*/ 1717163 w 4950818"/>
                <a:gd name="connsiteY12" fmla="*/ 3333746 h 3365496"/>
                <a:gd name="connsiteX13" fmla="*/ 1660013 w 4950818"/>
                <a:gd name="connsiteY13" fmla="*/ 3124196 h 3365496"/>
                <a:gd name="connsiteX14" fmla="*/ 2027279 w 4950818"/>
                <a:gd name="connsiteY14" fmla="*/ 3166514 h 3365496"/>
                <a:gd name="connsiteX15" fmla="*/ 1983865 w 4950818"/>
                <a:gd name="connsiteY15" fmla="*/ 2581277 h 3365496"/>
                <a:gd name="connsiteX16" fmla="*/ 1012313 w 4950818"/>
                <a:gd name="connsiteY16" fmla="*/ 1581146 h 3365496"/>
                <a:gd name="connsiteX17" fmla="*/ 1564763 w 4950818"/>
                <a:gd name="connsiteY17" fmla="*/ 3047996 h 3365496"/>
                <a:gd name="connsiteX18" fmla="*/ 783713 w 4950818"/>
                <a:gd name="connsiteY18" fmla="*/ 2419346 h 3365496"/>
                <a:gd name="connsiteX19" fmla="*/ 478913 w 4950818"/>
                <a:gd name="connsiteY19" fmla="*/ 1352546 h 3365496"/>
                <a:gd name="connsiteX20" fmla="*/ 898013 w 4950818"/>
                <a:gd name="connsiteY20" fmla="*/ 1114421 h 3365496"/>
                <a:gd name="connsiteX21" fmla="*/ 3727008 w 4950818"/>
                <a:gd name="connsiteY21" fmla="*/ 2632493 h 3365496"/>
                <a:gd name="connsiteX22" fmla="*/ 3364850 w 4950818"/>
                <a:gd name="connsiteY22" fmla="*/ 1611044 h 3365496"/>
                <a:gd name="connsiteX23" fmla="*/ 2840070 w 4950818"/>
                <a:gd name="connsiteY23" fmla="*/ 1621186 h 3365496"/>
                <a:gd name="connsiteX24" fmla="*/ 2612514 w 4950818"/>
                <a:gd name="connsiteY24" fmla="*/ 1790696 h 3365496"/>
                <a:gd name="connsiteX25" fmla="*/ 2612514 w 4950818"/>
                <a:gd name="connsiteY25" fmla="*/ 2647946 h 3365496"/>
                <a:gd name="connsiteX26" fmla="*/ 2898264 w 4950818"/>
                <a:gd name="connsiteY26" fmla="*/ 2800346 h 3365496"/>
                <a:gd name="connsiteX27" fmla="*/ 3526914 w 4950818"/>
                <a:gd name="connsiteY27" fmla="*/ 2819396 h 3365496"/>
                <a:gd name="connsiteX28" fmla="*/ 3727008 w 4950818"/>
                <a:gd name="connsiteY28" fmla="*/ 2632493 h 3365496"/>
                <a:gd name="connsiteX29" fmla="*/ 1136068 w 4950818"/>
                <a:gd name="connsiteY29" fmla="*/ 186899 h 3365496"/>
                <a:gd name="connsiteX30" fmla="*/ 2402963 w 4950818"/>
                <a:gd name="connsiteY30" fmla="*/ 1485896 h 3365496"/>
                <a:gd name="connsiteX31" fmla="*/ 2365911 w 4950818"/>
                <a:gd name="connsiteY31" fmla="*/ 1350604 h 3365496"/>
                <a:gd name="connsiteX32" fmla="*/ 1136068 w 4950818"/>
                <a:gd name="connsiteY32" fmla="*/ 186899 h 3365496"/>
                <a:gd name="connsiteX0" fmla="*/ 898013 w 4950818"/>
                <a:gd name="connsiteY0" fmla="*/ 1114421 h 3365496"/>
                <a:gd name="connsiteX1" fmla="*/ 941433 w 4950818"/>
                <a:gd name="connsiteY1" fmla="*/ 395840 h 3365496"/>
                <a:gd name="connsiteX2" fmla="*/ 1240913 w 4950818"/>
                <a:gd name="connsiteY2" fmla="*/ 57146 h 3365496"/>
                <a:gd name="connsiteX3" fmla="*/ 2345817 w 4950818"/>
                <a:gd name="connsiteY3" fmla="*/ 0 h 3365496"/>
                <a:gd name="connsiteX4" fmla="*/ 3926965 w 4950818"/>
                <a:gd name="connsiteY4" fmla="*/ 1666881 h 3365496"/>
                <a:gd name="connsiteX5" fmla="*/ 3997848 w 4950818"/>
                <a:gd name="connsiteY5" fmla="*/ 2633115 h 3365496"/>
                <a:gd name="connsiteX6" fmla="*/ 3679314 w 4950818"/>
                <a:gd name="connsiteY6" fmla="*/ 2952756 h 3365496"/>
                <a:gd name="connsiteX7" fmla="*/ 2631563 w 4950818"/>
                <a:gd name="connsiteY7" fmla="*/ 2971796 h 3365496"/>
                <a:gd name="connsiteX8" fmla="*/ 2402963 w 4950818"/>
                <a:gd name="connsiteY8" fmla="*/ 2800346 h 3365496"/>
                <a:gd name="connsiteX9" fmla="*/ 2345813 w 4950818"/>
                <a:gd name="connsiteY9" fmla="*/ 3143246 h 3365496"/>
                <a:gd name="connsiteX10" fmla="*/ 2650613 w 4950818"/>
                <a:gd name="connsiteY10" fmla="*/ 3143246 h 3365496"/>
                <a:gd name="connsiteX11" fmla="*/ 2726813 w 4950818"/>
                <a:gd name="connsiteY11" fmla="*/ 3314696 h 3365496"/>
                <a:gd name="connsiteX12" fmla="*/ 1717163 w 4950818"/>
                <a:gd name="connsiteY12" fmla="*/ 3333746 h 3365496"/>
                <a:gd name="connsiteX13" fmla="*/ 1660013 w 4950818"/>
                <a:gd name="connsiteY13" fmla="*/ 3124196 h 3365496"/>
                <a:gd name="connsiteX14" fmla="*/ 2027279 w 4950818"/>
                <a:gd name="connsiteY14" fmla="*/ 3166514 h 3365496"/>
                <a:gd name="connsiteX15" fmla="*/ 1983865 w 4950818"/>
                <a:gd name="connsiteY15" fmla="*/ 2581277 h 3365496"/>
                <a:gd name="connsiteX16" fmla="*/ 1012313 w 4950818"/>
                <a:gd name="connsiteY16" fmla="*/ 1581146 h 3365496"/>
                <a:gd name="connsiteX17" fmla="*/ 1564763 w 4950818"/>
                <a:gd name="connsiteY17" fmla="*/ 3047996 h 3365496"/>
                <a:gd name="connsiteX18" fmla="*/ 783713 w 4950818"/>
                <a:gd name="connsiteY18" fmla="*/ 2419346 h 3365496"/>
                <a:gd name="connsiteX19" fmla="*/ 478913 w 4950818"/>
                <a:gd name="connsiteY19" fmla="*/ 1352546 h 3365496"/>
                <a:gd name="connsiteX20" fmla="*/ 898013 w 4950818"/>
                <a:gd name="connsiteY20" fmla="*/ 1114421 h 3365496"/>
                <a:gd name="connsiteX21" fmla="*/ 3727008 w 4950818"/>
                <a:gd name="connsiteY21" fmla="*/ 2632493 h 3365496"/>
                <a:gd name="connsiteX22" fmla="*/ 3364850 w 4950818"/>
                <a:gd name="connsiteY22" fmla="*/ 1611044 h 3365496"/>
                <a:gd name="connsiteX23" fmla="*/ 2840070 w 4950818"/>
                <a:gd name="connsiteY23" fmla="*/ 1621186 h 3365496"/>
                <a:gd name="connsiteX24" fmla="*/ 2612514 w 4950818"/>
                <a:gd name="connsiteY24" fmla="*/ 1790696 h 3365496"/>
                <a:gd name="connsiteX25" fmla="*/ 2612514 w 4950818"/>
                <a:gd name="connsiteY25" fmla="*/ 2647946 h 3365496"/>
                <a:gd name="connsiteX26" fmla="*/ 2898264 w 4950818"/>
                <a:gd name="connsiteY26" fmla="*/ 2800346 h 3365496"/>
                <a:gd name="connsiteX27" fmla="*/ 3526914 w 4950818"/>
                <a:gd name="connsiteY27" fmla="*/ 2819396 h 3365496"/>
                <a:gd name="connsiteX28" fmla="*/ 3727008 w 4950818"/>
                <a:gd name="connsiteY28" fmla="*/ 2632493 h 3365496"/>
                <a:gd name="connsiteX29" fmla="*/ 1136068 w 4950818"/>
                <a:gd name="connsiteY29" fmla="*/ 186899 h 3365496"/>
                <a:gd name="connsiteX30" fmla="*/ 2402963 w 4950818"/>
                <a:gd name="connsiteY30" fmla="*/ 1485896 h 3365496"/>
                <a:gd name="connsiteX31" fmla="*/ 2365911 w 4950818"/>
                <a:gd name="connsiteY31" fmla="*/ 1350604 h 3365496"/>
                <a:gd name="connsiteX32" fmla="*/ 1136068 w 4950818"/>
                <a:gd name="connsiteY32" fmla="*/ 186899 h 3365496"/>
                <a:gd name="connsiteX0" fmla="*/ 438150 w 4490955"/>
                <a:gd name="connsiteY0" fmla="*/ 1114421 h 3365496"/>
                <a:gd name="connsiteX1" fmla="*/ 481570 w 4490955"/>
                <a:gd name="connsiteY1" fmla="*/ 395840 h 3365496"/>
                <a:gd name="connsiteX2" fmla="*/ 781050 w 4490955"/>
                <a:gd name="connsiteY2" fmla="*/ 57146 h 3365496"/>
                <a:gd name="connsiteX3" fmla="*/ 1885954 w 4490955"/>
                <a:gd name="connsiteY3" fmla="*/ 0 h 3365496"/>
                <a:gd name="connsiteX4" fmla="*/ 3467102 w 4490955"/>
                <a:gd name="connsiteY4" fmla="*/ 1666881 h 3365496"/>
                <a:gd name="connsiteX5" fmla="*/ 3537985 w 4490955"/>
                <a:gd name="connsiteY5" fmla="*/ 2633115 h 3365496"/>
                <a:gd name="connsiteX6" fmla="*/ 3219451 w 4490955"/>
                <a:gd name="connsiteY6" fmla="*/ 2952756 h 3365496"/>
                <a:gd name="connsiteX7" fmla="*/ 2171700 w 4490955"/>
                <a:gd name="connsiteY7" fmla="*/ 2971796 h 3365496"/>
                <a:gd name="connsiteX8" fmla="*/ 1943100 w 4490955"/>
                <a:gd name="connsiteY8" fmla="*/ 2800346 h 3365496"/>
                <a:gd name="connsiteX9" fmla="*/ 1885950 w 4490955"/>
                <a:gd name="connsiteY9" fmla="*/ 3143246 h 3365496"/>
                <a:gd name="connsiteX10" fmla="*/ 2190750 w 4490955"/>
                <a:gd name="connsiteY10" fmla="*/ 3143246 h 3365496"/>
                <a:gd name="connsiteX11" fmla="*/ 2266950 w 4490955"/>
                <a:gd name="connsiteY11" fmla="*/ 3314696 h 3365496"/>
                <a:gd name="connsiteX12" fmla="*/ 1257300 w 4490955"/>
                <a:gd name="connsiteY12" fmla="*/ 3333746 h 3365496"/>
                <a:gd name="connsiteX13" fmla="*/ 1200150 w 4490955"/>
                <a:gd name="connsiteY13" fmla="*/ 3124196 h 3365496"/>
                <a:gd name="connsiteX14" fmla="*/ 1567416 w 4490955"/>
                <a:gd name="connsiteY14" fmla="*/ 3166514 h 3365496"/>
                <a:gd name="connsiteX15" fmla="*/ 1524002 w 4490955"/>
                <a:gd name="connsiteY15" fmla="*/ 2581277 h 3365496"/>
                <a:gd name="connsiteX16" fmla="*/ 552450 w 4490955"/>
                <a:gd name="connsiteY16" fmla="*/ 1581146 h 3365496"/>
                <a:gd name="connsiteX17" fmla="*/ 1104900 w 4490955"/>
                <a:gd name="connsiteY17" fmla="*/ 3047996 h 3365496"/>
                <a:gd name="connsiteX18" fmla="*/ 323850 w 4490955"/>
                <a:gd name="connsiteY18" fmla="*/ 2419346 h 3365496"/>
                <a:gd name="connsiteX19" fmla="*/ 19050 w 4490955"/>
                <a:gd name="connsiteY19" fmla="*/ 1352546 h 3365496"/>
                <a:gd name="connsiteX20" fmla="*/ 438150 w 4490955"/>
                <a:gd name="connsiteY20" fmla="*/ 1114421 h 3365496"/>
                <a:gd name="connsiteX21" fmla="*/ 3267145 w 4490955"/>
                <a:gd name="connsiteY21" fmla="*/ 2632493 h 3365496"/>
                <a:gd name="connsiteX22" fmla="*/ 2904987 w 4490955"/>
                <a:gd name="connsiteY22" fmla="*/ 1611044 h 3365496"/>
                <a:gd name="connsiteX23" fmla="*/ 2380207 w 4490955"/>
                <a:gd name="connsiteY23" fmla="*/ 1621186 h 3365496"/>
                <a:gd name="connsiteX24" fmla="*/ 2152651 w 4490955"/>
                <a:gd name="connsiteY24" fmla="*/ 1790696 h 3365496"/>
                <a:gd name="connsiteX25" fmla="*/ 2152651 w 4490955"/>
                <a:gd name="connsiteY25" fmla="*/ 2647946 h 3365496"/>
                <a:gd name="connsiteX26" fmla="*/ 2438401 w 4490955"/>
                <a:gd name="connsiteY26" fmla="*/ 2800346 h 3365496"/>
                <a:gd name="connsiteX27" fmla="*/ 3067051 w 4490955"/>
                <a:gd name="connsiteY27" fmla="*/ 2819396 h 3365496"/>
                <a:gd name="connsiteX28" fmla="*/ 3267145 w 4490955"/>
                <a:gd name="connsiteY28" fmla="*/ 2632493 h 3365496"/>
                <a:gd name="connsiteX29" fmla="*/ 676205 w 4490955"/>
                <a:gd name="connsiteY29" fmla="*/ 186899 h 3365496"/>
                <a:gd name="connsiteX30" fmla="*/ 1943100 w 4490955"/>
                <a:gd name="connsiteY30" fmla="*/ 1485896 h 3365496"/>
                <a:gd name="connsiteX31" fmla="*/ 1906048 w 4490955"/>
                <a:gd name="connsiteY31" fmla="*/ 1350604 h 3365496"/>
                <a:gd name="connsiteX32" fmla="*/ 676205 w 4490955"/>
                <a:gd name="connsiteY32" fmla="*/ 186899 h 3365496"/>
                <a:gd name="connsiteX0" fmla="*/ 438150 w 4490955"/>
                <a:gd name="connsiteY0" fmla="*/ 1114421 h 3365496"/>
                <a:gd name="connsiteX1" fmla="*/ 481570 w 4490955"/>
                <a:gd name="connsiteY1" fmla="*/ 395840 h 3365496"/>
                <a:gd name="connsiteX2" fmla="*/ 781050 w 4490955"/>
                <a:gd name="connsiteY2" fmla="*/ 57146 h 3365496"/>
                <a:gd name="connsiteX3" fmla="*/ 1885954 w 4490955"/>
                <a:gd name="connsiteY3" fmla="*/ 0 h 3365496"/>
                <a:gd name="connsiteX4" fmla="*/ 3467102 w 4490955"/>
                <a:gd name="connsiteY4" fmla="*/ 1666881 h 3365496"/>
                <a:gd name="connsiteX5" fmla="*/ 3537985 w 4490955"/>
                <a:gd name="connsiteY5" fmla="*/ 2633115 h 3365496"/>
                <a:gd name="connsiteX6" fmla="*/ 3219451 w 4490955"/>
                <a:gd name="connsiteY6" fmla="*/ 2952756 h 3365496"/>
                <a:gd name="connsiteX7" fmla="*/ 2171700 w 4490955"/>
                <a:gd name="connsiteY7" fmla="*/ 2971796 h 3365496"/>
                <a:gd name="connsiteX8" fmla="*/ 1943100 w 4490955"/>
                <a:gd name="connsiteY8" fmla="*/ 2800346 h 3365496"/>
                <a:gd name="connsiteX9" fmla="*/ 1885950 w 4490955"/>
                <a:gd name="connsiteY9" fmla="*/ 3143246 h 3365496"/>
                <a:gd name="connsiteX10" fmla="*/ 2190750 w 4490955"/>
                <a:gd name="connsiteY10" fmla="*/ 3143246 h 3365496"/>
                <a:gd name="connsiteX11" fmla="*/ 2266950 w 4490955"/>
                <a:gd name="connsiteY11" fmla="*/ 3314696 h 3365496"/>
                <a:gd name="connsiteX12" fmla="*/ 1257300 w 4490955"/>
                <a:gd name="connsiteY12" fmla="*/ 3333746 h 3365496"/>
                <a:gd name="connsiteX13" fmla="*/ 1200150 w 4490955"/>
                <a:gd name="connsiteY13" fmla="*/ 3124196 h 3365496"/>
                <a:gd name="connsiteX14" fmla="*/ 1567416 w 4490955"/>
                <a:gd name="connsiteY14" fmla="*/ 3166514 h 3365496"/>
                <a:gd name="connsiteX15" fmla="*/ 1524002 w 4490955"/>
                <a:gd name="connsiteY15" fmla="*/ 2581277 h 3365496"/>
                <a:gd name="connsiteX16" fmla="*/ 552450 w 4490955"/>
                <a:gd name="connsiteY16" fmla="*/ 1581146 h 3365496"/>
                <a:gd name="connsiteX17" fmla="*/ 1104900 w 4490955"/>
                <a:gd name="connsiteY17" fmla="*/ 3047996 h 3365496"/>
                <a:gd name="connsiteX18" fmla="*/ 323850 w 4490955"/>
                <a:gd name="connsiteY18" fmla="*/ 2419346 h 3365496"/>
                <a:gd name="connsiteX19" fmla="*/ 19050 w 4490955"/>
                <a:gd name="connsiteY19" fmla="*/ 1352546 h 3365496"/>
                <a:gd name="connsiteX20" fmla="*/ 438150 w 4490955"/>
                <a:gd name="connsiteY20" fmla="*/ 1114421 h 3365496"/>
                <a:gd name="connsiteX21" fmla="*/ 3267145 w 4490955"/>
                <a:gd name="connsiteY21" fmla="*/ 2632493 h 3365496"/>
                <a:gd name="connsiteX22" fmla="*/ 2904987 w 4490955"/>
                <a:gd name="connsiteY22" fmla="*/ 1611044 h 3365496"/>
                <a:gd name="connsiteX23" fmla="*/ 2380207 w 4490955"/>
                <a:gd name="connsiteY23" fmla="*/ 1621186 h 3365496"/>
                <a:gd name="connsiteX24" fmla="*/ 2152651 w 4490955"/>
                <a:gd name="connsiteY24" fmla="*/ 1790696 h 3365496"/>
                <a:gd name="connsiteX25" fmla="*/ 2152651 w 4490955"/>
                <a:gd name="connsiteY25" fmla="*/ 2647946 h 3365496"/>
                <a:gd name="connsiteX26" fmla="*/ 2438401 w 4490955"/>
                <a:gd name="connsiteY26" fmla="*/ 2800346 h 3365496"/>
                <a:gd name="connsiteX27" fmla="*/ 3067051 w 4490955"/>
                <a:gd name="connsiteY27" fmla="*/ 2819396 h 3365496"/>
                <a:gd name="connsiteX28" fmla="*/ 3267145 w 4490955"/>
                <a:gd name="connsiteY28" fmla="*/ 2632493 h 3365496"/>
                <a:gd name="connsiteX29" fmla="*/ 676205 w 4490955"/>
                <a:gd name="connsiteY29" fmla="*/ 186899 h 3365496"/>
                <a:gd name="connsiteX30" fmla="*/ 1943100 w 4490955"/>
                <a:gd name="connsiteY30" fmla="*/ 1485896 h 3365496"/>
                <a:gd name="connsiteX31" fmla="*/ 1906048 w 4490955"/>
                <a:gd name="connsiteY31" fmla="*/ 1350604 h 3365496"/>
                <a:gd name="connsiteX32" fmla="*/ 676205 w 4490955"/>
                <a:gd name="connsiteY32" fmla="*/ 186899 h 3365496"/>
                <a:gd name="connsiteX0" fmla="*/ 457200 w 4510005"/>
                <a:gd name="connsiteY0" fmla="*/ 1114421 h 3365496"/>
                <a:gd name="connsiteX1" fmla="*/ 500620 w 4510005"/>
                <a:gd name="connsiteY1" fmla="*/ 395840 h 3365496"/>
                <a:gd name="connsiteX2" fmla="*/ 800100 w 4510005"/>
                <a:gd name="connsiteY2" fmla="*/ 57146 h 3365496"/>
                <a:gd name="connsiteX3" fmla="*/ 1905004 w 4510005"/>
                <a:gd name="connsiteY3" fmla="*/ 0 h 3365496"/>
                <a:gd name="connsiteX4" fmla="*/ 3486152 w 4510005"/>
                <a:gd name="connsiteY4" fmla="*/ 1666881 h 3365496"/>
                <a:gd name="connsiteX5" fmla="*/ 3557035 w 4510005"/>
                <a:gd name="connsiteY5" fmla="*/ 2633115 h 3365496"/>
                <a:gd name="connsiteX6" fmla="*/ 3238501 w 4510005"/>
                <a:gd name="connsiteY6" fmla="*/ 2952756 h 3365496"/>
                <a:gd name="connsiteX7" fmla="*/ 2190750 w 4510005"/>
                <a:gd name="connsiteY7" fmla="*/ 2971796 h 3365496"/>
                <a:gd name="connsiteX8" fmla="*/ 1962150 w 4510005"/>
                <a:gd name="connsiteY8" fmla="*/ 2800346 h 3365496"/>
                <a:gd name="connsiteX9" fmla="*/ 1905000 w 4510005"/>
                <a:gd name="connsiteY9" fmla="*/ 3143246 h 3365496"/>
                <a:gd name="connsiteX10" fmla="*/ 2209800 w 4510005"/>
                <a:gd name="connsiteY10" fmla="*/ 3143246 h 3365496"/>
                <a:gd name="connsiteX11" fmla="*/ 2286000 w 4510005"/>
                <a:gd name="connsiteY11" fmla="*/ 3314696 h 3365496"/>
                <a:gd name="connsiteX12" fmla="*/ 1276350 w 4510005"/>
                <a:gd name="connsiteY12" fmla="*/ 3333746 h 3365496"/>
                <a:gd name="connsiteX13" fmla="*/ 1219200 w 4510005"/>
                <a:gd name="connsiteY13" fmla="*/ 3124196 h 3365496"/>
                <a:gd name="connsiteX14" fmla="*/ 1586466 w 4510005"/>
                <a:gd name="connsiteY14" fmla="*/ 3166514 h 3365496"/>
                <a:gd name="connsiteX15" fmla="*/ 1543052 w 4510005"/>
                <a:gd name="connsiteY15" fmla="*/ 2581277 h 3365496"/>
                <a:gd name="connsiteX16" fmla="*/ 571500 w 4510005"/>
                <a:gd name="connsiteY16" fmla="*/ 1581146 h 3365496"/>
                <a:gd name="connsiteX17" fmla="*/ 1123950 w 4510005"/>
                <a:gd name="connsiteY17" fmla="*/ 3047996 h 3365496"/>
                <a:gd name="connsiteX18" fmla="*/ 342900 w 4510005"/>
                <a:gd name="connsiteY18" fmla="*/ 2419346 h 3365496"/>
                <a:gd name="connsiteX19" fmla="*/ 19050 w 4510005"/>
                <a:gd name="connsiteY19" fmla="*/ 1428746 h 3365496"/>
                <a:gd name="connsiteX20" fmla="*/ 457200 w 4510005"/>
                <a:gd name="connsiteY20" fmla="*/ 1114421 h 3365496"/>
                <a:gd name="connsiteX21" fmla="*/ 3286195 w 4510005"/>
                <a:gd name="connsiteY21" fmla="*/ 2632493 h 3365496"/>
                <a:gd name="connsiteX22" fmla="*/ 2924037 w 4510005"/>
                <a:gd name="connsiteY22" fmla="*/ 1611044 h 3365496"/>
                <a:gd name="connsiteX23" fmla="*/ 2399257 w 4510005"/>
                <a:gd name="connsiteY23" fmla="*/ 1621186 h 3365496"/>
                <a:gd name="connsiteX24" fmla="*/ 2171701 w 4510005"/>
                <a:gd name="connsiteY24" fmla="*/ 1790696 h 3365496"/>
                <a:gd name="connsiteX25" fmla="*/ 2171701 w 4510005"/>
                <a:gd name="connsiteY25" fmla="*/ 2647946 h 3365496"/>
                <a:gd name="connsiteX26" fmla="*/ 2457451 w 4510005"/>
                <a:gd name="connsiteY26" fmla="*/ 2800346 h 3365496"/>
                <a:gd name="connsiteX27" fmla="*/ 3086101 w 4510005"/>
                <a:gd name="connsiteY27" fmla="*/ 2819396 h 3365496"/>
                <a:gd name="connsiteX28" fmla="*/ 3286195 w 4510005"/>
                <a:gd name="connsiteY28" fmla="*/ 2632493 h 3365496"/>
                <a:gd name="connsiteX29" fmla="*/ 695255 w 4510005"/>
                <a:gd name="connsiteY29" fmla="*/ 186899 h 3365496"/>
                <a:gd name="connsiteX30" fmla="*/ 1962150 w 4510005"/>
                <a:gd name="connsiteY30" fmla="*/ 1485896 h 3365496"/>
                <a:gd name="connsiteX31" fmla="*/ 1925098 w 4510005"/>
                <a:gd name="connsiteY31" fmla="*/ 1350604 h 3365496"/>
                <a:gd name="connsiteX32" fmla="*/ 695255 w 4510005"/>
                <a:gd name="connsiteY32" fmla="*/ 186899 h 3365496"/>
                <a:gd name="connsiteX0" fmla="*/ 657225 w 4710030"/>
                <a:gd name="connsiteY0" fmla="*/ 1114421 h 3365496"/>
                <a:gd name="connsiteX1" fmla="*/ 700645 w 4710030"/>
                <a:gd name="connsiteY1" fmla="*/ 395840 h 3365496"/>
                <a:gd name="connsiteX2" fmla="*/ 1000125 w 4710030"/>
                <a:gd name="connsiteY2" fmla="*/ 57146 h 3365496"/>
                <a:gd name="connsiteX3" fmla="*/ 2105029 w 4710030"/>
                <a:gd name="connsiteY3" fmla="*/ 0 h 3365496"/>
                <a:gd name="connsiteX4" fmla="*/ 3686177 w 4710030"/>
                <a:gd name="connsiteY4" fmla="*/ 1666881 h 3365496"/>
                <a:gd name="connsiteX5" fmla="*/ 3757060 w 4710030"/>
                <a:gd name="connsiteY5" fmla="*/ 2633115 h 3365496"/>
                <a:gd name="connsiteX6" fmla="*/ 3438526 w 4710030"/>
                <a:gd name="connsiteY6" fmla="*/ 2952756 h 3365496"/>
                <a:gd name="connsiteX7" fmla="*/ 2390775 w 4710030"/>
                <a:gd name="connsiteY7" fmla="*/ 2971796 h 3365496"/>
                <a:gd name="connsiteX8" fmla="*/ 2162175 w 4710030"/>
                <a:gd name="connsiteY8" fmla="*/ 2800346 h 3365496"/>
                <a:gd name="connsiteX9" fmla="*/ 2105025 w 4710030"/>
                <a:gd name="connsiteY9" fmla="*/ 3143246 h 3365496"/>
                <a:gd name="connsiteX10" fmla="*/ 2409825 w 4710030"/>
                <a:gd name="connsiteY10" fmla="*/ 3143246 h 3365496"/>
                <a:gd name="connsiteX11" fmla="*/ 2486025 w 4710030"/>
                <a:gd name="connsiteY11" fmla="*/ 3314696 h 3365496"/>
                <a:gd name="connsiteX12" fmla="*/ 1476375 w 4710030"/>
                <a:gd name="connsiteY12" fmla="*/ 3333746 h 3365496"/>
                <a:gd name="connsiteX13" fmla="*/ 1419225 w 4710030"/>
                <a:gd name="connsiteY13" fmla="*/ 3124196 h 3365496"/>
                <a:gd name="connsiteX14" fmla="*/ 1786491 w 4710030"/>
                <a:gd name="connsiteY14" fmla="*/ 3166514 h 3365496"/>
                <a:gd name="connsiteX15" fmla="*/ 1743077 w 4710030"/>
                <a:gd name="connsiteY15" fmla="*/ 2581277 h 3365496"/>
                <a:gd name="connsiteX16" fmla="*/ 771525 w 4710030"/>
                <a:gd name="connsiteY16" fmla="*/ 1581146 h 3365496"/>
                <a:gd name="connsiteX17" fmla="*/ 1323975 w 4710030"/>
                <a:gd name="connsiteY17" fmla="*/ 3047996 h 3365496"/>
                <a:gd name="connsiteX18" fmla="*/ 542925 w 4710030"/>
                <a:gd name="connsiteY18" fmla="*/ 2419346 h 3365496"/>
                <a:gd name="connsiteX19" fmla="*/ 219075 w 4710030"/>
                <a:gd name="connsiteY19" fmla="*/ 1428746 h 3365496"/>
                <a:gd name="connsiteX20" fmla="*/ 657225 w 4710030"/>
                <a:gd name="connsiteY20" fmla="*/ 1114421 h 3365496"/>
                <a:gd name="connsiteX21" fmla="*/ 3486220 w 4710030"/>
                <a:gd name="connsiteY21" fmla="*/ 2632493 h 3365496"/>
                <a:gd name="connsiteX22" fmla="*/ 3124062 w 4710030"/>
                <a:gd name="connsiteY22" fmla="*/ 1611044 h 3365496"/>
                <a:gd name="connsiteX23" fmla="*/ 2599282 w 4710030"/>
                <a:gd name="connsiteY23" fmla="*/ 1621186 h 3365496"/>
                <a:gd name="connsiteX24" fmla="*/ 2371726 w 4710030"/>
                <a:gd name="connsiteY24" fmla="*/ 1790696 h 3365496"/>
                <a:gd name="connsiteX25" fmla="*/ 2371726 w 4710030"/>
                <a:gd name="connsiteY25" fmla="*/ 2647946 h 3365496"/>
                <a:gd name="connsiteX26" fmla="*/ 2657476 w 4710030"/>
                <a:gd name="connsiteY26" fmla="*/ 2800346 h 3365496"/>
                <a:gd name="connsiteX27" fmla="*/ 3286126 w 4710030"/>
                <a:gd name="connsiteY27" fmla="*/ 2819396 h 3365496"/>
                <a:gd name="connsiteX28" fmla="*/ 3486220 w 4710030"/>
                <a:gd name="connsiteY28" fmla="*/ 2632493 h 3365496"/>
                <a:gd name="connsiteX29" fmla="*/ 895280 w 4710030"/>
                <a:gd name="connsiteY29" fmla="*/ 186899 h 3365496"/>
                <a:gd name="connsiteX30" fmla="*/ 2162175 w 4710030"/>
                <a:gd name="connsiteY30" fmla="*/ 1485896 h 3365496"/>
                <a:gd name="connsiteX31" fmla="*/ 2125123 w 4710030"/>
                <a:gd name="connsiteY31" fmla="*/ 1350604 h 3365496"/>
                <a:gd name="connsiteX32" fmla="*/ 895280 w 4710030"/>
                <a:gd name="connsiteY32" fmla="*/ 186899 h 3365496"/>
                <a:gd name="connsiteX0" fmla="*/ 657225 w 4710030"/>
                <a:gd name="connsiteY0" fmla="*/ 1114421 h 3365496"/>
                <a:gd name="connsiteX1" fmla="*/ 700645 w 4710030"/>
                <a:gd name="connsiteY1" fmla="*/ 395840 h 3365496"/>
                <a:gd name="connsiteX2" fmla="*/ 1000125 w 4710030"/>
                <a:gd name="connsiteY2" fmla="*/ 57146 h 3365496"/>
                <a:gd name="connsiteX3" fmla="*/ 2105029 w 4710030"/>
                <a:gd name="connsiteY3" fmla="*/ 0 h 3365496"/>
                <a:gd name="connsiteX4" fmla="*/ 3686177 w 4710030"/>
                <a:gd name="connsiteY4" fmla="*/ 1666881 h 3365496"/>
                <a:gd name="connsiteX5" fmla="*/ 3757060 w 4710030"/>
                <a:gd name="connsiteY5" fmla="*/ 2633115 h 3365496"/>
                <a:gd name="connsiteX6" fmla="*/ 3438526 w 4710030"/>
                <a:gd name="connsiteY6" fmla="*/ 2952756 h 3365496"/>
                <a:gd name="connsiteX7" fmla="*/ 2390775 w 4710030"/>
                <a:gd name="connsiteY7" fmla="*/ 2971796 h 3365496"/>
                <a:gd name="connsiteX8" fmla="*/ 2162175 w 4710030"/>
                <a:gd name="connsiteY8" fmla="*/ 2800346 h 3365496"/>
                <a:gd name="connsiteX9" fmla="*/ 2105025 w 4710030"/>
                <a:gd name="connsiteY9" fmla="*/ 3143246 h 3365496"/>
                <a:gd name="connsiteX10" fmla="*/ 2409825 w 4710030"/>
                <a:gd name="connsiteY10" fmla="*/ 3143246 h 3365496"/>
                <a:gd name="connsiteX11" fmla="*/ 2486025 w 4710030"/>
                <a:gd name="connsiteY11" fmla="*/ 3314696 h 3365496"/>
                <a:gd name="connsiteX12" fmla="*/ 1476375 w 4710030"/>
                <a:gd name="connsiteY12" fmla="*/ 3333746 h 3365496"/>
                <a:gd name="connsiteX13" fmla="*/ 1419225 w 4710030"/>
                <a:gd name="connsiteY13" fmla="*/ 3124196 h 3365496"/>
                <a:gd name="connsiteX14" fmla="*/ 1786491 w 4710030"/>
                <a:gd name="connsiteY14" fmla="*/ 3166514 h 3365496"/>
                <a:gd name="connsiteX15" fmla="*/ 1743077 w 4710030"/>
                <a:gd name="connsiteY15" fmla="*/ 2581277 h 3365496"/>
                <a:gd name="connsiteX16" fmla="*/ 771525 w 4710030"/>
                <a:gd name="connsiteY16" fmla="*/ 1581146 h 3365496"/>
                <a:gd name="connsiteX17" fmla="*/ 1323975 w 4710030"/>
                <a:gd name="connsiteY17" fmla="*/ 3047996 h 3365496"/>
                <a:gd name="connsiteX18" fmla="*/ 542925 w 4710030"/>
                <a:gd name="connsiteY18" fmla="*/ 2419346 h 3365496"/>
                <a:gd name="connsiteX19" fmla="*/ 219075 w 4710030"/>
                <a:gd name="connsiteY19" fmla="*/ 1428746 h 3365496"/>
                <a:gd name="connsiteX20" fmla="*/ 657225 w 4710030"/>
                <a:gd name="connsiteY20" fmla="*/ 1114421 h 3365496"/>
                <a:gd name="connsiteX21" fmla="*/ 3486220 w 4710030"/>
                <a:gd name="connsiteY21" fmla="*/ 2632493 h 3365496"/>
                <a:gd name="connsiteX22" fmla="*/ 3124062 w 4710030"/>
                <a:gd name="connsiteY22" fmla="*/ 1611044 h 3365496"/>
                <a:gd name="connsiteX23" fmla="*/ 2599282 w 4710030"/>
                <a:gd name="connsiteY23" fmla="*/ 1621186 h 3365496"/>
                <a:gd name="connsiteX24" fmla="*/ 2371726 w 4710030"/>
                <a:gd name="connsiteY24" fmla="*/ 1790696 h 3365496"/>
                <a:gd name="connsiteX25" fmla="*/ 2371726 w 4710030"/>
                <a:gd name="connsiteY25" fmla="*/ 2647946 h 3365496"/>
                <a:gd name="connsiteX26" fmla="*/ 2657476 w 4710030"/>
                <a:gd name="connsiteY26" fmla="*/ 2800346 h 3365496"/>
                <a:gd name="connsiteX27" fmla="*/ 3286126 w 4710030"/>
                <a:gd name="connsiteY27" fmla="*/ 2819396 h 3365496"/>
                <a:gd name="connsiteX28" fmla="*/ 3486220 w 4710030"/>
                <a:gd name="connsiteY28" fmla="*/ 2632493 h 3365496"/>
                <a:gd name="connsiteX29" fmla="*/ 895280 w 4710030"/>
                <a:gd name="connsiteY29" fmla="*/ 186899 h 3365496"/>
                <a:gd name="connsiteX30" fmla="*/ 2162175 w 4710030"/>
                <a:gd name="connsiteY30" fmla="*/ 1485896 h 3365496"/>
                <a:gd name="connsiteX31" fmla="*/ 2125123 w 4710030"/>
                <a:gd name="connsiteY31" fmla="*/ 1350604 h 3365496"/>
                <a:gd name="connsiteX32" fmla="*/ 895280 w 4710030"/>
                <a:gd name="connsiteY32" fmla="*/ 186899 h 3365496"/>
                <a:gd name="connsiteX0" fmla="*/ 657225 w 4710030"/>
                <a:gd name="connsiteY0" fmla="*/ 1114421 h 3365496"/>
                <a:gd name="connsiteX1" fmla="*/ 700645 w 4710030"/>
                <a:gd name="connsiteY1" fmla="*/ 395840 h 3365496"/>
                <a:gd name="connsiteX2" fmla="*/ 1000125 w 4710030"/>
                <a:gd name="connsiteY2" fmla="*/ 57146 h 3365496"/>
                <a:gd name="connsiteX3" fmla="*/ 2105029 w 4710030"/>
                <a:gd name="connsiteY3" fmla="*/ 0 h 3365496"/>
                <a:gd name="connsiteX4" fmla="*/ 3686177 w 4710030"/>
                <a:gd name="connsiteY4" fmla="*/ 1666881 h 3365496"/>
                <a:gd name="connsiteX5" fmla="*/ 3757060 w 4710030"/>
                <a:gd name="connsiteY5" fmla="*/ 2633115 h 3365496"/>
                <a:gd name="connsiteX6" fmla="*/ 3438526 w 4710030"/>
                <a:gd name="connsiteY6" fmla="*/ 2952756 h 3365496"/>
                <a:gd name="connsiteX7" fmla="*/ 2390775 w 4710030"/>
                <a:gd name="connsiteY7" fmla="*/ 2971796 h 3365496"/>
                <a:gd name="connsiteX8" fmla="*/ 2162175 w 4710030"/>
                <a:gd name="connsiteY8" fmla="*/ 2800346 h 3365496"/>
                <a:gd name="connsiteX9" fmla="*/ 2105025 w 4710030"/>
                <a:gd name="connsiteY9" fmla="*/ 3143246 h 3365496"/>
                <a:gd name="connsiteX10" fmla="*/ 2409825 w 4710030"/>
                <a:gd name="connsiteY10" fmla="*/ 3143246 h 3365496"/>
                <a:gd name="connsiteX11" fmla="*/ 2486025 w 4710030"/>
                <a:gd name="connsiteY11" fmla="*/ 3314696 h 3365496"/>
                <a:gd name="connsiteX12" fmla="*/ 1476375 w 4710030"/>
                <a:gd name="connsiteY12" fmla="*/ 3333746 h 3365496"/>
                <a:gd name="connsiteX13" fmla="*/ 1419225 w 4710030"/>
                <a:gd name="connsiteY13" fmla="*/ 3124196 h 3365496"/>
                <a:gd name="connsiteX14" fmla="*/ 1786491 w 4710030"/>
                <a:gd name="connsiteY14" fmla="*/ 3166514 h 3365496"/>
                <a:gd name="connsiteX15" fmla="*/ 1743077 w 4710030"/>
                <a:gd name="connsiteY15" fmla="*/ 2581277 h 3365496"/>
                <a:gd name="connsiteX16" fmla="*/ 771525 w 4710030"/>
                <a:gd name="connsiteY16" fmla="*/ 1581146 h 3365496"/>
                <a:gd name="connsiteX17" fmla="*/ 1323975 w 4710030"/>
                <a:gd name="connsiteY17" fmla="*/ 3047996 h 3365496"/>
                <a:gd name="connsiteX18" fmla="*/ 542925 w 4710030"/>
                <a:gd name="connsiteY18" fmla="*/ 2419346 h 3365496"/>
                <a:gd name="connsiteX19" fmla="*/ 219075 w 4710030"/>
                <a:gd name="connsiteY19" fmla="*/ 1428746 h 3365496"/>
                <a:gd name="connsiteX20" fmla="*/ 657225 w 4710030"/>
                <a:gd name="connsiteY20" fmla="*/ 1114421 h 3365496"/>
                <a:gd name="connsiteX21" fmla="*/ 3486220 w 4710030"/>
                <a:gd name="connsiteY21" fmla="*/ 2632493 h 3365496"/>
                <a:gd name="connsiteX22" fmla="*/ 3124062 w 4710030"/>
                <a:gd name="connsiteY22" fmla="*/ 1611044 h 3365496"/>
                <a:gd name="connsiteX23" fmla="*/ 2599282 w 4710030"/>
                <a:gd name="connsiteY23" fmla="*/ 1621186 h 3365496"/>
                <a:gd name="connsiteX24" fmla="*/ 2371726 w 4710030"/>
                <a:gd name="connsiteY24" fmla="*/ 1790696 h 3365496"/>
                <a:gd name="connsiteX25" fmla="*/ 2371726 w 4710030"/>
                <a:gd name="connsiteY25" fmla="*/ 2647946 h 3365496"/>
                <a:gd name="connsiteX26" fmla="*/ 2657476 w 4710030"/>
                <a:gd name="connsiteY26" fmla="*/ 2800346 h 3365496"/>
                <a:gd name="connsiteX27" fmla="*/ 3286126 w 4710030"/>
                <a:gd name="connsiteY27" fmla="*/ 2819396 h 3365496"/>
                <a:gd name="connsiteX28" fmla="*/ 3486220 w 4710030"/>
                <a:gd name="connsiteY28" fmla="*/ 2632493 h 3365496"/>
                <a:gd name="connsiteX29" fmla="*/ 895280 w 4710030"/>
                <a:gd name="connsiteY29" fmla="*/ 186899 h 3365496"/>
                <a:gd name="connsiteX30" fmla="*/ 2162175 w 4710030"/>
                <a:gd name="connsiteY30" fmla="*/ 1485896 h 3365496"/>
                <a:gd name="connsiteX31" fmla="*/ 2125123 w 4710030"/>
                <a:gd name="connsiteY31" fmla="*/ 1350604 h 3365496"/>
                <a:gd name="connsiteX32" fmla="*/ 895280 w 4710030"/>
                <a:gd name="connsiteY32" fmla="*/ 186899 h 3365496"/>
                <a:gd name="connsiteX0" fmla="*/ 657225 w 4710030"/>
                <a:gd name="connsiteY0" fmla="*/ 1114421 h 3365496"/>
                <a:gd name="connsiteX1" fmla="*/ 700645 w 4710030"/>
                <a:gd name="connsiteY1" fmla="*/ 395840 h 3365496"/>
                <a:gd name="connsiteX2" fmla="*/ 1000125 w 4710030"/>
                <a:gd name="connsiteY2" fmla="*/ 57146 h 3365496"/>
                <a:gd name="connsiteX3" fmla="*/ 2105029 w 4710030"/>
                <a:gd name="connsiteY3" fmla="*/ 0 h 3365496"/>
                <a:gd name="connsiteX4" fmla="*/ 3686177 w 4710030"/>
                <a:gd name="connsiteY4" fmla="*/ 1666881 h 3365496"/>
                <a:gd name="connsiteX5" fmla="*/ 3757060 w 4710030"/>
                <a:gd name="connsiteY5" fmla="*/ 2633115 h 3365496"/>
                <a:gd name="connsiteX6" fmla="*/ 3438526 w 4710030"/>
                <a:gd name="connsiteY6" fmla="*/ 2952756 h 3365496"/>
                <a:gd name="connsiteX7" fmla="*/ 2390775 w 4710030"/>
                <a:gd name="connsiteY7" fmla="*/ 2971796 h 3365496"/>
                <a:gd name="connsiteX8" fmla="*/ 2162175 w 4710030"/>
                <a:gd name="connsiteY8" fmla="*/ 2800346 h 3365496"/>
                <a:gd name="connsiteX9" fmla="*/ 2105025 w 4710030"/>
                <a:gd name="connsiteY9" fmla="*/ 3143246 h 3365496"/>
                <a:gd name="connsiteX10" fmla="*/ 2409825 w 4710030"/>
                <a:gd name="connsiteY10" fmla="*/ 3143246 h 3365496"/>
                <a:gd name="connsiteX11" fmla="*/ 2486025 w 4710030"/>
                <a:gd name="connsiteY11" fmla="*/ 3314696 h 3365496"/>
                <a:gd name="connsiteX12" fmla="*/ 1476375 w 4710030"/>
                <a:gd name="connsiteY12" fmla="*/ 3333746 h 3365496"/>
                <a:gd name="connsiteX13" fmla="*/ 1419225 w 4710030"/>
                <a:gd name="connsiteY13" fmla="*/ 3124196 h 3365496"/>
                <a:gd name="connsiteX14" fmla="*/ 1786491 w 4710030"/>
                <a:gd name="connsiteY14" fmla="*/ 3166514 h 3365496"/>
                <a:gd name="connsiteX15" fmla="*/ 1743077 w 4710030"/>
                <a:gd name="connsiteY15" fmla="*/ 2581277 h 3365496"/>
                <a:gd name="connsiteX16" fmla="*/ 771525 w 4710030"/>
                <a:gd name="connsiteY16" fmla="*/ 1581146 h 3365496"/>
                <a:gd name="connsiteX17" fmla="*/ 1323975 w 4710030"/>
                <a:gd name="connsiteY17" fmla="*/ 3047996 h 3365496"/>
                <a:gd name="connsiteX18" fmla="*/ 542925 w 4710030"/>
                <a:gd name="connsiteY18" fmla="*/ 2419346 h 3365496"/>
                <a:gd name="connsiteX19" fmla="*/ 219075 w 4710030"/>
                <a:gd name="connsiteY19" fmla="*/ 1428746 h 3365496"/>
                <a:gd name="connsiteX20" fmla="*/ 657225 w 4710030"/>
                <a:gd name="connsiteY20" fmla="*/ 1114421 h 3365496"/>
                <a:gd name="connsiteX21" fmla="*/ 3486220 w 4710030"/>
                <a:gd name="connsiteY21" fmla="*/ 2632493 h 3365496"/>
                <a:gd name="connsiteX22" fmla="*/ 3124062 w 4710030"/>
                <a:gd name="connsiteY22" fmla="*/ 1611044 h 3365496"/>
                <a:gd name="connsiteX23" fmla="*/ 2599282 w 4710030"/>
                <a:gd name="connsiteY23" fmla="*/ 1621186 h 3365496"/>
                <a:gd name="connsiteX24" fmla="*/ 2371726 w 4710030"/>
                <a:gd name="connsiteY24" fmla="*/ 1790696 h 3365496"/>
                <a:gd name="connsiteX25" fmla="*/ 2371726 w 4710030"/>
                <a:gd name="connsiteY25" fmla="*/ 2647946 h 3365496"/>
                <a:gd name="connsiteX26" fmla="*/ 2657476 w 4710030"/>
                <a:gd name="connsiteY26" fmla="*/ 2800346 h 3365496"/>
                <a:gd name="connsiteX27" fmla="*/ 3286126 w 4710030"/>
                <a:gd name="connsiteY27" fmla="*/ 2819396 h 3365496"/>
                <a:gd name="connsiteX28" fmla="*/ 3486220 w 4710030"/>
                <a:gd name="connsiteY28" fmla="*/ 2632493 h 3365496"/>
                <a:gd name="connsiteX29" fmla="*/ 895280 w 4710030"/>
                <a:gd name="connsiteY29" fmla="*/ 186899 h 3365496"/>
                <a:gd name="connsiteX30" fmla="*/ 2162175 w 4710030"/>
                <a:gd name="connsiteY30" fmla="*/ 1485896 h 3365496"/>
                <a:gd name="connsiteX31" fmla="*/ 2125123 w 4710030"/>
                <a:gd name="connsiteY31" fmla="*/ 1350604 h 3365496"/>
                <a:gd name="connsiteX32" fmla="*/ 895280 w 4710030"/>
                <a:gd name="connsiteY32" fmla="*/ 186899 h 3365496"/>
                <a:gd name="connsiteX0" fmla="*/ 657225 w 4710030"/>
                <a:gd name="connsiteY0" fmla="*/ 1114421 h 3365496"/>
                <a:gd name="connsiteX1" fmla="*/ 700645 w 4710030"/>
                <a:gd name="connsiteY1" fmla="*/ 395840 h 3365496"/>
                <a:gd name="connsiteX2" fmla="*/ 1000125 w 4710030"/>
                <a:gd name="connsiteY2" fmla="*/ 57146 h 3365496"/>
                <a:gd name="connsiteX3" fmla="*/ 2105029 w 4710030"/>
                <a:gd name="connsiteY3" fmla="*/ 0 h 3365496"/>
                <a:gd name="connsiteX4" fmla="*/ 3686177 w 4710030"/>
                <a:gd name="connsiteY4" fmla="*/ 1666881 h 3365496"/>
                <a:gd name="connsiteX5" fmla="*/ 3757060 w 4710030"/>
                <a:gd name="connsiteY5" fmla="*/ 2633115 h 3365496"/>
                <a:gd name="connsiteX6" fmla="*/ 3438526 w 4710030"/>
                <a:gd name="connsiteY6" fmla="*/ 2952756 h 3365496"/>
                <a:gd name="connsiteX7" fmla="*/ 2390775 w 4710030"/>
                <a:gd name="connsiteY7" fmla="*/ 2971796 h 3365496"/>
                <a:gd name="connsiteX8" fmla="*/ 2162175 w 4710030"/>
                <a:gd name="connsiteY8" fmla="*/ 2800346 h 3365496"/>
                <a:gd name="connsiteX9" fmla="*/ 2105025 w 4710030"/>
                <a:gd name="connsiteY9" fmla="*/ 3143246 h 3365496"/>
                <a:gd name="connsiteX10" fmla="*/ 2409825 w 4710030"/>
                <a:gd name="connsiteY10" fmla="*/ 3143246 h 3365496"/>
                <a:gd name="connsiteX11" fmla="*/ 2486025 w 4710030"/>
                <a:gd name="connsiteY11" fmla="*/ 3314696 h 3365496"/>
                <a:gd name="connsiteX12" fmla="*/ 1476375 w 4710030"/>
                <a:gd name="connsiteY12" fmla="*/ 3333746 h 3365496"/>
                <a:gd name="connsiteX13" fmla="*/ 1419225 w 4710030"/>
                <a:gd name="connsiteY13" fmla="*/ 3124196 h 3365496"/>
                <a:gd name="connsiteX14" fmla="*/ 1786491 w 4710030"/>
                <a:gd name="connsiteY14" fmla="*/ 3166514 h 3365496"/>
                <a:gd name="connsiteX15" fmla="*/ 1743077 w 4710030"/>
                <a:gd name="connsiteY15" fmla="*/ 2581277 h 3365496"/>
                <a:gd name="connsiteX16" fmla="*/ 771525 w 4710030"/>
                <a:gd name="connsiteY16" fmla="*/ 1581146 h 3365496"/>
                <a:gd name="connsiteX17" fmla="*/ 447676 w 4710030"/>
                <a:gd name="connsiteY17" fmla="*/ 1752595 h 3365496"/>
                <a:gd name="connsiteX18" fmla="*/ 1323975 w 4710030"/>
                <a:gd name="connsiteY18" fmla="*/ 3047996 h 3365496"/>
                <a:gd name="connsiteX19" fmla="*/ 542925 w 4710030"/>
                <a:gd name="connsiteY19" fmla="*/ 2419346 h 3365496"/>
                <a:gd name="connsiteX20" fmla="*/ 219075 w 4710030"/>
                <a:gd name="connsiteY20" fmla="*/ 1428746 h 3365496"/>
                <a:gd name="connsiteX21" fmla="*/ 657225 w 4710030"/>
                <a:gd name="connsiteY21" fmla="*/ 1114421 h 3365496"/>
                <a:gd name="connsiteX22" fmla="*/ 3486220 w 4710030"/>
                <a:gd name="connsiteY22" fmla="*/ 2632493 h 3365496"/>
                <a:gd name="connsiteX23" fmla="*/ 3124062 w 4710030"/>
                <a:gd name="connsiteY23" fmla="*/ 1611044 h 3365496"/>
                <a:gd name="connsiteX24" fmla="*/ 2599282 w 4710030"/>
                <a:gd name="connsiteY24" fmla="*/ 1621186 h 3365496"/>
                <a:gd name="connsiteX25" fmla="*/ 2371726 w 4710030"/>
                <a:gd name="connsiteY25" fmla="*/ 1790696 h 3365496"/>
                <a:gd name="connsiteX26" fmla="*/ 2371726 w 4710030"/>
                <a:gd name="connsiteY26" fmla="*/ 2647946 h 3365496"/>
                <a:gd name="connsiteX27" fmla="*/ 2657476 w 4710030"/>
                <a:gd name="connsiteY27" fmla="*/ 2800346 h 3365496"/>
                <a:gd name="connsiteX28" fmla="*/ 3286126 w 4710030"/>
                <a:gd name="connsiteY28" fmla="*/ 2819396 h 3365496"/>
                <a:gd name="connsiteX29" fmla="*/ 3486220 w 4710030"/>
                <a:gd name="connsiteY29" fmla="*/ 2632493 h 3365496"/>
                <a:gd name="connsiteX30" fmla="*/ 895280 w 4710030"/>
                <a:gd name="connsiteY30" fmla="*/ 186899 h 3365496"/>
                <a:gd name="connsiteX31" fmla="*/ 2162175 w 4710030"/>
                <a:gd name="connsiteY31" fmla="*/ 1485896 h 3365496"/>
                <a:gd name="connsiteX32" fmla="*/ 2125123 w 4710030"/>
                <a:gd name="connsiteY32" fmla="*/ 1350604 h 3365496"/>
                <a:gd name="connsiteX33" fmla="*/ 895280 w 4710030"/>
                <a:gd name="connsiteY33" fmla="*/ 186899 h 3365496"/>
                <a:gd name="connsiteX0" fmla="*/ 657225 w 4710030"/>
                <a:gd name="connsiteY0" fmla="*/ 1114421 h 3365496"/>
                <a:gd name="connsiteX1" fmla="*/ 700645 w 4710030"/>
                <a:gd name="connsiteY1" fmla="*/ 395840 h 3365496"/>
                <a:gd name="connsiteX2" fmla="*/ 1000125 w 4710030"/>
                <a:gd name="connsiteY2" fmla="*/ 57146 h 3365496"/>
                <a:gd name="connsiteX3" fmla="*/ 2105029 w 4710030"/>
                <a:gd name="connsiteY3" fmla="*/ 0 h 3365496"/>
                <a:gd name="connsiteX4" fmla="*/ 3686177 w 4710030"/>
                <a:gd name="connsiteY4" fmla="*/ 1666881 h 3365496"/>
                <a:gd name="connsiteX5" fmla="*/ 3757060 w 4710030"/>
                <a:gd name="connsiteY5" fmla="*/ 2633115 h 3365496"/>
                <a:gd name="connsiteX6" fmla="*/ 3438526 w 4710030"/>
                <a:gd name="connsiteY6" fmla="*/ 2952756 h 3365496"/>
                <a:gd name="connsiteX7" fmla="*/ 2390775 w 4710030"/>
                <a:gd name="connsiteY7" fmla="*/ 2971796 h 3365496"/>
                <a:gd name="connsiteX8" fmla="*/ 2162175 w 4710030"/>
                <a:gd name="connsiteY8" fmla="*/ 2800346 h 3365496"/>
                <a:gd name="connsiteX9" fmla="*/ 2105025 w 4710030"/>
                <a:gd name="connsiteY9" fmla="*/ 3143246 h 3365496"/>
                <a:gd name="connsiteX10" fmla="*/ 2409825 w 4710030"/>
                <a:gd name="connsiteY10" fmla="*/ 3143246 h 3365496"/>
                <a:gd name="connsiteX11" fmla="*/ 2486025 w 4710030"/>
                <a:gd name="connsiteY11" fmla="*/ 3314696 h 3365496"/>
                <a:gd name="connsiteX12" fmla="*/ 1476375 w 4710030"/>
                <a:gd name="connsiteY12" fmla="*/ 3333746 h 3365496"/>
                <a:gd name="connsiteX13" fmla="*/ 1419225 w 4710030"/>
                <a:gd name="connsiteY13" fmla="*/ 3124196 h 3365496"/>
                <a:gd name="connsiteX14" fmla="*/ 1786491 w 4710030"/>
                <a:gd name="connsiteY14" fmla="*/ 3166514 h 3365496"/>
                <a:gd name="connsiteX15" fmla="*/ 1743077 w 4710030"/>
                <a:gd name="connsiteY15" fmla="*/ 2581277 h 3365496"/>
                <a:gd name="connsiteX16" fmla="*/ 771525 w 4710030"/>
                <a:gd name="connsiteY16" fmla="*/ 1581146 h 3365496"/>
                <a:gd name="connsiteX17" fmla="*/ 447676 w 4710030"/>
                <a:gd name="connsiteY17" fmla="*/ 1752595 h 3365496"/>
                <a:gd name="connsiteX18" fmla="*/ 1323975 w 4710030"/>
                <a:gd name="connsiteY18" fmla="*/ 3047996 h 3365496"/>
                <a:gd name="connsiteX19" fmla="*/ 542925 w 4710030"/>
                <a:gd name="connsiteY19" fmla="*/ 2419346 h 3365496"/>
                <a:gd name="connsiteX20" fmla="*/ 219075 w 4710030"/>
                <a:gd name="connsiteY20" fmla="*/ 1428746 h 3365496"/>
                <a:gd name="connsiteX21" fmla="*/ 657225 w 4710030"/>
                <a:gd name="connsiteY21" fmla="*/ 1114421 h 3365496"/>
                <a:gd name="connsiteX22" fmla="*/ 3486220 w 4710030"/>
                <a:gd name="connsiteY22" fmla="*/ 2632493 h 3365496"/>
                <a:gd name="connsiteX23" fmla="*/ 3124062 w 4710030"/>
                <a:gd name="connsiteY23" fmla="*/ 1611044 h 3365496"/>
                <a:gd name="connsiteX24" fmla="*/ 2599282 w 4710030"/>
                <a:gd name="connsiteY24" fmla="*/ 1621186 h 3365496"/>
                <a:gd name="connsiteX25" fmla="*/ 2371726 w 4710030"/>
                <a:gd name="connsiteY25" fmla="*/ 1790696 h 3365496"/>
                <a:gd name="connsiteX26" fmla="*/ 2371726 w 4710030"/>
                <a:gd name="connsiteY26" fmla="*/ 2647946 h 3365496"/>
                <a:gd name="connsiteX27" fmla="*/ 2657476 w 4710030"/>
                <a:gd name="connsiteY27" fmla="*/ 2800346 h 3365496"/>
                <a:gd name="connsiteX28" fmla="*/ 3286126 w 4710030"/>
                <a:gd name="connsiteY28" fmla="*/ 2819396 h 3365496"/>
                <a:gd name="connsiteX29" fmla="*/ 3486220 w 4710030"/>
                <a:gd name="connsiteY29" fmla="*/ 2632493 h 3365496"/>
                <a:gd name="connsiteX30" fmla="*/ 895280 w 4710030"/>
                <a:gd name="connsiteY30" fmla="*/ 186899 h 3365496"/>
                <a:gd name="connsiteX31" fmla="*/ 2162175 w 4710030"/>
                <a:gd name="connsiteY31" fmla="*/ 1485896 h 3365496"/>
                <a:gd name="connsiteX32" fmla="*/ 2125123 w 4710030"/>
                <a:gd name="connsiteY32" fmla="*/ 1350604 h 3365496"/>
                <a:gd name="connsiteX33" fmla="*/ 895280 w 4710030"/>
                <a:gd name="connsiteY33" fmla="*/ 186899 h 3365496"/>
                <a:gd name="connsiteX0" fmla="*/ 657225 w 4195833"/>
                <a:gd name="connsiteY0" fmla="*/ 1114421 h 3365496"/>
                <a:gd name="connsiteX1" fmla="*/ 700645 w 4195833"/>
                <a:gd name="connsiteY1" fmla="*/ 395840 h 3365496"/>
                <a:gd name="connsiteX2" fmla="*/ 1000125 w 4195833"/>
                <a:gd name="connsiteY2" fmla="*/ 57146 h 3365496"/>
                <a:gd name="connsiteX3" fmla="*/ 2105029 w 4195833"/>
                <a:gd name="connsiteY3" fmla="*/ 0 h 3365496"/>
                <a:gd name="connsiteX4" fmla="*/ 3686177 w 4195833"/>
                <a:gd name="connsiteY4" fmla="*/ 1666881 h 3365496"/>
                <a:gd name="connsiteX5" fmla="*/ 3757060 w 4195833"/>
                <a:gd name="connsiteY5" fmla="*/ 2633115 h 3365496"/>
                <a:gd name="connsiteX6" fmla="*/ 3438526 w 4195833"/>
                <a:gd name="connsiteY6" fmla="*/ 2952756 h 3365496"/>
                <a:gd name="connsiteX7" fmla="*/ 2390775 w 4195833"/>
                <a:gd name="connsiteY7" fmla="*/ 2971796 h 3365496"/>
                <a:gd name="connsiteX8" fmla="*/ 2162175 w 4195833"/>
                <a:gd name="connsiteY8" fmla="*/ 2800346 h 3365496"/>
                <a:gd name="connsiteX9" fmla="*/ 2105025 w 4195833"/>
                <a:gd name="connsiteY9" fmla="*/ 3143246 h 3365496"/>
                <a:gd name="connsiteX10" fmla="*/ 2409825 w 4195833"/>
                <a:gd name="connsiteY10" fmla="*/ 3143246 h 3365496"/>
                <a:gd name="connsiteX11" fmla="*/ 2486025 w 4195833"/>
                <a:gd name="connsiteY11" fmla="*/ 3314696 h 3365496"/>
                <a:gd name="connsiteX12" fmla="*/ 1476375 w 4195833"/>
                <a:gd name="connsiteY12" fmla="*/ 3333746 h 3365496"/>
                <a:gd name="connsiteX13" fmla="*/ 1419225 w 4195833"/>
                <a:gd name="connsiteY13" fmla="*/ 3124196 h 3365496"/>
                <a:gd name="connsiteX14" fmla="*/ 1786491 w 4195833"/>
                <a:gd name="connsiteY14" fmla="*/ 3166514 h 3365496"/>
                <a:gd name="connsiteX15" fmla="*/ 1743077 w 4195833"/>
                <a:gd name="connsiteY15" fmla="*/ 2581277 h 3365496"/>
                <a:gd name="connsiteX16" fmla="*/ 771525 w 4195833"/>
                <a:gd name="connsiteY16" fmla="*/ 1581146 h 3365496"/>
                <a:gd name="connsiteX17" fmla="*/ 447676 w 4195833"/>
                <a:gd name="connsiteY17" fmla="*/ 1752595 h 3365496"/>
                <a:gd name="connsiteX18" fmla="*/ 1323975 w 4195833"/>
                <a:gd name="connsiteY18" fmla="*/ 3047996 h 3365496"/>
                <a:gd name="connsiteX19" fmla="*/ 542925 w 4195833"/>
                <a:gd name="connsiteY19" fmla="*/ 2419346 h 3365496"/>
                <a:gd name="connsiteX20" fmla="*/ 219075 w 4195833"/>
                <a:gd name="connsiteY20" fmla="*/ 1428746 h 3365496"/>
                <a:gd name="connsiteX21" fmla="*/ 657225 w 4195833"/>
                <a:gd name="connsiteY21" fmla="*/ 1114421 h 3365496"/>
                <a:gd name="connsiteX22" fmla="*/ 3486220 w 4195833"/>
                <a:gd name="connsiteY22" fmla="*/ 2632493 h 3365496"/>
                <a:gd name="connsiteX23" fmla="*/ 3533776 w 4195833"/>
                <a:gd name="connsiteY23" fmla="*/ 1943095 h 3365496"/>
                <a:gd name="connsiteX24" fmla="*/ 3124062 w 4195833"/>
                <a:gd name="connsiteY24" fmla="*/ 1611044 h 3365496"/>
                <a:gd name="connsiteX25" fmla="*/ 2599282 w 4195833"/>
                <a:gd name="connsiteY25" fmla="*/ 1621186 h 3365496"/>
                <a:gd name="connsiteX26" fmla="*/ 2371726 w 4195833"/>
                <a:gd name="connsiteY26" fmla="*/ 1790696 h 3365496"/>
                <a:gd name="connsiteX27" fmla="*/ 2371726 w 4195833"/>
                <a:gd name="connsiteY27" fmla="*/ 2647946 h 3365496"/>
                <a:gd name="connsiteX28" fmla="*/ 2657476 w 4195833"/>
                <a:gd name="connsiteY28" fmla="*/ 2800346 h 3365496"/>
                <a:gd name="connsiteX29" fmla="*/ 3286126 w 4195833"/>
                <a:gd name="connsiteY29" fmla="*/ 2819396 h 3365496"/>
                <a:gd name="connsiteX30" fmla="*/ 3486220 w 4195833"/>
                <a:gd name="connsiteY30" fmla="*/ 2632493 h 3365496"/>
                <a:gd name="connsiteX31" fmla="*/ 895280 w 4195833"/>
                <a:gd name="connsiteY31" fmla="*/ 186899 h 3365496"/>
                <a:gd name="connsiteX32" fmla="*/ 2162175 w 4195833"/>
                <a:gd name="connsiteY32" fmla="*/ 1485896 h 3365496"/>
                <a:gd name="connsiteX33" fmla="*/ 2125123 w 4195833"/>
                <a:gd name="connsiteY33" fmla="*/ 1350604 h 3365496"/>
                <a:gd name="connsiteX34" fmla="*/ 895280 w 4195833"/>
                <a:gd name="connsiteY34" fmla="*/ 186899 h 3365496"/>
                <a:gd name="connsiteX0" fmla="*/ 657225 w 3766954"/>
                <a:gd name="connsiteY0" fmla="*/ 1114421 h 3365496"/>
                <a:gd name="connsiteX1" fmla="*/ 700645 w 3766954"/>
                <a:gd name="connsiteY1" fmla="*/ 395840 h 3365496"/>
                <a:gd name="connsiteX2" fmla="*/ 1000125 w 3766954"/>
                <a:gd name="connsiteY2" fmla="*/ 57146 h 3365496"/>
                <a:gd name="connsiteX3" fmla="*/ 2105029 w 3766954"/>
                <a:gd name="connsiteY3" fmla="*/ 0 h 3365496"/>
                <a:gd name="connsiteX4" fmla="*/ 3686177 w 3766954"/>
                <a:gd name="connsiteY4" fmla="*/ 1666881 h 3365496"/>
                <a:gd name="connsiteX5" fmla="*/ 3757060 w 3766954"/>
                <a:gd name="connsiteY5" fmla="*/ 2633115 h 3365496"/>
                <a:gd name="connsiteX6" fmla="*/ 3438526 w 3766954"/>
                <a:gd name="connsiteY6" fmla="*/ 2952756 h 3365496"/>
                <a:gd name="connsiteX7" fmla="*/ 2390775 w 3766954"/>
                <a:gd name="connsiteY7" fmla="*/ 2971796 h 3365496"/>
                <a:gd name="connsiteX8" fmla="*/ 2162175 w 3766954"/>
                <a:gd name="connsiteY8" fmla="*/ 2800346 h 3365496"/>
                <a:gd name="connsiteX9" fmla="*/ 2105025 w 3766954"/>
                <a:gd name="connsiteY9" fmla="*/ 3143246 h 3365496"/>
                <a:gd name="connsiteX10" fmla="*/ 2409825 w 3766954"/>
                <a:gd name="connsiteY10" fmla="*/ 3143246 h 3365496"/>
                <a:gd name="connsiteX11" fmla="*/ 2486025 w 3766954"/>
                <a:gd name="connsiteY11" fmla="*/ 3314696 h 3365496"/>
                <a:gd name="connsiteX12" fmla="*/ 1476375 w 3766954"/>
                <a:gd name="connsiteY12" fmla="*/ 3333746 h 3365496"/>
                <a:gd name="connsiteX13" fmla="*/ 1419225 w 3766954"/>
                <a:gd name="connsiteY13" fmla="*/ 3124196 h 3365496"/>
                <a:gd name="connsiteX14" fmla="*/ 1786491 w 3766954"/>
                <a:gd name="connsiteY14" fmla="*/ 3166514 h 3365496"/>
                <a:gd name="connsiteX15" fmla="*/ 1743077 w 3766954"/>
                <a:gd name="connsiteY15" fmla="*/ 2581277 h 3365496"/>
                <a:gd name="connsiteX16" fmla="*/ 771525 w 3766954"/>
                <a:gd name="connsiteY16" fmla="*/ 1581146 h 3365496"/>
                <a:gd name="connsiteX17" fmla="*/ 447676 w 3766954"/>
                <a:gd name="connsiteY17" fmla="*/ 1752595 h 3365496"/>
                <a:gd name="connsiteX18" fmla="*/ 1323975 w 3766954"/>
                <a:gd name="connsiteY18" fmla="*/ 3047996 h 3365496"/>
                <a:gd name="connsiteX19" fmla="*/ 542925 w 3766954"/>
                <a:gd name="connsiteY19" fmla="*/ 2419346 h 3365496"/>
                <a:gd name="connsiteX20" fmla="*/ 219075 w 3766954"/>
                <a:gd name="connsiteY20" fmla="*/ 1428746 h 3365496"/>
                <a:gd name="connsiteX21" fmla="*/ 657225 w 3766954"/>
                <a:gd name="connsiteY21" fmla="*/ 1114421 h 3365496"/>
                <a:gd name="connsiteX22" fmla="*/ 3486220 w 3766954"/>
                <a:gd name="connsiteY22" fmla="*/ 2632493 h 3365496"/>
                <a:gd name="connsiteX23" fmla="*/ 3533776 w 3766954"/>
                <a:gd name="connsiteY23" fmla="*/ 1943095 h 3365496"/>
                <a:gd name="connsiteX24" fmla="*/ 3124062 w 3766954"/>
                <a:gd name="connsiteY24" fmla="*/ 1611044 h 3365496"/>
                <a:gd name="connsiteX25" fmla="*/ 2599282 w 3766954"/>
                <a:gd name="connsiteY25" fmla="*/ 1621186 h 3365496"/>
                <a:gd name="connsiteX26" fmla="*/ 2371726 w 3766954"/>
                <a:gd name="connsiteY26" fmla="*/ 1790696 h 3365496"/>
                <a:gd name="connsiteX27" fmla="*/ 2371726 w 3766954"/>
                <a:gd name="connsiteY27" fmla="*/ 2647946 h 3365496"/>
                <a:gd name="connsiteX28" fmla="*/ 2657476 w 3766954"/>
                <a:gd name="connsiteY28" fmla="*/ 2800346 h 3365496"/>
                <a:gd name="connsiteX29" fmla="*/ 3286126 w 3766954"/>
                <a:gd name="connsiteY29" fmla="*/ 2819396 h 3365496"/>
                <a:gd name="connsiteX30" fmla="*/ 3486220 w 3766954"/>
                <a:gd name="connsiteY30" fmla="*/ 2632493 h 3365496"/>
                <a:gd name="connsiteX31" fmla="*/ 895280 w 3766954"/>
                <a:gd name="connsiteY31" fmla="*/ 186899 h 3365496"/>
                <a:gd name="connsiteX32" fmla="*/ 2162175 w 3766954"/>
                <a:gd name="connsiteY32" fmla="*/ 1485896 h 3365496"/>
                <a:gd name="connsiteX33" fmla="*/ 2125123 w 3766954"/>
                <a:gd name="connsiteY33" fmla="*/ 1350604 h 3365496"/>
                <a:gd name="connsiteX34" fmla="*/ 895280 w 3766954"/>
                <a:gd name="connsiteY34" fmla="*/ 186899 h 3365496"/>
                <a:gd name="connsiteX0" fmla="*/ 657225 w 3766954"/>
                <a:gd name="connsiteY0" fmla="*/ 1114421 h 3365496"/>
                <a:gd name="connsiteX1" fmla="*/ 700645 w 3766954"/>
                <a:gd name="connsiteY1" fmla="*/ 395840 h 3365496"/>
                <a:gd name="connsiteX2" fmla="*/ 1000125 w 3766954"/>
                <a:gd name="connsiteY2" fmla="*/ 57146 h 3365496"/>
                <a:gd name="connsiteX3" fmla="*/ 2105029 w 3766954"/>
                <a:gd name="connsiteY3" fmla="*/ 0 h 3365496"/>
                <a:gd name="connsiteX4" fmla="*/ 3686177 w 3766954"/>
                <a:gd name="connsiteY4" fmla="*/ 1666881 h 3365496"/>
                <a:gd name="connsiteX5" fmla="*/ 3757060 w 3766954"/>
                <a:gd name="connsiteY5" fmla="*/ 2633115 h 3365496"/>
                <a:gd name="connsiteX6" fmla="*/ 3438526 w 3766954"/>
                <a:gd name="connsiteY6" fmla="*/ 2952756 h 3365496"/>
                <a:gd name="connsiteX7" fmla="*/ 2390775 w 3766954"/>
                <a:gd name="connsiteY7" fmla="*/ 2971796 h 3365496"/>
                <a:gd name="connsiteX8" fmla="*/ 2162175 w 3766954"/>
                <a:gd name="connsiteY8" fmla="*/ 2800346 h 3365496"/>
                <a:gd name="connsiteX9" fmla="*/ 2105025 w 3766954"/>
                <a:gd name="connsiteY9" fmla="*/ 3143246 h 3365496"/>
                <a:gd name="connsiteX10" fmla="*/ 2409825 w 3766954"/>
                <a:gd name="connsiteY10" fmla="*/ 3143246 h 3365496"/>
                <a:gd name="connsiteX11" fmla="*/ 2486025 w 3766954"/>
                <a:gd name="connsiteY11" fmla="*/ 3314696 h 3365496"/>
                <a:gd name="connsiteX12" fmla="*/ 1476375 w 3766954"/>
                <a:gd name="connsiteY12" fmla="*/ 3333746 h 3365496"/>
                <a:gd name="connsiteX13" fmla="*/ 1419225 w 3766954"/>
                <a:gd name="connsiteY13" fmla="*/ 3124196 h 3365496"/>
                <a:gd name="connsiteX14" fmla="*/ 1786491 w 3766954"/>
                <a:gd name="connsiteY14" fmla="*/ 3166514 h 3365496"/>
                <a:gd name="connsiteX15" fmla="*/ 1743077 w 3766954"/>
                <a:gd name="connsiteY15" fmla="*/ 2581277 h 3365496"/>
                <a:gd name="connsiteX16" fmla="*/ 771525 w 3766954"/>
                <a:gd name="connsiteY16" fmla="*/ 1581146 h 3365496"/>
                <a:gd name="connsiteX17" fmla="*/ 447676 w 3766954"/>
                <a:gd name="connsiteY17" fmla="*/ 1752595 h 3365496"/>
                <a:gd name="connsiteX18" fmla="*/ 1323975 w 3766954"/>
                <a:gd name="connsiteY18" fmla="*/ 3047996 h 3365496"/>
                <a:gd name="connsiteX19" fmla="*/ 542925 w 3766954"/>
                <a:gd name="connsiteY19" fmla="*/ 2419346 h 3365496"/>
                <a:gd name="connsiteX20" fmla="*/ 219075 w 3766954"/>
                <a:gd name="connsiteY20" fmla="*/ 1428746 h 3365496"/>
                <a:gd name="connsiteX21" fmla="*/ 657225 w 3766954"/>
                <a:gd name="connsiteY21" fmla="*/ 1114421 h 3365496"/>
                <a:gd name="connsiteX22" fmla="*/ 3486220 w 3766954"/>
                <a:gd name="connsiteY22" fmla="*/ 2632493 h 3365496"/>
                <a:gd name="connsiteX23" fmla="*/ 3533776 w 3766954"/>
                <a:gd name="connsiteY23" fmla="*/ 1943095 h 3365496"/>
                <a:gd name="connsiteX24" fmla="*/ 3124062 w 3766954"/>
                <a:gd name="connsiteY24" fmla="*/ 1611044 h 3365496"/>
                <a:gd name="connsiteX25" fmla="*/ 2599282 w 3766954"/>
                <a:gd name="connsiteY25" fmla="*/ 1621186 h 3365496"/>
                <a:gd name="connsiteX26" fmla="*/ 2371726 w 3766954"/>
                <a:gd name="connsiteY26" fmla="*/ 1790696 h 3365496"/>
                <a:gd name="connsiteX27" fmla="*/ 2371726 w 3766954"/>
                <a:gd name="connsiteY27" fmla="*/ 2647946 h 3365496"/>
                <a:gd name="connsiteX28" fmla="*/ 2657476 w 3766954"/>
                <a:gd name="connsiteY28" fmla="*/ 2800346 h 3365496"/>
                <a:gd name="connsiteX29" fmla="*/ 3286126 w 3766954"/>
                <a:gd name="connsiteY29" fmla="*/ 2819396 h 3365496"/>
                <a:gd name="connsiteX30" fmla="*/ 3486220 w 3766954"/>
                <a:gd name="connsiteY30" fmla="*/ 2632493 h 3365496"/>
                <a:gd name="connsiteX31" fmla="*/ 895280 w 3766954"/>
                <a:gd name="connsiteY31" fmla="*/ 186899 h 3365496"/>
                <a:gd name="connsiteX32" fmla="*/ 2162175 w 3766954"/>
                <a:gd name="connsiteY32" fmla="*/ 1485896 h 3365496"/>
                <a:gd name="connsiteX33" fmla="*/ 2125123 w 3766954"/>
                <a:gd name="connsiteY33" fmla="*/ 1350604 h 3365496"/>
                <a:gd name="connsiteX34" fmla="*/ 904877 w 3766954"/>
                <a:gd name="connsiteY34" fmla="*/ 495295 h 3365496"/>
                <a:gd name="connsiteX35" fmla="*/ 895280 w 3766954"/>
                <a:gd name="connsiteY35" fmla="*/ 186899 h 3365496"/>
                <a:gd name="connsiteX0" fmla="*/ 657225 w 3766954"/>
                <a:gd name="connsiteY0" fmla="*/ 1115127 h 3366202"/>
                <a:gd name="connsiteX1" fmla="*/ 700645 w 3766954"/>
                <a:gd name="connsiteY1" fmla="*/ 396546 h 3366202"/>
                <a:gd name="connsiteX2" fmla="*/ 1000125 w 3766954"/>
                <a:gd name="connsiteY2" fmla="*/ 57852 h 3366202"/>
                <a:gd name="connsiteX3" fmla="*/ 2105029 w 3766954"/>
                <a:gd name="connsiteY3" fmla="*/ 706 h 3366202"/>
                <a:gd name="connsiteX4" fmla="*/ 3686177 w 3766954"/>
                <a:gd name="connsiteY4" fmla="*/ 1667587 h 3366202"/>
                <a:gd name="connsiteX5" fmla="*/ 3757060 w 3766954"/>
                <a:gd name="connsiteY5" fmla="*/ 2633821 h 3366202"/>
                <a:gd name="connsiteX6" fmla="*/ 3438526 w 3766954"/>
                <a:gd name="connsiteY6" fmla="*/ 2953462 h 3366202"/>
                <a:gd name="connsiteX7" fmla="*/ 2390775 w 3766954"/>
                <a:gd name="connsiteY7" fmla="*/ 2972502 h 3366202"/>
                <a:gd name="connsiteX8" fmla="*/ 2162175 w 3766954"/>
                <a:gd name="connsiteY8" fmla="*/ 2801052 h 3366202"/>
                <a:gd name="connsiteX9" fmla="*/ 2105025 w 3766954"/>
                <a:gd name="connsiteY9" fmla="*/ 3143952 h 3366202"/>
                <a:gd name="connsiteX10" fmla="*/ 2409825 w 3766954"/>
                <a:gd name="connsiteY10" fmla="*/ 3143952 h 3366202"/>
                <a:gd name="connsiteX11" fmla="*/ 2486025 w 3766954"/>
                <a:gd name="connsiteY11" fmla="*/ 3315402 h 3366202"/>
                <a:gd name="connsiteX12" fmla="*/ 1476375 w 3766954"/>
                <a:gd name="connsiteY12" fmla="*/ 3334452 h 3366202"/>
                <a:gd name="connsiteX13" fmla="*/ 1419225 w 3766954"/>
                <a:gd name="connsiteY13" fmla="*/ 3124902 h 3366202"/>
                <a:gd name="connsiteX14" fmla="*/ 1786491 w 3766954"/>
                <a:gd name="connsiteY14" fmla="*/ 3167220 h 3366202"/>
                <a:gd name="connsiteX15" fmla="*/ 1743077 w 3766954"/>
                <a:gd name="connsiteY15" fmla="*/ 2581983 h 3366202"/>
                <a:gd name="connsiteX16" fmla="*/ 771525 w 3766954"/>
                <a:gd name="connsiteY16" fmla="*/ 1581852 h 3366202"/>
                <a:gd name="connsiteX17" fmla="*/ 447676 w 3766954"/>
                <a:gd name="connsiteY17" fmla="*/ 1753301 h 3366202"/>
                <a:gd name="connsiteX18" fmla="*/ 1323975 w 3766954"/>
                <a:gd name="connsiteY18" fmla="*/ 3048702 h 3366202"/>
                <a:gd name="connsiteX19" fmla="*/ 542925 w 3766954"/>
                <a:gd name="connsiteY19" fmla="*/ 2420052 h 3366202"/>
                <a:gd name="connsiteX20" fmla="*/ 219075 w 3766954"/>
                <a:gd name="connsiteY20" fmla="*/ 1429452 h 3366202"/>
                <a:gd name="connsiteX21" fmla="*/ 657225 w 3766954"/>
                <a:gd name="connsiteY21" fmla="*/ 1115127 h 3366202"/>
                <a:gd name="connsiteX22" fmla="*/ 3486220 w 3766954"/>
                <a:gd name="connsiteY22" fmla="*/ 2633199 h 3366202"/>
                <a:gd name="connsiteX23" fmla="*/ 3533776 w 3766954"/>
                <a:gd name="connsiteY23" fmla="*/ 1943801 h 3366202"/>
                <a:gd name="connsiteX24" fmla="*/ 3124062 w 3766954"/>
                <a:gd name="connsiteY24" fmla="*/ 1611750 h 3366202"/>
                <a:gd name="connsiteX25" fmla="*/ 2599282 w 3766954"/>
                <a:gd name="connsiteY25" fmla="*/ 1621892 h 3366202"/>
                <a:gd name="connsiteX26" fmla="*/ 2371726 w 3766954"/>
                <a:gd name="connsiteY26" fmla="*/ 1791402 h 3366202"/>
                <a:gd name="connsiteX27" fmla="*/ 2371726 w 3766954"/>
                <a:gd name="connsiteY27" fmla="*/ 2648652 h 3366202"/>
                <a:gd name="connsiteX28" fmla="*/ 2657476 w 3766954"/>
                <a:gd name="connsiteY28" fmla="*/ 2801052 h 3366202"/>
                <a:gd name="connsiteX29" fmla="*/ 3286126 w 3766954"/>
                <a:gd name="connsiteY29" fmla="*/ 2820102 h 3366202"/>
                <a:gd name="connsiteX30" fmla="*/ 3486220 w 3766954"/>
                <a:gd name="connsiteY30" fmla="*/ 2633199 h 3366202"/>
                <a:gd name="connsiteX31" fmla="*/ 895280 w 3766954"/>
                <a:gd name="connsiteY31" fmla="*/ 187605 h 3366202"/>
                <a:gd name="connsiteX32" fmla="*/ 2162175 w 3766954"/>
                <a:gd name="connsiteY32" fmla="*/ 1486602 h 3366202"/>
                <a:gd name="connsiteX33" fmla="*/ 2125123 w 3766954"/>
                <a:gd name="connsiteY33" fmla="*/ 1351310 h 3366202"/>
                <a:gd name="connsiteX34" fmla="*/ 904877 w 3766954"/>
                <a:gd name="connsiteY34" fmla="*/ 496001 h 3366202"/>
                <a:gd name="connsiteX35" fmla="*/ 895280 w 3766954"/>
                <a:gd name="connsiteY35" fmla="*/ 187605 h 3366202"/>
                <a:gd name="connsiteX0" fmla="*/ 657225 w 3766954"/>
                <a:gd name="connsiteY0" fmla="*/ 1115127 h 3366202"/>
                <a:gd name="connsiteX1" fmla="*/ 700645 w 3766954"/>
                <a:gd name="connsiteY1" fmla="*/ 396546 h 3366202"/>
                <a:gd name="connsiteX2" fmla="*/ 1000125 w 3766954"/>
                <a:gd name="connsiteY2" fmla="*/ 57852 h 3366202"/>
                <a:gd name="connsiteX3" fmla="*/ 2105029 w 3766954"/>
                <a:gd name="connsiteY3" fmla="*/ 706 h 3366202"/>
                <a:gd name="connsiteX4" fmla="*/ 3686177 w 3766954"/>
                <a:gd name="connsiteY4" fmla="*/ 1667587 h 3366202"/>
                <a:gd name="connsiteX5" fmla="*/ 3757060 w 3766954"/>
                <a:gd name="connsiteY5" fmla="*/ 2633821 h 3366202"/>
                <a:gd name="connsiteX6" fmla="*/ 3438526 w 3766954"/>
                <a:gd name="connsiteY6" fmla="*/ 2953462 h 3366202"/>
                <a:gd name="connsiteX7" fmla="*/ 2390775 w 3766954"/>
                <a:gd name="connsiteY7" fmla="*/ 2972502 h 3366202"/>
                <a:gd name="connsiteX8" fmla="*/ 2162175 w 3766954"/>
                <a:gd name="connsiteY8" fmla="*/ 2801052 h 3366202"/>
                <a:gd name="connsiteX9" fmla="*/ 2105025 w 3766954"/>
                <a:gd name="connsiteY9" fmla="*/ 3143952 h 3366202"/>
                <a:gd name="connsiteX10" fmla="*/ 2409825 w 3766954"/>
                <a:gd name="connsiteY10" fmla="*/ 3143952 h 3366202"/>
                <a:gd name="connsiteX11" fmla="*/ 2486025 w 3766954"/>
                <a:gd name="connsiteY11" fmla="*/ 3315402 h 3366202"/>
                <a:gd name="connsiteX12" fmla="*/ 1476375 w 3766954"/>
                <a:gd name="connsiteY12" fmla="*/ 3334452 h 3366202"/>
                <a:gd name="connsiteX13" fmla="*/ 1419225 w 3766954"/>
                <a:gd name="connsiteY13" fmla="*/ 3124902 h 3366202"/>
                <a:gd name="connsiteX14" fmla="*/ 1786491 w 3766954"/>
                <a:gd name="connsiteY14" fmla="*/ 3167220 h 3366202"/>
                <a:gd name="connsiteX15" fmla="*/ 1743077 w 3766954"/>
                <a:gd name="connsiteY15" fmla="*/ 2581983 h 3366202"/>
                <a:gd name="connsiteX16" fmla="*/ 771525 w 3766954"/>
                <a:gd name="connsiteY16" fmla="*/ 1581852 h 3366202"/>
                <a:gd name="connsiteX17" fmla="*/ 447676 w 3766954"/>
                <a:gd name="connsiteY17" fmla="*/ 1753301 h 3366202"/>
                <a:gd name="connsiteX18" fmla="*/ 1323975 w 3766954"/>
                <a:gd name="connsiteY18" fmla="*/ 3048702 h 3366202"/>
                <a:gd name="connsiteX19" fmla="*/ 542925 w 3766954"/>
                <a:gd name="connsiteY19" fmla="*/ 2420052 h 3366202"/>
                <a:gd name="connsiteX20" fmla="*/ 219075 w 3766954"/>
                <a:gd name="connsiteY20" fmla="*/ 1429452 h 3366202"/>
                <a:gd name="connsiteX21" fmla="*/ 657225 w 3766954"/>
                <a:gd name="connsiteY21" fmla="*/ 1115127 h 3366202"/>
                <a:gd name="connsiteX22" fmla="*/ 3486220 w 3766954"/>
                <a:gd name="connsiteY22" fmla="*/ 2633199 h 3366202"/>
                <a:gd name="connsiteX23" fmla="*/ 3533776 w 3766954"/>
                <a:gd name="connsiteY23" fmla="*/ 1943801 h 3366202"/>
                <a:gd name="connsiteX24" fmla="*/ 3124062 w 3766954"/>
                <a:gd name="connsiteY24" fmla="*/ 1611750 h 3366202"/>
                <a:gd name="connsiteX25" fmla="*/ 2599282 w 3766954"/>
                <a:gd name="connsiteY25" fmla="*/ 1621892 h 3366202"/>
                <a:gd name="connsiteX26" fmla="*/ 2371726 w 3766954"/>
                <a:gd name="connsiteY26" fmla="*/ 1791402 h 3366202"/>
                <a:gd name="connsiteX27" fmla="*/ 2371726 w 3766954"/>
                <a:gd name="connsiteY27" fmla="*/ 2648652 h 3366202"/>
                <a:gd name="connsiteX28" fmla="*/ 2657476 w 3766954"/>
                <a:gd name="connsiteY28" fmla="*/ 2801052 h 3366202"/>
                <a:gd name="connsiteX29" fmla="*/ 3286126 w 3766954"/>
                <a:gd name="connsiteY29" fmla="*/ 2820102 h 3366202"/>
                <a:gd name="connsiteX30" fmla="*/ 3486220 w 3766954"/>
                <a:gd name="connsiteY30" fmla="*/ 2633199 h 3366202"/>
                <a:gd name="connsiteX31" fmla="*/ 895280 w 3766954"/>
                <a:gd name="connsiteY31" fmla="*/ 187605 h 3366202"/>
                <a:gd name="connsiteX32" fmla="*/ 2162175 w 3766954"/>
                <a:gd name="connsiteY32" fmla="*/ 1486602 h 3366202"/>
                <a:gd name="connsiteX33" fmla="*/ 2125123 w 3766954"/>
                <a:gd name="connsiteY33" fmla="*/ 1351310 h 3366202"/>
                <a:gd name="connsiteX34" fmla="*/ 904877 w 3766954"/>
                <a:gd name="connsiteY34" fmla="*/ 496001 h 3366202"/>
                <a:gd name="connsiteX35" fmla="*/ 895280 w 3766954"/>
                <a:gd name="connsiteY35" fmla="*/ 187605 h 3366202"/>
                <a:gd name="connsiteX0" fmla="*/ 657225 w 3766954"/>
                <a:gd name="connsiteY0" fmla="*/ 1115127 h 3366202"/>
                <a:gd name="connsiteX1" fmla="*/ 681595 w 3766954"/>
                <a:gd name="connsiteY1" fmla="*/ 415596 h 3366202"/>
                <a:gd name="connsiteX2" fmla="*/ 1000125 w 3766954"/>
                <a:gd name="connsiteY2" fmla="*/ 57852 h 3366202"/>
                <a:gd name="connsiteX3" fmla="*/ 2105029 w 3766954"/>
                <a:gd name="connsiteY3" fmla="*/ 706 h 3366202"/>
                <a:gd name="connsiteX4" fmla="*/ 3686177 w 3766954"/>
                <a:gd name="connsiteY4" fmla="*/ 1667587 h 3366202"/>
                <a:gd name="connsiteX5" fmla="*/ 3757060 w 3766954"/>
                <a:gd name="connsiteY5" fmla="*/ 2633821 h 3366202"/>
                <a:gd name="connsiteX6" fmla="*/ 3438526 w 3766954"/>
                <a:gd name="connsiteY6" fmla="*/ 2953462 h 3366202"/>
                <a:gd name="connsiteX7" fmla="*/ 2390775 w 3766954"/>
                <a:gd name="connsiteY7" fmla="*/ 2972502 h 3366202"/>
                <a:gd name="connsiteX8" fmla="*/ 2162175 w 3766954"/>
                <a:gd name="connsiteY8" fmla="*/ 2801052 h 3366202"/>
                <a:gd name="connsiteX9" fmla="*/ 2105025 w 3766954"/>
                <a:gd name="connsiteY9" fmla="*/ 3143952 h 3366202"/>
                <a:gd name="connsiteX10" fmla="*/ 2409825 w 3766954"/>
                <a:gd name="connsiteY10" fmla="*/ 3143952 h 3366202"/>
                <a:gd name="connsiteX11" fmla="*/ 2486025 w 3766954"/>
                <a:gd name="connsiteY11" fmla="*/ 3315402 h 3366202"/>
                <a:gd name="connsiteX12" fmla="*/ 1476375 w 3766954"/>
                <a:gd name="connsiteY12" fmla="*/ 3334452 h 3366202"/>
                <a:gd name="connsiteX13" fmla="*/ 1419225 w 3766954"/>
                <a:gd name="connsiteY13" fmla="*/ 3124902 h 3366202"/>
                <a:gd name="connsiteX14" fmla="*/ 1786491 w 3766954"/>
                <a:gd name="connsiteY14" fmla="*/ 3167220 h 3366202"/>
                <a:gd name="connsiteX15" fmla="*/ 1743077 w 3766954"/>
                <a:gd name="connsiteY15" fmla="*/ 2581983 h 3366202"/>
                <a:gd name="connsiteX16" fmla="*/ 771525 w 3766954"/>
                <a:gd name="connsiteY16" fmla="*/ 1581852 h 3366202"/>
                <a:gd name="connsiteX17" fmla="*/ 447676 w 3766954"/>
                <a:gd name="connsiteY17" fmla="*/ 1753301 h 3366202"/>
                <a:gd name="connsiteX18" fmla="*/ 1323975 w 3766954"/>
                <a:gd name="connsiteY18" fmla="*/ 3048702 h 3366202"/>
                <a:gd name="connsiteX19" fmla="*/ 542925 w 3766954"/>
                <a:gd name="connsiteY19" fmla="*/ 2420052 h 3366202"/>
                <a:gd name="connsiteX20" fmla="*/ 219075 w 3766954"/>
                <a:gd name="connsiteY20" fmla="*/ 1429452 h 3366202"/>
                <a:gd name="connsiteX21" fmla="*/ 657225 w 3766954"/>
                <a:gd name="connsiteY21" fmla="*/ 1115127 h 3366202"/>
                <a:gd name="connsiteX22" fmla="*/ 3486220 w 3766954"/>
                <a:gd name="connsiteY22" fmla="*/ 2633199 h 3366202"/>
                <a:gd name="connsiteX23" fmla="*/ 3533776 w 3766954"/>
                <a:gd name="connsiteY23" fmla="*/ 1943801 h 3366202"/>
                <a:gd name="connsiteX24" fmla="*/ 3124062 w 3766954"/>
                <a:gd name="connsiteY24" fmla="*/ 1611750 h 3366202"/>
                <a:gd name="connsiteX25" fmla="*/ 2599282 w 3766954"/>
                <a:gd name="connsiteY25" fmla="*/ 1621892 h 3366202"/>
                <a:gd name="connsiteX26" fmla="*/ 2371726 w 3766954"/>
                <a:gd name="connsiteY26" fmla="*/ 1791402 h 3366202"/>
                <a:gd name="connsiteX27" fmla="*/ 2371726 w 3766954"/>
                <a:gd name="connsiteY27" fmla="*/ 2648652 h 3366202"/>
                <a:gd name="connsiteX28" fmla="*/ 2657476 w 3766954"/>
                <a:gd name="connsiteY28" fmla="*/ 2801052 h 3366202"/>
                <a:gd name="connsiteX29" fmla="*/ 3286126 w 3766954"/>
                <a:gd name="connsiteY29" fmla="*/ 2820102 h 3366202"/>
                <a:gd name="connsiteX30" fmla="*/ 3486220 w 3766954"/>
                <a:gd name="connsiteY30" fmla="*/ 2633199 h 3366202"/>
                <a:gd name="connsiteX31" fmla="*/ 895280 w 3766954"/>
                <a:gd name="connsiteY31" fmla="*/ 187605 h 3366202"/>
                <a:gd name="connsiteX32" fmla="*/ 2162175 w 3766954"/>
                <a:gd name="connsiteY32" fmla="*/ 1486602 h 3366202"/>
                <a:gd name="connsiteX33" fmla="*/ 2125123 w 3766954"/>
                <a:gd name="connsiteY33" fmla="*/ 1351310 h 3366202"/>
                <a:gd name="connsiteX34" fmla="*/ 904877 w 3766954"/>
                <a:gd name="connsiteY34" fmla="*/ 496001 h 3366202"/>
                <a:gd name="connsiteX35" fmla="*/ 895280 w 3766954"/>
                <a:gd name="connsiteY35" fmla="*/ 187605 h 3366202"/>
                <a:gd name="connsiteX0" fmla="*/ 657225 w 3766954"/>
                <a:gd name="connsiteY0" fmla="*/ 1115127 h 3366202"/>
                <a:gd name="connsiteX1" fmla="*/ 681595 w 3766954"/>
                <a:gd name="connsiteY1" fmla="*/ 415596 h 3366202"/>
                <a:gd name="connsiteX2" fmla="*/ 1000125 w 3766954"/>
                <a:gd name="connsiteY2" fmla="*/ 57852 h 3366202"/>
                <a:gd name="connsiteX3" fmla="*/ 2038354 w 3766954"/>
                <a:gd name="connsiteY3" fmla="*/ 67381 h 3366202"/>
                <a:gd name="connsiteX4" fmla="*/ 3686177 w 3766954"/>
                <a:gd name="connsiteY4" fmla="*/ 1667587 h 3366202"/>
                <a:gd name="connsiteX5" fmla="*/ 3757060 w 3766954"/>
                <a:gd name="connsiteY5" fmla="*/ 2633821 h 3366202"/>
                <a:gd name="connsiteX6" fmla="*/ 3438526 w 3766954"/>
                <a:gd name="connsiteY6" fmla="*/ 2953462 h 3366202"/>
                <a:gd name="connsiteX7" fmla="*/ 2390775 w 3766954"/>
                <a:gd name="connsiteY7" fmla="*/ 2972502 h 3366202"/>
                <a:gd name="connsiteX8" fmla="*/ 2162175 w 3766954"/>
                <a:gd name="connsiteY8" fmla="*/ 2801052 h 3366202"/>
                <a:gd name="connsiteX9" fmla="*/ 2105025 w 3766954"/>
                <a:gd name="connsiteY9" fmla="*/ 3143952 h 3366202"/>
                <a:gd name="connsiteX10" fmla="*/ 2409825 w 3766954"/>
                <a:gd name="connsiteY10" fmla="*/ 3143952 h 3366202"/>
                <a:gd name="connsiteX11" fmla="*/ 2486025 w 3766954"/>
                <a:gd name="connsiteY11" fmla="*/ 3315402 h 3366202"/>
                <a:gd name="connsiteX12" fmla="*/ 1476375 w 3766954"/>
                <a:gd name="connsiteY12" fmla="*/ 3334452 h 3366202"/>
                <a:gd name="connsiteX13" fmla="*/ 1419225 w 3766954"/>
                <a:gd name="connsiteY13" fmla="*/ 3124902 h 3366202"/>
                <a:gd name="connsiteX14" fmla="*/ 1786491 w 3766954"/>
                <a:gd name="connsiteY14" fmla="*/ 3167220 h 3366202"/>
                <a:gd name="connsiteX15" fmla="*/ 1743077 w 3766954"/>
                <a:gd name="connsiteY15" fmla="*/ 2581983 h 3366202"/>
                <a:gd name="connsiteX16" fmla="*/ 771525 w 3766954"/>
                <a:gd name="connsiteY16" fmla="*/ 1581852 h 3366202"/>
                <a:gd name="connsiteX17" fmla="*/ 447676 w 3766954"/>
                <a:gd name="connsiteY17" fmla="*/ 1753301 h 3366202"/>
                <a:gd name="connsiteX18" fmla="*/ 1323975 w 3766954"/>
                <a:gd name="connsiteY18" fmla="*/ 3048702 h 3366202"/>
                <a:gd name="connsiteX19" fmla="*/ 542925 w 3766954"/>
                <a:gd name="connsiteY19" fmla="*/ 2420052 h 3366202"/>
                <a:gd name="connsiteX20" fmla="*/ 219075 w 3766954"/>
                <a:gd name="connsiteY20" fmla="*/ 1429452 h 3366202"/>
                <a:gd name="connsiteX21" fmla="*/ 657225 w 3766954"/>
                <a:gd name="connsiteY21" fmla="*/ 1115127 h 3366202"/>
                <a:gd name="connsiteX22" fmla="*/ 3486220 w 3766954"/>
                <a:gd name="connsiteY22" fmla="*/ 2633199 h 3366202"/>
                <a:gd name="connsiteX23" fmla="*/ 3533776 w 3766954"/>
                <a:gd name="connsiteY23" fmla="*/ 1943801 h 3366202"/>
                <a:gd name="connsiteX24" fmla="*/ 3124062 w 3766954"/>
                <a:gd name="connsiteY24" fmla="*/ 1611750 h 3366202"/>
                <a:gd name="connsiteX25" fmla="*/ 2599282 w 3766954"/>
                <a:gd name="connsiteY25" fmla="*/ 1621892 h 3366202"/>
                <a:gd name="connsiteX26" fmla="*/ 2371726 w 3766954"/>
                <a:gd name="connsiteY26" fmla="*/ 1791402 h 3366202"/>
                <a:gd name="connsiteX27" fmla="*/ 2371726 w 3766954"/>
                <a:gd name="connsiteY27" fmla="*/ 2648652 h 3366202"/>
                <a:gd name="connsiteX28" fmla="*/ 2657476 w 3766954"/>
                <a:gd name="connsiteY28" fmla="*/ 2801052 h 3366202"/>
                <a:gd name="connsiteX29" fmla="*/ 3286126 w 3766954"/>
                <a:gd name="connsiteY29" fmla="*/ 2820102 h 3366202"/>
                <a:gd name="connsiteX30" fmla="*/ 3486220 w 3766954"/>
                <a:gd name="connsiteY30" fmla="*/ 2633199 h 3366202"/>
                <a:gd name="connsiteX31" fmla="*/ 895280 w 3766954"/>
                <a:gd name="connsiteY31" fmla="*/ 187605 h 3366202"/>
                <a:gd name="connsiteX32" fmla="*/ 2162175 w 3766954"/>
                <a:gd name="connsiteY32" fmla="*/ 1486602 h 3366202"/>
                <a:gd name="connsiteX33" fmla="*/ 2125123 w 3766954"/>
                <a:gd name="connsiteY33" fmla="*/ 1351310 h 3366202"/>
                <a:gd name="connsiteX34" fmla="*/ 904877 w 3766954"/>
                <a:gd name="connsiteY34" fmla="*/ 496001 h 3366202"/>
                <a:gd name="connsiteX35" fmla="*/ 895280 w 3766954"/>
                <a:gd name="connsiteY35" fmla="*/ 187605 h 3366202"/>
                <a:gd name="connsiteX0" fmla="*/ 657225 w 3766954"/>
                <a:gd name="connsiteY0" fmla="*/ 1115127 h 3366202"/>
                <a:gd name="connsiteX1" fmla="*/ 681595 w 3766954"/>
                <a:gd name="connsiteY1" fmla="*/ 415596 h 3366202"/>
                <a:gd name="connsiteX2" fmla="*/ 1000125 w 3766954"/>
                <a:gd name="connsiteY2" fmla="*/ 57852 h 3366202"/>
                <a:gd name="connsiteX3" fmla="*/ 2038354 w 3766954"/>
                <a:gd name="connsiteY3" fmla="*/ 67381 h 3366202"/>
                <a:gd name="connsiteX4" fmla="*/ 3619502 w 3766954"/>
                <a:gd name="connsiteY4" fmla="*/ 1524712 h 3366202"/>
                <a:gd name="connsiteX5" fmla="*/ 3757060 w 3766954"/>
                <a:gd name="connsiteY5" fmla="*/ 2633821 h 3366202"/>
                <a:gd name="connsiteX6" fmla="*/ 3438526 w 3766954"/>
                <a:gd name="connsiteY6" fmla="*/ 2953462 h 3366202"/>
                <a:gd name="connsiteX7" fmla="*/ 2390775 w 3766954"/>
                <a:gd name="connsiteY7" fmla="*/ 2972502 h 3366202"/>
                <a:gd name="connsiteX8" fmla="*/ 2162175 w 3766954"/>
                <a:gd name="connsiteY8" fmla="*/ 2801052 h 3366202"/>
                <a:gd name="connsiteX9" fmla="*/ 2105025 w 3766954"/>
                <a:gd name="connsiteY9" fmla="*/ 3143952 h 3366202"/>
                <a:gd name="connsiteX10" fmla="*/ 2409825 w 3766954"/>
                <a:gd name="connsiteY10" fmla="*/ 3143952 h 3366202"/>
                <a:gd name="connsiteX11" fmla="*/ 2486025 w 3766954"/>
                <a:gd name="connsiteY11" fmla="*/ 3315402 h 3366202"/>
                <a:gd name="connsiteX12" fmla="*/ 1476375 w 3766954"/>
                <a:gd name="connsiteY12" fmla="*/ 3334452 h 3366202"/>
                <a:gd name="connsiteX13" fmla="*/ 1419225 w 3766954"/>
                <a:gd name="connsiteY13" fmla="*/ 3124902 h 3366202"/>
                <a:gd name="connsiteX14" fmla="*/ 1786491 w 3766954"/>
                <a:gd name="connsiteY14" fmla="*/ 3167220 h 3366202"/>
                <a:gd name="connsiteX15" fmla="*/ 1743077 w 3766954"/>
                <a:gd name="connsiteY15" fmla="*/ 2581983 h 3366202"/>
                <a:gd name="connsiteX16" fmla="*/ 771525 w 3766954"/>
                <a:gd name="connsiteY16" fmla="*/ 1581852 h 3366202"/>
                <a:gd name="connsiteX17" fmla="*/ 447676 w 3766954"/>
                <a:gd name="connsiteY17" fmla="*/ 1753301 h 3366202"/>
                <a:gd name="connsiteX18" fmla="*/ 1323975 w 3766954"/>
                <a:gd name="connsiteY18" fmla="*/ 3048702 h 3366202"/>
                <a:gd name="connsiteX19" fmla="*/ 542925 w 3766954"/>
                <a:gd name="connsiteY19" fmla="*/ 2420052 h 3366202"/>
                <a:gd name="connsiteX20" fmla="*/ 219075 w 3766954"/>
                <a:gd name="connsiteY20" fmla="*/ 1429452 h 3366202"/>
                <a:gd name="connsiteX21" fmla="*/ 657225 w 3766954"/>
                <a:gd name="connsiteY21" fmla="*/ 1115127 h 3366202"/>
                <a:gd name="connsiteX22" fmla="*/ 3486220 w 3766954"/>
                <a:gd name="connsiteY22" fmla="*/ 2633199 h 3366202"/>
                <a:gd name="connsiteX23" fmla="*/ 3533776 w 3766954"/>
                <a:gd name="connsiteY23" fmla="*/ 1943801 h 3366202"/>
                <a:gd name="connsiteX24" fmla="*/ 3124062 w 3766954"/>
                <a:gd name="connsiteY24" fmla="*/ 1611750 h 3366202"/>
                <a:gd name="connsiteX25" fmla="*/ 2599282 w 3766954"/>
                <a:gd name="connsiteY25" fmla="*/ 1621892 h 3366202"/>
                <a:gd name="connsiteX26" fmla="*/ 2371726 w 3766954"/>
                <a:gd name="connsiteY26" fmla="*/ 1791402 h 3366202"/>
                <a:gd name="connsiteX27" fmla="*/ 2371726 w 3766954"/>
                <a:gd name="connsiteY27" fmla="*/ 2648652 h 3366202"/>
                <a:gd name="connsiteX28" fmla="*/ 2657476 w 3766954"/>
                <a:gd name="connsiteY28" fmla="*/ 2801052 h 3366202"/>
                <a:gd name="connsiteX29" fmla="*/ 3286126 w 3766954"/>
                <a:gd name="connsiteY29" fmla="*/ 2820102 h 3366202"/>
                <a:gd name="connsiteX30" fmla="*/ 3486220 w 3766954"/>
                <a:gd name="connsiteY30" fmla="*/ 2633199 h 3366202"/>
                <a:gd name="connsiteX31" fmla="*/ 895280 w 3766954"/>
                <a:gd name="connsiteY31" fmla="*/ 187605 h 3366202"/>
                <a:gd name="connsiteX32" fmla="*/ 2162175 w 3766954"/>
                <a:gd name="connsiteY32" fmla="*/ 1486602 h 3366202"/>
                <a:gd name="connsiteX33" fmla="*/ 2125123 w 3766954"/>
                <a:gd name="connsiteY33" fmla="*/ 1351310 h 3366202"/>
                <a:gd name="connsiteX34" fmla="*/ 904877 w 3766954"/>
                <a:gd name="connsiteY34" fmla="*/ 496001 h 3366202"/>
                <a:gd name="connsiteX35" fmla="*/ 895280 w 3766954"/>
                <a:gd name="connsiteY35" fmla="*/ 187605 h 3366202"/>
                <a:gd name="connsiteX0" fmla="*/ 657225 w 3766954"/>
                <a:gd name="connsiteY0" fmla="*/ 1115127 h 3366202"/>
                <a:gd name="connsiteX1" fmla="*/ 681595 w 3766954"/>
                <a:gd name="connsiteY1" fmla="*/ 415596 h 3366202"/>
                <a:gd name="connsiteX2" fmla="*/ 1000125 w 3766954"/>
                <a:gd name="connsiteY2" fmla="*/ 57852 h 3366202"/>
                <a:gd name="connsiteX3" fmla="*/ 2038354 w 3766954"/>
                <a:gd name="connsiteY3" fmla="*/ 67381 h 3366202"/>
                <a:gd name="connsiteX4" fmla="*/ 3619502 w 3766954"/>
                <a:gd name="connsiteY4" fmla="*/ 1524712 h 3366202"/>
                <a:gd name="connsiteX5" fmla="*/ 3633235 w 3766954"/>
                <a:gd name="connsiteY5" fmla="*/ 2757646 h 3366202"/>
                <a:gd name="connsiteX6" fmla="*/ 3438526 w 3766954"/>
                <a:gd name="connsiteY6" fmla="*/ 2953462 h 3366202"/>
                <a:gd name="connsiteX7" fmla="*/ 2390775 w 3766954"/>
                <a:gd name="connsiteY7" fmla="*/ 2972502 h 3366202"/>
                <a:gd name="connsiteX8" fmla="*/ 2162175 w 3766954"/>
                <a:gd name="connsiteY8" fmla="*/ 2801052 h 3366202"/>
                <a:gd name="connsiteX9" fmla="*/ 2105025 w 3766954"/>
                <a:gd name="connsiteY9" fmla="*/ 3143952 h 3366202"/>
                <a:gd name="connsiteX10" fmla="*/ 2409825 w 3766954"/>
                <a:gd name="connsiteY10" fmla="*/ 3143952 h 3366202"/>
                <a:gd name="connsiteX11" fmla="*/ 2486025 w 3766954"/>
                <a:gd name="connsiteY11" fmla="*/ 3315402 h 3366202"/>
                <a:gd name="connsiteX12" fmla="*/ 1476375 w 3766954"/>
                <a:gd name="connsiteY12" fmla="*/ 3334452 h 3366202"/>
                <a:gd name="connsiteX13" fmla="*/ 1419225 w 3766954"/>
                <a:gd name="connsiteY13" fmla="*/ 3124902 h 3366202"/>
                <a:gd name="connsiteX14" fmla="*/ 1786491 w 3766954"/>
                <a:gd name="connsiteY14" fmla="*/ 3167220 h 3366202"/>
                <a:gd name="connsiteX15" fmla="*/ 1743077 w 3766954"/>
                <a:gd name="connsiteY15" fmla="*/ 2581983 h 3366202"/>
                <a:gd name="connsiteX16" fmla="*/ 771525 w 3766954"/>
                <a:gd name="connsiteY16" fmla="*/ 1581852 h 3366202"/>
                <a:gd name="connsiteX17" fmla="*/ 447676 w 3766954"/>
                <a:gd name="connsiteY17" fmla="*/ 1753301 h 3366202"/>
                <a:gd name="connsiteX18" fmla="*/ 1323975 w 3766954"/>
                <a:gd name="connsiteY18" fmla="*/ 3048702 h 3366202"/>
                <a:gd name="connsiteX19" fmla="*/ 542925 w 3766954"/>
                <a:gd name="connsiteY19" fmla="*/ 2420052 h 3366202"/>
                <a:gd name="connsiteX20" fmla="*/ 219075 w 3766954"/>
                <a:gd name="connsiteY20" fmla="*/ 1429452 h 3366202"/>
                <a:gd name="connsiteX21" fmla="*/ 657225 w 3766954"/>
                <a:gd name="connsiteY21" fmla="*/ 1115127 h 3366202"/>
                <a:gd name="connsiteX22" fmla="*/ 3486220 w 3766954"/>
                <a:gd name="connsiteY22" fmla="*/ 2633199 h 3366202"/>
                <a:gd name="connsiteX23" fmla="*/ 3533776 w 3766954"/>
                <a:gd name="connsiteY23" fmla="*/ 1943801 h 3366202"/>
                <a:gd name="connsiteX24" fmla="*/ 3124062 w 3766954"/>
                <a:gd name="connsiteY24" fmla="*/ 1611750 h 3366202"/>
                <a:gd name="connsiteX25" fmla="*/ 2599282 w 3766954"/>
                <a:gd name="connsiteY25" fmla="*/ 1621892 h 3366202"/>
                <a:gd name="connsiteX26" fmla="*/ 2371726 w 3766954"/>
                <a:gd name="connsiteY26" fmla="*/ 1791402 h 3366202"/>
                <a:gd name="connsiteX27" fmla="*/ 2371726 w 3766954"/>
                <a:gd name="connsiteY27" fmla="*/ 2648652 h 3366202"/>
                <a:gd name="connsiteX28" fmla="*/ 2657476 w 3766954"/>
                <a:gd name="connsiteY28" fmla="*/ 2801052 h 3366202"/>
                <a:gd name="connsiteX29" fmla="*/ 3286126 w 3766954"/>
                <a:gd name="connsiteY29" fmla="*/ 2820102 h 3366202"/>
                <a:gd name="connsiteX30" fmla="*/ 3486220 w 3766954"/>
                <a:gd name="connsiteY30" fmla="*/ 2633199 h 3366202"/>
                <a:gd name="connsiteX31" fmla="*/ 895280 w 3766954"/>
                <a:gd name="connsiteY31" fmla="*/ 187605 h 3366202"/>
                <a:gd name="connsiteX32" fmla="*/ 2162175 w 3766954"/>
                <a:gd name="connsiteY32" fmla="*/ 1486602 h 3366202"/>
                <a:gd name="connsiteX33" fmla="*/ 2125123 w 3766954"/>
                <a:gd name="connsiteY33" fmla="*/ 1351310 h 3366202"/>
                <a:gd name="connsiteX34" fmla="*/ 904877 w 3766954"/>
                <a:gd name="connsiteY34" fmla="*/ 496001 h 3366202"/>
                <a:gd name="connsiteX35" fmla="*/ 895280 w 3766954"/>
                <a:gd name="connsiteY35" fmla="*/ 187605 h 3366202"/>
                <a:gd name="connsiteX0" fmla="*/ 657225 w 3766954"/>
                <a:gd name="connsiteY0" fmla="*/ 1115127 h 3366202"/>
                <a:gd name="connsiteX1" fmla="*/ 681595 w 3766954"/>
                <a:gd name="connsiteY1" fmla="*/ 415596 h 3366202"/>
                <a:gd name="connsiteX2" fmla="*/ 1000125 w 3766954"/>
                <a:gd name="connsiteY2" fmla="*/ 57852 h 3366202"/>
                <a:gd name="connsiteX3" fmla="*/ 2038354 w 3766954"/>
                <a:gd name="connsiteY3" fmla="*/ 67381 h 3366202"/>
                <a:gd name="connsiteX4" fmla="*/ 3619502 w 3766954"/>
                <a:gd name="connsiteY4" fmla="*/ 1524712 h 3366202"/>
                <a:gd name="connsiteX5" fmla="*/ 3633235 w 3766954"/>
                <a:gd name="connsiteY5" fmla="*/ 2757646 h 3366202"/>
                <a:gd name="connsiteX6" fmla="*/ 3438526 w 3766954"/>
                <a:gd name="connsiteY6" fmla="*/ 2953462 h 3366202"/>
                <a:gd name="connsiteX7" fmla="*/ 2390775 w 3766954"/>
                <a:gd name="connsiteY7" fmla="*/ 2972502 h 3366202"/>
                <a:gd name="connsiteX8" fmla="*/ 2162175 w 3766954"/>
                <a:gd name="connsiteY8" fmla="*/ 2801052 h 3366202"/>
                <a:gd name="connsiteX9" fmla="*/ 2105025 w 3766954"/>
                <a:gd name="connsiteY9" fmla="*/ 3143952 h 3366202"/>
                <a:gd name="connsiteX10" fmla="*/ 2409825 w 3766954"/>
                <a:gd name="connsiteY10" fmla="*/ 3143952 h 3366202"/>
                <a:gd name="connsiteX11" fmla="*/ 2486025 w 3766954"/>
                <a:gd name="connsiteY11" fmla="*/ 3315402 h 3366202"/>
                <a:gd name="connsiteX12" fmla="*/ 1476375 w 3766954"/>
                <a:gd name="connsiteY12" fmla="*/ 3334452 h 3366202"/>
                <a:gd name="connsiteX13" fmla="*/ 1419225 w 3766954"/>
                <a:gd name="connsiteY13" fmla="*/ 3124902 h 3366202"/>
                <a:gd name="connsiteX14" fmla="*/ 1786491 w 3766954"/>
                <a:gd name="connsiteY14" fmla="*/ 3167220 h 3366202"/>
                <a:gd name="connsiteX15" fmla="*/ 1743077 w 3766954"/>
                <a:gd name="connsiteY15" fmla="*/ 2581983 h 3366202"/>
                <a:gd name="connsiteX16" fmla="*/ 771525 w 3766954"/>
                <a:gd name="connsiteY16" fmla="*/ 1581852 h 3366202"/>
                <a:gd name="connsiteX17" fmla="*/ 447676 w 3766954"/>
                <a:gd name="connsiteY17" fmla="*/ 1753301 h 3366202"/>
                <a:gd name="connsiteX18" fmla="*/ 1323975 w 3766954"/>
                <a:gd name="connsiteY18" fmla="*/ 3048702 h 3366202"/>
                <a:gd name="connsiteX19" fmla="*/ 542925 w 3766954"/>
                <a:gd name="connsiteY19" fmla="*/ 2420052 h 3366202"/>
                <a:gd name="connsiteX20" fmla="*/ 219075 w 3766954"/>
                <a:gd name="connsiteY20" fmla="*/ 1429452 h 3366202"/>
                <a:gd name="connsiteX21" fmla="*/ 657225 w 3766954"/>
                <a:gd name="connsiteY21" fmla="*/ 1115127 h 3366202"/>
                <a:gd name="connsiteX22" fmla="*/ 3486220 w 3766954"/>
                <a:gd name="connsiteY22" fmla="*/ 2633199 h 3366202"/>
                <a:gd name="connsiteX23" fmla="*/ 3533776 w 3766954"/>
                <a:gd name="connsiteY23" fmla="*/ 1943801 h 3366202"/>
                <a:gd name="connsiteX24" fmla="*/ 3124062 w 3766954"/>
                <a:gd name="connsiteY24" fmla="*/ 1611750 h 3366202"/>
                <a:gd name="connsiteX25" fmla="*/ 2599282 w 3766954"/>
                <a:gd name="connsiteY25" fmla="*/ 1621892 h 3366202"/>
                <a:gd name="connsiteX26" fmla="*/ 2371726 w 3766954"/>
                <a:gd name="connsiteY26" fmla="*/ 1791402 h 3366202"/>
                <a:gd name="connsiteX27" fmla="*/ 2371726 w 3766954"/>
                <a:gd name="connsiteY27" fmla="*/ 2648652 h 3366202"/>
                <a:gd name="connsiteX28" fmla="*/ 2657476 w 3766954"/>
                <a:gd name="connsiteY28" fmla="*/ 2801052 h 3366202"/>
                <a:gd name="connsiteX29" fmla="*/ 3286126 w 3766954"/>
                <a:gd name="connsiteY29" fmla="*/ 2820102 h 3366202"/>
                <a:gd name="connsiteX30" fmla="*/ 3486220 w 3766954"/>
                <a:gd name="connsiteY30" fmla="*/ 2633199 h 3366202"/>
                <a:gd name="connsiteX31" fmla="*/ 895280 w 3766954"/>
                <a:gd name="connsiteY31" fmla="*/ 187605 h 3366202"/>
                <a:gd name="connsiteX32" fmla="*/ 2162175 w 3766954"/>
                <a:gd name="connsiteY32" fmla="*/ 1486602 h 3366202"/>
                <a:gd name="connsiteX33" fmla="*/ 2125123 w 3766954"/>
                <a:gd name="connsiteY33" fmla="*/ 1351310 h 3366202"/>
                <a:gd name="connsiteX34" fmla="*/ 904877 w 3766954"/>
                <a:gd name="connsiteY34" fmla="*/ 496001 h 3366202"/>
                <a:gd name="connsiteX35" fmla="*/ 895280 w 376695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438526 w 3653404"/>
                <a:gd name="connsiteY6" fmla="*/ 295346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486220 w 3653404"/>
                <a:gd name="connsiteY22" fmla="*/ 2633199 h 3366202"/>
                <a:gd name="connsiteX23" fmla="*/ 3533776 w 3653404"/>
                <a:gd name="connsiteY23" fmla="*/ 1943801 h 3366202"/>
                <a:gd name="connsiteX24" fmla="*/ 3124062 w 3653404"/>
                <a:gd name="connsiteY24" fmla="*/ 1611750 h 3366202"/>
                <a:gd name="connsiteX25" fmla="*/ 2599282 w 3653404"/>
                <a:gd name="connsiteY25" fmla="*/ 1621892 h 3366202"/>
                <a:gd name="connsiteX26" fmla="*/ 2371726 w 3653404"/>
                <a:gd name="connsiteY26" fmla="*/ 1791402 h 3366202"/>
                <a:gd name="connsiteX27" fmla="*/ 2371726 w 3653404"/>
                <a:gd name="connsiteY27" fmla="*/ 2648652 h 3366202"/>
                <a:gd name="connsiteX28" fmla="*/ 2657476 w 3653404"/>
                <a:gd name="connsiteY28" fmla="*/ 2801052 h 3366202"/>
                <a:gd name="connsiteX29" fmla="*/ 3286126 w 3653404"/>
                <a:gd name="connsiteY29" fmla="*/ 2820102 h 3366202"/>
                <a:gd name="connsiteX30" fmla="*/ 3486220 w 3653404"/>
                <a:gd name="connsiteY30" fmla="*/ 2633199 h 3366202"/>
                <a:gd name="connsiteX31" fmla="*/ 895280 w 3653404"/>
                <a:gd name="connsiteY31" fmla="*/ 187605 h 3366202"/>
                <a:gd name="connsiteX32" fmla="*/ 2162175 w 3653404"/>
                <a:gd name="connsiteY32" fmla="*/ 1486602 h 3366202"/>
                <a:gd name="connsiteX33" fmla="*/ 2125123 w 3653404"/>
                <a:gd name="connsiteY33" fmla="*/ 135131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486220 w 3653404"/>
                <a:gd name="connsiteY22" fmla="*/ 2633199 h 3366202"/>
                <a:gd name="connsiteX23" fmla="*/ 3533776 w 3653404"/>
                <a:gd name="connsiteY23" fmla="*/ 1943801 h 3366202"/>
                <a:gd name="connsiteX24" fmla="*/ 3124062 w 3653404"/>
                <a:gd name="connsiteY24" fmla="*/ 1611750 h 3366202"/>
                <a:gd name="connsiteX25" fmla="*/ 2599282 w 3653404"/>
                <a:gd name="connsiteY25" fmla="*/ 1621892 h 3366202"/>
                <a:gd name="connsiteX26" fmla="*/ 2371726 w 3653404"/>
                <a:gd name="connsiteY26" fmla="*/ 1791402 h 3366202"/>
                <a:gd name="connsiteX27" fmla="*/ 2371726 w 3653404"/>
                <a:gd name="connsiteY27" fmla="*/ 2648652 h 3366202"/>
                <a:gd name="connsiteX28" fmla="*/ 2657476 w 3653404"/>
                <a:gd name="connsiteY28" fmla="*/ 2801052 h 3366202"/>
                <a:gd name="connsiteX29" fmla="*/ 3286126 w 3653404"/>
                <a:gd name="connsiteY29" fmla="*/ 2820102 h 3366202"/>
                <a:gd name="connsiteX30" fmla="*/ 3486220 w 3653404"/>
                <a:gd name="connsiteY30" fmla="*/ 2633199 h 3366202"/>
                <a:gd name="connsiteX31" fmla="*/ 895280 w 3653404"/>
                <a:gd name="connsiteY31" fmla="*/ 187605 h 3366202"/>
                <a:gd name="connsiteX32" fmla="*/ 2162175 w 3653404"/>
                <a:gd name="connsiteY32" fmla="*/ 1486602 h 3366202"/>
                <a:gd name="connsiteX33" fmla="*/ 2125123 w 3653404"/>
                <a:gd name="connsiteY33" fmla="*/ 135131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33845 w 3653404"/>
                <a:gd name="connsiteY22" fmla="*/ 2633199 h 3366202"/>
                <a:gd name="connsiteX23" fmla="*/ 3533776 w 3653404"/>
                <a:gd name="connsiteY23" fmla="*/ 1943801 h 3366202"/>
                <a:gd name="connsiteX24" fmla="*/ 3124062 w 3653404"/>
                <a:gd name="connsiteY24" fmla="*/ 1611750 h 3366202"/>
                <a:gd name="connsiteX25" fmla="*/ 2599282 w 3653404"/>
                <a:gd name="connsiteY25" fmla="*/ 1621892 h 3366202"/>
                <a:gd name="connsiteX26" fmla="*/ 2371726 w 3653404"/>
                <a:gd name="connsiteY26" fmla="*/ 1791402 h 3366202"/>
                <a:gd name="connsiteX27" fmla="*/ 2371726 w 3653404"/>
                <a:gd name="connsiteY27" fmla="*/ 2648652 h 3366202"/>
                <a:gd name="connsiteX28" fmla="*/ 2657476 w 3653404"/>
                <a:gd name="connsiteY28" fmla="*/ 2801052 h 3366202"/>
                <a:gd name="connsiteX29" fmla="*/ 3286126 w 3653404"/>
                <a:gd name="connsiteY29" fmla="*/ 2820102 h 3366202"/>
                <a:gd name="connsiteX30" fmla="*/ 3533845 w 3653404"/>
                <a:gd name="connsiteY30" fmla="*/ 2633199 h 3366202"/>
                <a:gd name="connsiteX31" fmla="*/ 895280 w 3653404"/>
                <a:gd name="connsiteY31" fmla="*/ 187605 h 3366202"/>
                <a:gd name="connsiteX32" fmla="*/ 2162175 w 3653404"/>
                <a:gd name="connsiteY32" fmla="*/ 1486602 h 3366202"/>
                <a:gd name="connsiteX33" fmla="*/ 2125123 w 3653404"/>
                <a:gd name="connsiteY33" fmla="*/ 135131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33845 w 3653404"/>
                <a:gd name="connsiteY22" fmla="*/ 2633199 h 3366202"/>
                <a:gd name="connsiteX23" fmla="*/ 3533776 w 3653404"/>
                <a:gd name="connsiteY23" fmla="*/ 1943801 h 3366202"/>
                <a:gd name="connsiteX24" fmla="*/ 3124062 w 3653404"/>
                <a:gd name="connsiteY24" fmla="*/ 1611750 h 3366202"/>
                <a:gd name="connsiteX25" fmla="*/ 2599282 w 3653404"/>
                <a:gd name="connsiteY25" fmla="*/ 1621892 h 3366202"/>
                <a:gd name="connsiteX26" fmla="*/ 2371726 w 3653404"/>
                <a:gd name="connsiteY26" fmla="*/ 1791402 h 3366202"/>
                <a:gd name="connsiteX27" fmla="*/ 2371726 w 3653404"/>
                <a:gd name="connsiteY27" fmla="*/ 2648652 h 3366202"/>
                <a:gd name="connsiteX28" fmla="*/ 2657476 w 3653404"/>
                <a:gd name="connsiteY28" fmla="*/ 2801052 h 3366202"/>
                <a:gd name="connsiteX29" fmla="*/ 3324226 w 3653404"/>
                <a:gd name="connsiteY29" fmla="*/ 2848677 h 3366202"/>
                <a:gd name="connsiteX30" fmla="*/ 3533845 w 3653404"/>
                <a:gd name="connsiteY30" fmla="*/ 2633199 h 3366202"/>
                <a:gd name="connsiteX31" fmla="*/ 895280 w 3653404"/>
                <a:gd name="connsiteY31" fmla="*/ 187605 h 3366202"/>
                <a:gd name="connsiteX32" fmla="*/ 2162175 w 3653404"/>
                <a:gd name="connsiteY32" fmla="*/ 1486602 h 3366202"/>
                <a:gd name="connsiteX33" fmla="*/ 2125123 w 3653404"/>
                <a:gd name="connsiteY33" fmla="*/ 135131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33845 w 3653404"/>
                <a:gd name="connsiteY22" fmla="*/ 2633199 h 3366202"/>
                <a:gd name="connsiteX23" fmla="*/ 3533776 w 3653404"/>
                <a:gd name="connsiteY23" fmla="*/ 1943801 h 3366202"/>
                <a:gd name="connsiteX24" fmla="*/ 3124062 w 3653404"/>
                <a:gd name="connsiteY24" fmla="*/ 1611750 h 3366202"/>
                <a:gd name="connsiteX25" fmla="*/ 2599282 w 3653404"/>
                <a:gd name="connsiteY25" fmla="*/ 1621892 h 3366202"/>
                <a:gd name="connsiteX26" fmla="*/ 2371726 w 3653404"/>
                <a:gd name="connsiteY26" fmla="*/ 1791402 h 3366202"/>
                <a:gd name="connsiteX27" fmla="*/ 2371726 w 3653404"/>
                <a:gd name="connsiteY27" fmla="*/ 2648652 h 3366202"/>
                <a:gd name="connsiteX28" fmla="*/ 2657476 w 3653404"/>
                <a:gd name="connsiteY28" fmla="*/ 2867727 h 3366202"/>
                <a:gd name="connsiteX29" fmla="*/ 3324226 w 3653404"/>
                <a:gd name="connsiteY29" fmla="*/ 2848677 h 3366202"/>
                <a:gd name="connsiteX30" fmla="*/ 3533845 w 3653404"/>
                <a:gd name="connsiteY30" fmla="*/ 2633199 h 3366202"/>
                <a:gd name="connsiteX31" fmla="*/ 895280 w 3653404"/>
                <a:gd name="connsiteY31" fmla="*/ 187605 h 3366202"/>
                <a:gd name="connsiteX32" fmla="*/ 2162175 w 3653404"/>
                <a:gd name="connsiteY32" fmla="*/ 1486602 h 3366202"/>
                <a:gd name="connsiteX33" fmla="*/ 2125123 w 3653404"/>
                <a:gd name="connsiteY33" fmla="*/ 135131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33845 w 3653404"/>
                <a:gd name="connsiteY22" fmla="*/ 2633199 h 3366202"/>
                <a:gd name="connsiteX23" fmla="*/ 3533776 w 3653404"/>
                <a:gd name="connsiteY23" fmla="*/ 1943801 h 3366202"/>
                <a:gd name="connsiteX24" fmla="*/ 3124062 w 3653404"/>
                <a:gd name="connsiteY24" fmla="*/ 1611750 h 3366202"/>
                <a:gd name="connsiteX25" fmla="*/ 2599282 w 3653404"/>
                <a:gd name="connsiteY25" fmla="*/ 1621892 h 3366202"/>
                <a:gd name="connsiteX26" fmla="*/ 2371726 w 3653404"/>
                <a:gd name="connsiteY26" fmla="*/ 1791402 h 3366202"/>
                <a:gd name="connsiteX27" fmla="*/ 2343151 w 3653404"/>
                <a:gd name="connsiteY27" fmla="*/ 2601027 h 3366202"/>
                <a:gd name="connsiteX28" fmla="*/ 2657476 w 3653404"/>
                <a:gd name="connsiteY28" fmla="*/ 2867727 h 3366202"/>
                <a:gd name="connsiteX29" fmla="*/ 3324226 w 3653404"/>
                <a:gd name="connsiteY29" fmla="*/ 2848677 h 3366202"/>
                <a:gd name="connsiteX30" fmla="*/ 3533845 w 3653404"/>
                <a:gd name="connsiteY30" fmla="*/ 2633199 h 3366202"/>
                <a:gd name="connsiteX31" fmla="*/ 895280 w 3653404"/>
                <a:gd name="connsiteY31" fmla="*/ 187605 h 3366202"/>
                <a:gd name="connsiteX32" fmla="*/ 2162175 w 3653404"/>
                <a:gd name="connsiteY32" fmla="*/ 1486602 h 3366202"/>
                <a:gd name="connsiteX33" fmla="*/ 2125123 w 3653404"/>
                <a:gd name="connsiteY33" fmla="*/ 135131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33845 w 3653404"/>
                <a:gd name="connsiteY22" fmla="*/ 2633199 h 3366202"/>
                <a:gd name="connsiteX23" fmla="*/ 3533776 w 3653404"/>
                <a:gd name="connsiteY23" fmla="*/ 1943801 h 3366202"/>
                <a:gd name="connsiteX24" fmla="*/ 3124062 w 3653404"/>
                <a:gd name="connsiteY24" fmla="*/ 1611750 h 3366202"/>
                <a:gd name="connsiteX25" fmla="*/ 2599282 w 3653404"/>
                <a:gd name="connsiteY25" fmla="*/ 1621892 h 3366202"/>
                <a:gd name="connsiteX26" fmla="*/ 2343151 w 3653404"/>
                <a:gd name="connsiteY26" fmla="*/ 1839027 h 3366202"/>
                <a:gd name="connsiteX27" fmla="*/ 2343151 w 3653404"/>
                <a:gd name="connsiteY27" fmla="*/ 2601027 h 3366202"/>
                <a:gd name="connsiteX28" fmla="*/ 2657476 w 3653404"/>
                <a:gd name="connsiteY28" fmla="*/ 2867727 h 3366202"/>
                <a:gd name="connsiteX29" fmla="*/ 3324226 w 3653404"/>
                <a:gd name="connsiteY29" fmla="*/ 2848677 h 3366202"/>
                <a:gd name="connsiteX30" fmla="*/ 3533845 w 3653404"/>
                <a:gd name="connsiteY30" fmla="*/ 2633199 h 3366202"/>
                <a:gd name="connsiteX31" fmla="*/ 895280 w 3653404"/>
                <a:gd name="connsiteY31" fmla="*/ 187605 h 3366202"/>
                <a:gd name="connsiteX32" fmla="*/ 2162175 w 3653404"/>
                <a:gd name="connsiteY32" fmla="*/ 1486602 h 3366202"/>
                <a:gd name="connsiteX33" fmla="*/ 2125123 w 3653404"/>
                <a:gd name="connsiteY33" fmla="*/ 135131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33845 w 3653404"/>
                <a:gd name="connsiteY22" fmla="*/ 2633199 h 3366202"/>
                <a:gd name="connsiteX23" fmla="*/ 3533776 w 3653404"/>
                <a:gd name="connsiteY23" fmla="*/ 1943801 h 3366202"/>
                <a:gd name="connsiteX24" fmla="*/ 3162162 w 3653404"/>
                <a:gd name="connsiteY24" fmla="*/ 1592700 h 3366202"/>
                <a:gd name="connsiteX25" fmla="*/ 2599282 w 3653404"/>
                <a:gd name="connsiteY25" fmla="*/ 1621892 h 3366202"/>
                <a:gd name="connsiteX26" fmla="*/ 2343151 w 3653404"/>
                <a:gd name="connsiteY26" fmla="*/ 1839027 h 3366202"/>
                <a:gd name="connsiteX27" fmla="*/ 2343151 w 3653404"/>
                <a:gd name="connsiteY27" fmla="*/ 2601027 h 3366202"/>
                <a:gd name="connsiteX28" fmla="*/ 2657476 w 3653404"/>
                <a:gd name="connsiteY28" fmla="*/ 2867727 h 3366202"/>
                <a:gd name="connsiteX29" fmla="*/ 3324226 w 3653404"/>
                <a:gd name="connsiteY29" fmla="*/ 2848677 h 3366202"/>
                <a:gd name="connsiteX30" fmla="*/ 3533845 w 3653404"/>
                <a:gd name="connsiteY30" fmla="*/ 2633199 h 3366202"/>
                <a:gd name="connsiteX31" fmla="*/ 895280 w 3653404"/>
                <a:gd name="connsiteY31" fmla="*/ 187605 h 3366202"/>
                <a:gd name="connsiteX32" fmla="*/ 2162175 w 3653404"/>
                <a:gd name="connsiteY32" fmla="*/ 1486602 h 3366202"/>
                <a:gd name="connsiteX33" fmla="*/ 2125123 w 3653404"/>
                <a:gd name="connsiteY33" fmla="*/ 135131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33845 w 3653404"/>
                <a:gd name="connsiteY22" fmla="*/ 2633199 h 3366202"/>
                <a:gd name="connsiteX23" fmla="*/ 3533776 w 3653404"/>
                <a:gd name="connsiteY23" fmla="*/ 1943801 h 3366202"/>
                <a:gd name="connsiteX24" fmla="*/ 3162162 w 3653404"/>
                <a:gd name="connsiteY24" fmla="*/ 1592700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57476 w 3653404"/>
                <a:gd name="connsiteY28" fmla="*/ 2867727 h 3366202"/>
                <a:gd name="connsiteX29" fmla="*/ 3324226 w 3653404"/>
                <a:gd name="connsiteY29" fmla="*/ 2848677 h 3366202"/>
                <a:gd name="connsiteX30" fmla="*/ 3533845 w 3653404"/>
                <a:gd name="connsiteY30" fmla="*/ 2633199 h 3366202"/>
                <a:gd name="connsiteX31" fmla="*/ 895280 w 3653404"/>
                <a:gd name="connsiteY31" fmla="*/ 187605 h 3366202"/>
                <a:gd name="connsiteX32" fmla="*/ 2162175 w 3653404"/>
                <a:gd name="connsiteY32" fmla="*/ 1486602 h 3366202"/>
                <a:gd name="connsiteX33" fmla="*/ 2125123 w 3653404"/>
                <a:gd name="connsiteY33" fmla="*/ 135131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33845 w 3653404"/>
                <a:gd name="connsiteY22" fmla="*/ 2633199 h 3366202"/>
                <a:gd name="connsiteX23" fmla="*/ 3533776 w 3653404"/>
                <a:gd name="connsiteY23" fmla="*/ 1943801 h 3366202"/>
                <a:gd name="connsiteX24" fmla="*/ 3181212 w 3653404"/>
                <a:gd name="connsiteY24" fmla="*/ 1564125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57476 w 3653404"/>
                <a:gd name="connsiteY28" fmla="*/ 2867727 h 3366202"/>
                <a:gd name="connsiteX29" fmla="*/ 3324226 w 3653404"/>
                <a:gd name="connsiteY29" fmla="*/ 2848677 h 3366202"/>
                <a:gd name="connsiteX30" fmla="*/ 3533845 w 3653404"/>
                <a:gd name="connsiteY30" fmla="*/ 2633199 h 3366202"/>
                <a:gd name="connsiteX31" fmla="*/ 895280 w 3653404"/>
                <a:gd name="connsiteY31" fmla="*/ 187605 h 3366202"/>
                <a:gd name="connsiteX32" fmla="*/ 2162175 w 3653404"/>
                <a:gd name="connsiteY32" fmla="*/ 1486602 h 3366202"/>
                <a:gd name="connsiteX33" fmla="*/ 2125123 w 3653404"/>
                <a:gd name="connsiteY33" fmla="*/ 135131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33845 w 3653404"/>
                <a:gd name="connsiteY22" fmla="*/ 2633199 h 3366202"/>
                <a:gd name="connsiteX23" fmla="*/ 3533776 w 3653404"/>
                <a:gd name="connsiteY23" fmla="*/ 1943801 h 3366202"/>
                <a:gd name="connsiteX24" fmla="*/ 3181212 w 3653404"/>
                <a:gd name="connsiteY24" fmla="*/ 1564125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57476 w 3653404"/>
                <a:gd name="connsiteY28" fmla="*/ 2867727 h 3366202"/>
                <a:gd name="connsiteX29" fmla="*/ 3324226 w 3653404"/>
                <a:gd name="connsiteY29" fmla="*/ 2848677 h 3366202"/>
                <a:gd name="connsiteX30" fmla="*/ 3533845 w 3653404"/>
                <a:gd name="connsiteY30" fmla="*/ 2633199 h 3366202"/>
                <a:gd name="connsiteX31" fmla="*/ 895280 w 3653404"/>
                <a:gd name="connsiteY31" fmla="*/ 187605 h 3366202"/>
                <a:gd name="connsiteX32" fmla="*/ 2162175 w 3653404"/>
                <a:gd name="connsiteY32" fmla="*/ 1486602 h 3366202"/>
                <a:gd name="connsiteX33" fmla="*/ 2125123 w 3653404"/>
                <a:gd name="connsiteY33" fmla="*/ 135131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33845 w 3653404"/>
                <a:gd name="connsiteY22" fmla="*/ 2633199 h 3366202"/>
                <a:gd name="connsiteX23" fmla="*/ 3533776 w 3653404"/>
                <a:gd name="connsiteY23" fmla="*/ 1943801 h 3366202"/>
                <a:gd name="connsiteX24" fmla="*/ 3181212 w 3653404"/>
                <a:gd name="connsiteY24" fmla="*/ 1564125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57476 w 3653404"/>
                <a:gd name="connsiteY28" fmla="*/ 2867727 h 3366202"/>
                <a:gd name="connsiteX29" fmla="*/ 3324226 w 3653404"/>
                <a:gd name="connsiteY29" fmla="*/ 2848677 h 3366202"/>
                <a:gd name="connsiteX30" fmla="*/ 3533845 w 3653404"/>
                <a:gd name="connsiteY30" fmla="*/ 2633199 h 3366202"/>
                <a:gd name="connsiteX31" fmla="*/ 895280 w 3653404"/>
                <a:gd name="connsiteY31" fmla="*/ 187605 h 3366202"/>
                <a:gd name="connsiteX32" fmla="*/ 2162175 w 3653404"/>
                <a:gd name="connsiteY32" fmla="*/ 1486602 h 3366202"/>
                <a:gd name="connsiteX33" fmla="*/ 2125123 w 3653404"/>
                <a:gd name="connsiteY33" fmla="*/ 135131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33845 w 3653404"/>
                <a:gd name="connsiteY22" fmla="*/ 2633199 h 3366202"/>
                <a:gd name="connsiteX23" fmla="*/ 3533776 w 3653404"/>
                <a:gd name="connsiteY23" fmla="*/ 1943801 h 3366202"/>
                <a:gd name="connsiteX24" fmla="*/ 3181212 w 3653404"/>
                <a:gd name="connsiteY24" fmla="*/ 1564125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57476 w 3653404"/>
                <a:gd name="connsiteY28" fmla="*/ 2867727 h 3366202"/>
                <a:gd name="connsiteX29" fmla="*/ 3324226 w 3653404"/>
                <a:gd name="connsiteY29" fmla="*/ 2848677 h 3366202"/>
                <a:gd name="connsiteX30" fmla="*/ 3533845 w 3653404"/>
                <a:gd name="connsiteY30" fmla="*/ 2633199 h 3366202"/>
                <a:gd name="connsiteX31" fmla="*/ 895280 w 3653404"/>
                <a:gd name="connsiteY31" fmla="*/ 187605 h 3366202"/>
                <a:gd name="connsiteX32" fmla="*/ 2162175 w 3653404"/>
                <a:gd name="connsiteY32" fmla="*/ 1486602 h 3366202"/>
                <a:gd name="connsiteX33" fmla="*/ 2125123 w 3653404"/>
                <a:gd name="connsiteY33" fmla="*/ 135131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33845 w 3653404"/>
                <a:gd name="connsiteY22" fmla="*/ 2633199 h 3366202"/>
                <a:gd name="connsiteX23" fmla="*/ 3533776 w 3653404"/>
                <a:gd name="connsiteY23" fmla="*/ 1943801 h 3366202"/>
                <a:gd name="connsiteX24" fmla="*/ 3181212 w 3653404"/>
                <a:gd name="connsiteY24" fmla="*/ 1564125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57476 w 3653404"/>
                <a:gd name="connsiteY28" fmla="*/ 2867727 h 3366202"/>
                <a:gd name="connsiteX29" fmla="*/ 3324226 w 3653404"/>
                <a:gd name="connsiteY29" fmla="*/ 2848677 h 3366202"/>
                <a:gd name="connsiteX30" fmla="*/ 3533845 w 3653404"/>
                <a:gd name="connsiteY30" fmla="*/ 2633199 h 3366202"/>
                <a:gd name="connsiteX31" fmla="*/ 895280 w 3653404"/>
                <a:gd name="connsiteY31" fmla="*/ 187605 h 3366202"/>
                <a:gd name="connsiteX32" fmla="*/ 2162175 w 3653404"/>
                <a:gd name="connsiteY32" fmla="*/ 1486602 h 3366202"/>
                <a:gd name="connsiteX33" fmla="*/ 2125123 w 3653404"/>
                <a:gd name="connsiteY33" fmla="*/ 135131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33845 w 3653404"/>
                <a:gd name="connsiteY22" fmla="*/ 2633199 h 3366202"/>
                <a:gd name="connsiteX23" fmla="*/ 3533776 w 3653404"/>
                <a:gd name="connsiteY23" fmla="*/ 1943801 h 3366202"/>
                <a:gd name="connsiteX24" fmla="*/ 3181212 w 3653404"/>
                <a:gd name="connsiteY24" fmla="*/ 1564125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57476 w 3653404"/>
                <a:gd name="connsiteY28" fmla="*/ 2867727 h 3366202"/>
                <a:gd name="connsiteX29" fmla="*/ 3324226 w 3653404"/>
                <a:gd name="connsiteY29" fmla="*/ 2848677 h 3366202"/>
                <a:gd name="connsiteX30" fmla="*/ 3533845 w 3653404"/>
                <a:gd name="connsiteY30" fmla="*/ 2633199 h 3366202"/>
                <a:gd name="connsiteX31" fmla="*/ 895280 w 3653404"/>
                <a:gd name="connsiteY31" fmla="*/ 187605 h 3366202"/>
                <a:gd name="connsiteX32" fmla="*/ 2162175 w 3653404"/>
                <a:gd name="connsiteY32" fmla="*/ 1486602 h 3366202"/>
                <a:gd name="connsiteX33" fmla="*/ 2125123 w 3653404"/>
                <a:gd name="connsiteY33" fmla="*/ 135131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33845 w 3653404"/>
                <a:gd name="connsiteY22" fmla="*/ 2633199 h 3366202"/>
                <a:gd name="connsiteX23" fmla="*/ 3533776 w 3653404"/>
                <a:gd name="connsiteY23" fmla="*/ 1943801 h 3366202"/>
                <a:gd name="connsiteX24" fmla="*/ 3181212 w 3653404"/>
                <a:gd name="connsiteY24" fmla="*/ 1564125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57476 w 3653404"/>
                <a:gd name="connsiteY28" fmla="*/ 2867727 h 3366202"/>
                <a:gd name="connsiteX29" fmla="*/ 3324226 w 3653404"/>
                <a:gd name="connsiteY29" fmla="*/ 2848677 h 3366202"/>
                <a:gd name="connsiteX30" fmla="*/ 3533845 w 3653404"/>
                <a:gd name="connsiteY30" fmla="*/ 2633199 h 3366202"/>
                <a:gd name="connsiteX31" fmla="*/ 895280 w 3653404"/>
                <a:gd name="connsiteY31" fmla="*/ 187605 h 3366202"/>
                <a:gd name="connsiteX32" fmla="*/ 2162175 w 3653404"/>
                <a:gd name="connsiteY32" fmla="*/ 1486602 h 3366202"/>
                <a:gd name="connsiteX33" fmla="*/ 2125123 w 3653404"/>
                <a:gd name="connsiteY33" fmla="*/ 135131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33845 w 3653404"/>
                <a:gd name="connsiteY22" fmla="*/ 2633199 h 3366202"/>
                <a:gd name="connsiteX23" fmla="*/ 3533776 w 3653404"/>
                <a:gd name="connsiteY23" fmla="*/ 1943801 h 3366202"/>
                <a:gd name="connsiteX24" fmla="*/ 3181212 w 3653404"/>
                <a:gd name="connsiteY24" fmla="*/ 1564125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57476 w 3653404"/>
                <a:gd name="connsiteY28" fmla="*/ 2867727 h 3366202"/>
                <a:gd name="connsiteX29" fmla="*/ 3324226 w 3653404"/>
                <a:gd name="connsiteY29" fmla="*/ 2848677 h 3366202"/>
                <a:gd name="connsiteX30" fmla="*/ 3533845 w 3653404"/>
                <a:gd name="connsiteY30" fmla="*/ 2633199 h 3366202"/>
                <a:gd name="connsiteX31" fmla="*/ 895280 w 3653404"/>
                <a:gd name="connsiteY31" fmla="*/ 187605 h 3366202"/>
                <a:gd name="connsiteX32" fmla="*/ 2162175 w 3653404"/>
                <a:gd name="connsiteY32" fmla="*/ 1486602 h 3366202"/>
                <a:gd name="connsiteX33" fmla="*/ 2125123 w 3653404"/>
                <a:gd name="connsiteY33" fmla="*/ 135131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33845 w 3653404"/>
                <a:gd name="connsiteY22" fmla="*/ 2633199 h 3366202"/>
                <a:gd name="connsiteX23" fmla="*/ 3533776 w 3653404"/>
                <a:gd name="connsiteY23" fmla="*/ 1943801 h 3366202"/>
                <a:gd name="connsiteX24" fmla="*/ 3181212 w 3653404"/>
                <a:gd name="connsiteY24" fmla="*/ 1564125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57476 w 3653404"/>
                <a:gd name="connsiteY28" fmla="*/ 2867727 h 3366202"/>
                <a:gd name="connsiteX29" fmla="*/ 3324226 w 3653404"/>
                <a:gd name="connsiteY29" fmla="*/ 2848677 h 3366202"/>
                <a:gd name="connsiteX30" fmla="*/ 3533845 w 3653404"/>
                <a:gd name="connsiteY30" fmla="*/ 2633199 h 3366202"/>
                <a:gd name="connsiteX31" fmla="*/ 895280 w 3653404"/>
                <a:gd name="connsiteY31" fmla="*/ 187605 h 3366202"/>
                <a:gd name="connsiteX32" fmla="*/ 2162175 w 3653404"/>
                <a:gd name="connsiteY32" fmla="*/ 1486602 h 3366202"/>
                <a:gd name="connsiteX33" fmla="*/ 2125123 w 3653404"/>
                <a:gd name="connsiteY33" fmla="*/ 135131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33845 w 3653404"/>
                <a:gd name="connsiteY22" fmla="*/ 2633199 h 3366202"/>
                <a:gd name="connsiteX23" fmla="*/ 3533776 w 3653404"/>
                <a:gd name="connsiteY23" fmla="*/ 1943801 h 3366202"/>
                <a:gd name="connsiteX24" fmla="*/ 3181212 w 3653404"/>
                <a:gd name="connsiteY24" fmla="*/ 1564125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57476 w 3653404"/>
                <a:gd name="connsiteY28" fmla="*/ 2867727 h 3366202"/>
                <a:gd name="connsiteX29" fmla="*/ 3162301 w 3653404"/>
                <a:gd name="connsiteY29" fmla="*/ 2829627 h 3366202"/>
                <a:gd name="connsiteX30" fmla="*/ 3533845 w 3653404"/>
                <a:gd name="connsiteY30" fmla="*/ 2633199 h 3366202"/>
                <a:gd name="connsiteX31" fmla="*/ 895280 w 3653404"/>
                <a:gd name="connsiteY31" fmla="*/ 187605 h 3366202"/>
                <a:gd name="connsiteX32" fmla="*/ 2162175 w 3653404"/>
                <a:gd name="connsiteY32" fmla="*/ 1486602 h 3366202"/>
                <a:gd name="connsiteX33" fmla="*/ 2125123 w 3653404"/>
                <a:gd name="connsiteY33" fmla="*/ 135131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33845 w 3653404"/>
                <a:gd name="connsiteY22" fmla="*/ 2633199 h 3366202"/>
                <a:gd name="connsiteX23" fmla="*/ 3533776 w 3653404"/>
                <a:gd name="connsiteY23" fmla="*/ 1943801 h 3366202"/>
                <a:gd name="connsiteX24" fmla="*/ 3181212 w 3653404"/>
                <a:gd name="connsiteY24" fmla="*/ 1564125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19376 w 3653404"/>
                <a:gd name="connsiteY28" fmla="*/ 2848677 h 3366202"/>
                <a:gd name="connsiteX29" fmla="*/ 3162301 w 3653404"/>
                <a:gd name="connsiteY29" fmla="*/ 2829627 h 3366202"/>
                <a:gd name="connsiteX30" fmla="*/ 3533845 w 3653404"/>
                <a:gd name="connsiteY30" fmla="*/ 2633199 h 3366202"/>
                <a:gd name="connsiteX31" fmla="*/ 895280 w 3653404"/>
                <a:gd name="connsiteY31" fmla="*/ 187605 h 3366202"/>
                <a:gd name="connsiteX32" fmla="*/ 2162175 w 3653404"/>
                <a:gd name="connsiteY32" fmla="*/ 1486602 h 3366202"/>
                <a:gd name="connsiteX33" fmla="*/ 2125123 w 3653404"/>
                <a:gd name="connsiteY33" fmla="*/ 135131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24320 w 3653404"/>
                <a:gd name="connsiteY22" fmla="*/ 2528424 h 3366202"/>
                <a:gd name="connsiteX23" fmla="*/ 3533776 w 3653404"/>
                <a:gd name="connsiteY23" fmla="*/ 1943801 h 3366202"/>
                <a:gd name="connsiteX24" fmla="*/ 3181212 w 3653404"/>
                <a:gd name="connsiteY24" fmla="*/ 1564125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19376 w 3653404"/>
                <a:gd name="connsiteY28" fmla="*/ 2848677 h 3366202"/>
                <a:gd name="connsiteX29" fmla="*/ 3162301 w 3653404"/>
                <a:gd name="connsiteY29" fmla="*/ 2829627 h 3366202"/>
                <a:gd name="connsiteX30" fmla="*/ 3524320 w 3653404"/>
                <a:gd name="connsiteY30" fmla="*/ 2528424 h 3366202"/>
                <a:gd name="connsiteX31" fmla="*/ 895280 w 3653404"/>
                <a:gd name="connsiteY31" fmla="*/ 187605 h 3366202"/>
                <a:gd name="connsiteX32" fmla="*/ 2162175 w 3653404"/>
                <a:gd name="connsiteY32" fmla="*/ 1486602 h 3366202"/>
                <a:gd name="connsiteX33" fmla="*/ 2125123 w 3653404"/>
                <a:gd name="connsiteY33" fmla="*/ 135131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24320 w 3653404"/>
                <a:gd name="connsiteY22" fmla="*/ 2528424 h 3366202"/>
                <a:gd name="connsiteX23" fmla="*/ 3533776 w 3653404"/>
                <a:gd name="connsiteY23" fmla="*/ 1943801 h 3366202"/>
                <a:gd name="connsiteX24" fmla="*/ 3181212 w 3653404"/>
                <a:gd name="connsiteY24" fmla="*/ 1564125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19376 w 3653404"/>
                <a:gd name="connsiteY28" fmla="*/ 2848677 h 3366202"/>
                <a:gd name="connsiteX29" fmla="*/ 3162301 w 3653404"/>
                <a:gd name="connsiteY29" fmla="*/ 2829627 h 3366202"/>
                <a:gd name="connsiteX30" fmla="*/ 3524320 w 3653404"/>
                <a:gd name="connsiteY30" fmla="*/ 2528424 h 3366202"/>
                <a:gd name="connsiteX31" fmla="*/ 895280 w 3653404"/>
                <a:gd name="connsiteY31" fmla="*/ 187605 h 3366202"/>
                <a:gd name="connsiteX32" fmla="*/ 2162175 w 3653404"/>
                <a:gd name="connsiteY32" fmla="*/ 1486602 h 3366202"/>
                <a:gd name="connsiteX33" fmla="*/ 2125123 w 3653404"/>
                <a:gd name="connsiteY33" fmla="*/ 135131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24320 w 3653404"/>
                <a:gd name="connsiteY22" fmla="*/ 2528424 h 3366202"/>
                <a:gd name="connsiteX23" fmla="*/ 3533776 w 3653404"/>
                <a:gd name="connsiteY23" fmla="*/ 1943801 h 3366202"/>
                <a:gd name="connsiteX24" fmla="*/ 3181212 w 3653404"/>
                <a:gd name="connsiteY24" fmla="*/ 1564125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19376 w 3653404"/>
                <a:gd name="connsiteY28" fmla="*/ 2848677 h 3366202"/>
                <a:gd name="connsiteX29" fmla="*/ 3162301 w 3653404"/>
                <a:gd name="connsiteY29" fmla="*/ 2829627 h 3366202"/>
                <a:gd name="connsiteX30" fmla="*/ 3524320 w 3653404"/>
                <a:gd name="connsiteY30" fmla="*/ 2528424 h 3366202"/>
                <a:gd name="connsiteX31" fmla="*/ 895280 w 3653404"/>
                <a:gd name="connsiteY31" fmla="*/ 187605 h 3366202"/>
                <a:gd name="connsiteX32" fmla="*/ 2190750 w 3653404"/>
                <a:gd name="connsiteY32" fmla="*/ 1315152 h 3366202"/>
                <a:gd name="connsiteX33" fmla="*/ 2125123 w 3653404"/>
                <a:gd name="connsiteY33" fmla="*/ 135131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24320 w 3653404"/>
                <a:gd name="connsiteY22" fmla="*/ 2528424 h 3366202"/>
                <a:gd name="connsiteX23" fmla="*/ 3533776 w 3653404"/>
                <a:gd name="connsiteY23" fmla="*/ 1943801 h 3366202"/>
                <a:gd name="connsiteX24" fmla="*/ 3181212 w 3653404"/>
                <a:gd name="connsiteY24" fmla="*/ 1564125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19376 w 3653404"/>
                <a:gd name="connsiteY28" fmla="*/ 2848677 h 3366202"/>
                <a:gd name="connsiteX29" fmla="*/ 3162301 w 3653404"/>
                <a:gd name="connsiteY29" fmla="*/ 2829627 h 3366202"/>
                <a:gd name="connsiteX30" fmla="*/ 3524320 w 3653404"/>
                <a:gd name="connsiteY30" fmla="*/ 2528424 h 3366202"/>
                <a:gd name="connsiteX31" fmla="*/ 895280 w 3653404"/>
                <a:gd name="connsiteY31" fmla="*/ 187605 h 3366202"/>
                <a:gd name="connsiteX32" fmla="*/ 2190750 w 3653404"/>
                <a:gd name="connsiteY32" fmla="*/ 1315152 h 3366202"/>
                <a:gd name="connsiteX33" fmla="*/ 2106073 w 3653404"/>
                <a:gd name="connsiteY33" fmla="*/ 148466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24320 w 3653404"/>
                <a:gd name="connsiteY22" fmla="*/ 2528424 h 3366202"/>
                <a:gd name="connsiteX23" fmla="*/ 3533776 w 3653404"/>
                <a:gd name="connsiteY23" fmla="*/ 1943801 h 3366202"/>
                <a:gd name="connsiteX24" fmla="*/ 3181212 w 3653404"/>
                <a:gd name="connsiteY24" fmla="*/ 1564125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19376 w 3653404"/>
                <a:gd name="connsiteY28" fmla="*/ 2848677 h 3366202"/>
                <a:gd name="connsiteX29" fmla="*/ 3162301 w 3653404"/>
                <a:gd name="connsiteY29" fmla="*/ 2829627 h 3366202"/>
                <a:gd name="connsiteX30" fmla="*/ 3524320 w 3653404"/>
                <a:gd name="connsiteY30" fmla="*/ 2528424 h 3366202"/>
                <a:gd name="connsiteX31" fmla="*/ 895280 w 3653404"/>
                <a:gd name="connsiteY31" fmla="*/ 187605 h 3366202"/>
                <a:gd name="connsiteX32" fmla="*/ 2190750 w 3653404"/>
                <a:gd name="connsiteY32" fmla="*/ 1315152 h 3366202"/>
                <a:gd name="connsiteX33" fmla="*/ 2106073 w 3653404"/>
                <a:gd name="connsiteY33" fmla="*/ 148466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24320 w 3653404"/>
                <a:gd name="connsiteY22" fmla="*/ 2528424 h 3366202"/>
                <a:gd name="connsiteX23" fmla="*/ 3533776 w 3653404"/>
                <a:gd name="connsiteY23" fmla="*/ 1943801 h 3366202"/>
                <a:gd name="connsiteX24" fmla="*/ 3181212 w 3653404"/>
                <a:gd name="connsiteY24" fmla="*/ 1564125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19376 w 3653404"/>
                <a:gd name="connsiteY28" fmla="*/ 2848677 h 3366202"/>
                <a:gd name="connsiteX29" fmla="*/ 3162301 w 3653404"/>
                <a:gd name="connsiteY29" fmla="*/ 2829627 h 3366202"/>
                <a:gd name="connsiteX30" fmla="*/ 3524320 w 3653404"/>
                <a:gd name="connsiteY30" fmla="*/ 2528424 h 3366202"/>
                <a:gd name="connsiteX31" fmla="*/ 895280 w 3653404"/>
                <a:gd name="connsiteY31" fmla="*/ 187605 h 3366202"/>
                <a:gd name="connsiteX32" fmla="*/ 2190750 w 3653404"/>
                <a:gd name="connsiteY32" fmla="*/ 1315152 h 3366202"/>
                <a:gd name="connsiteX33" fmla="*/ 2106073 w 3653404"/>
                <a:gd name="connsiteY33" fmla="*/ 148466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24320 w 3653404"/>
                <a:gd name="connsiteY22" fmla="*/ 2528424 h 3366202"/>
                <a:gd name="connsiteX23" fmla="*/ 3533776 w 3653404"/>
                <a:gd name="connsiteY23" fmla="*/ 1943801 h 3366202"/>
                <a:gd name="connsiteX24" fmla="*/ 3181212 w 3653404"/>
                <a:gd name="connsiteY24" fmla="*/ 1564125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19376 w 3653404"/>
                <a:gd name="connsiteY28" fmla="*/ 2848677 h 3366202"/>
                <a:gd name="connsiteX29" fmla="*/ 3162301 w 3653404"/>
                <a:gd name="connsiteY29" fmla="*/ 2829627 h 3366202"/>
                <a:gd name="connsiteX30" fmla="*/ 3524320 w 3653404"/>
                <a:gd name="connsiteY30" fmla="*/ 2528424 h 3366202"/>
                <a:gd name="connsiteX31" fmla="*/ 895280 w 3653404"/>
                <a:gd name="connsiteY31" fmla="*/ 187605 h 3366202"/>
                <a:gd name="connsiteX32" fmla="*/ 2190750 w 3653404"/>
                <a:gd name="connsiteY32" fmla="*/ 1315152 h 3366202"/>
                <a:gd name="connsiteX33" fmla="*/ 2106073 w 3653404"/>
                <a:gd name="connsiteY33" fmla="*/ 1484660 h 3366202"/>
                <a:gd name="connsiteX34" fmla="*/ 838202 w 3653404"/>
                <a:gd name="connsiteY34" fmla="*/ 3436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24320 w 3653404"/>
                <a:gd name="connsiteY22" fmla="*/ 2528424 h 3366202"/>
                <a:gd name="connsiteX23" fmla="*/ 3533776 w 3653404"/>
                <a:gd name="connsiteY23" fmla="*/ 1943801 h 3366202"/>
                <a:gd name="connsiteX24" fmla="*/ 3181212 w 3653404"/>
                <a:gd name="connsiteY24" fmla="*/ 1564125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19376 w 3653404"/>
                <a:gd name="connsiteY28" fmla="*/ 2848677 h 3366202"/>
                <a:gd name="connsiteX29" fmla="*/ 3162301 w 3653404"/>
                <a:gd name="connsiteY29" fmla="*/ 2829627 h 3366202"/>
                <a:gd name="connsiteX30" fmla="*/ 3524320 w 3653404"/>
                <a:gd name="connsiteY30" fmla="*/ 2528424 h 3366202"/>
                <a:gd name="connsiteX31" fmla="*/ 781052 w 3653404"/>
                <a:gd name="connsiteY31" fmla="*/ 219776 h 3366202"/>
                <a:gd name="connsiteX32" fmla="*/ 2190750 w 3653404"/>
                <a:gd name="connsiteY32" fmla="*/ 1315152 h 3366202"/>
                <a:gd name="connsiteX33" fmla="*/ 2106073 w 3653404"/>
                <a:gd name="connsiteY33" fmla="*/ 1484660 h 3366202"/>
                <a:gd name="connsiteX34" fmla="*/ 838202 w 3653404"/>
                <a:gd name="connsiteY34" fmla="*/ 343601 h 3366202"/>
                <a:gd name="connsiteX35" fmla="*/ 895280 w 3653404"/>
                <a:gd name="connsiteY35" fmla="*/ 187605 h 3366202"/>
                <a:gd name="connsiteX36" fmla="*/ 781052 w 3653404"/>
                <a:gd name="connsiteY36" fmla="*/ 219776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24320 w 3653404"/>
                <a:gd name="connsiteY22" fmla="*/ 2528424 h 3366202"/>
                <a:gd name="connsiteX23" fmla="*/ 3533776 w 3653404"/>
                <a:gd name="connsiteY23" fmla="*/ 1943801 h 3366202"/>
                <a:gd name="connsiteX24" fmla="*/ 3181212 w 3653404"/>
                <a:gd name="connsiteY24" fmla="*/ 1564125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19376 w 3653404"/>
                <a:gd name="connsiteY28" fmla="*/ 2848677 h 3366202"/>
                <a:gd name="connsiteX29" fmla="*/ 3162301 w 3653404"/>
                <a:gd name="connsiteY29" fmla="*/ 2829627 h 3366202"/>
                <a:gd name="connsiteX30" fmla="*/ 3524320 w 3653404"/>
                <a:gd name="connsiteY30" fmla="*/ 2528424 h 3366202"/>
                <a:gd name="connsiteX31" fmla="*/ 895280 w 3653404"/>
                <a:gd name="connsiteY31" fmla="*/ 187605 h 3366202"/>
                <a:gd name="connsiteX32" fmla="*/ 2190750 w 3653404"/>
                <a:gd name="connsiteY32" fmla="*/ 1315152 h 3366202"/>
                <a:gd name="connsiteX33" fmla="*/ 2106073 w 3653404"/>
                <a:gd name="connsiteY33" fmla="*/ 1484660 h 3366202"/>
                <a:gd name="connsiteX34" fmla="*/ 838202 w 3653404"/>
                <a:gd name="connsiteY34" fmla="*/ 3436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24320 w 3653404"/>
                <a:gd name="connsiteY22" fmla="*/ 2528424 h 3366202"/>
                <a:gd name="connsiteX23" fmla="*/ 3533776 w 3653404"/>
                <a:gd name="connsiteY23" fmla="*/ 1943801 h 3366202"/>
                <a:gd name="connsiteX24" fmla="*/ 3181212 w 3653404"/>
                <a:gd name="connsiteY24" fmla="*/ 1564125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19376 w 3653404"/>
                <a:gd name="connsiteY28" fmla="*/ 2848677 h 3366202"/>
                <a:gd name="connsiteX29" fmla="*/ 3162301 w 3653404"/>
                <a:gd name="connsiteY29" fmla="*/ 2829627 h 3366202"/>
                <a:gd name="connsiteX30" fmla="*/ 3524320 w 3653404"/>
                <a:gd name="connsiteY30" fmla="*/ 2528424 h 3366202"/>
                <a:gd name="connsiteX31" fmla="*/ 895280 w 3653404"/>
                <a:gd name="connsiteY31" fmla="*/ 187605 h 3366202"/>
                <a:gd name="connsiteX32" fmla="*/ 2190750 w 3653404"/>
                <a:gd name="connsiteY32" fmla="*/ 1315152 h 3366202"/>
                <a:gd name="connsiteX33" fmla="*/ 2106073 w 3653404"/>
                <a:gd name="connsiteY33" fmla="*/ 1484660 h 3366202"/>
                <a:gd name="connsiteX34" fmla="*/ 838202 w 3653404"/>
                <a:gd name="connsiteY34" fmla="*/ 3436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24320 w 3653404"/>
                <a:gd name="connsiteY22" fmla="*/ 2528424 h 3366202"/>
                <a:gd name="connsiteX23" fmla="*/ 3533776 w 3653404"/>
                <a:gd name="connsiteY23" fmla="*/ 1943801 h 3366202"/>
                <a:gd name="connsiteX24" fmla="*/ 3181212 w 3653404"/>
                <a:gd name="connsiteY24" fmla="*/ 1564125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19376 w 3653404"/>
                <a:gd name="connsiteY28" fmla="*/ 2848677 h 3366202"/>
                <a:gd name="connsiteX29" fmla="*/ 3162301 w 3653404"/>
                <a:gd name="connsiteY29" fmla="*/ 2829627 h 3366202"/>
                <a:gd name="connsiteX30" fmla="*/ 3524320 w 3653404"/>
                <a:gd name="connsiteY30" fmla="*/ 2528424 h 3366202"/>
                <a:gd name="connsiteX31" fmla="*/ 895280 w 3653404"/>
                <a:gd name="connsiteY31" fmla="*/ 187605 h 3366202"/>
                <a:gd name="connsiteX32" fmla="*/ 2190750 w 3653404"/>
                <a:gd name="connsiteY32" fmla="*/ 1315152 h 3366202"/>
                <a:gd name="connsiteX33" fmla="*/ 2106073 w 3653404"/>
                <a:gd name="connsiteY33" fmla="*/ 1484660 h 3366202"/>
                <a:gd name="connsiteX34" fmla="*/ 838202 w 3653404"/>
                <a:gd name="connsiteY34" fmla="*/ 3436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24320 w 3653404"/>
                <a:gd name="connsiteY22" fmla="*/ 2528424 h 3366202"/>
                <a:gd name="connsiteX23" fmla="*/ 3533776 w 3653404"/>
                <a:gd name="connsiteY23" fmla="*/ 1943801 h 3366202"/>
                <a:gd name="connsiteX24" fmla="*/ 3181212 w 3653404"/>
                <a:gd name="connsiteY24" fmla="*/ 1564125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19376 w 3653404"/>
                <a:gd name="connsiteY28" fmla="*/ 2848677 h 3366202"/>
                <a:gd name="connsiteX29" fmla="*/ 3162301 w 3653404"/>
                <a:gd name="connsiteY29" fmla="*/ 2829627 h 3366202"/>
                <a:gd name="connsiteX30" fmla="*/ 3524320 w 3653404"/>
                <a:gd name="connsiteY30" fmla="*/ 2528424 h 3366202"/>
                <a:gd name="connsiteX31" fmla="*/ 895280 w 3653404"/>
                <a:gd name="connsiteY31" fmla="*/ 187605 h 3366202"/>
                <a:gd name="connsiteX32" fmla="*/ 2190750 w 3653404"/>
                <a:gd name="connsiteY32" fmla="*/ 1315152 h 3366202"/>
                <a:gd name="connsiteX33" fmla="*/ 2106073 w 3653404"/>
                <a:gd name="connsiteY33" fmla="*/ 1484660 h 3366202"/>
                <a:gd name="connsiteX34" fmla="*/ 838202 w 3653404"/>
                <a:gd name="connsiteY34" fmla="*/ 343601 h 3366202"/>
                <a:gd name="connsiteX35" fmla="*/ 895280 w 3653404"/>
                <a:gd name="connsiteY35" fmla="*/ 187605 h 3366202"/>
                <a:gd name="connsiteX0" fmla="*/ 657225 w 3653404"/>
                <a:gd name="connsiteY0" fmla="*/ 1057275 h 3308350"/>
                <a:gd name="connsiteX1" fmla="*/ 681595 w 3653404"/>
                <a:gd name="connsiteY1" fmla="*/ 357744 h 3308350"/>
                <a:gd name="connsiteX2" fmla="*/ 1000125 w 3653404"/>
                <a:gd name="connsiteY2" fmla="*/ 0 h 3308350"/>
                <a:gd name="connsiteX3" fmla="*/ 2038354 w 3653404"/>
                <a:gd name="connsiteY3" fmla="*/ 9529 h 3308350"/>
                <a:gd name="connsiteX4" fmla="*/ 3619502 w 3653404"/>
                <a:gd name="connsiteY4" fmla="*/ 1466860 h 3308350"/>
                <a:gd name="connsiteX5" fmla="*/ 3633235 w 3653404"/>
                <a:gd name="connsiteY5" fmla="*/ 2699794 h 3308350"/>
                <a:gd name="connsiteX6" fmla="*/ 3333751 w 3653404"/>
                <a:gd name="connsiteY6" fmla="*/ 2914660 h 3308350"/>
                <a:gd name="connsiteX7" fmla="*/ 2390775 w 3653404"/>
                <a:gd name="connsiteY7" fmla="*/ 2914650 h 3308350"/>
                <a:gd name="connsiteX8" fmla="*/ 2162175 w 3653404"/>
                <a:gd name="connsiteY8" fmla="*/ 2743200 h 3308350"/>
                <a:gd name="connsiteX9" fmla="*/ 2105025 w 3653404"/>
                <a:gd name="connsiteY9" fmla="*/ 3086100 h 3308350"/>
                <a:gd name="connsiteX10" fmla="*/ 2409825 w 3653404"/>
                <a:gd name="connsiteY10" fmla="*/ 3086100 h 3308350"/>
                <a:gd name="connsiteX11" fmla="*/ 2486025 w 3653404"/>
                <a:gd name="connsiteY11" fmla="*/ 3257550 h 3308350"/>
                <a:gd name="connsiteX12" fmla="*/ 1476375 w 3653404"/>
                <a:gd name="connsiteY12" fmla="*/ 3276600 h 3308350"/>
                <a:gd name="connsiteX13" fmla="*/ 1419225 w 3653404"/>
                <a:gd name="connsiteY13" fmla="*/ 3067050 h 3308350"/>
                <a:gd name="connsiteX14" fmla="*/ 1786491 w 3653404"/>
                <a:gd name="connsiteY14" fmla="*/ 3109368 h 3308350"/>
                <a:gd name="connsiteX15" fmla="*/ 1743077 w 3653404"/>
                <a:gd name="connsiteY15" fmla="*/ 2524131 h 3308350"/>
                <a:gd name="connsiteX16" fmla="*/ 771525 w 3653404"/>
                <a:gd name="connsiteY16" fmla="*/ 1524000 h 3308350"/>
                <a:gd name="connsiteX17" fmla="*/ 447676 w 3653404"/>
                <a:gd name="connsiteY17" fmla="*/ 1695449 h 3308350"/>
                <a:gd name="connsiteX18" fmla="*/ 1323975 w 3653404"/>
                <a:gd name="connsiteY18" fmla="*/ 2990850 h 3308350"/>
                <a:gd name="connsiteX19" fmla="*/ 542925 w 3653404"/>
                <a:gd name="connsiteY19" fmla="*/ 2362200 h 3308350"/>
                <a:gd name="connsiteX20" fmla="*/ 219075 w 3653404"/>
                <a:gd name="connsiteY20" fmla="*/ 1371600 h 3308350"/>
                <a:gd name="connsiteX21" fmla="*/ 657225 w 3653404"/>
                <a:gd name="connsiteY21" fmla="*/ 1057275 h 3308350"/>
                <a:gd name="connsiteX22" fmla="*/ 3524320 w 3653404"/>
                <a:gd name="connsiteY22" fmla="*/ 2470572 h 3308350"/>
                <a:gd name="connsiteX23" fmla="*/ 3533776 w 3653404"/>
                <a:gd name="connsiteY23" fmla="*/ 1885949 h 3308350"/>
                <a:gd name="connsiteX24" fmla="*/ 3181212 w 3653404"/>
                <a:gd name="connsiteY24" fmla="*/ 1506273 h 3308350"/>
                <a:gd name="connsiteX25" fmla="*/ 2646907 w 3653404"/>
                <a:gd name="connsiteY25" fmla="*/ 1525940 h 3308350"/>
                <a:gd name="connsiteX26" fmla="*/ 2343151 w 3653404"/>
                <a:gd name="connsiteY26" fmla="*/ 1781175 h 3308350"/>
                <a:gd name="connsiteX27" fmla="*/ 2343151 w 3653404"/>
                <a:gd name="connsiteY27" fmla="*/ 2543175 h 3308350"/>
                <a:gd name="connsiteX28" fmla="*/ 2619376 w 3653404"/>
                <a:gd name="connsiteY28" fmla="*/ 2790825 h 3308350"/>
                <a:gd name="connsiteX29" fmla="*/ 3162301 w 3653404"/>
                <a:gd name="connsiteY29" fmla="*/ 2771775 h 3308350"/>
                <a:gd name="connsiteX30" fmla="*/ 3524320 w 3653404"/>
                <a:gd name="connsiteY30" fmla="*/ 2470572 h 3308350"/>
                <a:gd name="connsiteX31" fmla="*/ 895280 w 3653404"/>
                <a:gd name="connsiteY31" fmla="*/ 129753 h 3308350"/>
                <a:gd name="connsiteX32" fmla="*/ 2190750 w 3653404"/>
                <a:gd name="connsiteY32" fmla="*/ 1257300 h 3308350"/>
                <a:gd name="connsiteX33" fmla="*/ 2106073 w 3653404"/>
                <a:gd name="connsiteY33" fmla="*/ 1426808 h 3308350"/>
                <a:gd name="connsiteX34" fmla="*/ 838202 w 3653404"/>
                <a:gd name="connsiteY34" fmla="*/ 285749 h 3308350"/>
                <a:gd name="connsiteX35" fmla="*/ 895280 w 3653404"/>
                <a:gd name="connsiteY35" fmla="*/ 129753 h 3308350"/>
                <a:gd name="connsiteX0" fmla="*/ 692150 w 3653404"/>
                <a:gd name="connsiteY0" fmla="*/ 1022350 h 3308350"/>
                <a:gd name="connsiteX1" fmla="*/ 681595 w 3653404"/>
                <a:gd name="connsiteY1" fmla="*/ 357744 h 3308350"/>
                <a:gd name="connsiteX2" fmla="*/ 1000125 w 3653404"/>
                <a:gd name="connsiteY2" fmla="*/ 0 h 3308350"/>
                <a:gd name="connsiteX3" fmla="*/ 2038354 w 3653404"/>
                <a:gd name="connsiteY3" fmla="*/ 9529 h 3308350"/>
                <a:gd name="connsiteX4" fmla="*/ 3619502 w 3653404"/>
                <a:gd name="connsiteY4" fmla="*/ 1466860 h 3308350"/>
                <a:gd name="connsiteX5" fmla="*/ 3633235 w 3653404"/>
                <a:gd name="connsiteY5" fmla="*/ 2699794 h 3308350"/>
                <a:gd name="connsiteX6" fmla="*/ 3333751 w 3653404"/>
                <a:gd name="connsiteY6" fmla="*/ 2914660 h 3308350"/>
                <a:gd name="connsiteX7" fmla="*/ 2390775 w 3653404"/>
                <a:gd name="connsiteY7" fmla="*/ 2914650 h 3308350"/>
                <a:gd name="connsiteX8" fmla="*/ 2162175 w 3653404"/>
                <a:gd name="connsiteY8" fmla="*/ 2743200 h 3308350"/>
                <a:gd name="connsiteX9" fmla="*/ 2105025 w 3653404"/>
                <a:gd name="connsiteY9" fmla="*/ 3086100 h 3308350"/>
                <a:gd name="connsiteX10" fmla="*/ 2409825 w 3653404"/>
                <a:gd name="connsiteY10" fmla="*/ 3086100 h 3308350"/>
                <a:gd name="connsiteX11" fmla="*/ 2486025 w 3653404"/>
                <a:gd name="connsiteY11" fmla="*/ 3257550 h 3308350"/>
                <a:gd name="connsiteX12" fmla="*/ 1476375 w 3653404"/>
                <a:gd name="connsiteY12" fmla="*/ 3276600 h 3308350"/>
                <a:gd name="connsiteX13" fmla="*/ 1419225 w 3653404"/>
                <a:gd name="connsiteY13" fmla="*/ 3067050 h 3308350"/>
                <a:gd name="connsiteX14" fmla="*/ 1786491 w 3653404"/>
                <a:gd name="connsiteY14" fmla="*/ 3109368 h 3308350"/>
                <a:gd name="connsiteX15" fmla="*/ 1743077 w 3653404"/>
                <a:gd name="connsiteY15" fmla="*/ 2524131 h 3308350"/>
                <a:gd name="connsiteX16" fmla="*/ 771525 w 3653404"/>
                <a:gd name="connsiteY16" fmla="*/ 1524000 h 3308350"/>
                <a:gd name="connsiteX17" fmla="*/ 447676 w 3653404"/>
                <a:gd name="connsiteY17" fmla="*/ 1695449 h 3308350"/>
                <a:gd name="connsiteX18" fmla="*/ 1323975 w 3653404"/>
                <a:gd name="connsiteY18" fmla="*/ 2990850 h 3308350"/>
                <a:gd name="connsiteX19" fmla="*/ 542925 w 3653404"/>
                <a:gd name="connsiteY19" fmla="*/ 2362200 h 3308350"/>
                <a:gd name="connsiteX20" fmla="*/ 219075 w 3653404"/>
                <a:gd name="connsiteY20" fmla="*/ 1371600 h 3308350"/>
                <a:gd name="connsiteX21" fmla="*/ 692150 w 3653404"/>
                <a:gd name="connsiteY21" fmla="*/ 1022350 h 3308350"/>
                <a:gd name="connsiteX22" fmla="*/ 3524320 w 3653404"/>
                <a:gd name="connsiteY22" fmla="*/ 2470572 h 3308350"/>
                <a:gd name="connsiteX23" fmla="*/ 3533776 w 3653404"/>
                <a:gd name="connsiteY23" fmla="*/ 1885949 h 3308350"/>
                <a:gd name="connsiteX24" fmla="*/ 3181212 w 3653404"/>
                <a:gd name="connsiteY24" fmla="*/ 1506273 h 3308350"/>
                <a:gd name="connsiteX25" fmla="*/ 2646907 w 3653404"/>
                <a:gd name="connsiteY25" fmla="*/ 1525940 h 3308350"/>
                <a:gd name="connsiteX26" fmla="*/ 2343151 w 3653404"/>
                <a:gd name="connsiteY26" fmla="*/ 1781175 h 3308350"/>
                <a:gd name="connsiteX27" fmla="*/ 2343151 w 3653404"/>
                <a:gd name="connsiteY27" fmla="*/ 2543175 h 3308350"/>
                <a:gd name="connsiteX28" fmla="*/ 2619376 w 3653404"/>
                <a:gd name="connsiteY28" fmla="*/ 2790825 h 3308350"/>
                <a:gd name="connsiteX29" fmla="*/ 3162301 w 3653404"/>
                <a:gd name="connsiteY29" fmla="*/ 2771775 h 3308350"/>
                <a:gd name="connsiteX30" fmla="*/ 3524320 w 3653404"/>
                <a:gd name="connsiteY30" fmla="*/ 2470572 h 3308350"/>
                <a:gd name="connsiteX31" fmla="*/ 895280 w 3653404"/>
                <a:gd name="connsiteY31" fmla="*/ 129753 h 3308350"/>
                <a:gd name="connsiteX32" fmla="*/ 2190750 w 3653404"/>
                <a:gd name="connsiteY32" fmla="*/ 1257300 h 3308350"/>
                <a:gd name="connsiteX33" fmla="*/ 2106073 w 3653404"/>
                <a:gd name="connsiteY33" fmla="*/ 1426808 h 3308350"/>
                <a:gd name="connsiteX34" fmla="*/ 838202 w 3653404"/>
                <a:gd name="connsiteY34" fmla="*/ 285749 h 3308350"/>
                <a:gd name="connsiteX35" fmla="*/ 895280 w 3653404"/>
                <a:gd name="connsiteY35" fmla="*/ 129753 h 3308350"/>
                <a:gd name="connsiteX0" fmla="*/ 692150 w 3653404"/>
                <a:gd name="connsiteY0" fmla="*/ 1022350 h 3308350"/>
                <a:gd name="connsiteX1" fmla="*/ 681595 w 3653404"/>
                <a:gd name="connsiteY1" fmla="*/ 357744 h 3308350"/>
                <a:gd name="connsiteX2" fmla="*/ 1000125 w 3653404"/>
                <a:gd name="connsiteY2" fmla="*/ 0 h 3308350"/>
                <a:gd name="connsiteX3" fmla="*/ 2038354 w 3653404"/>
                <a:gd name="connsiteY3" fmla="*/ 9529 h 3308350"/>
                <a:gd name="connsiteX4" fmla="*/ 3619502 w 3653404"/>
                <a:gd name="connsiteY4" fmla="*/ 1466860 h 3308350"/>
                <a:gd name="connsiteX5" fmla="*/ 3633235 w 3653404"/>
                <a:gd name="connsiteY5" fmla="*/ 2699794 h 3308350"/>
                <a:gd name="connsiteX6" fmla="*/ 3333751 w 3653404"/>
                <a:gd name="connsiteY6" fmla="*/ 2914660 h 3308350"/>
                <a:gd name="connsiteX7" fmla="*/ 2390775 w 3653404"/>
                <a:gd name="connsiteY7" fmla="*/ 2914650 h 3308350"/>
                <a:gd name="connsiteX8" fmla="*/ 2162175 w 3653404"/>
                <a:gd name="connsiteY8" fmla="*/ 2743200 h 3308350"/>
                <a:gd name="connsiteX9" fmla="*/ 2105025 w 3653404"/>
                <a:gd name="connsiteY9" fmla="*/ 3086100 h 3308350"/>
                <a:gd name="connsiteX10" fmla="*/ 2409825 w 3653404"/>
                <a:gd name="connsiteY10" fmla="*/ 3086100 h 3308350"/>
                <a:gd name="connsiteX11" fmla="*/ 2486025 w 3653404"/>
                <a:gd name="connsiteY11" fmla="*/ 3257550 h 3308350"/>
                <a:gd name="connsiteX12" fmla="*/ 1476375 w 3653404"/>
                <a:gd name="connsiteY12" fmla="*/ 3276600 h 3308350"/>
                <a:gd name="connsiteX13" fmla="*/ 1419225 w 3653404"/>
                <a:gd name="connsiteY13" fmla="*/ 3067050 h 3308350"/>
                <a:gd name="connsiteX14" fmla="*/ 1786491 w 3653404"/>
                <a:gd name="connsiteY14" fmla="*/ 3109368 h 3308350"/>
                <a:gd name="connsiteX15" fmla="*/ 1743077 w 3653404"/>
                <a:gd name="connsiteY15" fmla="*/ 2524131 h 3308350"/>
                <a:gd name="connsiteX16" fmla="*/ 771525 w 3653404"/>
                <a:gd name="connsiteY16" fmla="*/ 1524000 h 3308350"/>
                <a:gd name="connsiteX17" fmla="*/ 676277 w 3653404"/>
                <a:gd name="connsiteY17" fmla="*/ 1209674 h 3308350"/>
                <a:gd name="connsiteX18" fmla="*/ 447676 w 3653404"/>
                <a:gd name="connsiteY18" fmla="*/ 1695449 h 3308350"/>
                <a:gd name="connsiteX19" fmla="*/ 1323975 w 3653404"/>
                <a:gd name="connsiteY19" fmla="*/ 2990850 h 3308350"/>
                <a:gd name="connsiteX20" fmla="*/ 542925 w 3653404"/>
                <a:gd name="connsiteY20" fmla="*/ 2362200 h 3308350"/>
                <a:gd name="connsiteX21" fmla="*/ 219075 w 3653404"/>
                <a:gd name="connsiteY21" fmla="*/ 1371600 h 3308350"/>
                <a:gd name="connsiteX22" fmla="*/ 692150 w 3653404"/>
                <a:gd name="connsiteY22" fmla="*/ 1022350 h 3308350"/>
                <a:gd name="connsiteX23" fmla="*/ 3524320 w 3653404"/>
                <a:gd name="connsiteY23" fmla="*/ 2470572 h 3308350"/>
                <a:gd name="connsiteX24" fmla="*/ 3533776 w 3653404"/>
                <a:gd name="connsiteY24" fmla="*/ 1885949 h 3308350"/>
                <a:gd name="connsiteX25" fmla="*/ 3181212 w 3653404"/>
                <a:gd name="connsiteY25" fmla="*/ 1506273 h 3308350"/>
                <a:gd name="connsiteX26" fmla="*/ 2646907 w 3653404"/>
                <a:gd name="connsiteY26" fmla="*/ 1525940 h 3308350"/>
                <a:gd name="connsiteX27" fmla="*/ 2343151 w 3653404"/>
                <a:gd name="connsiteY27" fmla="*/ 1781175 h 3308350"/>
                <a:gd name="connsiteX28" fmla="*/ 2343151 w 3653404"/>
                <a:gd name="connsiteY28" fmla="*/ 2543175 h 3308350"/>
                <a:gd name="connsiteX29" fmla="*/ 2619376 w 3653404"/>
                <a:gd name="connsiteY29" fmla="*/ 2790825 h 3308350"/>
                <a:gd name="connsiteX30" fmla="*/ 3162301 w 3653404"/>
                <a:gd name="connsiteY30" fmla="*/ 2771775 h 3308350"/>
                <a:gd name="connsiteX31" fmla="*/ 3524320 w 3653404"/>
                <a:gd name="connsiteY31" fmla="*/ 2470572 h 3308350"/>
                <a:gd name="connsiteX32" fmla="*/ 895280 w 3653404"/>
                <a:gd name="connsiteY32" fmla="*/ 129753 h 3308350"/>
                <a:gd name="connsiteX33" fmla="*/ 2190750 w 3653404"/>
                <a:gd name="connsiteY33" fmla="*/ 1257300 h 3308350"/>
                <a:gd name="connsiteX34" fmla="*/ 2106073 w 3653404"/>
                <a:gd name="connsiteY34" fmla="*/ 1426808 h 3308350"/>
                <a:gd name="connsiteX35" fmla="*/ 838202 w 3653404"/>
                <a:gd name="connsiteY35" fmla="*/ 285749 h 3308350"/>
                <a:gd name="connsiteX36" fmla="*/ 895280 w 3653404"/>
                <a:gd name="connsiteY36" fmla="*/ 129753 h 3308350"/>
                <a:gd name="connsiteX0" fmla="*/ 692150 w 3653404"/>
                <a:gd name="connsiteY0" fmla="*/ 1022350 h 3308350"/>
                <a:gd name="connsiteX1" fmla="*/ 681595 w 3653404"/>
                <a:gd name="connsiteY1" fmla="*/ 357744 h 3308350"/>
                <a:gd name="connsiteX2" fmla="*/ 1000125 w 3653404"/>
                <a:gd name="connsiteY2" fmla="*/ 0 h 3308350"/>
                <a:gd name="connsiteX3" fmla="*/ 2038354 w 3653404"/>
                <a:gd name="connsiteY3" fmla="*/ 9529 h 3308350"/>
                <a:gd name="connsiteX4" fmla="*/ 3619502 w 3653404"/>
                <a:gd name="connsiteY4" fmla="*/ 1466860 h 3308350"/>
                <a:gd name="connsiteX5" fmla="*/ 3633235 w 3653404"/>
                <a:gd name="connsiteY5" fmla="*/ 2699794 h 3308350"/>
                <a:gd name="connsiteX6" fmla="*/ 3333751 w 3653404"/>
                <a:gd name="connsiteY6" fmla="*/ 2914660 h 3308350"/>
                <a:gd name="connsiteX7" fmla="*/ 2390775 w 3653404"/>
                <a:gd name="connsiteY7" fmla="*/ 2914650 h 3308350"/>
                <a:gd name="connsiteX8" fmla="*/ 2162175 w 3653404"/>
                <a:gd name="connsiteY8" fmla="*/ 2743200 h 3308350"/>
                <a:gd name="connsiteX9" fmla="*/ 2105025 w 3653404"/>
                <a:gd name="connsiteY9" fmla="*/ 3086100 h 3308350"/>
                <a:gd name="connsiteX10" fmla="*/ 2409825 w 3653404"/>
                <a:gd name="connsiteY10" fmla="*/ 3086100 h 3308350"/>
                <a:gd name="connsiteX11" fmla="*/ 2486025 w 3653404"/>
                <a:gd name="connsiteY11" fmla="*/ 3257550 h 3308350"/>
                <a:gd name="connsiteX12" fmla="*/ 1476375 w 3653404"/>
                <a:gd name="connsiteY12" fmla="*/ 3276600 h 3308350"/>
                <a:gd name="connsiteX13" fmla="*/ 1419225 w 3653404"/>
                <a:gd name="connsiteY13" fmla="*/ 3067050 h 3308350"/>
                <a:gd name="connsiteX14" fmla="*/ 1786491 w 3653404"/>
                <a:gd name="connsiteY14" fmla="*/ 3109368 h 3308350"/>
                <a:gd name="connsiteX15" fmla="*/ 1743077 w 3653404"/>
                <a:gd name="connsiteY15" fmla="*/ 2524131 h 3308350"/>
                <a:gd name="connsiteX16" fmla="*/ 771525 w 3653404"/>
                <a:gd name="connsiteY16" fmla="*/ 1524000 h 3308350"/>
                <a:gd name="connsiteX17" fmla="*/ 676277 w 3653404"/>
                <a:gd name="connsiteY17" fmla="*/ 1209674 h 3308350"/>
                <a:gd name="connsiteX18" fmla="*/ 447676 w 3653404"/>
                <a:gd name="connsiteY18" fmla="*/ 1695449 h 3308350"/>
                <a:gd name="connsiteX19" fmla="*/ 1323975 w 3653404"/>
                <a:gd name="connsiteY19" fmla="*/ 2990850 h 3308350"/>
                <a:gd name="connsiteX20" fmla="*/ 542925 w 3653404"/>
                <a:gd name="connsiteY20" fmla="*/ 2362200 h 3308350"/>
                <a:gd name="connsiteX21" fmla="*/ 219075 w 3653404"/>
                <a:gd name="connsiteY21" fmla="*/ 1371600 h 3308350"/>
                <a:gd name="connsiteX22" fmla="*/ 692150 w 3653404"/>
                <a:gd name="connsiteY22" fmla="*/ 1022350 h 3308350"/>
                <a:gd name="connsiteX23" fmla="*/ 3524320 w 3653404"/>
                <a:gd name="connsiteY23" fmla="*/ 2470572 h 3308350"/>
                <a:gd name="connsiteX24" fmla="*/ 3533776 w 3653404"/>
                <a:gd name="connsiteY24" fmla="*/ 1885949 h 3308350"/>
                <a:gd name="connsiteX25" fmla="*/ 3181212 w 3653404"/>
                <a:gd name="connsiteY25" fmla="*/ 1506273 h 3308350"/>
                <a:gd name="connsiteX26" fmla="*/ 2646907 w 3653404"/>
                <a:gd name="connsiteY26" fmla="*/ 1525940 h 3308350"/>
                <a:gd name="connsiteX27" fmla="*/ 2343151 w 3653404"/>
                <a:gd name="connsiteY27" fmla="*/ 1781175 h 3308350"/>
                <a:gd name="connsiteX28" fmla="*/ 2343151 w 3653404"/>
                <a:gd name="connsiteY28" fmla="*/ 2543175 h 3308350"/>
                <a:gd name="connsiteX29" fmla="*/ 2619376 w 3653404"/>
                <a:gd name="connsiteY29" fmla="*/ 2790825 h 3308350"/>
                <a:gd name="connsiteX30" fmla="*/ 3162301 w 3653404"/>
                <a:gd name="connsiteY30" fmla="*/ 2771775 h 3308350"/>
                <a:gd name="connsiteX31" fmla="*/ 3524320 w 3653404"/>
                <a:gd name="connsiteY31" fmla="*/ 2470572 h 3308350"/>
                <a:gd name="connsiteX32" fmla="*/ 895280 w 3653404"/>
                <a:gd name="connsiteY32" fmla="*/ 129753 h 3308350"/>
                <a:gd name="connsiteX33" fmla="*/ 2190750 w 3653404"/>
                <a:gd name="connsiteY33" fmla="*/ 1257300 h 3308350"/>
                <a:gd name="connsiteX34" fmla="*/ 2106073 w 3653404"/>
                <a:gd name="connsiteY34" fmla="*/ 1426808 h 3308350"/>
                <a:gd name="connsiteX35" fmla="*/ 838202 w 3653404"/>
                <a:gd name="connsiteY35" fmla="*/ 285749 h 3308350"/>
                <a:gd name="connsiteX36" fmla="*/ 895280 w 3653404"/>
                <a:gd name="connsiteY36" fmla="*/ 129753 h 3308350"/>
                <a:gd name="connsiteX0" fmla="*/ 520700 w 3481954"/>
                <a:gd name="connsiteY0" fmla="*/ 1022350 h 3308350"/>
                <a:gd name="connsiteX1" fmla="*/ 510145 w 3481954"/>
                <a:gd name="connsiteY1" fmla="*/ 357744 h 3308350"/>
                <a:gd name="connsiteX2" fmla="*/ 828675 w 3481954"/>
                <a:gd name="connsiteY2" fmla="*/ 0 h 3308350"/>
                <a:gd name="connsiteX3" fmla="*/ 1866904 w 3481954"/>
                <a:gd name="connsiteY3" fmla="*/ 9529 h 3308350"/>
                <a:gd name="connsiteX4" fmla="*/ 3448052 w 3481954"/>
                <a:gd name="connsiteY4" fmla="*/ 1466860 h 3308350"/>
                <a:gd name="connsiteX5" fmla="*/ 3461785 w 3481954"/>
                <a:gd name="connsiteY5" fmla="*/ 2699794 h 3308350"/>
                <a:gd name="connsiteX6" fmla="*/ 3162301 w 3481954"/>
                <a:gd name="connsiteY6" fmla="*/ 2914660 h 3308350"/>
                <a:gd name="connsiteX7" fmla="*/ 2219325 w 3481954"/>
                <a:gd name="connsiteY7" fmla="*/ 2914650 h 3308350"/>
                <a:gd name="connsiteX8" fmla="*/ 1990725 w 3481954"/>
                <a:gd name="connsiteY8" fmla="*/ 2743200 h 3308350"/>
                <a:gd name="connsiteX9" fmla="*/ 1933575 w 3481954"/>
                <a:gd name="connsiteY9" fmla="*/ 3086100 h 3308350"/>
                <a:gd name="connsiteX10" fmla="*/ 2238375 w 3481954"/>
                <a:gd name="connsiteY10" fmla="*/ 3086100 h 3308350"/>
                <a:gd name="connsiteX11" fmla="*/ 2314575 w 3481954"/>
                <a:gd name="connsiteY11" fmla="*/ 3257550 h 3308350"/>
                <a:gd name="connsiteX12" fmla="*/ 1304925 w 3481954"/>
                <a:gd name="connsiteY12" fmla="*/ 3276600 h 3308350"/>
                <a:gd name="connsiteX13" fmla="*/ 1247775 w 3481954"/>
                <a:gd name="connsiteY13" fmla="*/ 3067050 h 3308350"/>
                <a:gd name="connsiteX14" fmla="*/ 1615041 w 3481954"/>
                <a:gd name="connsiteY14" fmla="*/ 3109368 h 3308350"/>
                <a:gd name="connsiteX15" fmla="*/ 1571627 w 3481954"/>
                <a:gd name="connsiteY15" fmla="*/ 2524131 h 3308350"/>
                <a:gd name="connsiteX16" fmla="*/ 600075 w 3481954"/>
                <a:gd name="connsiteY16" fmla="*/ 1524000 h 3308350"/>
                <a:gd name="connsiteX17" fmla="*/ 504827 w 3481954"/>
                <a:gd name="connsiteY17" fmla="*/ 1209674 h 3308350"/>
                <a:gd name="connsiteX18" fmla="*/ 276226 w 3481954"/>
                <a:gd name="connsiteY18" fmla="*/ 1695449 h 3308350"/>
                <a:gd name="connsiteX19" fmla="*/ 1152525 w 3481954"/>
                <a:gd name="connsiteY19" fmla="*/ 2990850 h 3308350"/>
                <a:gd name="connsiteX20" fmla="*/ 371475 w 3481954"/>
                <a:gd name="connsiteY20" fmla="*/ 2362200 h 3308350"/>
                <a:gd name="connsiteX21" fmla="*/ 47625 w 3481954"/>
                <a:gd name="connsiteY21" fmla="*/ 1371600 h 3308350"/>
                <a:gd name="connsiteX22" fmla="*/ 520700 w 3481954"/>
                <a:gd name="connsiteY22" fmla="*/ 1022350 h 3308350"/>
                <a:gd name="connsiteX23" fmla="*/ 3352870 w 3481954"/>
                <a:gd name="connsiteY23" fmla="*/ 2470572 h 3308350"/>
                <a:gd name="connsiteX24" fmla="*/ 3362326 w 3481954"/>
                <a:gd name="connsiteY24" fmla="*/ 1885949 h 3308350"/>
                <a:gd name="connsiteX25" fmla="*/ 3009762 w 3481954"/>
                <a:gd name="connsiteY25" fmla="*/ 1506273 h 3308350"/>
                <a:gd name="connsiteX26" fmla="*/ 2475457 w 3481954"/>
                <a:gd name="connsiteY26" fmla="*/ 1525940 h 3308350"/>
                <a:gd name="connsiteX27" fmla="*/ 2171701 w 3481954"/>
                <a:gd name="connsiteY27" fmla="*/ 1781175 h 3308350"/>
                <a:gd name="connsiteX28" fmla="*/ 2171701 w 3481954"/>
                <a:gd name="connsiteY28" fmla="*/ 2543175 h 3308350"/>
                <a:gd name="connsiteX29" fmla="*/ 2447926 w 3481954"/>
                <a:gd name="connsiteY29" fmla="*/ 2790825 h 3308350"/>
                <a:gd name="connsiteX30" fmla="*/ 2990851 w 3481954"/>
                <a:gd name="connsiteY30" fmla="*/ 2771775 h 3308350"/>
                <a:gd name="connsiteX31" fmla="*/ 3352870 w 3481954"/>
                <a:gd name="connsiteY31" fmla="*/ 2470572 h 3308350"/>
                <a:gd name="connsiteX32" fmla="*/ 723830 w 3481954"/>
                <a:gd name="connsiteY32" fmla="*/ 129753 h 3308350"/>
                <a:gd name="connsiteX33" fmla="*/ 2019300 w 3481954"/>
                <a:gd name="connsiteY33" fmla="*/ 1257300 h 3308350"/>
                <a:gd name="connsiteX34" fmla="*/ 1934623 w 3481954"/>
                <a:gd name="connsiteY34" fmla="*/ 1426808 h 3308350"/>
                <a:gd name="connsiteX35" fmla="*/ 666752 w 3481954"/>
                <a:gd name="connsiteY35" fmla="*/ 285749 h 3308350"/>
                <a:gd name="connsiteX36" fmla="*/ 723830 w 3481954"/>
                <a:gd name="connsiteY36" fmla="*/ 129753 h 3308350"/>
                <a:gd name="connsiteX0" fmla="*/ 520700 w 3481954"/>
                <a:gd name="connsiteY0" fmla="*/ 1022350 h 3308350"/>
                <a:gd name="connsiteX1" fmla="*/ 510145 w 3481954"/>
                <a:gd name="connsiteY1" fmla="*/ 357744 h 3308350"/>
                <a:gd name="connsiteX2" fmla="*/ 828675 w 3481954"/>
                <a:gd name="connsiteY2" fmla="*/ 0 h 3308350"/>
                <a:gd name="connsiteX3" fmla="*/ 1866904 w 3481954"/>
                <a:gd name="connsiteY3" fmla="*/ 9529 h 3308350"/>
                <a:gd name="connsiteX4" fmla="*/ 3448052 w 3481954"/>
                <a:gd name="connsiteY4" fmla="*/ 1466860 h 3308350"/>
                <a:gd name="connsiteX5" fmla="*/ 3461785 w 3481954"/>
                <a:gd name="connsiteY5" fmla="*/ 2699794 h 3308350"/>
                <a:gd name="connsiteX6" fmla="*/ 3162301 w 3481954"/>
                <a:gd name="connsiteY6" fmla="*/ 2914660 h 3308350"/>
                <a:gd name="connsiteX7" fmla="*/ 2219325 w 3481954"/>
                <a:gd name="connsiteY7" fmla="*/ 2914650 h 3308350"/>
                <a:gd name="connsiteX8" fmla="*/ 1990725 w 3481954"/>
                <a:gd name="connsiteY8" fmla="*/ 2743200 h 3308350"/>
                <a:gd name="connsiteX9" fmla="*/ 1933575 w 3481954"/>
                <a:gd name="connsiteY9" fmla="*/ 3086100 h 3308350"/>
                <a:gd name="connsiteX10" fmla="*/ 2238375 w 3481954"/>
                <a:gd name="connsiteY10" fmla="*/ 3086100 h 3308350"/>
                <a:gd name="connsiteX11" fmla="*/ 2314575 w 3481954"/>
                <a:gd name="connsiteY11" fmla="*/ 3257550 h 3308350"/>
                <a:gd name="connsiteX12" fmla="*/ 1304925 w 3481954"/>
                <a:gd name="connsiteY12" fmla="*/ 3276600 h 3308350"/>
                <a:gd name="connsiteX13" fmla="*/ 1247775 w 3481954"/>
                <a:gd name="connsiteY13" fmla="*/ 3067050 h 3308350"/>
                <a:gd name="connsiteX14" fmla="*/ 1615041 w 3481954"/>
                <a:gd name="connsiteY14" fmla="*/ 3109368 h 3308350"/>
                <a:gd name="connsiteX15" fmla="*/ 1571627 w 3481954"/>
                <a:gd name="connsiteY15" fmla="*/ 2524131 h 3308350"/>
                <a:gd name="connsiteX16" fmla="*/ 600075 w 3481954"/>
                <a:gd name="connsiteY16" fmla="*/ 1524000 h 3308350"/>
                <a:gd name="connsiteX17" fmla="*/ 504827 w 3481954"/>
                <a:gd name="connsiteY17" fmla="*/ 1209674 h 3308350"/>
                <a:gd name="connsiteX18" fmla="*/ 276226 w 3481954"/>
                <a:gd name="connsiteY18" fmla="*/ 1695449 h 3308350"/>
                <a:gd name="connsiteX19" fmla="*/ 1152525 w 3481954"/>
                <a:gd name="connsiteY19" fmla="*/ 2990850 h 3308350"/>
                <a:gd name="connsiteX20" fmla="*/ 371475 w 3481954"/>
                <a:gd name="connsiteY20" fmla="*/ 2362200 h 3308350"/>
                <a:gd name="connsiteX21" fmla="*/ 47625 w 3481954"/>
                <a:gd name="connsiteY21" fmla="*/ 1371600 h 3308350"/>
                <a:gd name="connsiteX22" fmla="*/ 520700 w 3481954"/>
                <a:gd name="connsiteY22" fmla="*/ 1022350 h 3308350"/>
                <a:gd name="connsiteX23" fmla="*/ 3352870 w 3481954"/>
                <a:gd name="connsiteY23" fmla="*/ 2470572 h 3308350"/>
                <a:gd name="connsiteX24" fmla="*/ 3362326 w 3481954"/>
                <a:gd name="connsiteY24" fmla="*/ 1885949 h 3308350"/>
                <a:gd name="connsiteX25" fmla="*/ 3009762 w 3481954"/>
                <a:gd name="connsiteY25" fmla="*/ 1506273 h 3308350"/>
                <a:gd name="connsiteX26" fmla="*/ 2475457 w 3481954"/>
                <a:gd name="connsiteY26" fmla="*/ 1525940 h 3308350"/>
                <a:gd name="connsiteX27" fmla="*/ 2171701 w 3481954"/>
                <a:gd name="connsiteY27" fmla="*/ 1781175 h 3308350"/>
                <a:gd name="connsiteX28" fmla="*/ 2171701 w 3481954"/>
                <a:gd name="connsiteY28" fmla="*/ 2543175 h 3308350"/>
                <a:gd name="connsiteX29" fmla="*/ 2447926 w 3481954"/>
                <a:gd name="connsiteY29" fmla="*/ 2790825 h 3308350"/>
                <a:gd name="connsiteX30" fmla="*/ 2990851 w 3481954"/>
                <a:gd name="connsiteY30" fmla="*/ 2771775 h 3308350"/>
                <a:gd name="connsiteX31" fmla="*/ 3352870 w 3481954"/>
                <a:gd name="connsiteY31" fmla="*/ 2470572 h 3308350"/>
                <a:gd name="connsiteX32" fmla="*/ 723830 w 3481954"/>
                <a:gd name="connsiteY32" fmla="*/ 129753 h 3308350"/>
                <a:gd name="connsiteX33" fmla="*/ 2019300 w 3481954"/>
                <a:gd name="connsiteY33" fmla="*/ 1257300 h 3308350"/>
                <a:gd name="connsiteX34" fmla="*/ 1934623 w 3481954"/>
                <a:gd name="connsiteY34" fmla="*/ 1426808 h 3308350"/>
                <a:gd name="connsiteX35" fmla="*/ 666752 w 3481954"/>
                <a:gd name="connsiteY35" fmla="*/ 285749 h 3308350"/>
                <a:gd name="connsiteX36" fmla="*/ 723830 w 3481954"/>
                <a:gd name="connsiteY36" fmla="*/ 129753 h 3308350"/>
                <a:gd name="connsiteX0" fmla="*/ 520700 w 3481954"/>
                <a:gd name="connsiteY0" fmla="*/ 1022350 h 3308350"/>
                <a:gd name="connsiteX1" fmla="*/ 510145 w 3481954"/>
                <a:gd name="connsiteY1" fmla="*/ 357744 h 3308350"/>
                <a:gd name="connsiteX2" fmla="*/ 828675 w 3481954"/>
                <a:gd name="connsiteY2" fmla="*/ 0 h 3308350"/>
                <a:gd name="connsiteX3" fmla="*/ 1866904 w 3481954"/>
                <a:gd name="connsiteY3" fmla="*/ 9529 h 3308350"/>
                <a:gd name="connsiteX4" fmla="*/ 3448052 w 3481954"/>
                <a:gd name="connsiteY4" fmla="*/ 1466860 h 3308350"/>
                <a:gd name="connsiteX5" fmla="*/ 3461785 w 3481954"/>
                <a:gd name="connsiteY5" fmla="*/ 2699794 h 3308350"/>
                <a:gd name="connsiteX6" fmla="*/ 3162301 w 3481954"/>
                <a:gd name="connsiteY6" fmla="*/ 2914660 h 3308350"/>
                <a:gd name="connsiteX7" fmla="*/ 2219325 w 3481954"/>
                <a:gd name="connsiteY7" fmla="*/ 2914650 h 3308350"/>
                <a:gd name="connsiteX8" fmla="*/ 1990725 w 3481954"/>
                <a:gd name="connsiteY8" fmla="*/ 2743200 h 3308350"/>
                <a:gd name="connsiteX9" fmla="*/ 1933575 w 3481954"/>
                <a:gd name="connsiteY9" fmla="*/ 3086100 h 3308350"/>
                <a:gd name="connsiteX10" fmla="*/ 2238375 w 3481954"/>
                <a:gd name="connsiteY10" fmla="*/ 3086100 h 3308350"/>
                <a:gd name="connsiteX11" fmla="*/ 2314575 w 3481954"/>
                <a:gd name="connsiteY11" fmla="*/ 3257550 h 3308350"/>
                <a:gd name="connsiteX12" fmla="*/ 1304925 w 3481954"/>
                <a:gd name="connsiteY12" fmla="*/ 3276600 h 3308350"/>
                <a:gd name="connsiteX13" fmla="*/ 1247775 w 3481954"/>
                <a:gd name="connsiteY13" fmla="*/ 3067050 h 3308350"/>
                <a:gd name="connsiteX14" fmla="*/ 1615041 w 3481954"/>
                <a:gd name="connsiteY14" fmla="*/ 3109368 h 3308350"/>
                <a:gd name="connsiteX15" fmla="*/ 1571627 w 3481954"/>
                <a:gd name="connsiteY15" fmla="*/ 2524131 h 3308350"/>
                <a:gd name="connsiteX16" fmla="*/ 600075 w 3481954"/>
                <a:gd name="connsiteY16" fmla="*/ 1524000 h 3308350"/>
                <a:gd name="connsiteX17" fmla="*/ 504827 w 3481954"/>
                <a:gd name="connsiteY17" fmla="*/ 1209674 h 3308350"/>
                <a:gd name="connsiteX18" fmla="*/ 276226 w 3481954"/>
                <a:gd name="connsiteY18" fmla="*/ 1695449 h 3308350"/>
                <a:gd name="connsiteX19" fmla="*/ 1152525 w 3481954"/>
                <a:gd name="connsiteY19" fmla="*/ 2990850 h 3308350"/>
                <a:gd name="connsiteX20" fmla="*/ 371475 w 3481954"/>
                <a:gd name="connsiteY20" fmla="*/ 2362200 h 3308350"/>
                <a:gd name="connsiteX21" fmla="*/ 47625 w 3481954"/>
                <a:gd name="connsiteY21" fmla="*/ 1371600 h 3308350"/>
                <a:gd name="connsiteX22" fmla="*/ 520700 w 3481954"/>
                <a:gd name="connsiteY22" fmla="*/ 1022350 h 3308350"/>
                <a:gd name="connsiteX23" fmla="*/ 3352870 w 3481954"/>
                <a:gd name="connsiteY23" fmla="*/ 2470572 h 3308350"/>
                <a:gd name="connsiteX24" fmla="*/ 3362326 w 3481954"/>
                <a:gd name="connsiteY24" fmla="*/ 1885949 h 3308350"/>
                <a:gd name="connsiteX25" fmla="*/ 3009762 w 3481954"/>
                <a:gd name="connsiteY25" fmla="*/ 1506273 h 3308350"/>
                <a:gd name="connsiteX26" fmla="*/ 2475457 w 3481954"/>
                <a:gd name="connsiteY26" fmla="*/ 1525940 h 3308350"/>
                <a:gd name="connsiteX27" fmla="*/ 2171701 w 3481954"/>
                <a:gd name="connsiteY27" fmla="*/ 1781175 h 3308350"/>
                <a:gd name="connsiteX28" fmla="*/ 2171701 w 3481954"/>
                <a:gd name="connsiteY28" fmla="*/ 2543175 h 3308350"/>
                <a:gd name="connsiteX29" fmla="*/ 2447926 w 3481954"/>
                <a:gd name="connsiteY29" fmla="*/ 2790825 h 3308350"/>
                <a:gd name="connsiteX30" fmla="*/ 2990851 w 3481954"/>
                <a:gd name="connsiteY30" fmla="*/ 2771775 h 3308350"/>
                <a:gd name="connsiteX31" fmla="*/ 3352870 w 3481954"/>
                <a:gd name="connsiteY31" fmla="*/ 2470572 h 3308350"/>
                <a:gd name="connsiteX32" fmla="*/ 723830 w 3481954"/>
                <a:gd name="connsiteY32" fmla="*/ 129753 h 3308350"/>
                <a:gd name="connsiteX33" fmla="*/ 2019300 w 3481954"/>
                <a:gd name="connsiteY33" fmla="*/ 1257300 h 3308350"/>
                <a:gd name="connsiteX34" fmla="*/ 1934623 w 3481954"/>
                <a:gd name="connsiteY34" fmla="*/ 1426808 h 3308350"/>
                <a:gd name="connsiteX35" fmla="*/ 666752 w 3481954"/>
                <a:gd name="connsiteY35" fmla="*/ 285749 h 3308350"/>
                <a:gd name="connsiteX36" fmla="*/ 723830 w 3481954"/>
                <a:gd name="connsiteY36" fmla="*/ 129753 h 3308350"/>
                <a:gd name="connsiteX0" fmla="*/ 565148 w 3526402"/>
                <a:gd name="connsiteY0" fmla="*/ 1022350 h 3308350"/>
                <a:gd name="connsiteX1" fmla="*/ 554593 w 3526402"/>
                <a:gd name="connsiteY1" fmla="*/ 357744 h 3308350"/>
                <a:gd name="connsiteX2" fmla="*/ 873123 w 3526402"/>
                <a:gd name="connsiteY2" fmla="*/ 0 h 3308350"/>
                <a:gd name="connsiteX3" fmla="*/ 1911352 w 3526402"/>
                <a:gd name="connsiteY3" fmla="*/ 9529 h 3308350"/>
                <a:gd name="connsiteX4" fmla="*/ 3492500 w 3526402"/>
                <a:gd name="connsiteY4" fmla="*/ 1466860 h 3308350"/>
                <a:gd name="connsiteX5" fmla="*/ 3506233 w 3526402"/>
                <a:gd name="connsiteY5" fmla="*/ 2699794 h 3308350"/>
                <a:gd name="connsiteX6" fmla="*/ 3206749 w 3526402"/>
                <a:gd name="connsiteY6" fmla="*/ 2914660 h 3308350"/>
                <a:gd name="connsiteX7" fmla="*/ 2263773 w 3526402"/>
                <a:gd name="connsiteY7" fmla="*/ 2914650 h 3308350"/>
                <a:gd name="connsiteX8" fmla="*/ 2035173 w 3526402"/>
                <a:gd name="connsiteY8" fmla="*/ 2743200 h 3308350"/>
                <a:gd name="connsiteX9" fmla="*/ 1978023 w 3526402"/>
                <a:gd name="connsiteY9" fmla="*/ 3086100 h 3308350"/>
                <a:gd name="connsiteX10" fmla="*/ 2282823 w 3526402"/>
                <a:gd name="connsiteY10" fmla="*/ 3086100 h 3308350"/>
                <a:gd name="connsiteX11" fmla="*/ 2359023 w 3526402"/>
                <a:gd name="connsiteY11" fmla="*/ 3257550 h 3308350"/>
                <a:gd name="connsiteX12" fmla="*/ 1349373 w 3526402"/>
                <a:gd name="connsiteY12" fmla="*/ 3276600 h 3308350"/>
                <a:gd name="connsiteX13" fmla="*/ 1292223 w 3526402"/>
                <a:gd name="connsiteY13" fmla="*/ 3067050 h 3308350"/>
                <a:gd name="connsiteX14" fmla="*/ 1659489 w 3526402"/>
                <a:gd name="connsiteY14" fmla="*/ 3109368 h 3308350"/>
                <a:gd name="connsiteX15" fmla="*/ 1616075 w 3526402"/>
                <a:gd name="connsiteY15" fmla="*/ 2524131 h 3308350"/>
                <a:gd name="connsiteX16" fmla="*/ 644523 w 3526402"/>
                <a:gd name="connsiteY16" fmla="*/ 1524000 h 3308350"/>
                <a:gd name="connsiteX17" fmla="*/ 549275 w 3526402"/>
                <a:gd name="connsiteY17" fmla="*/ 1209674 h 3308350"/>
                <a:gd name="connsiteX18" fmla="*/ 320674 w 3526402"/>
                <a:gd name="connsiteY18" fmla="*/ 1695449 h 3308350"/>
                <a:gd name="connsiteX19" fmla="*/ 1196973 w 3526402"/>
                <a:gd name="connsiteY19" fmla="*/ 2990850 h 3308350"/>
                <a:gd name="connsiteX20" fmla="*/ 415923 w 3526402"/>
                <a:gd name="connsiteY20" fmla="*/ 2362200 h 3308350"/>
                <a:gd name="connsiteX21" fmla="*/ 53975 w 3526402"/>
                <a:gd name="connsiteY21" fmla="*/ 1704974 h 3308350"/>
                <a:gd name="connsiteX22" fmla="*/ 92073 w 3526402"/>
                <a:gd name="connsiteY22" fmla="*/ 1371600 h 3308350"/>
                <a:gd name="connsiteX23" fmla="*/ 565148 w 3526402"/>
                <a:gd name="connsiteY23" fmla="*/ 1022350 h 3308350"/>
                <a:gd name="connsiteX24" fmla="*/ 3397318 w 3526402"/>
                <a:gd name="connsiteY24" fmla="*/ 2470572 h 3308350"/>
                <a:gd name="connsiteX25" fmla="*/ 3406774 w 3526402"/>
                <a:gd name="connsiteY25" fmla="*/ 1885949 h 3308350"/>
                <a:gd name="connsiteX26" fmla="*/ 3054210 w 3526402"/>
                <a:gd name="connsiteY26" fmla="*/ 1506273 h 3308350"/>
                <a:gd name="connsiteX27" fmla="*/ 2519905 w 3526402"/>
                <a:gd name="connsiteY27" fmla="*/ 1525940 h 3308350"/>
                <a:gd name="connsiteX28" fmla="*/ 2216149 w 3526402"/>
                <a:gd name="connsiteY28" fmla="*/ 1781175 h 3308350"/>
                <a:gd name="connsiteX29" fmla="*/ 2216149 w 3526402"/>
                <a:gd name="connsiteY29" fmla="*/ 2543175 h 3308350"/>
                <a:gd name="connsiteX30" fmla="*/ 2492374 w 3526402"/>
                <a:gd name="connsiteY30" fmla="*/ 2790825 h 3308350"/>
                <a:gd name="connsiteX31" fmla="*/ 3035299 w 3526402"/>
                <a:gd name="connsiteY31" fmla="*/ 2771775 h 3308350"/>
                <a:gd name="connsiteX32" fmla="*/ 3397318 w 3526402"/>
                <a:gd name="connsiteY32" fmla="*/ 2470572 h 3308350"/>
                <a:gd name="connsiteX33" fmla="*/ 768278 w 3526402"/>
                <a:gd name="connsiteY33" fmla="*/ 129753 h 3308350"/>
                <a:gd name="connsiteX34" fmla="*/ 2063748 w 3526402"/>
                <a:gd name="connsiteY34" fmla="*/ 1257300 h 3308350"/>
                <a:gd name="connsiteX35" fmla="*/ 1979071 w 3526402"/>
                <a:gd name="connsiteY35" fmla="*/ 1426808 h 3308350"/>
                <a:gd name="connsiteX36" fmla="*/ 711200 w 3526402"/>
                <a:gd name="connsiteY36" fmla="*/ 285749 h 3308350"/>
                <a:gd name="connsiteX37" fmla="*/ 768278 w 3526402"/>
                <a:gd name="connsiteY37" fmla="*/ 129753 h 3308350"/>
                <a:gd name="connsiteX0" fmla="*/ 497946 w 3459200"/>
                <a:gd name="connsiteY0" fmla="*/ 1022350 h 3308350"/>
                <a:gd name="connsiteX1" fmla="*/ 487391 w 3459200"/>
                <a:gd name="connsiteY1" fmla="*/ 357744 h 3308350"/>
                <a:gd name="connsiteX2" fmla="*/ 805921 w 3459200"/>
                <a:gd name="connsiteY2" fmla="*/ 0 h 3308350"/>
                <a:gd name="connsiteX3" fmla="*/ 1844150 w 3459200"/>
                <a:gd name="connsiteY3" fmla="*/ 9529 h 3308350"/>
                <a:gd name="connsiteX4" fmla="*/ 3425298 w 3459200"/>
                <a:gd name="connsiteY4" fmla="*/ 1466860 h 3308350"/>
                <a:gd name="connsiteX5" fmla="*/ 3439031 w 3459200"/>
                <a:gd name="connsiteY5" fmla="*/ 2699794 h 3308350"/>
                <a:gd name="connsiteX6" fmla="*/ 3139547 w 3459200"/>
                <a:gd name="connsiteY6" fmla="*/ 2914660 h 3308350"/>
                <a:gd name="connsiteX7" fmla="*/ 2196571 w 3459200"/>
                <a:gd name="connsiteY7" fmla="*/ 2914650 h 3308350"/>
                <a:gd name="connsiteX8" fmla="*/ 1967971 w 3459200"/>
                <a:gd name="connsiteY8" fmla="*/ 2743200 h 3308350"/>
                <a:gd name="connsiteX9" fmla="*/ 1910821 w 3459200"/>
                <a:gd name="connsiteY9" fmla="*/ 3086100 h 3308350"/>
                <a:gd name="connsiteX10" fmla="*/ 2215621 w 3459200"/>
                <a:gd name="connsiteY10" fmla="*/ 3086100 h 3308350"/>
                <a:gd name="connsiteX11" fmla="*/ 2291821 w 3459200"/>
                <a:gd name="connsiteY11" fmla="*/ 3257550 h 3308350"/>
                <a:gd name="connsiteX12" fmla="*/ 1282171 w 3459200"/>
                <a:gd name="connsiteY12" fmla="*/ 3276600 h 3308350"/>
                <a:gd name="connsiteX13" fmla="*/ 1225021 w 3459200"/>
                <a:gd name="connsiteY13" fmla="*/ 3067050 h 3308350"/>
                <a:gd name="connsiteX14" fmla="*/ 1592287 w 3459200"/>
                <a:gd name="connsiteY14" fmla="*/ 3109368 h 3308350"/>
                <a:gd name="connsiteX15" fmla="*/ 1548873 w 3459200"/>
                <a:gd name="connsiteY15" fmla="*/ 2524131 h 3308350"/>
                <a:gd name="connsiteX16" fmla="*/ 577321 w 3459200"/>
                <a:gd name="connsiteY16" fmla="*/ 1524000 h 3308350"/>
                <a:gd name="connsiteX17" fmla="*/ 482073 w 3459200"/>
                <a:gd name="connsiteY17" fmla="*/ 1209674 h 3308350"/>
                <a:gd name="connsiteX18" fmla="*/ 253472 w 3459200"/>
                <a:gd name="connsiteY18" fmla="*/ 1695449 h 3308350"/>
                <a:gd name="connsiteX19" fmla="*/ 1129771 w 3459200"/>
                <a:gd name="connsiteY19" fmla="*/ 2990850 h 3308350"/>
                <a:gd name="connsiteX20" fmla="*/ 348721 w 3459200"/>
                <a:gd name="connsiteY20" fmla="*/ 2362200 h 3308350"/>
                <a:gd name="connsiteX21" fmla="*/ 24871 w 3459200"/>
                <a:gd name="connsiteY21" fmla="*/ 1371600 h 3308350"/>
                <a:gd name="connsiteX22" fmla="*/ 497946 w 3459200"/>
                <a:gd name="connsiteY22" fmla="*/ 1022350 h 3308350"/>
                <a:gd name="connsiteX23" fmla="*/ 3330116 w 3459200"/>
                <a:gd name="connsiteY23" fmla="*/ 2470572 h 3308350"/>
                <a:gd name="connsiteX24" fmla="*/ 3339572 w 3459200"/>
                <a:gd name="connsiteY24" fmla="*/ 1885949 h 3308350"/>
                <a:gd name="connsiteX25" fmla="*/ 2987008 w 3459200"/>
                <a:gd name="connsiteY25" fmla="*/ 1506273 h 3308350"/>
                <a:gd name="connsiteX26" fmla="*/ 2452703 w 3459200"/>
                <a:gd name="connsiteY26" fmla="*/ 1525940 h 3308350"/>
                <a:gd name="connsiteX27" fmla="*/ 2148947 w 3459200"/>
                <a:gd name="connsiteY27" fmla="*/ 1781175 h 3308350"/>
                <a:gd name="connsiteX28" fmla="*/ 2148947 w 3459200"/>
                <a:gd name="connsiteY28" fmla="*/ 2543175 h 3308350"/>
                <a:gd name="connsiteX29" fmla="*/ 2425172 w 3459200"/>
                <a:gd name="connsiteY29" fmla="*/ 2790825 h 3308350"/>
                <a:gd name="connsiteX30" fmla="*/ 2968097 w 3459200"/>
                <a:gd name="connsiteY30" fmla="*/ 2771775 h 3308350"/>
                <a:gd name="connsiteX31" fmla="*/ 3330116 w 3459200"/>
                <a:gd name="connsiteY31" fmla="*/ 2470572 h 3308350"/>
                <a:gd name="connsiteX32" fmla="*/ 701076 w 3459200"/>
                <a:gd name="connsiteY32" fmla="*/ 129753 h 3308350"/>
                <a:gd name="connsiteX33" fmla="*/ 1996546 w 3459200"/>
                <a:gd name="connsiteY33" fmla="*/ 1257300 h 3308350"/>
                <a:gd name="connsiteX34" fmla="*/ 1911869 w 3459200"/>
                <a:gd name="connsiteY34" fmla="*/ 1426808 h 3308350"/>
                <a:gd name="connsiteX35" fmla="*/ 643998 w 3459200"/>
                <a:gd name="connsiteY35" fmla="*/ 285749 h 3308350"/>
                <a:gd name="connsiteX36" fmla="*/ 701076 w 3459200"/>
                <a:gd name="connsiteY36" fmla="*/ 129753 h 3308350"/>
                <a:gd name="connsiteX0" fmla="*/ 583671 w 3544925"/>
                <a:gd name="connsiteY0" fmla="*/ 1022350 h 3308350"/>
                <a:gd name="connsiteX1" fmla="*/ 573116 w 3544925"/>
                <a:gd name="connsiteY1" fmla="*/ 357744 h 3308350"/>
                <a:gd name="connsiteX2" fmla="*/ 891646 w 3544925"/>
                <a:gd name="connsiteY2" fmla="*/ 0 h 3308350"/>
                <a:gd name="connsiteX3" fmla="*/ 1929875 w 3544925"/>
                <a:gd name="connsiteY3" fmla="*/ 9529 h 3308350"/>
                <a:gd name="connsiteX4" fmla="*/ 3511023 w 3544925"/>
                <a:gd name="connsiteY4" fmla="*/ 1466860 h 3308350"/>
                <a:gd name="connsiteX5" fmla="*/ 3524756 w 3544925"/>
                <a:gd name="connsiteY5" fmla="*/ 2699794 h 3308350"/>
                <a:gd name="connsiteX6" fmla="*/ 3225272 w 3544925"/>
                <a:gd name="connsiteY6" fmla="*/ 2914660 h 3308350"/>
                <a:gd name="connsiteX7" fmla="*/ 2282296 w 3544925"/>
                <a:gd name="connsiteY7" fmla="*/ 2914650 h 3308350"/>
                <a:gd name="connsiteX8" fmla="*/ 2053696 w 3544925"/>
                <a:gd name="connsiteY8" fmla="*/ 2743200 h 3308350"/>
                <a:gd name="connsiteX9" fmla="*/ 1996546 w 3544925"/>
                <a:gd name="connsiteY9" fmla="*/ 3086100 h 3308350"/>
                <a:gd name="connsiteX10" fmla="*/ 2301346 w 3544925"/>
                <a:gd name="connsiteY10" fmla="*/ 3086100 h 3308350"/>
                <a:gd name="connsiteX11" fmla="*/ 2377546 w 3544925"/>
                <a:gd name="connsiteY11" fmla="*/ 3257550 h 3308350"/>
                <a:gd name="connsiteX12" fmla="*/ 1367896 w 3544925"/>
                <a:gd name="connsiteY12" fmla="*/ 3276600 h 3308350"/>
                <a:gd name="connsiteX13" fmla="*/ 1310746 w 3544925"/>
                <a:gd name="connsiteY13" fmla="*/ 3067050 h 3308350"/>
                <a:gd name="connsiteX14" fmla="*/ 1678012 w 3544925"/>
                <a:gd name="connsiteY14" fmla="*/ 3109368 h 3308350"/>
                <a:gd name="connsiteX15" fmla="*/ 1634598 w 3544925"/>
                <a:gd name="connsiteY15" fmla="*/ 2524131 h 3308350"/>
                <a:gd name="connsiteX16" fmla="*/ 663046 w 3544925"/>
                <a:gd name="connsiteY16" fmla="*/ 1524000 h 3308350"/>
                <a:gd name="connsiteX17" fmla="*/ 567798 w 3544925"/>
                <a:gd name="connsiteY17" fmla="*/ 1209674 h 3308350"/>
                <a:gd name="connsiteX18" fmla="*/ 339197 w 3544925"/>
                <a:gd name="connsiteY18" fmla="*/ 1695449 h 3308350"/>
                <a:gd name="connsiteX19" fmla="*/ 1215496 w 3544925"/>
                <a:gd name="connsiteY19" fmla="*/ 2990850 h 3308350"/>
                <a:gd name="connsiteX20" fmla="*/ 434446 w 3544925"/>
                <a:gd name="connsiteY20" fmla="*/ 2362200 h 3308350"/>
                <a:gd name="connsiteX21" fmla="*/ 110596 w 3544925"/>
                <a:gd name="connsiteY21" fmla="*/ 1371600 h 3308350"/>
                <a:gd name="connsiteX22" fmla="*/ 583671 w 3544925"/>
                <a:gd name="connsiteY22" fmla="*/ 1022350 h 3308350"/>
                <a:gd name="connsiteX23" fmla="*/ 3415841 w 3544925"/>
                <a:gd name="connsiteY23" fmla="*/ 2470572 h 3308350"/>
                <a:gd name="connsiteX24" fmla="*/ 3425297 w 3544925"/>
                <a:gd name="connsiteY24" fmla="*/ 1885949 h 3308350"/>
                <a:gd name="connsiteX25" fmla="*/ 3072733 w 3544925"/>
                <a:gd name="connsiteY25" fmla="*/ 1506273 h 3308350"/>
                <a:gd name="connsiteX26" fmla="*/ 2538428 w 3544925"/>
                <a:gd name="connsiteY26" fmla="*/ 1525940 h 3308350"/>
                <a:gd name="connsiteX27" fmla="*/ 2234672 w 3544925"/>
                <a:gd name="connsiteY27" fmla="*/ 1781175 h 3308350"/>
                <a:gd name="connsiteX28" fmla="*/ 2234672 w 3544925"/>
                <a:gd name="connsiteY28" fmla="*/ 2543175 h 3308350"/>
                <a:gd name="connsiteX29" fmla="*/ 2510897 w 3544925"/>
                <a:gd name="connsiteY29" fmla="*/ 2790825 h 3308350"/>
                <a:gd name="connsiteX30" fmla="*/ 3053822 w 3544925"/>
                <a:gd name="connsiteY30" fmla="*/ 2771775 h 3308350"/>
                <a:gd name="connsiteX31" fmla="*/ 3415841 w 3544925"/>
                <a:gd name="connsiteY31" fmla="*/ 2470572 h 3308350"/>
                <a:gd name="connsiteX32" fmla="*/ 786801 w 3544925"/>
                <a:gd name="connsiteY32" fmla="*/ 129753 h 3308350"/>
                <a:gd name="connsiteX33" fmla="*/ 2082271 w 3544925"/>
                <a:gd name="connsiteY33" fmla="*/ 1257300 h 3308350"/>
                <a:gd name="connsiteX34" fmla="*/ 1997594 w 3544925"/>
                <a:gd name="connsiteY34" fmla="*/ 1426808 h 3308350"/>
                <a:gd name="connsiteX35" fmla="*/ 729723 w 3544925"/>
                <a:gd name="connsiteY35" fmla="*/ 285749 h 3308350"/>
                <a:gd name="connsiteX36" fmla="*/ 786801 w 3544925"/>
                <a:gd name="connsiteY36" fmla="*/ 129753 h 3308350"/>
                <a:gd name="connsiteX0" fmla="*/ 583671 w 3544925"/>
                <a:gd name="connsiteY0" fmla="*/ 1022350 h 3308350"/>
                <a:gd name="connsiteX1" fmla="*/ 573116 w 3544925"/>
                <a:gd name="connsiteY1" fmla="*/ 357744 h 3308350"/>
                <a:gd name="connsiteX2" fmla="*/ 891646 w 3544925"/>
                <a:gd name="connsiteY2" fmla="*/ 0 h 3308350"/>
                <a:gd name="connsiteX3" fmla="*/ 1929875 w 3544925"/>
                <a:gd name="connsiteY3" fmla="*/ 9529 h 3308350"/>
                <a:gd name="connsiteX4" fmla="*/ 3511023 w 3544925"/>
                <a:gd name="connsiteY4" fmla="*/ 1466860 h 3308350"/>
                <a:gd name="connsiteX5" fmla="*/ 3524756 w 3544925"/>
                <a:gd name="connsiteY5" fmla="*/ 2699794 h 3308350"/>
                <a:gd name="connsiteX6" fmla="*/ 3225272 w 3544925"/>
                <a:gd name="connsiteY6" fmla="*/ 2914660 h 3308350"/>
                <a:gd name="connsiteX7" fmla="*/ 2282296 w 3544925"/>
                <a:gd name="connsiteY7" fmla="*/ 2914650 h 3308350"/>
                <a:gd name="connsiteX8" fmla="*/ 2053696 w 3544925"/>
                <a:gd name="connsiteY8" fmla="*/ 2743200 h 3308350"/>
                <a:gd name="connsiteX9" fmla="*/ 1996546 w 3544925"/>
                <a:gd name="connsiteY9" fmla="*/ 3086100 h 3308350"/>
                <a:gd name="connsiteX10" fmla="*/ 2301346 w 3544925"/>
                <a:gd name="connsiteY10" fmla="*/ 3086100 h 3308350"/>
                <a:gd name="connsiteX11" fmla="*/ 2377546 w 3544925"/>
                <a:gd name="connsiteY11" fmla="*/ 3257550 h 3308350"/>
                <a:gd name="connsiteX12" fmla="*/ 1367896 w 3544925"/>
                <a:gd name="connsiteY12" fmla="*/ 3276600 h 3308350"/>
                <a:gd name="connsiteX13" fmla="*/ 1310746 w 3544925"/>
                <a:gd name="connsiteY13" fmla="*/ 3067050 h 3308350"/>
                <a:gd name="connsiteX14" fmla="*/ 1678012 w 3544925"/>
                <a:gd name="connsiteY14" fmla="*/ 3109368 h 3308350"/>
                <a:gd name="connsiteX15" fmla="*/ 1634598 w 3544925"/>
                <a:gd name="connsiteY15" fmla="*/ 2524131 h 3308350"/>
                <a:gd name="connsiteX16" fmla="*/ 663046 w 3544925"/>
                <a:gd name="connsiteY16" fmla="*/ 1524000 h 3308350"/>
                <a:gd name="connsiteX17" fmla="*/ 567798 w 3544925"/>
                <a:gd name="connsiteY17" fmla="*/ 1209674 h 3308350"/>
                <a:gd name="connsiteX18" fmla="*/ 301097 w 3544925"/>
                <a:gd name="connsiteY18" fmla="*/ 1800224 h 3308350"/>
                <a:gd name="connsiteX19" fmla="*/ 1215496 w 3544925"/>
                <a:gd name="connsiteY19" fmla="*/ 2990850 h 3308350"/>
                <a:gd name="connsiteX20" fmla="*/ 434446 w 3544925"/>
                <a:gd name="connsiteY20" fmla="*/ 2362200 h 3308350"/>
                <a:gd name="connsiteX21" fmla="*/ 110596 w 3544925"/>
                <a:gd name="connsiteY21" fmla="*/ 1371600 h 3308350"/>
                <a:gd name="connsiteX22" fmla="*/ 583671 w 3544925"/>
                <a:gd name="connsiteY22" fmla="*/ 1022350 h 3308350"/>
                <a:gd name="connsiteX23" fmla="*/ 3415841 w 3544925"/>
                <a:gd name="connsiteY23" fmla="*/ 2470572 h 3308350"/>
                <a:gd name="connsiteX24" fmla="*/ 3425297 w 3544925"/>
                <a:gd name="connsiteY24" fmla="*/ 1885949 h 3308350"/>
                <a:gd name="connsiteX25" fmla="*/ 3072733 w 3544925"/>
                <a:gd name="connsiteY25" fmla="*/ 1506273 h 3308350"/>
                <a:gd name="connsiteX26" fmla="*/ 2538428 w 3544925"/>
                <a:gd name="connsiteY26" fmla="*/ 1525940 h 3308350"/>
                <a:gd name="connsiteX27" fmla="*/ 2234672 w 3544925"/>
                <a:gd name="connsiteY27" fmla="*/ 1781175 h 3308350"/>
                <a:gd name="connsiteX28" fmla="*/ 2234672 w 3544925"/>
                <a:gd name="connsiteY28" fmla="*/ 2543175 h 3308350"/>
                <a:gd name="connsiteX29" fmla="*/ 2510897 w 3544925"/>
                <a:gd name="connsiteY29" fmla="*/ 2790825 h 3308350"/>
                <a:gd name="connsiteX30" fmla="*/ 3053822 w 3544925"/>
                <a:gd name="connsiteY30" fmla="*/ 2771775 h 3308350"/>
                <a:gd name="connsiteX31" fmla="*/ 3415841 w 3544925"/>
                <a:gd name="connsiteY31" fmla="*/ 2470572 h 3308350"/>
                <a:gd name="connsiteX32" fmla="*/ 786801 w 3544925"/>
                <a:gd name="connsiteY32" fmla="*/ 129753 h 3308350"/>
                <a:gd name="connsiteX33" fmla="*/ 2082271 w 3544925"/>
                <a:gd name="connsiteY33" fmla="*/ 1257300 h 3308350"/>
                <a:gd name="connsiteX34" fmla="*/ 1997594 w 3544925"/>
                <a:gd name="connsiteY34" fmla="*/ 1426808 h 3308350"/>
                <a:gd name="connsiteX35" fmla="*/ 729723 w 3544925"/>
                <a:gd name="connsiteY35" fmla="*/ 285749 h 3308350"/>
                <a:gd name="connsiteX36" fmla="*/ 786801 w 3544925"/>
                <a:gd name="connsiteY36" fmla="*/ 129753 h 3308350"/>
                <a:gd name="connsiteX0" fmla="*/ 583671 w 3544925"/>
                <a:gd name="connsiteY0" fmla="*/ 1022350 h 3308350"/>
                <a:gd name="connsiteX1" fmla="*/ 573116 w 3544925"/>
                <a:gd name="connsiteY1" fmla="*/ 357744 h 3308350"/>
                <a:gd name="connsiteX2" fmla="*/ 891646 w 3544925"/>
                <a:gd name="connsiteY2" fmla="*/ 0 h 3308350"/>
                <a:gd name="connsiteX3" fmla="*/ 1929875 w 3544925"/>
                <a:gd name="connsiteY3" fmla="*/ 9529 h 3308350"/>
                <a:gd name="connsiteX4" fmla="*/ 3511023 w 3544925"/>
                <a:gd name="connsiteY4" fmla="*/ 1466860 h 3308350"/>
                <a:gd name="connsiteX5" fmla="*/ 3524756 w 3544925"/>
                <a:gd name="connsiteY5" fmla="*/ 2699794 h 3308350"/>
                <a:gd name="connsiteX6" fmla="*/ 3225272 w 3544925"/>
                <a:gd name="connsiteY6" fmla="*/ 2914660 h 3308350"/>
                <a:gd name="connsiteX7" fmla="*/ 2282296 w 3544925"/>
                <a:gd name="connsiteY7" fmla="*/ 2914650 h 3308350"/>
                <a:gd name="connsiteX8" fmla="*/ 2053696 w 3544925"/>
                <a:gd name="connsiteY8" fmla="*/ 2743200 h 3308350"/>
                <a:gd name="connsiteX9" fmla="*/ 1996546 w 3544925"/>
                <a:gd name="connsiteY9" fmla="*/ 3086100 h 3308350"/>
                <a:gd name="connsiteX10" fmla="*/ 2301346 w 3544925"/>
                <a:gd name="connsiteY10" fmla="*/ 3086100 h 3308350"/>
                <a:gd name="connsiteX11" fmla="*/ 2377546 w 3544925"/>
                <a:gd name="connsiteY11" fmla="*/ 3257550 h 3308350"/>
                <a:gd name="connsiteX12" fmla="*/ 1367896 w 3544925"/>
                <a:gd name="connsiteY12" fmla="*/ 3276600 h 3308350"/>
                <a:gd name="connsiteX13" fmla="*/ 1310746 w 3544925"/>
                <a:gd name="connsiteY13" fmla="*/ 3067050 h 3308350"/>
                <a:gd name="connsiteX14" fmla="*/ 1678012 w 3544925"/>
                <a:gd name="connsiteY14" fmla="*/ 3109368 h 3308350"/>
                <a:gd name="connsiteX15" fmla="*/ 1634598 w 3544925"/>
                <a:gd name="connsiteY15" fmla="*/ 2524131 h 3308350"/>
                <a:gd name="connsiteX16" fmla="*/ 663046 w 3544925"/>
                <a:gd name="connsiteY16" fmla="*/ 1524000 h 3308350"/>
                <a:gd name="connsiteX17" fmla="*/ 567798 w 3544925"/>
                <a:gd name="connsiteY17" fmla="*/ 1209674 h 3308350"/>
                <a:gd name="connsiteX18" fmla="*/ 301097 w 3544925"/>
                <a:gd name="connsiteY18" fmla="*/ 1800224 h 3308350"/>
                <a:gd name="connsiteX19" fmla="*/ 1215499 w 3544925"/>
                <a:gd name="connsiteY19" fmla="*/ 2447924 h 3308350"/>
                <a:gd name="connsiteX20" fmla="*/ 1215496 w 3544925"/>
                <a:gd name="connsiteY20" fmla="*/ 2990850 h 3308350"/>
                <a:gd name="connsiteX21" fmla="*/ 434446 w 3544925"/>
                <a:gd name="connsiteY21" fmla="*/ 2362200 h 3308350"/>
                <a:gd name="connsiteX22" fmla="*/ 110596 w 3544925"/>
                <a:gd name="connsiteY22" fmla="*/ 1371600 h 3308350"/>
                <a:gd name="connsiteX23" fmla="*/ 583671 w 3544925"/>
                <a:gd name="connsiteY23" fmla="*/ 1022350 h 3308350"/>
                <a:gd name="connsiteX24" fmla="*/ 3415841 w 3544925"/>
                <a:gd name="connsiteY24" fmla="*/ 2470572 h 3308350"/>
                <a:gd name="connsiteX25" fmla="*/ 3425297 w 3544925"/>
                <a:gd name="connsiteY25" fmla="*/ 1885949 h 3308350"/>
                <a:gd name="connsiteX26" fmla="*/ 3072733 w 3544925"/>
                <a:gd name="connsiteY26" fmla="*/ 1506273 h 3308350"/>
                <a:gd name="connsiteX27" fmla="*/ 2538428 w 3544925"/>
                <a:gd name="connsiteY27" fmla="*/ 1525940 h 3308350"/>
                <a:gd name="connsiteX28" fmla="*/ 2234672 w 3544925"/>
                <a:gd name="connsiteY28" fmla="*/ 1781175 h 3308350"/>
                <a:gd name="connsiteX29" fmla="*/ 2234672 w 3544925"/>
                <a:gd name="connsiteY29" fmla="*/ 2543175 h 3308350"/>
                <a:gd name="connsiteX30" fmla="*/ 2510897 w 3544925"/>
                <a:gd name="connsiteY30" fmla="*/ 2790825 h 3308350"/>
                <a:gd name="connsiteX31" fmla="*/ 3053822 w 3544925"/>
                <a:gd name="connsiteY31" fmla="*/ 2771775 h 3308350"/>
                <a:gd name="connsiteX32" fmla="*/ 3415841 w 3544925"/>
                <a:gd name="connsiteY32" fmla="*/ 2470572 h 3308350"/>
                <a:gd name="connsiteX33" fmla="*/ 786801 w 3544925"/>
                <a:gd name="connsiteY33" fmla="*/ 129753 h 3308350"/>
                <a:gd name="connsiteX34" fmla="*/ 2082271 w 3544925"/>
                <a:gd name="connsiteY34" fmla="*/ 1257300 h 3308350"/>
                <a:gd name="connsiteX35" fmla="*/ 1997594 w 3544925"/>
                <a:gd name="connsiteY35" fmla="*/ 1426808 h 3308350"/>
                <a:gd name="connsiteX36" fmla="*/ 729723 w 3544925"/>
                <a:gd name="connsiteY36" fmla="*/ 285749 h 3308350"/>
                <a:gd name="connsiteX37" fmla="*/ 786801 w 3544925"/>
                <a:gd name="connsiteY37" fmla="*/ 129753 h 3308350"/>
                <a:gd name="connsiteX0" fmla="*/ 583671 w 3544925"/>
                <a:gd name="connsiteY0" fmla="*/ 1022350 h 3308350"/>
                <a:gd name="connsiteX1" fmla="*/ 573116 w 3544925"/>
                <a:gd name="connsiteY1" fmla="*/ 357744 h 3308350"/>
                <a:gd name="connsiteX2" fmla="*/ 891646 w 3544925"/>
                <a:gd name="connsiteY2" fmla="*/ 0 h 3308350"/>
                <a:gd name="connsiteX3" fmla="*/ 1929875 w 3544925"/>
                <a:gd name="connsiteY3" fmla="*/ 9529 h 3308350"/>
                <a:gd name="connsiteX4" fmla="*/ 3511023 w 3544925"/>
                <a:gd name="connsiteY4" fmla="*/ 1466860 h 3308350"/>
                <a:gd name="connsiteX5" fmla="*/ 3524756 w 3544925"/>
                <a:gd name="connsiteY5" fmla="*/ 2699794 h 3308350"/>
                <a:gd name="connsiteX6" fmla="*/ 3225272 w 3544925"/>
                <a:gd name="connsiteY6" fmla="*/ 2914660 h 3308350"/>
                <a:gd name="connsiteX7" fmla="*/ 2282296 w 3544925"/>
                <a:gd name="connsiteY7" fmla="*/ 2914650 h 3308350"/>
                <a:gd name="connsiteX8" fmla="*/ 2053696 w 3544925"/>
                <a:gd name="connsiteY8" fmla="*/ 2743200 h 3308350"/>
                <a:gd name="connsiteX9" fmla="*/ 1996546 w 3544925"/>
                <a:gd name="connsiteY9" fmla="*/ 3086100 h 3308350"/>
                <a:gd name="connsiteX10" fmla="*/ 2301346 w 3544925"/>
                <a:gd name="connsiteY10" fmla="*/ 3086100 h 3308350"/>
                <a:gd name="connsiteX11" fmla="*/ 2377546 w 3544925"/>
                <a:gd name="connsiteY11" fmla="*/ 3257550 h 3308350"/>
                <a:gd name="connsiteX12" fmla="*/ 1367896 w 3544925"/>
                <a:gd name="connsiteY12" fmla="*/ 3276600 h 3308350"/>
                <a:gd name="connsiteX13" fmla="*/ 1310746 w 3544925"/>
                <a:gd name="connsiteY13" fmla="*/ 3067050 h 3308350"/>
                <a:gd name="connsiteX14" fmla="*/ 1678012 w 3544925"/>
                <a:gd name="connsiteY14" fmla="*/ 3109368 h 3308350"/>
                <a:gd name="connsiteX15" fmla="*/ 1634598 w 3544925"/>
                <a:gd name="connsiteY15" fmla="*/ 2524131 h 3308350"/>
                <a:gd name="connsiteX16" fmla="*/ 663046 w 3544925"/>
                <a:gd name="connsiteY16" fmla="*/ 1524000 h 3308350"/>
                <a:gd name="connsiteX17" fmla="*/ 567798 w 3544925"/>
                <a:gd name="connsiteY17" fmla="*/ 1209674 h 3308350"/>
                <a:gd name="connsiteX18" fmla="*/ 301097 w 3544925"/>
                <a:gd name="connsiteY18" fmla="*/ 1800224 h 3308350"/>
                <a:gd name="connsiteX19" fmla="*/ 1215499 w 3544925"/>
                <a:gd name="connsiteY19" fmla="*/ 2447924 h 3308350"/>
                <a:gd name="connsiteX20" fmla="*/ 1215496 w 3544925"/>
                <a:gd name="connsiteY20" fmla="*/ 2990850 h 3308350"/>
                <a:gd name="connsiteX21" fmla="*/ 434446 w 3544925"/>
                <a:gd name="connsiteY21" fmla="*/ 2362200 h 3308350"/>
                <a:gd name="connsiteX22" fmla="*/ 110596 w 3544925"/>
                <a:gd name="connsiteY22" fmla="*/ 1371600 h 3308350"/>
                <a:gd name="connsiteX23" fmla="*/ 583671 w 3544925"/>
                <a:gd name="connsiteY23" fmla="*/ 1022350 h 3308350"/>
                <a:gd name="connsiteX24" fmla="*/ 3415841 w 3544925"/>
                <a:gd name="connsiteY24" fmla="*/ 2470572 h 3308350"/>
                <a:gd name="connsiteX25" fmla="*/ 3425297 w 3544925"/>
                <a:gd name="connsiteY25" fmla="*/ 1885949 h 3308350"/>
                <a:gd name="connsiteX26" fmla="*/ 3072733 w 3544925"/>
                <a:gd name="connsiteY26" fmla="*/ 1506273 h 3308350"/>
                <a:gd name="connsiteX27" fmla="*/ 2538428 w 3544925"/>
                <a:gd name="connsiteY27" fmla="*/ 1525940 h 3308350"/>
                <a:gd name="connsiteX28" fmla="*/ 2234672 w 3544925"/>
                <a:gd name="connsiteY28" fmla="*/ 1781175 h 3308350"/>
                <a:gd name="connsiteX29" fmla="*/ 2234672 w 3544925"/>
                <a:gd name="connsiteY29" fmla="*/ 2543175 h 3308350"/>
                <a:gd name="connsiteX30" fmla="*/ 2510897 w 3544925"/>
                <a:gd name="connsiteY30" fmla="*/ 2790825 h 3308350"/>
                <a:gd name="connsiteX31" fmla="*/ 3053822 w 3544925"/>
                <a:gd name="connsiteY31" fmla="*/ 2771775 h 3308350"/>
                <a:gd name="connsiteX32" fmla="*/ 3415841 w 3544925"/>
                <a:gd name="connsiteY32" fmla="*/ 2470572 h 3308350"/>
                <a:gd name="connsiteX33" fmla="*/ 786801 w 3544925"/>
                <a:gd name="connsiteY33" fmla="*/ 129753 h 3308350"/>
                <a:gd name="connsiteX34" fmla="*/ 2082271 w 3544925"/>
                <a:gd name="connsiteY34" fmla="*/ 1257300 h 3308350"/>
                <a:gd name="connsiteX35" fmla="*/ 1997594 w 3544925"/>
                <a:gd name="connsiteY35" fmla="*/ 1426808 h 3308350"/>
                <a:gd name="connsiteX36" fmla="*/ 729723 w 3544925"/>
                <a:gd name="connsiteY36" fmla="*/ 285749 h 3308350"/>
                <a:gd name="connsiteX37" fmla="*/ 786801 w 3544925"/>
                <a:gd name="connsiteY37" fmla="*/ 129753 h 3308350"/>
                <a:gd name="connsiteX0" fmla="*/ 583671 w 3544925"/>
                <a:gd name="connsiteY0" fmla="*/ 1022350 h 3308350"/>
                <a:gd name="connsiteX1" fmla="*/ 573116 w 3544925"/>
                <a:gd name="connsiteY1" fmla="*/ 357744 h 3308350"/>
                <a:gd name="connsiteX2" fmla="*/ 891646 w 3544925"/>
                <a:gd name="connsiteY2" fmla="*/ 0 h 3308350"/>
                <a:gd name="connsiteX3" fmla="*/ 1929875 w 3544925"/>
                <a:gd name="connsiteY3" fmla="*/ 9529 h 3308350"/>
                <a:gd name="connsiteX4" fmla="*/ 3511023 w 3544925"/>
                <a:gd name="connsiteY4" fmla="*/ 1466860 h 3308350"/>
                <a:gd name="connsiteX5" fmla="*/ 3524756 w 3544925"/>
                <a:gd name="connsiteY5" fmla="*/ 2699794 h 3308350"/>
                <a:gd name="connsiteX6" fmla="*/ 3225272 w 3544925"/>
                <a:gd name="connsiteY6" fmla="*/ 2914660 h 3308350"/>
                <a:gd name="connsiteX7" fmla="*/ 2282296 w 3544925"/>
                <a:gd name="connsiteY7" fmla="*/ 2914650 h 3308350"/>
                <a:gd name="connsiteX8" fmla="*/ 2053696 w 3544925"/>
                <a:gd name="connsiteY8" fmla="*/ 2743200 h 3308350"/>
                <a:gd name="connsiteX9" fmla="*/ 1996546 w 3544925"/>
                <a:gd name="connsiteY9" fmla="*/ 3086100 h 3308350"/>
                <a:gd name="connsiteX10" fmla="*/ 2301346 w 3544925"/>
                <a:gd name="connsiteY10" fmla="*/ 3086100 h 3308350"/>
                <a:gd name="connsiteX11" fmla="*/ 2377546 w 3544925"/>
                <a:gd name="connsiteY11" fmla="*/ 3257550 h 3308350"/>
                <a:gd name="connsiteX12" fmla="*/ 1367896 w 3544925"/>
                <a:gd name="connsiteY12" fmla="*/ 3276600 h 3308350"/>
                <a:gd name="connsiteX13" fmla="*/ 1310746 w 3544925"/>
                <a:gd name="connsiteY13" fmla="*/ 3067050 h 3308350"/>
                <a:gd name="connsiteX14" fmla="*/ 1678012 w 3544925"/>
                <a:gd name="connsiteY14" fmla="*/ 3109368 h 3308350"/>
                <a:gd name="connsiteX15" fmla="*/ 1634598 w 3544925"/>
                <a:gd name="connsiteY15" fmla="*/ 2524131 h 3308350"/>
                <a:gd name="connsiteX16" fmla="*/ 663046 w 3544925"/>
                <a:gd name="connsiteY16" fmla="*/ 1524000 h 3308350"/>
                <a:gd name="connsiteX17" fmla="*/ 567798 w 3544925"/>
                <a:gd name="connsiteY17" fmla="*/ 1209674 h 3308350"/>
                <a:gd name="connsiteX18" fmla="*/ 301097 w 3544925"/>
                <a:gd name="connsiteY18" fmla="*/ 1800224 h 3308350"/>
                <a:gd name="connsiteX19" fmla="*/ 1215499 w 3544925"/>
                <a:gd name="connsiteY19" fmla="*/ 2447924 h 3308350"/>
                <a:gd name="connsiteX20" fmla="*/ 1215496 w 3544925"/>
                <a:gd name="connsiteY20" fmla="*/ 2990850 h 3308350"/>
                <a:gd name="connsiteX21" fmla="*/ 434446 w 3544925"/>
                <a:gd name="connsiteY21" fmla="*/ 2362200 h 3308350"/>
                <a:gd name="connsiteX22" fmla="*/ 110596 w 3544925"/>
                <a:gd name="connsiteY22" fmla="*/ 1371600 h 3308350"/>
                <a:gd name="connsiteX23" fmla="*/ 583671 w 3544925"/>
                <a:gd name="connsiteY23" fmla="*/ 1022350 h 3308350"/>
                <a:gd name="connsiteX24" fmla="*/ 3415841 w 3544925"/>
                <a:gd name="connsiteY24" fmla="*/ 2470572 h 3308350"/>
                <a:gd name="connsiteX25" fmla="*/ 3425297 w 3544925"/>
                <a:gd name="connsiteY25" fmla="*/ 1885949 h 3308350"/>
                <a:gd name="connsiteX26" fmla="*/ 3072733 w 3544925"/>
                <a:gd name="connsiteY26" fmla="*/ 1506273 h 3308350"/>
                <a:gd name="connsiteX27" fmla="*/ 2538428 w 3544925"/>
                <a:gd name="connsiteY27" fmla="*/ 1525940 h 3308350"/>
                <a:gd name="connsiteX28" fmla="*/ 2234672 w 3544925"/>
                <a:gd name="connsiteY28" fmla="*/ 1781175 h 3308350"/>
                <a:gd name="connsiteX29" fmla="*/ 2234672 w 3544925"/>
                <a:gd name="connsiteY29" fmla="*/ 2543175 h 3308350"/>
                <a:gd name="connsiteX30" fmla="*/ 2510897 w 3544925"/>
                <a:gd name="connsiteY30" fmla="*/ 2790825 h 3308350"/>
                <a:gd name="connsiteX31" fmla="*/ 3053822 w 3544925"/>
                <a:gd name="connsiteY31" fmla="*/ 2771775 h 3308350"/>
                <a:gd name="connsiteX32" fmla="*/ 3415841 w 3544925"/>
                <a:gd name="connsiteY32" fmla="*/ 2470572 h 3308350"/>
                <a:gd name="connsiteX33" fmla="*/ 786801 w 3544925"/>
                <a:gd name="connsiteY33" fmla="*/ 129753 h 3308350"/>
                <a:gd name="connsiteX34" fmla="*/ 2082271 w 3544925"/>
                <a:gd name="connsiteY34" fmla="*/ 1257300 h 3308350"/>
                <a:gd name="connsiteX35" fmla="*/ 1997594 w 3544925"/>
                <a:gd name="connsiteY35" fmla="*/ 1426808 h 3308350"/>
                <a:gd name="connsiteX36" fmla="*/ 729723 w 3544925"/>
                <a:gd name="connsiteY36" fmla="*/ 285749 h 3308350"/>
                <a:gd name="connsiteX37" fmla="*/ 786801 w 3544925"/>
                <a:gd name="connsiteY37" fmla="*/ 129753 h 3308350"/>
                <a:gd name="connsiteX0" fmla="*/ 583671 w 3544925"/>
                <a:gd name="connsiteY0" fmla="*/ 1022350 h 3308350"/>
                <a:gd name="connsiteX1" fmla="*/ 573116 w 3544925"/>
                <a:gd name="connsiteY1" fmla="*/ 357744 h 3308350"/>
                <a:gd name="connsiteX2" fmla="*/ 891646 w 3544925"/>
                <a:gd name="connsiteY2" fmla="*/ 0 h 3308350"/>
                <a:gd name="connsiteX3" fmla="*/ 1929875 w 3544925"/>
                <a:gd name="connsiteY3" fmla="*/ 9529 h 3308350"/>
                <a:gd name="connsiteX4" fmla="*/ 3511023 w 3544925"/>
                <a:gd name="connsiteY4" fmla="*/ 1466860 h 3308350"/>
                <a:gd name="connsiteX5" fmla="*/ 3524756 w 3544925"/>
                <a:gd name="connsiteY5" fmla="*/ 2699794 h 3308350"/>
                <a:gd name="connsiteX6" fmla="*/ 3225272 w 3544925"/>
                <a:gd name="connsiteY6" fmla="*/ 2914660 h 3308350"/>
                <a:gd name="connsiteX7" fmla="*/ 2282296 w 3544925"/>
                <a:gd name="connsiteY7" fmla="*/ 2914650 h 3308350"/>
                <a:gd name="connsiteX8" fmla="*/ 2053696 w 3544925"/>
                <a:gd name="connsiteY8" fmla="*/ 2743200 h 3308350"/>
                <a:gd name="connsiteX9" fmla="*/ 1996546 w 3544925"/>
                <a:gd name="connsiteY9" fmla="*/ 3086100 h 3308350"/>
                <a:gd name="connsiteX10" fmla="*/ 2301346 w 3544925"/>
                <a:gd name="connsiteY10" fmla="*/ 3086100 h 3308350"/>
                <a:gd name="connsiteX11" fmla="*/ 2377546 w 3544925"/>
                <a:gd name="connsiteY11" fmla="*/ 3257550 h 3308350"/>
                <a:gd name="connsiteX12" fmla="*/ 1367896 w 3544925"/>
                <a:gd name="connsiteY12" fmla="*/ 3276600 h 3308350"/>
                <a:gd name="connsiteX13" fmla="*/ 1310746 w 3544925"/>
                <a:gd name="connsiteY13" fmla="*/ 3067050 h 3308350"/>
                <a:gd name="connsiteX14" fmla="*/ 1678012 w 3544925"/>
                <a:gd name="connsiteY14" fmla="*/ 3109368 h 3308350"/>
                <a:gd name="connsiteX15" fmla="*/ 1634598 w 3544925"/>
                <a:gd name="connsiteY15" fmla="*/ 2524131 h 3308350"/>
                <a:gd name="connsiteX16" fmla="*/ 663046 w 3544925"/>
                <a:gd name="connsiteY16" fmla="*/ 1524000 h 3308350"/>
                <a:gd name="connsiteX17" fmla="*/ 567798 w 3544925"/>
                <a:gd name="connsiteY17" fmla="*/ 1209674 h 3308350"/>
                <a:gd name="connsiteX18" fmla="*/ 301097 w 3544925"/>
                <a:gd name="connsiteY18" fmla="*/ 1800224 h 3308350"/>
                <a:gd name="connsiteX19" fmla="*/ 1215499 w 3544925"/>
                <a:gd name="connsiteY19" fmla="*/ 2447924 h 3308350"/>
                <a:gd name="connsiteX20" fmla="*/ 1215496 w 3544925"/>
                <a:gd name="connsiteY20" fmla="*/ 2990850 h 3308350"/>
                <a:gd name="connsiteX21" fmla="*/ 434446 w 3544925"/>
                <a:gd name="connsiteY21" fmla="*/ 2362200 h 3308350"/>
                <a:gd name="connsiteX22" fmla="*/ 110596 w 3544925"/>
                <a:gd name="connsiteY22" fmla="*/ 1371600 h 3308350"/>
                <a:gd name="connsiteX23" fmla="*/ 583671 w 3544925"/>
                <a:gd name="connsiteY23" fmla="*/ 1022350 h 3308350"/>
                <a:gd name="connsiteX24" fmla="*/ 3415841 w 3544925"/>
                <a:gd name="connsiteY24" fmla="*/ 2470572 h 3308350"/>
                <a:gd name="connsiteX25" fmla="*/ 3425297 w 3544925"/>
                <a:gd name="connsiteY25" fmla="*/ 1885949 h 3308350"/>
                <a:gd name="connsiteX26" fmla="*/ 3072733 w 3544925"/>
                <a:gd name="connsiteY26" fmla="*/ 1506273 h 3308350"/>
                <a:gd name="connsiteX27" fmla="*/ 2538428 w 3544925"/>
                <a:gd name="connsiteY27" fmla="*/ 1525940 h 3308350"/>
                <a:gd name="connsiteX28" fmla="*/ 2234672 w 3544925"/>
                <a:gd name="connsiteY28" fmla="*/ 1781175 h 3308350"/>
                <a:gd name="connsiteX29" fmla="*/ 2234672 w 3544925"/>
                <a:gd name="connsiteY29" fmla="*/ 2543175 h 3308350"/>
                <a:gd name="connsiteX30" fmla="*/ 2510897 w 3544925"/>
                <a:gd name="connsiteY30" fmla="*/ 2790825 h 3308350"/>
                <a:gd name="connsiteX31" fmla="*/ 3053822 w 3544925"/>
                <a:gd name="connsiteY31" fmla="*/ 2771775 h 3308350"/>
                <a:gd name="connsiteX32" fmla="*/ 3415841 w 3544925"/>
                <a:gd name="connsiteY32" fmla="*/ 2470572 h 3308350"/>
                <a:gd name="connsiteX33" fmla="*/ 786801 w 3544925"/>
                <a:gd name="connsiteY33" fmla="*/ 129753 h 3308350"/>
                <a:gd name="connsiteX34" fmla="*/ 2082271 w 3544925"/>
                <a:gd name="connsiteY34" fmla="*/ 1257300 h 3308350"/>
                <a:gd name="connsiteX35" fmla="*/ 1997594 w 3544925"/>
                <a:gd name="connsiteY35" fmla="*/ 1426808 h 3308350"/>
                <a:gd name="connsiteX36" fmla="*/ 729723 w 3544925"/>
                <a:gd name="connsiteY36" fmla="*/ 285749 h 3308350"/>
                <a:gd name="connsiteX37" fmla="*/ 786801 w 3544925"/>
                <a:gd name="connsiteY37" fmla="*/ 129753 h 3308350"/>
                <a:gd name="connsiteX0" fmla="*/ 583671 w 3544925"/>
                <a:gd name="connsiteY0" fmla="*/ 1022350 h 3308350"/>
                <a:gd name="connsiteX1" fmla="*/ 573116 w 3544925"/>
                <a:gd name="connsiteY1" fmla="*/ 357744 h 3308350"/>
                <a:gd name="connsiteX2" fmla="*/ 891646 w 3544925"/>
                <a:gd name="connsiteY2" fmla="*/ 0 h 3308350"/>
                <a:gd name="connsiteX3" fmla="*/ 1929875 w 3544925"/>
                <a:gd name="connsiteY3" fmla="*/ 9529 h 3308350"/>
                <a:gd name="connsiteX4" fmla="*/ 3511023 w 3544925"/>
                <a:gd name="connsiteY4" fmla="*/ 1466860 h 3308350"/>
                <a:gd name="connsiteX5" fmla="*/ 3524756 w 3544925"/>
                <a:gd name="connsiteY5" fmla="*/ 2699794 h 3308350"/>
                <a:gd name="connsiteX6" fmla="*/ 3225272 w 3544925"/>
                <a:gd name="connsiteY6" fmla="*/ 2914660 h 3308350"/>
                <a:gd name="connsiteX7" fmla="*/ 2282296 w 3544925"/>
                <a:gd name="connsiteY7" fmla="*/ 2914650 h 3308350"/>
                <a:gd name="connsiteX8" fmla="*/ 2053696 w 3544925"/>
                <a:gd name="connsiteY8" fmla="*/ 2743200 h 3308350"/>
                <a:gd name="connsiteX9" fmla="*/ 1996546 w 3544925"/>
                <a:gd name="connsiteY9" fmla="*/ 3086100 h 3308350"/>
                <a:gd name="connsiteX10" fmla="*/ 2301346 w 3544925"/>
                <a:gd name="connsiteY10" fmla="*/ 3086100 h 3308350"/>
                <a:gd name="connsiteX11" fmla="*/ 2377546 w 3544925"/>
                <a:gd name="connsiteY11" fmla="*/ 3257550 h 3308350"/>
                <a:gd name="connsiteX12" fmla="*/ 1367896 w 3544925"/>
                <a:gd name="connsiteY12" fmla="*/ 3276600 h 3308350"/>
                <a:gd name="connsiteX13" fmla="*/ 1310746 w 3544925"/>
                <a:gd name="connsiteY13" fmla="*/ 3067050 h 3308350"/>
                <a:gd name="connsiteX14" fmla="*/ 1678012 w 3544925"/>
                <a:gd name="connsiteY14" fmla="*/ 3109368 h 3308350"/>
                <a:gd name="connsiteX15" fmla="*/ 1634598 w 3544925"/>
                <a:gd name="connsiteY15" fmla="*/ 2524131 h 3308350"/>
                <a:gd name="connsiteX16" fmla="*/ 663046 w 3544925"/>
                <a:gd name="connsiteY16" fmla="*/ 1524000 h 3308350"/>
                <a:gd name="connsiteX17" fmla="*/ 567798 w 3544925"/>
                <a:gd name="connsiteY17" fmla="*/ 1209674 h 3308350"/>
                <a:gd name="connsiteX18" fmla="*/ 301097 w 3544925"/>
                <a:gd name="connsiteY18" fmla="*/ 1800224 h 3308350"/>
                <a:gd name="connsiteX19" fmla="*/ 1215499 w 3544925"/>
                <a:gd name="connsiteY19" fmla="*/ 2447924 h 3308350"/>
                <a:gd name="connsiteX20" fmla="*/ 1215496 w 3544925"/>
                <a:gd name="connsiteY20" fmla="*/ 2990850 h 3308350"/>
                <a:gd name="connsiteX21" fmla="*/ 434446 w 3544925"/>
                <a:gd name="connsiteY21" fmla="*/ 2362200 h 3308350"/>
                <a:gd name="connsiteX22" fmla="*/ 110596 w 3544925"/>
                <a:gd name="connsiteY22" fmla="*/ 1371600 h 3308350"/>
                <a:gd name="connsiteX23" fmla="*/ 583671 w 3544925"/>
                <a:gd name="connsiteY23" fmla="*/ 1022350 h 3308350"/>
                <a:gd name="connsiteX24" fmla="*/ 3415841 w 3544925"/>
                <a:gd name="connsiteY24" fmla="*/ 2470572 h 3308350"/>
                <a:gd name="connsiteX25" fmla="*/ 3425297 w 3544925"/>
                <a:gd name="connsiteY25" fmla="*/ 1885949 h 3308350"/>
                <a:gd name="connsiteX26" fmla="*/ 3072733 w 3544925"/>
                <a:gd name="connsiteY26" fmla="*/ 1506273 h 3308350"/>
                <a:gd name="connsiteX27" fmla="*/ 2538428 w 3544925"/>
                <a:gd name="connsiteY27" fmla="*/ 1525940 h 3308350"/>
                <a:gd name="connsiteX28" fmla="*/ 2234672 w 3544925"/>
                <a:gd name="connsiteY28" fmla="*/ 1781175 h 3308350"/>
                <a:gd name="connsiteX29" fmla="*/ 2234672 w 3544925"/>
                <a:gd name="connsiteY29" fmla="*/ 2543175 h 3308350"/>
                <a:gd name="connsiteX30" fmla="*/ 2510897 w 3544925"/>
                <a:gd name="connsiteY30" fmla="*/ 2790825 h 3308350"/>
                <a:gd name="connsiteX31" fmla="*/ 3053822 w 3544925"/>
                <a:gd name="connsiteY31" fmla="*/ 2771775 h 3308350"/>
                <a:gd name="connsiteX32" fmla="*/ 3415841 w 3544925"/>
                <a:gd name="connsiteY32" fmla="*/ 2470572 h 3308350"/>
                <a:gd name="connsiteX33" fmla="*/ 786801 w 3544925"/>
                <a:gd name="connsiteY33" fmla="*/ 129753 h 3308350"/>
                <a:gd name="connsiteX34" fmla="*/ 2082271 w 3544925"/>
                <a:gd name="connsiteY34" fmla="*/ 1257300 h 3308350"/>
                <a:gd name="connsiteX35" fmla="*/ 1997594 w 3544925"/>
                <a:gd name="connsiteY35" fmla="*/ 1426808 h 3308350"/>
                <a:gd name="connsiteX36" fmla="*/ 729723 w 3544925"/>
                <a:gd name="connsiteY36" fmla="*/ 285749 h 3308350"/>
                <a:gd name="connsiteX37" fmla="*/ 786801 w 3544925"/>
                <a:gd name="connsiteY37" fmla="*/ 129753 h 3308350"/>
                <a:gd name="connsiteX0" fmla="*/ 583671 w 3544925"/>
                <a:gd name="connsiteY0" fmla="*/ 1022350 h 3308350"/>
                <a:gd name="connsiteX1" fmla="*/ 573116 w 3544925"/>
                <a:gd name="connsiteY1" fmla="*/ 357744 h 3308350"/>
                <a:gd name="connsiteX2" fmla="*/ 891646 w 3544925"/>
                <a:gd name="connsiteY2" fmla="*/ 0 h 3308350"/>
                <a:gd name="connsiteX3" fmla="*/ 1929875 w 3544925"/>
                <a:gd name="connsiteY3" fmla="*/ 9529 h 3308350"/>
                <a:gd name="connsiteX4" fmla="*/ 3511023 w 3544925"/>
                <a:gd name="connsiteY4" fmla="*/ 1466860 h 3308350"/>
                <a:gd name="connsiteX5" fmla="*/ 3524756 w 3544925"/>
                <a:gd name="connsiteY5" fmla="*/ 2699794 h 3308350"/>
                <a:gd name="connsiteX6" fmla="*/ 3225272 w 3544925"/>
                <a:gd name="connsiteY6" fmla="*/ 2914660 h 3308350"/>
                <a:gd name="connsiteX7" fmla="*/ 2282296 w 3544925"/>
                <a:gd name="connsiteY7" fmla="*/ 2914650 h 3308350"/>
                <a:gd name="connsiteX8" fmla="*/ 2053696 w 3544925"/>
                <a:gd name="connsiteY8" fmla="*/ 2743200 h 3308350"/>
                <a:gd name="connsiteX9" fmla="*/ 1996546 w 3544925"/>
                <a:gd name="connsiteY9" fmla="*/ 3086100 h 3308350"/>
                <a:gd name="connsiteX10" fmla="*/ 2301346 w 3544925"/>
                <a:gd name="connsiteY10" fmla="*/ 3086100 h 3308350"/>
                <a:gd name="connsiteX11" fmla="*/ 2377546 w 3544925"/>
                <a:gd name="connsiteY11" fmla="*/ 3257550 h 3308350"/>
                <a:gd name="connsiteX12" fmla="*/ 1367896 w 3544925"/>
                <a:gd name="connsiteY12" fmla="*/ 3276600 h 3308350"/>
                <a:gd name="connsiteX13" fmla="*/ 1310746 w 3544925"/>
                <a:gd name="connsiteY13" fmla="*/ 3067050 h 3308350"/>
                <a:gd name="connsiteX14" fmla="*/ 1678012 w 3544925"/>
                <a:gd name="connsiteY14" fmla="*/ 3109368 h 3308350"/>
                <a:gd name="connsiteX15" fmla="*/ 1634598 w 3544925"/>
                <a:gd name="connsiteY15" fmla="*/ 2524131 h 3308350"/>
                <a:gd name="connsiteX16" fmla="*/ 663046 w 3544925"/>
                <a:gd name="connsiteY16" fmla="*/ 1524000 h 3308350"/>
                <a:gd name="connsiteX17" fmla="*/ 567798 w 3544925"/>
                <a:gd name="connsiteY17" fmla="*/ 1209674 h 3308350"/>
                <a:gd name="connsiteX18" fmla="*/ 301097 w 3544925"/>
                <a:gd name="connsiteY18" fmla="*/ 1800224 h 3308350"/>
                <a:gd name="connsiteX19" fmla="*/ 1215499 w 3544925"/>
                <a:gd name="connsiteY19" fmla="*/ 2447924 h 3308350"/>
                <a:gd name="connsiteX20" fmla="*/ 1215496 w 3544925"/>
                <a:gd name="connsiteY20" fmla="*/ 2990850 h 3308350"/>
                <a:gd name="connsiteX21" fmla="*/ 434446 w 3544925"/>
                <a:gd name="connsiteY21" fmla="*/ 2362200 h 3308350"/>
                <a:gd name="connsiteX22" fmla="*/ 110596 w 3544925"/>
                <a:gd name="connsiteY22" fmla="*/ 1371600 h 3308350"/>
                <a:gd name="connsiteX23" fmla="*/ 583671 w 3544925"/>
                <a:gd name="connsiteY23" fmla="*/ 1022350 h 3308350"/>
                <a:gd name="connsiteX24" fmla="*/ 3415841 w 3544925"/>
                <a:gd name="connsiteY24" fmla="*/ 2470572 h 3308350"/>
                <a:gd name="connsiteX25" fmla="*/ 3425297 w 3544925"/>
                <a:gd name="connsiteY25" fmla="*/ 1885949 h 3308350"/>
                <a:gd name="connsiteX26" fmla="*/ 3072733 w 3544925"/>
                <a:gd name="connsiteY26" fmla="*/ 1506273 h 3308350"/>
                <a:gd name="connsiteX27" fmla="*/ 2538428 w 3544925"/>
                <a:gd name="connsiteY27" fmla="*/ 1525940 h 3308350"/>
                <a:gd name="connsiteX28" fmla="*/ 2234672 w 3544925"/>
                <a:gd name="connsiteY28" fmla="*/ 1781175 h 3308350"/>
                <a:gd name="connsiteX29" fmla="*/ 2234672 w 3544925"/>
                <a:gd name="connsiteY29" fmla="*/ 2543175 h 3308350"/>
                <a:gd name="connsiteX30" fmla="*/ 2510897 w 3544925"/>
                <a:gd name="connsiteY30" fmla="*/ 2790825 h 3308350"/>
                <a:gd name="connsiteX31" fmla="*/ 3053822 w 3544925"/>
                <a:gd name="connsiteY31" fmla="*/ 2771775 h 3308350"/>
                <a:gd name="connsiteX32" fmla="*/ 3415841 w 3544925"/>
                <a:gd name="connsiteY32" fmla="*/ 2470572 h 3308350"/>
                <a:gd name="connsiteX33" fmla="*/ 786801 w 3544925"/>
                <a:gd name="connsiteY33" fmla="*/ 129753 h 3308350"/>
                <a:gd name="connsiteX34" fmla="*/ 2082271 w 3544925"/>
                <a:gd name="connsiteY34" fmla="*/ 1257300 h 3308350"/>
                <a:gd name="connsiteX35" fmla="*/ 1997594 w 3544925"/>
                <a:gd name="connsiteY35" fmla="*/ 1426808 h 3308350"/>
                <a:gd name="connsiteX36" fmla="*/ 729723 w 3544925"/>
                <a:gd name="connsiteY36" fmla="*/ 285749 h 3308350"/>
                <a:gd name="connsiteX37" fmla="*/ 786801 w 3544925"/>
                <a:gd name="connsiteY37" fmla="*/ 129753 h 3308350"/>
                <a:gd name="connsiteX0" fmla="*/ 583671 w 3544925"/>
                <a:gd name="connsiteY0" fmla="*/ 1022350 h 3308350"/>
                <a:gd name="connsiteX1" fmla="*/ 573116 w 3544925"/>
                <a:gd name="connsiteY1" fmla="*/ 357744 h 3308350"/>
                <a:gd name="connsiteX2" fmla="*/ 891646 w 3544925"/>
                <a:gd name="connsiteY2" fmla="*/ 0 h 3308350"/>
                <a:gd name="connsiteX3" fmla="*/ 1929875 w 3544925"/>
                <a:gd name="connsiteY3" fmla="*/ 9529 h 3308350"/>
                <a:gd name="connsiteX4" fmla="*/ 3511023 w 3544925"/>
                <a:gd name="connsiteY4" fmla="*/ 1466860 h 3308350"/>
                <a:gd name="connsiteX5" fmla="*/ 3524756 w 3544925"/>
                <a:gd name="connsiteY5" fmla="*/ 2699794 h 3308350"/>
                <a:gd name="connsiteX6" fmla="*/ 3225272 w 3544925"/>
                <a:gd name="connsiteY6" fmla="*/ 2914660 h 3308350"/>
                <a:gd name="connsiteX7" fmla="*/ 2282296 w 3544925"/>
                <a:gd name="connsiteY7" fmla="*/ 2914650 h 3308350"/>
                <a:gd name="connsiteX8" fmla="*/ 2053696 w 3544925"/>
                <a:gd name="connsiteY8" fmla="*/ 2743200 h 3308350"/>
                <a:gd name="connsiteX9" fmla="*/ 1996546 w 3544925"/>
                <a:gd name="connsiteY9" fmla="*/ 3086100 h 3308350"/>
                <a:gd name="connsiteX10" fmla="*/ 2301346 w 3544925"/>
                <a:gd name="connsiteY10" fmla="*/ 3086100 h 3308350"/>
                <a:gd name="connsiteX11" fmla="*/ 2377546 w 3544925"/>
                <a:gd name="connsiteY11" fmla="*/ 3257550 h 3308350"/>
                <a:gd name="connsiteX12" fmla="*/ 1367896 w 3544925"/>
                <a:gd name="connsiteY12" fmla="*/ 3276600 h 3308350"/>
                <a:gd name="connsiteX13" fmla="*/ 1310746 w 3544925"/>
                <a:gd name="connsiteY13" fmla="*/ 3067050 h 3308350"/>
                <a:gd name="connsiteX14" fmla="*/ 1649437 w 3544925"/>
                <a:gd name="connsiteY14" fmla="*/ 3090318 h 3308350"/>
                <a:gd name="connsiteX15" fmla="*/ 1634598 w 3544925"/>
                <a:gd name="connsiteY15" fmla="*/ 2524131 h 3308350"/>
                <a:gd name="connsiteX16" fmla="*/ 663046 w 3544925"/>
                <a:gd name="connsiteY16" fmla="*/ 1524000 h 3308350"/>
                <a:gd name="connsiteX17" fmla="*/ 567798 w 3544925"/>
                <a:gd name="connsiteY17" fmla="*/ 1209674 h 3308350"/>
                <a:gd name="connsiteX18" fmla="*/ 301097 w 3544925"/>
                <a:gd name="connsiteY18" fmla="*/ 1800224 h 3308350"/>
                <a:gd name="connsiteX19" fmla="*/ 1215499 w 3544925"/>
                <a:gd name="connsiteY19" fmla="*/ 2447924 h 3308350"/>
                <a:gd name="connsiteX20" fmla="*/ 1215496 w 3544925"/>
                <a:gd name="connsiteY20" fmla="*/ 2990850 h 3308350"/>
                <a:gd name="connsiteX21" fmla="*/ 434446 w 3544925"/>
                <a:gd name="connsiteY21" fmla="*/ 2362200 h 3308350"/>
                <a:gd name="connsiteX22" fmla="*/ 110596 w 3544925"/>
                <a:gd name="connsiteY22" fmla="*/ 1371600 h 3308350"/>
                <a:gd name="connsiteX23" fmla="*/ 583671 w 3544925"/>
                <a:gd name="connsiteY23" fmla="*/ 1022350 h 3308350"/>
                <a:gd name="connsiteX24" fmla="*/ 3415841 w 3544925"/>
                <a:gd name="connsiteY24" fmla="*/ 2470572 h 3308350"/>
                <a:gd name="connsiteX25" fmla="*/ 3425297 w 3544925"/>
                <a:gd name="connsiteY25" fmla="*/ 1885949 h 3308350"/>
                <a:gd name="connsiteX26" fmla="*/ 3072733 w 3544925"/>
                <a:gd name="connsiteY26" fmla="*/ 1506273 h 3308350"/>
                <a:gd name="connsiteX27" fmla="*/ 2538428 w 3544925"/>
                <a:gd name="connsiteY27" fmla="*/ 1525940 h 3308350"/>
                <a:gd name="connsiteX28" fmla="*/ 2234672 w 3544925"/>
                <a:gd name="connsiteY28" fmla="*/ 1781175 h 3308350"/>
                <a:gd name="connsiteX29" fmla="*/ 2234672 w 3544925"/>
                <a:gd name="connsiteY29" fmla="*/ 2543175 h 3308350"/>
                <a:gd name="connsiteX30" fmla="*/ 2510897 w 3544925"/>
                <a:gd name="connsiteY30" fmla="*/ 2790825 h 3308350"/>
                <a:gd name="connsiteX31" fmla="*/ 3053822 w 3544925"/>
                <a:gd name="connsiteY31" fmla="*/ 2771775 h 3308350"/>
                <a:gd name="connsiteX32" fmla="*/ 3415841 w 3544925"/>
                <a:gd name="connsiteY32" fmla="*/ 2470572 h 3308350"/>
                <a:gd name="connsiteX33" fmla="*/ 786801 w 3544925"/>
                <a:gd name="connsiteY33" fmla="*/ 129753 h 3308350"/>
                <a:gd name="connsiteX34" fmla="*/ 2082271 w 3544925"/>
                <a:gd name="connsiteY34" fmla="*/ 1257300 h 3308350"/>
                <a:gd name="connsiteX35" fmla="*/ 1997594 w 3544925"/>
                <a:gd name="connsiteY35" fmla="*/ 1426808 h 3308350"/>
                <a:gd name="connsiteX36" fmla="*/ 729723 w 3544925"/>
                <a:gd name="connsiteY36" fmla="*/ 285749 h 3308350"/>
                <a:gd name="connsiteX37" fmla="*/ 786801 w 3544925"/>
                <a:gd name="connsiteY37" fmla="*/ 129753 h 3308350"/>
                <a:gd name="connsiteX0" fmla="*/ 583671 w 3544925"/>
                <a:gd name="connsiteY0" fmla="*/ 1022350 h 3306763"/>
                <a:gd name="connsiteX1" fmla="*/ 573116 w 3544925"/>
                <a:gd name="connsiteY1" fmla="*/ 357744 h 3306763"/>
                <a:gd name="connsiteX2" fmla="*/ 891646 w 3544925"/>
                <a:gd name="connsiteY2" fmla="*/ 0 h 3306763"/>
                <a:gd name="connsiteX3" fmla="*/ 1929875 w 3544925"/>
                <a:gd name="connsiteY3" fmla="*/ 9529 h 3306763"/>
                <a:gd name="connsiteX4" fmla="*/ 3511023 w 3544925"/>
                <a:gd name="connsiteY4" fmla="*/ 1466860 h 3306763"/>
                <a:gd name="connsiteX5" fmla="*/ 3524756 w 3544925"/>
                <a:gd name="connsiteY5" fmla="*/ 2699794 h 3306763"/>
                <a:gd name="connsiteX6" fmla="*/ 3225272 w 3544925"/>
                <a:gd name="connsiteY6" fmla="*/ 2914660 h 3306763"/>
                <a:gd name="connsiteX7" fmla="*/ 2282296 w 3544925"/>
                <a:gd name="connsiteY7" fmla="*/ 2914650 h 3306763"/>
                <a:gd name="connsiteX8" fmla="*/ 2053696 w 3544925"/>
                <a:gd name="connsiteY8" fmla="*/ 2743200 h 3306763"/>
                <a:gd name="connsiteX9" fmla="*/ 1996546 w 3544925"/>
                <a:gd name="connsiteY9" fmla="*/ 3086100 h 3306763"/>
                <a:gd name="connsiteX10" fmla="*/ 2301346 w 3544925"/>
                <a:gd name="connsiteY10" fmla="*/ 3086100 h 3306763"/>
                <a:gd name="connsiteX11" fmla="*/ 2377546 w 3544925"/>
                <a:gd name="connsiteY11" fmla="*/ 3257550 h 3306763"/>
                <a:gd name="connsiteX12" fmla="*/ 1367896 w 3544925"/>
                <a:gd name="connsiteY12" fmla="*/ 3276600 h 3306763"/>
                <a:gd name="connsiteX13" fmla="*/ 1244071 w 3544925"/>
                <a:gd name="connsiteY13" fmla="*/ 3076575 h 3306763"/>
                <a:gd name="connsiteX14" fmla="*/ 1649437 w 3544925"/>
                <a:gd name="connsiteY14" fmla="*/ 3090318 h 3306763"/>
                <a:gd name="connsiteX15" fmla="*/ 1634598 w 3544925"/>
                <a:gd name="connsiteY15" fmla="*/ 2524131 h 3306763"/>
                <a:gd name="connsiteX16" fmla="*/ 663046 w 3544925"/>
                <a:gd name="connsiteY16" fmla="*/ 1524000 h 3306763"/>
                <a:gd name="connsiteX17" fmla="*/ 567798 w 3544925"/>
                <a:gd name="connsiteY17" fmla="*/ 1209674 h 3306763"/>
                <a:gd name="connsiteX18" fmla="*/ 301097 w 3544925"/>
                <a:gd name="connsiteY18" fmla="*/ 1800224 h 3306763"/>
                <a:gd name="connsiteX19" fmla="*/ 1215499 w 3544925"/>
                <a:gd name="connsiteY19" fmla="*/ 2447924 h 3306763"/>
                <a:gd name="connsiteX20" fmla="*/ 1215496 w 3544925"/>
                <a:gd name="connsiteY20" fmla="*/ 2990850 h 3306763"/>
                <a:gd name="connsiteX21" fmla="*/ 434446 w 3544925"/>
                <a:gd name="connsiteY21" fmla="*/ 2362200 h 3306763"/>
                <a:gd name="connsiteX22" fmla="*/ 110596 w 3544925"/>
                <a:gd name="connsiteY22" fmla="*/ 1371600 h 3306763"/>
                <a:gd name="connsiteX23" fmla="*/ 583671 w 3544925"/>
                <a:gd name="connsiteY23" fmla="*/ 1022350 h 3306763"/>
                <a:gd name="connsiteX24" fmla="*/ 3415841 w 3544925"/>
                <a:gd name="connsiteY24" fmla="*/ 2470572 h 3306763"/>
                <a:gd name="connsiteX25" fmla="*/ 3425297 w 3544925"/>
                <a:gd name="connsiteY25" fmla="*/ 1885949 h 3306763"/>
                <a:gd name="connsiteX26" fmla="*/ 3072733 w 3544925"/>
                <a:gd name="connsiteY26" fmla="*/ 1506273 h 3306763"/>
                <a:gd name="connsiteX27" fmla="*/ 2538428 w 3544925"/>
                <a:gd name="connsiteY27" fmla="*/ 1525940 h 3306763"/>
                <a:gd name="connsiteX28" fmla="*/ 2234672 w 3544925"/>
                <a:gd name="connsiteY28" fmla="*/ 1781175 h 3306763"/>
                <a:gd name="connsiteX29" fmla="*/ 2234672 w 3544925"/>
                <a:gd name="connsiteY29" fmla="*/ 2543175 h 3306763"/>
                <a:gd name="connsiteX30" fmla="*/ 2510897 w 3544925"/>
                <a:gd name="connsiteY30" fmla="*/ 2790825 h 3306763"/>
                <a:gd name="connsiteX31" fmla="*/ 3053822 w 3544925"/>
                <a:gd name="connsiteY31" fmla="*/ 2771775 h 3306763"/>
                <a:gd name="connsiteX32" fmla="*/ 3415841 w 3544925"/>
                <a:gd name="connsiteY32" fmla="*/ 2470572 h 3306763"/>
                <a:gd name="connsiteX33" fmla="*/ 786801 w 3544925"/>
                <a:gd name="connsiteY33" fmla="*/ 129753 h 3306763"/>
                <a:gd name="connsiteX34" fmla="*/ 2082271 w 3544925"/>
                <a:gd name="connsiteY34" fmla="*/ 1257300 h 3306763"/>
                <a:gd name="connsiteX35" fmla="*/ 1997594 w 3544925"/>
                <a:gd name="connsiteY35" fmla="*/ 1426808 h 3306763"/>
                <a:gd name="connsiteX36" fmla="*/ 729723 w 3544925"/>
                <a:gd name="connsiteY36" fmla="*/ 285749 h 3306763"/>
                <a:gd name="connsiteX37" fmla="*/ 786801 w 3544925"/>
                <a:gd name="connsiteY37" fmla="*/ 129753 h 3306763"/>
                <a:gd name="connsiteX0" fmla="*/ 583671 w 3544925"/>
                <a:gd name="connsiteY0" fmla="*/ 1022350 h 3316288"/>
                <a:gd name="connsiteX1" fmla="*/ 573116 w 3544925"/>
                <a:gd name="connsiteY1" fmla="*/ 357744 h 3316288"/>
                <a:gd name="connsiteX2" fmla="*/ 891646 w 3544925"/>
                <a:gd name="connsiteY2" fmla="*/ 0 h 3316288"/>
                <a:gd name="connsiteX3" fmla="*/ 1929875 w 3544925"/>
                <a:gd name="connsiteY3" fmla="*/ 9529 h 3316288"/>
                <a:gd name="connsiteX4" fmla="*/ 3511023 w 3544925"/>
                <a:gd name="connsiteY4" fmla="*/ 1466860 h 3316288"/>
                <a:gd name="connsiteX5" fmla="*/ 3524756 w 3544925"/>
                <a:gd name="connsiteY5" fmla="*/ 2699794 h 3316288"/>
                <a:gd name="connsiteX6" fmla="*/ 3225272 w 3544925"/>
                <a:gd name="connsiteY6" fmla="*/ 2914660 h 3316288"/>
                <a:gd name="connsiteX7" fmla="*/ 2282296 w 3544925"/>
                <a:gd name="connsiteY7" fmla="*/ 2914650 h 3316288"/>
                <a:gd name="connsiteX8" fmla="*/ 2053696 w 3544925"/>
                <a:gd name="connsiteY8" fmla="*/ 2743200 h 3316288"/>
                <a:gd name="connsiteX9" fmla="*/ 1996546 w 3544925"/>
                <a:gd name="connsiteY9" fmla="*/ 3086100 h 3316288"/>
                <a:gd name="connsiteX10" fmla="*/ 2301346 w 3544925"/>
                <a:gd name="connsiteY10" fmla="*/ 3086100 h 3316288"/>
                <a:gd name="connsiteX11" fmla="*/ 2377546 w 3544925"/>
                <a:gd name="connsiteY11" fmla="*/ 3257550 h 3316288"/>
                <a:gd name="connsiteX12" fmla="*/ 1272646 w 3544925"/>
                <a:gd name="connsiteY12" fmla="*/ 3286125 h 3316288"/>
                <a:gd name="connsiteX13" fmla="*/ 1244071 w 3544925"/>
                <a:gd name="connsiteY13" fmla="*/ 3076575 h 3316288"/>
                <a:gd name="connsiteX14" fmla="*/ 1649437 w 3544925"/>
                <a:gd name="connsiteY14" fmla="*/ 3090318 h 3316288"/>
                <a:gd name="connsiteX15" fmla="*/ 1634598 w 3544925"/>
                <a:gd name="connsiteY15" fmla="*/ 2524131 h 3316288"/>
                <a:gd name="connsiteX16" fmla="*/ 663046 w 3544925"/>
                <a:gd name="connsiteY16" fmla="*/ 1524000 h 3316288"/>
                <a:gd name="connsiteX17" fmla="*/ 567798 w 3544925"/>
                <a:gd name="connsiteY17" fmla="*/ 1209674 h 3316288"/>
                <a:gd name="connsiteX18" fmla="*/ 301097 w 3544925"/>
                <a:gd name="connsiteY18" fmla="*/ 1800224 h 3316288"/>
                <a:gd name="connsiteX19" fmla="*/ 1215499 w 3544925"/>
                <a:gd name="connsiteY19" fmla="*/ 2447924 h 3316288"/>
                <a:gd name="connsiteX20" fmla="*/ 1215496 w 3544925"/>
                <a:gd name="connsiteY20" fmla="*/ 2990850 h 3316288"/>
                <a:gd name="connsiteX21" fmla="*/ 434446 w 3544925"/>
                <a:gd name="connsiteY21" fmla="*/ 2362200 h 3316288"/>
                <a:gd name="connsiteX22" fmla="*/ 110596 w 3544925"/>
                <a:gd name="connsiteY22" fmla="*/ 1371600 h 3316288"/>
                <a:gd name="connsiteX23" fmla="*/ 583671 w 3544925"/>
                <a:gd name="connsiteY23" fmla="*/ 1022350 h 3316288"/>
                <a:gd name="connsiteX24" fmla="*/ 3415841 w 3544925"/>
                <a:gd name="connsiteY24" fmla="*/ 2470572 h 3316288"/>
                <a:gd name="connsiteX25" fmla="*/ 3425297 w 3544925"/>
                <a:gd name="connsiteY25" fmla="*/ 1885949 h 3316288"/>
                <a:gd name="connsiteX26" fmla="*/ 3072733 w 3544925"/>
                <a:gd name="connsiteY26" fmla="*/ 1506273 h 3316288"/>
                <a:gd name="connsiteX27" fmla="*/ 2538428 w 3544925"/>
                <a:gd name="connsiteY27" fmla="*/ 1525940 h 3316288"/>
                <a:gd name="connsiteX28" fmla="*/ 2234672 w 3544925"/>
                <a:gd name="connsiteY28" fmla="*/ 1781175 h 3316288"/>
                <a:gd name="connsiteX29" fmla="*/ 2234672 w 3544925"/>
                <a:gd name="connsiteY29" fmla="*/ 2543175 h 3316288"/>
                <a:gd name="connsiteX30" fmla="*/ 2510897 w 3544925"/>
                <a:gd name="connsiteY30" fmla="*/ 2790825 h 3316288"/>
                <a:gd name="connsiteX31" fmla="*/ 3053822 w 3544925"/>
                <a:gd name="connsiteY31" fmla="*/ 2771775 h 3316288"/>
                <a:gd name="connsiteX32" fmla="*/ 3415841 w 3544925"/>
                <a:gd name="connsiteY32" fmla="*/ 2470572 h 3316288"/>
                <a:gd name="connsiteX33" fmla="*/ 786801 w 3544925"/>
                <a:gd name="connsiteY33" fmla="*/ 129753 h 3316288"/>
                <a:gd name="connsiteX34" fmla="*/ 2082271 w 3544925"/>
                <a:gd name="connsiteY34" fmla="*/ 1257300 h 3316288"/>
                <a:gd name="connsiteX35" fmla="*/ 1997594 w 3544925"/>
                <a:gd name="connsiteY35" fmla="*/ 1426808 h 3316288"/>
                <a:gd name="connsiteX36" fmla="*/ 729723 w 3544925"/>
                <a:gd name="connsiteY36" fmla="*/ 285749 h 3316288"/>
                <a:gd name="connsiteX37" fmla="*/ 786801 w 3544925"/>
                <a:gd name="connsiteY37" fmla="*/ 129753 h 3316288"/>
                <a:gd name="connsiteX0" fmla="*/ 583671 w 3544925"/>
                <a:gd name="connsiteY0" fmla="*/ 1022350 h 3317875"/>
                <a:gd name="connsiteX1" fmla="*/ 573116 w 3544925"/>
                <a:gd name="connsiteY1" fmla="*/ 357744 h 3317875"/>
                <a:gd name="connsiteX2" fmla="*/ 891646 w 3544925"/>
                <a:gd name="connsiteY2" fmla="*/ 0 h 3317875"/>
                <a:gd name="connsiteX3" fmla="*/ 1929875 w 3544925"/>
                <a:gd name="connsiteY3" fmla="*/ 9529 h 3317875"/>
                <a:gd name="connsiteX4" fmla="*/ 3511023 w 3544925"/>
                <a:gd name="connsiteY4" fmla="*/ 1466860 h 3317875"/>
                <a:gd name="connsiteX5" fmla="*/ 3524756 w 3544925"/>
                <a:gd name="connsiteY5" fmla="*/ 2699794 h 3317875"/>
                <a:gd name="connsiteX6" fmla="*/ 3225272 w 3544925"/>
                <a:gd name="connsiteY6" fmla="*/ 2914660 h 3317875"/>
                <a:gd name="connsiteX7" fmla="*/ 2282296 w 3544925"/>
                <a:gd name="connsiteY7" fmla="*/ 2914650 h 3317875"/>
                <a:gd name="connsiteX8" fmla="*/ 2053696 w 3544925"/>
                <a:gd name="connsiteY8" fmla="*/ 2743200 h 3317875"/>
                <a:gd name="connsiteX9" fmla="*/ 1996546 w 3544925"/>
                <a:gd name="connsiteY9" fmla="*/ 3086100 h 3317875"/>
                <a:gd name="connsiteX10" fmla="*/ 2301346 w 3544925"/>
                <a:gd name="connsiteY10" fmla="*/ 3086100 h 3317875"/>
                <a:gd name="connsiteX11" fmla="*/ 2339446 w 3544925"/>
                <a:gd name="connsiteY11" fmla="*/ 3267075 h 3317875"/>
                <a:gd name="connsiteX12" fmla="*/ 1272646 w 3544925"/>
                <a:gd name="connsiteY12" fmla="*/ 3286125 h 3317875"/>
                <a:gd name="connsiteX13" fmla="*/ 1244071 w 3544925"/>
                <a:gd name="connsiteY13" fmla="*/ 3076575 h 3317875"/>
                <a:gd name="connsiteX14" fmla="*/ 1649437 w 3544925"/>
                <a:gd name="connsiteY14" fmla="*/ 3090318 h 3317875"/>
                <a:gd name="connsiteX15" fmla="*/ 1634598 w 3544925"/>
                <a:gd name="connsiteY15" fmla="*/ 2524131 h 3317875"/>
                <a:gd name="connsiteX16" fmla="*/ 663046 w 3544925"/>
                <a:gd name="connsiteY16" fmla="*/ 1524000 h 3317875"/>
                <a:gd name="connsiteX17" fmla="*/ 567798 w 3544925"/>
                <a:gd name="connsiteY17" fmla="*/ 1209674 h 3317875"/>
                <a:gd name="connsiteX18" fmla="*/ 301097 w 3544925"/>
                <a:gd name="connsiteY18" fmla="*/ 1800224 h 3317875"/>
                <a:gd name="connsiteX19" fmla="*/ 1215499 w 3544925"/>
                <a:gd name="connsiteY19" fmla="*/ 2447924 h 3317875"/>
                <a:gd name="connsiteX20" fmla="*/ 1215496 w 3544925"/>
                <a:gd name="connsiteY20" fmla="*/ 2990850 h 3317875"/>
                <a:gd name="connsiteX21" fmla="*/ 434446 w 3544925"/>
                <a:gd name="connsiteY21" fmla="*/ 2362200 h 3317875"/>
                <a:gd name="connsiteX22" fmla="*/ 110596 w 3544925"/>
                <a:gd name="connsiteY22" fmla="*/ 1371600 h 3317875"/>
                <a:gd name="connsiteX23" fmla="*/ 583671 w 3544925"/>
                <a:gd name="connsiteY23" fmla="*/ 1022350 h 3317875"/>
                <a:gd name="connsiteX24" fmla="*/ 3415841 w 3544925"/>
                <a:gd name="connsiteY24" fmla="*/ 2470572 h 3317875"/>
                <a:gd name="connsiteX25" fmla="*/ 3425297 w 3544925"/>
                <a:gd name="connsiteY25" fmla="*/ 1885949 h 3317875"/>
                <a:gd name="connsiteX26" fmla="*/ 3072733 w 3544925"/>
                <a:gd name="connsiteY26" fmla="*/ 1506273 h 3317875"/>
                <a:gd name="connsiteX27" fmla="*/ 2538428 w 3544925"/>
                <a:gd name="connsiteY27" fmla="*/ 1525940 h 3317875"/>
                <a:gd name="connsiteX28" fmla="*/ 2234672 w 3544925"/>
                <a:gd name="connsiteY28" fmla="*/ 1781175 h 3317875"/>
                <a:gd name="connsiteX29" fmla="*/ 2234672 w 3544925"/>
                <a:gd name="connsiteY29" fmla="*/ 2543175 h 3317875"/>
                <a:gd name="connsiteX30" fmla="*/ 2510897 w 3544925"/>
                <a:gd name="connsiteY30" fmla="*/ 2790825 h 3317875"/>
                <a:gd name="connsiteX31" fmla="*/ 3053822 w 3544925"/>
                <a:gd name="connsiteY31" fmla="*/ 2771775 h 3317875"/>
                <a:gd name="connsiteX32" fmla="*/ 3415841 w 3544925"/>
                <a:gd name="connsiteY32" fmla="*/ 2470572 h 3317875"/>
                <a:gd name="connsiteX33" fmla="*/ 786801 w 3544925"/>
                <a:gd name="connsiteY33" fmla="*/ 129753 h 3317875"/>
                <a:gd name="connsiteX34" fmla="*/ 2082271 w 3544925"/>
                <a:gd name="connsiteY34" fmla="*/ 1257300 h 3317875"/>
                <a:gd name="connsiteX35" fmla="*/ 1997594 w 3544925"/>
                <a:gd name="connsiteY35" fmla="*/ 1426808 h 3317875"/>
                <a:gd name="connsiteX36" fmla="*/ 729723 w 3544925"/>
                <a:gd name="connsiteY36" fmla="*/ 285749 h 3317875"/>
                <a:gd name="connsiteX37" fmla="*/ 786801 w 3544925"/>
                <a:gd name="connsiteY37" fmla="*/ 129753 h 3317875"/>
                <a:gd name="connsiteX0" fmla="*/ 583671 w 3544925"/>
                <a:gd name="connsiteY0" fmla="*/ 1022350 h 3317875"/>
                <a:gd name="connsiteX1" fmla="*/ 573116 w 3544925"/>
                <a:gd name="connsiteY1" fmla="*/ 357744 h 3317875"/>
                <a:gd name="connsiteX2" fmla="*/ 891646 w 3544925"/>
                <a:gd name="connsiteY2" fmla="*/ 0 h 3317875"/>
                <a:gd name="connsiteX3" fmla="*/ 1929875 w 3544925"/>
                <a:gd name="connsiteY3" fmla="*/ 9529 h 3317875"/>
                <a:gd name="connsiteX4" fmla="*/ 3511023 w 3544925"/>
                <a:gd name="connsiteY4" fmla="*/ 1466860 h 3317875"/>
                <a:gd name="connsiteX5" fmla="*/ 3524756 w 3544925"/>
                <a:gd name="connsiteY5" fmla="*/ 2699794 h 3317875"/>
                <a:gd name="connsiteX6" fmla="*/ 3225272 w 3544925"/>
                <a:gd name="connsiteY6" fmla="*/ 2914660 h 3317875"/>
                <a:gd name="connsiteX7" fmla="*/ 2282296 w 3544925"/>
                <a:gd name="connsiteY7" fmla="*/ 2914650 h 3317875"/>
                <a:gd name="connsiteX8" fmla="*/ 2053696 w 3544925"/>
                <a:gd name="connsiteY8" fmla="*/ 2743200 h 3317875"/>
                <a:gd name="connsiteX9" fmla="*/ 1996546 w 3544925"/>
                <a:gd name="connsiteY9" fmla="*/ 3086100 h 3317875"/>
                <a:gd name="connsiteX10" fmla="*/ 2301346 w 3544925"/>
                <a:gd name="connsiteY10" fmla="*/ 3086100 h 3317875"/>
                <a:gd name="connsiteX11" fmla="*/ 2339446 w 3544925"/>
                <a:gd name="connsiteY11" fmla="*/ 3267075 h 3317875"/>
                <a:gd name="connsiteX12" fmla="*/ 1272646 w 3544925"/>
                <a:gd name="connsiteY12" fmla="*/ 3286125 h 3317875"/>
                <a:gd name="connsiteX13" fmla="*/ 1244071 w 3544925"/>
                <a:gd name="connsiteY13" fmla="*/ 3076575 h 3317875"/>
                <a:gd name="connsiteX14" fmla="*/ 1649437 w 3544925"/>
                <a:gd name="connsiteY14" fmla="*/ 3090318 h 3317875"/>
                <a:gd name="connsiteX15" fmla="*/ 1634598 w 3544925"/>
                <a:gd name="connsiteY15" fmla="*/ 2524131 h 3317875"/>
                <a:gd name="connsiteX16" fmla="*/ 663046 w 3544925"/>
                <a:gd name="connsiteY16" fmla="*/ 1524000 h 3317875"/>
                <a:gd name="connsiteX17" fmla="*/ 567798 w 3544925"/>
                <a:gd name="connsiteY17" fmla="*/ 1209674 h 3317875"/>
                <a:gd name="connsiteX18" fmla="*/ 301097 w 3544925"/>
                <a:gd name="connsiteY18" fmla="*/ 1800224 h 3317875"/>
                <a:gd name="connsiteX19" fmla="*/ 1215499 w 3544925"/>
                <a:gd name="connsiteY19" fmla="*/ 2447924 h 3317875"/>
                <a:gd name="connsiteX20" fmla="*/ 1215496 w 3544925"/>
                <a:gd name="connsiteY20" fmla="*/ 2990850 h 3317875"/>
                <a:gd name="connsiteX21" fmla="*/ 434446 w 3544925"/>
                <a:gd name="connsiteY21" fmla="*/ 2362200 h 3317875"/>
                <a:gd name="connsiteX22" fmla="*/ 110596 w 3544925"/>
                <a:gd name="connsiteY22" fmla="*/ 1371600 h 3317875"/>
                <a:gd name="connsiteX23" fmla="*/ 583671 w 3544925"/>
                <a:gd name="connsiteY23" fmla="*/ 1022350 h 3317875"/>
                <a:gd name="connsiteX24" fmla="*/ 3415841 w 3544925"/>
                <a:gd name="connsiteY24" fmla="*/ 2470572 h 3317875"/>
                <a:gd name="connsiteX25" fmla="*/ 3425297 w 3544925"/>
                <a:gd name="connsiteY25" fmla="*/ 1885949 h 3317875"/>
                <a:gd name="connsiteX26" fmla="*/ 3072733 w 3544925"/>
                <a:gd name="connsiteY26" fmla="*/ 1506273 h 3317875"/>
                <a:gd name="connsiteX27" fmla="*/ 2538428 w 3544925"/>
                <a:gd name="connsiteY27" fmla="*/ 1525940 h 3317875"/>
                <a:gd name="connsiteX28" fmla="*/ 2234672 w 3544925"/>
                <a:gd name="connsiteY28" fmla="*/ 1781175 h 3317875"/>
                <a:gd name="connsiteX29" fmla="*/ 2234672 w 3544925"/>
                <a:gd name="connsiteY29" fmla="*/ 2543175 h 3317875"/>
                <a:gd name="connsiteX30" fmla="*/ 2510897 w 3544925"/>
                <a:gd name="connsiteY30" fmla="*/ 2790825 h 3317875"/>
                <a:gd name="connsiteX31" fmla="*/ 3053822 w 3544925"/>
                <a:gd name="connsiteY31" fmla="*/ 2771775 h 3317875"/>
                <a:gd name="connsiteX32" fmla="*/ 3415841 w 3544925"/>
                <a:gd name="connsiteY32" fmla="*/ 2470572 h 3317875"/>
                <a:gd name="connsiteX33" fmla="*/ 786801 w 3544925"/>
                <a:gd name="connsiteY33" fmla="*/ 129753 h 3317875"/>
                <a:gd name="connsiteX34" fmla="*/ 2082271 w 3544925"/>
                <a:gd name="connsiteY34" fmla="*/ 1257300 h 3317875"/>
                <a:gd name="connsiteX35" fmla="*/ 1997594 w 3544925"/>
                <a:gd name="connsiteY35" fmla="*/ 1426808 h 3317875"/>
                <a:gd name="connsiteX36" fmla="*/ 729723 w 3544925"/>
                <a:gd name="connsiteY36" fmla="*/ 285749 h 3317875"/>
                <a:gd name="connsiteX37" fmla="*/ 786801 w 3544925"/>
                <a:gd name="connsiteY37" fmla="*/ 129753 h 3317875"/>
                <a:gd name="connsiteX0" fmla="*/ 583671 w 3544925"/>
                <a:gd name="connsiteY0" fmla="*/ 1022350 h 3317875"/>
                <a:gd name="connsiteX1" fmla="*/ 573116 w 3544925"/>
                <a:gd name="connsiteY1" fmla="*/ 357744 h 3317875"/>
                <a:gd name="connsiteX2" fmla="*/ 891646 w 3544925"/>
                <a:gd name="connsiteY2" fmla="*/ 0 h 3317875"/>
                <a:gd name="connsiteX3" fmla="*/ 1929875 w 3544925"/>
                <a:gd name="connsiteY3" fmla="*/ 9529 h 3317875"/>
                <a:gd name="connsiteX4" fmla="*/ 3511023 w 3544925"/>
                <a:gd name="connsiteY4" fmla="*/ 1466860 h 3317875"/>
                <a:gd name="connsiteX5" fmla="*/ 3524756 w 3544925"/>
                <a:gd name="connsiteY5" fmla="*/ 2699794 h 3317875"/>
                <a:gd name="connsiteX6" fmla="*/ 3225272 w 3544925"/>
                <a:gd name="connsiteY6" fmla="*/ 2914660 h 3317875"/>
                <a:gd name="connsiteX7" fmla="*/ 2282296 w 3544925"/>
                <a:gd name="connsiteY7" fmla="*/ 2914650 h 3317875"/>
                <a:gd name="connsiteX8" fmla="*/ 1939396 w 3544925"/>
                <a:gd name="connsiteY8" fmla="*/ 2743200 h 3317875"/>
                <a:gd name="connsiteX9" fmla="*/ 1996546 w 3544925"/>
                <a:gd name="connsiteY9" fmla="*/ 3086100 h 3317875"/>
                <a:gd name="connsiteX10" fmla="*/ 2301346 w 3544925"/>
                <a:gd name="connsiteY10" fmla="*/ 3086100 h 3317875"/>
                <a:gd name="connsiteX11" fmla="*/ 2339446 w 3544925"/>
                <a:gd name="connsiteY11" fmla="*/ 3267075 h 3317875"/>
                <a:gd name="connsiteX12" fmla="*/ 1272646 w 3544925"/>
                <a:gd name="connsiteY12" fmla="*/ 3286125 h 3317875"/>
                <a:gd name="connsiteX13" fmla="*/ 1244071 w 3544925"/>
                <a:gd name="connsiteY13" fmla="*/ 3076575 h 3317875"/>
                <a:gd name="connsiteX14" fmla="*/ 1649437 w 3544925"/>
                <a:gd name="connsiteY14" fmla="*/ 3090318 h 3317875"/>
                <a:gd name="connsiteX15" fmla="*/ 1634598 w 3544925"/>
                <a:gd name="connsiteY15" fmla="*/ 2524131 h 3317875"/>
                <a:gd name="connsiteX16" fmla="*/ 663046 w 3544925"/>
                <a:gd name="connsiteY16" fmla="*/ 1524000 h 3317875"/>
                <a:gd name="connsiteX17" fmla="*/ 567798 w 3544925"/>
                <a:gd name="connsiteY17" fmla="*/ 1209674 h 3317875"/>
                <a:gd name="connsiteX18" fmla="*/ 301097 w 3544925"/>
                <a:gd name="connsiteY18" fmla="*/ 1800224 h 3317875"/>
                <a:gd name="connsiteX19" fmla="*/ 1215499 w 3544925"/>
                <a:gd name="connsiteY19" fmla="*/ 2447924 h 3317875"/>
                <a:gd name="connsiteX20" fmla="*/ 1215496 w 3544925"/>
                <a:gd name="connsiteY20" fmla="*/ 2990850 h 3317875"/>
                <a:gd name="connsiteX21" fmla="*/ 434446 w 3544925"/>
                <a:gd name="connsiteY21" fmla="*/ 2362200 h 3317875"/>
                <a:gd name="connsiteX22" fmla="*/ 110596 w 3544925"/>
                <a:gd name="connsiteY22" fmla="*/ 1371600 h 3317875"/>
                <a:gd name="connsiteX23" fmla="*/ 583671 w 3544925"/>
                <a:gd name="connsiteY23" fmla="*/ 1022350 h 3317875"/>
                <a:gd name="connsiteX24" fmla="*/ 3415841 w 3544925"/>
                <a:gd name="connsiteY24" fmla="*/ 2470572 h 3317875"/>
                <a:gd name="connsiteX25" fmla="*/ 3425297 w 3544925"/>
                <a:gd name="connsiteY25" fmla="*/ 1885949 h 3317875"/>
                <a:gd name="connsiteX26" fmla="*/ 3072733 w 3544925"/>
                <a:gd name="connsiteY26" fmla="*/ 1506273 h 3317875"/>
                <a:gd name="connsiteX27" fmla="*/ 2538428 w 3544925"/>
                <a:gd name="connsiteY27" fmla="*/ 1525940 h 3317875"/>
                <a:gd name="connsiteX28" fmla="*/ 2234672 w 3544925"/>
                <a:gd name="connsiteY28" fmla="*/ 1781175 h 3317875"/>
                <a:gd name="connsiteX29" fmla="*/ 2234672 w 3544925"/>
                <a:gd name="connsiteY29" fmla="*/ 2543175 h 3317875"/>
                <a:gd name="connsiteX30" fmla="*/ 2510897 w 3544925"/>
                <a:gd name="connsiteY30" fmla="*/ 2790825 h 3317875"/>
                <a:gd name="connsiteX31" fmla="*/ 3053822 w 3544925"/>
                <a:gd name="connsiteY31" fmla="*/ 2771775 h 3317875"/>
                <a:gd name="connsiteX32" fmla="*/ 3415841 w 3544925"/>
                <a:gd name="connsiteY32" fmla="*/ 2470572 h 3317875"/>
                <a:gd name="connsiteX33" fmla="*/ 786801 w 3544925"/>
                <a:gd name="connsiteY33" fmla="*/ 129753 h 3317875"/>
                <a:gd name="connsiteX34" fmla="*/ 2082271 w 3544925"/>
                <a:gd name="connsiteY34" fmla="*/ 1257300 h 3317875"/>
                <a:gd name="connsiteX35" fmla="*/ 1997594 w 3544925"/>
                <a:gd name="connsiteY35" fmla="*/ 1426808 h 3317875"/>
                <a:gd name="connsiteX36" fmla="*/ 729723 w 3544925"/>
                <a:gd name="connsiteY36" fmla="*/ 285749 h 3317875"/>
                <a:gd name="connsiteX37" fmla="*/ 786801 w 3544925"/>
                <a:gd name="connsiteY37" fmla="*/ 129753 h 3317875"/>
                <a:gd name="connsiteX0" fmla="*/ 583671 w 3544925"/>
                <a:gd name="connsiteY0" fmla="*/ 1022350 h 3317875"/>
                <a:gd name="connsiteX1" fmla="*/ 573116 w 3544925"/>
                <a:gd name="connsiteY1" fmla="*/ 357744 h 3317875"/>
                <a:gd name="connsiteX2" fmla="*/ 891646 w 3544925"/>
                <a:gd name="connsiteY2" fmla="*/ 0 h 3317875"/>
                <a:gd name="connsiteX3" fmla="*/ 1929875 w 3544925"/>
                <a:gd name="connsiteY3" fmla="*/ 9529 h 3317875"/>
                <a:gd name="connsiteX4" fmla="*/ 3511023 w 3544925"/>
                <a:gd name="connsiteY4" fmla="*/ 1466860 h 3317875"/>
                <a:gd name="connsiteX5" fmla="*/ 3524756 w 3544925"/>
                <a:gd name="connsiteY5" fmla="*/ 2699794 h 3317875"/>
                <a:gd name="connsiteX6" fmla="*/ 3225272 w 3544925"/>
                <a:gd name="connsiteY6" fmla="*/ 2914660 h 3317875"/>
                <a:gd name="connsiteX7" fmla="*/ 2282296 w 3544925"/>
                <a:gd name="connsiteY7" fmla="*/ 2914650 h 3317875"/>
                <a:gd name="connsiteX8" fmla="*/ 1939396 w 3544925"/>
                <a:gd name="connsiteY8" fmla="*/ 2743200 h 3317875"/>
                <a:gd name="connsiteX9" fmla="*/ 1967971 w 3544925"/>
                <a:gd name="connsiteY9" fmla="*/ 3057525 h 3317875"/>
                <a:gd name="connsiteX10" fmla="*/ 2301346 w 3544925"/>
                <a:gd name="connsiteY10" fmla="*/ 3086100 h 3317875"/>
                <a:gd name="connsiteX11" fmla="*/ 2339446 w 3544925"/>
                <a:gd name="connsiteY11" fmla="*/ 3267075 h 3317875"/>
                <a:gd name="connsiteX12" fmla="*/ 1272646 w 3544925"/>
                <a:gd name="connsiteY12" fmla="*/ 3286125 h 3317875"/>
                <a:gd name="connsiteX13" fmla="*/ 1244071 w 3544925"/>
                <a:gd name="connsiteY13" fmla="*/ 3076575 h 3317875"/>
                <a:gd name="connsiteX14" fmla="*/ 1649437 w 3544925"/>
                <a:gd name="connsiteY14" fmla="*/ 3090318 h 3317875"/>
                <a:gd name="connsiteX15" fmla="*/ 1634598 w 3544925"/>
                <a:gd name="connsiteY15" fmla="*/ 2524131 h 3317875"/>
                <a:gd name="connsiteX16" fmla="*/ 663046 w 3544925"/>
                <a:gd name="connsiteY16" fmla="*/ 1524000 h 3317875"/>
                <a:gd name="connsiteX17" fmla="*/ 567798 w 3544925"/>
                <a:gd name="connsiteY17" fmla="*/ 1209674 h 3317875"/>
                <a:gd name="connsiteX18" fmla="*/ 301097 w 3544925"/>
                <a:gd name="connsiteY18" fmla="*/ 1800224 h 3317875"/>
                <a:gd name="connsiteX19" fmla="*/ 1215499 w 3544925"/>
                <a:gd name="connsiteY19" fmla="*/ 2447924 h 3317875"/>
                <a:gd name="connsiteX20" fmla="*/ 1215496 w 3544925"/>
                <a:gd name="connsiteY20" fmla="*/ 2990850 h 3317875"/>
                <a:gd name="connsiteX21" fmla="*/ 434446 w 3544925"/>
                <a:gd name="connsiteY21" fmla="*/ 2362200 h 3317875"/>
                <a:gd name="connsiteX22" fmla="*/ 110596 w 3544925"/>
                <a:gd name="connsiteY22" fmla="*/ 1371600 h 3317875"/>
                <a:gd name="connsiteX23" fmla="*/ 583671 w 3544925"/>
                <a:gd name="connsiteY23" fmla="*/ 1022350 h 3317875"/>
                <a:gd name="connsiteX24" fmla="*/ 3415841 w 3544925"/>
                <a:gd name="connsiteY24" fmla="*/ 2470572 h 3317875"/>
                <a:gd name="connsiteX25" fmla="*/ 3425297 w 3544925"/>
                <a:gd name="connsiteY25" fmla="*/ 1885949 h 3317875"/>
                <a:gd name="connsiteX26" fmla="*/ 3072733 w 3544925"/>
                <a:gd name="connsiteY26" fmla="*/ 1506273 h 3317875"/>
                <a:gd name="connsiteX27" fmla="*/ 2538428 w 3544925"/>
                <a:gd name="connsiteY27" fmla="*/ 1525940 h 3317875"/>
                <a:gd name="connsiteX28" fmla="*/ 2234672 w 3544925"/>
                <a:gd name="connsiteY28" fmla="*/ 1781175 h 3317875"/>
                <a:gd name="connsiteX29" fmla="*/ 2234672 w 3544925"/>
                <a:gd name="connsiteY29" fmla="*/ 2543175 h 3317875"/>
                <a:gd name="connsiteX30" fmla="*/ 2510897 w 3544925"/>
                <a:gd name="connsiteY30" fmla="*/ 2790825 h 3317875"/>
                <a:gd name="connsiteX31" fmla="*/ 3053822 w 3544925"/>
                <a:gd name="connsiteY31" fmla="*/ 2771775 h 3317875"/>
                <a:gd name="connsiteX32" fmla="*/ 3415841 w 3544925"/>
                <a:gd name="connsiteY32" fmla="*/ 2470572 h 3317875"/>
                <a:gd name="connsiteX33" fmla="*/ 786801 w 3544925"/>
                <a:gd name="connsiteY33" fmla="*/ 129753 h 3317875"/>
                <a:gd name="connsiteX34" fmla="*/ 2082271 w 3544925"/>
                <a:gd name="connsiteY34" fmla="*/ 1257300 h 3317875"/>
                <a:gd name="connsiteX35" fmla="*/ 1997594 w 3544925"/>
                <a:gd name="connsiteY35" fmla="*/ 1426808 h 3317875"/>
                <a:gd name="connsiteX36" fmla="*/ 729723 w 3544925"/>
                <a:gd name="connsiteY36" fmla="*/ 285749 h 3317875"/>
                <a:gd name="connsiteX37" fmla="*/ 786801 w 3544925"/>
                <a:gd name="connsiteY37" fmla="*/ 129753 h 3317875"/>
                <a:gd name="connsiteX0" fmla="*/ 583671 w 3544925"/>
                <a:gd name="connsiteY0" fmla="*/ 1022350 h 3317875"/>
                <a:gd name="connsiteX1" fmla="*/ 573116 w 3544925"/>
                <a:gd name="connsiteY1" fmla="*/ 357744 h 3317875"/>
                <a:gd name="connsiteX2" fmla="*/ 891646 w 3544925"/>
                <a:gd name="connsiteY2" fmla="*/ 0 h 3317875"/>
                <a:gd name="connsiteX3" fmla="*/ 1929875 w 3544925"/>
                <a:gd name="connsiteY3" fmla="*/ 9529 h 3317875"/>
                <a:gd name="connsiteX4" fmla="*/ 3511023 w 3544925"/>
                <a:gd name="connsiteY4" fmla="*/ 1466860 h 3317875"/>
                <a:gd name="connsiteX5" fmla="*/ 3524756 w 3544925"/>
                <a:gd name="connsiteY5" fmla="*/ 2699794 h 3317875"/>
                <a:gd name="connsiteX6" fmla="*/ 3225272 w 3544925"/>
                <a:gd name="connsiteY6" fmla="*/ 2914660 h 3317875"/>
                <a:gd name="connsiteX7" fmla="*/ 2282296 w 3544925"/>
                <a:gd name="connsiteY7" fmla="*/ 2914650 h 3317875"/>
                <a:gd name="connsiteX8" fmla="*/ 1939396 w 3544925"/>
                <a:gd name="connsiteY8" fmla="*/ 2743200 h 3317875"/>
                <a:gd name="connsiteX9" fmla="*/ 1967971 w 3544925"/>
                <a:gd name="connsiteY9" fmla="*/ 3057525 h 3317875"/>
                <a:gd name="connsiteX10" fmla="*/ 2301346 w 3544925"/>
                <a:gd name="connsiteY10" fmla="*/ 3086100 h 3317875"/>
                <a:gd name="connsiteX11" fmla="*/ 2339446 w 3544925"/>
                <a:gd name="connsiteY11" fmla="*/ 3267075 h 3317875"/>
                <a:gd name="connsiteX12" fmla="*/ 1272646 w 3544925"/>
                <a:gd name="connsiteY12" fmla="*/ 3286125 h 3317875"/>
                <a:gd name="connsiteX13" fmla="*/ 1244071 w 3544925"/>
                <a:gd name="connsiteY13" fmla="*/ 3076575 h 3317875"/>
                <a:gd name="connsiteX14" fmla="*/ 1649437 w 3544925"/>
                <a:gd name="connsiteY14" fmla="*/ 3090318 h 3317875"/>
                <a:gd name="connsiteX15" fmla="*/ 1634598 w 3544925"/>
                <a:gd name="connsiteY15" fmla="*/ 2524131 h 3317875"/>
                <a:gd name="connsiteX16" fmla="*/ 663046 w 3544925"/>
                <a:gd name="connsiteY16" fmla="*/ 1524000 h 3317875"/>
                <a:gd name="connsiteX17" fmla="*/ 567798 w 3544925"/>
                <a:gd name="connsiteY17" fmla="*/ 1209674 h 3317875"/>
                <a:gd name="connsiteX18" fmla="*/ 301097 w 3544925"/>
                <a:gd name="connsiteY18" fmla="*/ 1800224 h 3317875"/>
                <a:gd name="connsiteX19" fmla="*/ 1215499 w 3544925"/>
                <a:gd name="connsiteY19" fmla="*/ 2447924 h 3317875"/>
                <a:gd name="connsiteX20" fmla="*/ 1215496 w 3544925"/>
                <a:gd name="connsiteY20" fmla="*/ 2990850 h 3317875"/>
                <a:gd name="connsiteX21" fmla="*/ 434446 w 3544925"/>
                <a:gd name="connsiteY21" fmla="*/ 2362200 h 3317875"/>
                <a:gd name="connsiteX22" fmla="*/ 110596 w 3544925"/>
                <a:gd name="connsiteY22" fmla="*/ 1371600 h 3317875"/>
                <a:gd name="connsiteX23" fmla="*/ 583671 w 3544925"/>
                <a:gd name="connsiteY23" fmla="*/ 1022350 h 3317875"/>
                <a:gd name="connsiteX24" fmla="*/ 3415841 w 3544925"/>
                <a:gd name="connsiteY24" fmla="*/ 2470572 h 3317875"/>
                <a:gd name="connsiteX25" fmla="*/ 3425297 w 3544925"/>
                <a:gd name="connsiteY25" fmla="*/ 1885949 h 3317875"/>
                <a:gd name="connsiteX26" fmla="*/ 3072733 w 3544925"/>
                <a:gd name="connsiteY26" fmla="*/ 1506273 h 3317875"/>
                <a:gd name="connsiteX27" fmla="*/ 2538428 w 3544925"/>
                <a:gd name="connsiteY27" fmla="*/ 1525940 h 3317875"/>
                <a:gd name="connsiteX28" fmla="*/ 2234672 w 3544925"/>
                <a:gd name="connsiteY28" fmla="*/ 1781175 h 3317875"/>
                <a:gd name="connsiteX29" fmla="*/ 2234672 w 3544925"/>
                <a:gd name="connsiteY29" fmla="*/ 2543175 h 3317875"/>
                <a:gd name="connsiteX30" fmla="*/ 2510897 w 3544925"/>
                <a:gd name="connsiteY30" fmla="*/ 2790825 h 3317875"/>
                <a:gd name="connsiteX31" fmla="*/ 3053822 w 3544925"/>
                <a:gd name="connsiteY31" fmla="*/ 2771775 h 3317875"/>
                <a:gd name="connsiteX32" fmla="*/ 3415841 w 3544925"/>
                <a:gd name="connsiteY32" fmla="*/ 2470572 h 3317875"/>
                <a:gd name="connsiteX33" fmla="*/ 786801 w 3544925"/>
                <a:gd name="connsiteY33" fmla="*/ 129753 h 3317875"/>
                <a:gd name="connsiteX34" fmla="*/ 2082271 w 3544925"/>
                <a:gd name="connsiteY34" fmla="*/ 1257300 h 3317875"/>
                <a:gd name="connsiteX35" fmla="*/ 1997594 w 3544925"/>
                <a:gd name="connsiteY35" fmla="*/ 1426808 h 3317875"/>
                <a:gd name="connsiteX36" fmla="*/ 729723 w 3544925"/>
                <a:gd name="connsiteY36" fmla="*/ 285749 h 3317875"/>
                <a:gd name="connsiteX37" fmla="*/ 786801 w 3544925"/>
                <a:gd name="connsiteY37" fmla="*/ 129753 h 3317875"/>
                <a:gd name="connsiteX0" fmla="*/ 583671 w 3544925"/>
                <a:gd name="connsiteY0" fmla="*/ 1022350 h 3317875"/>
                <a:gd name="connsiteX1" fmla="*/ 573116 w 3544925"/>
                <a:gd name="connsiteY1" fmla="*/ 357744 h 3317875"/>
                <a:gd name="connsiteX2" fmla="*/ 891646 w 3544925"/>
                <a:gd name="connsiteY2" fmla="*/ 0 h 3317875"/>
                <a:gd name="connsiteX3" fmla="*/ 1929875 w 3544925"/>
                <a:gd name="connsiteY3" fmla="*/ 9529 h 3317875"/>
                <a:gd name="connsiteX4" fmla="*/ 3511023 w 3544925"/>
                <a:gd name="connsiteY4" fmla="*/ 1466860 h 3317875"/>
                <a:gd name="connsiteX5" fmla="*/ 3524756 w 3544925"/>
                <a:gd name="connsiteY5" fmla="*/ 2699794 h 3317875"/>
                <a:gd name="connsiteX6" fmla="*/ 3225272 w 3544925"/>
                <a:gd name="connsiteY6" fmla="*/ 2914660 h 3317875"/>
                <a:gd name="connsiteX7" fmla="*/ 2282296 w 3544925"/>
                <a:gd name="connsiteY7" fmla="*/ 2914650 h 3317875"/>
                <a:gd name="connsiteX8" fmla="*/ 1939396 w 3544925"/>
                <a:gd name="connsiteY8" fmla="*/ 2743200 h 3317875"/>
                <a:gd name="connsiteX9" fmla="*/ 1967971 w 3544925"/>
                <a:gd name="connsiteY9" fmla="*/ 3057525 h 3317875"/>
                <a:gd name="connsiteX10" fmla="*/ 2301346 w 3544925"/>
                <a:gd name="connsiteY10" fmla="*/ 3086100 h 3317875"/>
                <a:gd name="connsiteX11" fmla="*/ 2339446 w 3544925"/>
                <a:gd name="connsiteY11" fmla="*/ 3267075 h 3317875"/>
                <a:gd name="connsiteX12" fmla="*/ 1272646 w 3544925"/>
                <a:gd name="connsiteY12" fmla="*/ 3286125 h 3317875"/>
                <a:gd name="connsiteX13" fmla="*/ 1244071 w 3544925"/>
                <a:gd name="connsiteY13" fmla="*/ 3076575 h 3317875"/>
                <a:gd name="connsiteX14" fmla="*/ 1649437 w 3544925"/>
                <a:gd name="connsiteY14" fmla="*/ 3090318 h 3317875"/>
                <a:gd name="connsiteX15" fmla="*/ 1634598 w 3544925"/>
                <a:gd name="connsiteY15" fmla="*/ 2524131 h 3317875"/>
                <a:gd name="connsiteX16" fmla="*/ 663046 w 3544925"/>
                <a:gd name="connsiteY16" fmla="*/ 1524000 h 3317875"/>
                <a:gd name="connsiteX17" fmla="*/ 567798 w 3544925"/>
                <a:gd name="connsiteY17" fmla="*/ 1209674 h 3317875"/>
                <a:gd name="connsiteX18" fmla="*/ 301097 w 3544925"/>
                <a:gd name="connsiteY18" fmla="*/ 1800224 h 3317875"/>
                <a:gd name="connsiteX19" fmla="*/ 1215499 w 3544925"/>
                <a:gd name="connsiteY19" fmla="*/ 2447924 h 3317875"/>
                <a:gd name="connsiteX20" fmla="*/ 1215496 w 3544925"/>
                <a:gd name="connsiteY20" fmla="*/ 2990850 h 3317875"/>
                <a:gd name="connsiteX21" fmla="*/ 434446 w 3544925"/>
                <a:gd name="connsiteY21" fmla="*/ 2362200 h 3317875"/>
                <a:gd name="connsiteX22" fmla="*/ 110596 w 3544925"/>
                <a:gd name="connsiteY22" fmla="*/ 1371600 h 3317875"/>
                <a:gd name="connsiteX23" fmla="*/ 583671 w 3544925"/>
                <a:gd name="connsiteY23" fmla="*/ 1022350 h 3317875"/>
                <a:gd name="connsiteX24" fmla="*/ 3415841 w 3544925"/>
                <a:gd name="connsiteY24" fmla="*/ 2470572 h 3317875"/>
                <a:gd name="connsiteX25" fmla="*/ 3425297 w 3544925"/>
                <a:gd name="connsiteY25" fmla="*/ 1885949 h 3317875"/>
                <a:gd name="connsiteX26" fmla="*/ 3072733 w 3544925"/>
                <a:gd name="connsiteY26" fmla="*/ 1506273 h 3317875"/>
                <a:gd name="connsiteX27" fmla="*/ 2538428 w 3544925"/>
                <a:gd name="connsiteY27" fmla="*/ 1525940 h 3317875"/>
                <a:gd name="connsiteX28" fmla="*/ 2234672 w 3544925"/>
                <a:gd name="connsiteY28" fmla="*/ 1781175 h 3317875"/>
                <a:gd name="connsiteX29" fmla="*/ 2234672 w 3544925"/>
                <a:gd name="connsiteY29" fmla="*/ 2543175 h 3317875"/>
                <a:gd name="connsiteX30" fmla="*/ 2510897 w 3544925"/>
                <a:gd name="connsiteY30" fmla="*/ 2790825 h 3317875"/>
                <a:gd name="connsiteX31" fmla="*/ 3053822 w 3544925"/>
                <a:gd name="connsiteY31" fmla="*/ 2771775 h 3317875"/>
                <a:gd name="connsiteX32" fmla="*/ 3415841 w 3544925"/>
                <a:gd name="connsiteY32" fmla="*/ 2470572 h 3317875"/>
                <a:gd name="connsiteX33" fmla="*/ 786801 w 3544925"/>
                <a:gd name="connsiteY33" fmla="*/ 129753 h 3317875"/>
                <a:gd name="connsiteX34" fmla="*/ 2082271 w 3544925"/>
                <a:gd name="connsiteY34" fmla="*/ 1257300 h 3317875"/>
                <a:gd name="connsiteX35" fmla="*/ 1997594 w 3544925"/>
                <a:gd name="connsiteY35" fmla="*/ 1426808 h 3317875"/>
                <a:gd name="connsiteX36" fmla="*/ 729723 w 3544925"/>
                <a:gd name="connsiteY36" fmla="*/ 285749 h 3317875"/>
                <a:gd name="connsiteX37" fmla="*/ 786801 w 3544925"/>
                <a:gd name="connsiteY37" fmla="*/ 129753 h 3317875"/>
                <a:gd name="connsiteX0" fmla="*/ 583671 w 3544925"/>
                <a:gd name="connsiteY0" fmla="*/ 1022350 h 3317875"/>
                <a:gd name="connsiteX1" fmla="*/ 573116 w 3544925"/>
                <a:gd name="connsiteY1" fmla="*/ 357744 h 3317875"/>
                <a:gd name="connsiteX2" fmla="*/ 891646 w 3544925"/>
                <a:gd name="connsiteY2" fmla="*/ 0 h 3317875"/>
                <a:gd name="connsiteX3" fmla="*/ 1929875 w 3544925"/>
                <a:gd name="connsiteY3" fmla="*/ 9529 h 3317875"/>
                <a:gd name="connsiteX4" fmla="*/ 3511023 w 3544925"/>
                <a:gd name="connsiteY4" fmla="*/ 1466860 h 3317875"/>
                <a:gd name="connsiteX5" fmla="*/ 3524756 w 3544925"/>
                <a:gd name="connsiteY5" fmla="*/ 2699794 h 3317875"/>
                <a:gd name="connsiteX6" fmla="*/ 3225272 w 3544925"/>
                <a:gd name="connsiteY6" fmla="*/ 2914660 h 3317875"/>
                <a:gd name="connsiteX7" fmla="*/ 2282296 w 3544925"/>
                <a:gd name="connsiteY7" fmla="*/ 2914650 h 3317875"/>
                <a:gd name="connsiteX8" fmla="*/ 1939396 w 3544925"/>
                <a:gd name="connsiteY8" fmla="*/ 2743200 h 3317875"/>
                <a:gd name="connsiteX9" fmla="*/ 1967971 w 3544925"/>
                <a:gd name="connsiteY9" fmla="*/ 3057525 h 3317875"/>
                <a:gd name="connsiteX10" fmla="*/ 2301346 w 3544925"/>
                <a:gd name="connsiteY10" fmla="*/ 3086100 h 3317875"/>
                <a:gd name="connsiteX11" fmla="*/ 2339446 w 3544925"/>
                <a:gd name="connsiteY11" fmla="*/ 3267075 h 3317875"/>
                <a:gd name="connsiteX12" fmla="*/ 1272646 w 3544925"/>
                <a:gd name="connsiteY12" fmla="*/ 3286125 h 3317875"/>
                <a:gd name="connsiteX13" fmla="*/ 1244071 w 3544925"/>
                <a:gd name="connsiteY13" fmla="*/ 3076575 h 3317875"/>
                <a:gd name="connsiteX14" fmla="*/ 1649437 w 3544925"/>
                <a:gd name="connsiteY14" fmla="*/ 3090318 h 3317875"/>
                <a:gd name="connsiteX15" fmla="*/ 1634598 w 3544925"/>
                <a:gd name="connsiteY15" fmla="*/ 2524131 h 3317875"/>
                <a:gd name="connsiteX16" fmla="*/ 663046 w 3544925"/>
                <a:gd name="connsiteY16" fmla="*/ 1524000 h 3317875"/>
                <a:gd name="connsiteX17" fmla="*/ 567798 w 3544925"/>
                <a:gd name="connsiteY17" fmla="*/ 1209674 h 3317875"/>
                <a:gd name="connsiteX18" fmla="*/ 301097 w 3544925"/>
                <a:gd name="connsiteY18" fmla="*/ 1800224 h 3317875"/>
                <a:gd name="connsiteX19" fmla="*/ 1215499 w 3544925"/>
                <a:gd name="connsiteY19" fmla="*/ 2447924 h 3317875"/>
                <a:gd name="connsiteX20" fmla="*/ 1215496 w 3544925"/>
                <a:gd name="connsiteY20" fmla="*/ 2990850 h 3317875"/>
                <a:gd name="connsiteX21" fmla="*/ 434446 w 3544925"/>
                <a:gd name="connsiteY21" fmla="*/ 2362200 h 3317875"/>
                <a:gd name="connsiteX22" fmla="*/ 110596 w 3544925"/>
                <a:gd name="connsiteY22" fmla="*/ 1371600 h 3317875"/>
                <a:gd name="connsiteX23" fmla="*/ 583671 w 3544925"/>
                <a:gd name="connsiteY23" fmla="*/ 1022350 h 3317875"/>
                <a:gd name="connsiteX24" fmla="*/ 3415841 w 3544925"/>
                <a:gd name="connsiteY24" fmla="*/ 2470572 h 3317875"/>
                <a:gd name="connsiteX25" fmla="*/ 3425297 w 3544925"/>
                <a:gd name="connsiteY25" fmla="*/ 1885949 h 3317875"/>
                <a:gd name="connsiteX26" fmla="*/ 3072733 w 3544925"/>
                <a:gd name="connsiteY26" fmla="*/ 1506273 h 3317875"/>
                <a:gd name="connsiteX27" fmla="*/ 2506678 w 3544925"/>
                <a:gd name="connsiteY27" fmla="*/ 1547812 h 3317875"/>
                <a:gd name="connsiteX28" fmla="*/ 2234672 w 3544925"/>
                <a:gd name="connsiteY28" fmla="*/ 1781175 h 3317875"/>
                <a:gd name="connsiteX29" fmla="*/ 2234672 w 3544925"/>
                <a:gd name="connsiteY29" fmla="*/ 2543175 h 3317875"/>
                <a:gd name="connsiteX30" fmla="*/ 2510897 w 3544925"/>
                <a:gd name="connsiteY30" fmla="*/ 2790825 h 3317875"/>
                <a:gd name="connsiteX31" fmla="*/ 3053822 w 3544925"/>
                <a:gd name="connsiteY31" fmla="*/ 2771775 h 3317875"/>
                <a:gd name="connsiteX32" fmla="*/ 3415841 w 3544925"/>
                <a:gd name="connsiteY32" fmla="*/ 2470572 h 3317875"/>
                <a:gd name="connsiteX33" fmla="*/ 786801 w 3544925"/>
                <a:gd name="connsiteY33" fmla="*/ 129753 h 3317875"/>
                <a:gd name="connsiteX34" fmla="*/ 2082271 w 3544925"/>
                <a:gd name="connsiteY34" fmla="*/ 1257300 h 3317875"/>
                <a:gd name="connsiteX35" fmla="*/ 1997594 w 3544925"/>
                <a:gd name="connsiteY35" fmla="*/ 1426808 h 3317875"/>
                <a:gd name="connsiteX36" fmla="*/ 729723 w 3544925"/>
                <a:gd name="connsiteY36" fmla="*/ 285749 h 3317875"/>
                <a:gd name="connsiteX37" fmla="*/ 786801 w 3544925"/>
                <a:gd name="connsiteY37" fmla="*/ 129753 h 3317875"/>
                <a:gd name="connsiteX0" fmla="*/ 583671 w 3544925"/>
                <a:gd name="connsiteY0" fmla="*/ 1022350 h 3317875"/>
                <a:gd name="connsiteX1" fmla="*/ 573116 w 3544925"/>
                <a:gd name="connsiteY1" fmla="*/ 357744 h 3317875"/>
                <a:gd name="connsiteX2" fmla="*/ 891646 w 3544925"/>
                <a:gd name="connsiteY2" fmla="*/ 0 h 3317875"/>
                <a:gd name="connsiteX3" fmla="*/ 1929875 w 3544925"/>
                <a:gd name="connsiteY3" fmla="*/ 9529 h 3317875"/>
                <a:gd name="connsiteX4" fmla="*/ 3511023 w 3544925"/>
                <a:gd name="connsiteY4" fmla="*/ 1466860 h 3317875"/>
                <a:gd name="connsiteX5" fmla="*/ 3524756 w 3544925"/>
                <a:gd name="connsiteY5" fmla="*/ 2699794 h 3317875"/>
                <a:gd name="connsiteX6" fmla="*/ 3225272 w 3544925"/>
                <a:gd name="connsiteY6" fmla="*/ 2914660 h 3317875"/>
                <a:gd name="connsiteX7" fmla="*/ 2282296 w 3544925"/>
                <a:gd name="connsiteY7" fmla="*/ 2914650 h 3317875"/>
                <a:gd name="connsiteX8" fmla="*/ 1939396 w 3544925"/>
                <a:gd name="connsiteY8" fmla="*/ 2743200 h 3317875"/>
                <a:gd name="connsiteX9" fmla="*/ 1967971 w 3544925"/>
                <a:gd name="connsiteY9" fmla="*/ 3057525 h 3317875"/>
                <a:gd name="connsiteX10" fmla="*/ 2301346 w 3544925"/>
                <a:gd name="connsiteY10" fmla="*/ 3086100 h 3317875"/>
                <a:gd name="connsiteX11" fmla="*/ 2339446 w 3544925"/>
                <a:gd name="connsiteY11" fmla="*/ 3267075 h 3317875"/>
                <a:gd name="connsiteX12" fmla="*/ 1272646 w 3544925"/>
                <a:gd name="connsiteY12" fmla="*/ 3286125 h 3317875"/>
                <a:gd name="connsiteX13" fmla="*/ 1244071 w 3544925"/>
                <a:gd name="connsiteY13" fmla="*/ 3076575 h 3317875"/>
                <a:gd name="connsiteX14" fmla="*/ 1649437 w 3544925"/>
                <a:gd name="connsiteY14" fmla="*/ 3090318 h 3317875"/>
                <a:gd name="connsiteX15" fmla="*/ 1634598 w 3544925"/>
                <a:gd name="connsiteY15" fmla="*/ 2524131 h 3317875"/>
                <a:gd name="connsiteX16" fmla="*/ 663046 w 3544925"/>
                <a:gd name="connsiteY16" fmla="*/ 1524000 h 3317875"/>
                <a:gd name="connsiteX17" fmla="*/ 567798 w 3544925"/>
                <a:gd name="connsiteY17" fmla="*/ 1209674 h 3317875"/>
                <a:gd name="connsiteX18" fmla="*/ 301097 w 3544925"/>
                <a:gd name="connsiteY18" fmla="*/ 1800224 h 3317875"/>
                <a:gd name="connsiteX19" fmla="*/ 1215499 w 3544925"/>
                <a:gd name="connsiteY19" fmla="*/ 2447924 h 3317875"/>
                <a:gd name="connsiteX20" fmla="*/ 1215496 w 3544925"/>
                <a:gd name="connsiteY20" fmla="*/ 2990850 h 3317875"/>
                <a:gd name="connsiteX21" fmla="*/ 434446 w 3544925"/>
                <a:gd name="connsiteY21" fmla="*/ 2362200 h 3317875"/>
                <a:gd name="connsiteX22" fmla="*/ 110596 w 3544925"/>
                <a:gd name="connsiteY22" fmla="*/ 1371600 h 3317875"/>
                <a:gd name="connsiteX23" fmla="*/ 583671 w 3544925"/>
                <a:gd name="connsiteY23" fmla="*/ 1022350 h 3317875"/>
                <a:gd name="connsiteX24" fmla="*/ 3415841 w 3544925"/>
                <a:gd name="connsiteY24" fmla="*/ 2470572 h 3317875"/>
                <a:gd name="connsiteX25" fmla="*/ 3425297 w 3544925"/>
                <a:gd name="connsiteY25" fmla="*/ 1885949 h 3317875"/>
                <a:gd name="connsiteX26" fmla="*/ 3136233 w 3544925"/>
                <a:gd name="connsiteY26" fmla="*/ 1547812 h 3317875"/>
                <a:gd name="connsiteX27" fmla="*/ 2506678 w 3544925"/>
                <a:gd name="connsiteY27" fmla="*/ 1547812 h 3317875"/>
                <a:gd name="connsiteX28" fmla="*/ 2234672 w 3544925"/>
                <a:gd name="connsiteY28" fmla="*/ 1781175 h 3317875"/>
                <a:gd name="connsiteX29" fmla="*/ 2234672 w 3544925"/>
                <a:gd name="connsiteY29" fmla="*/ 2543175 h 3317875"/>
                <a:gd name="connsiteX30" fmla="*/ 2510897 w 3544925"/>
                <a:gd name="connsiteY30" fmla="*/ 2790825 h 3317875"/>
                <a:gd name="connsiteX31" fmla="*/ 3053822 w 3544925"/>
                <a:gd name="connsiteY31" fmla="*/ 2771775 h 3317875"/>
                <a:gd name="connsiteX32" fmla="*/ 3415841 w 3544925"/>
                <a:gd name="connsiteY32" fmla="*/ 2470572 h 3317875"/>
                <a:gd name="connsiteX33" fmla="*/ 786801 w 3544925"/>
                <a:gd name="connsiteY33" fmla="*/ 129753 h 3317875"/>
                <a:gd name="connsiteX34" fmla="*/ 2082271 w 3544925"/>
                <a:gd name="connsiteY34" fmla="*/ 1257300 h 3317875"/>
                <a:gd name="connsiteX35" fmla="*/ 1997594 w 3544925"/>
                <a:gd name="connsiteY35" fmla="*/ 1426808 h 3317875"/>
                <a:gd name="connsiteX36" fmla="*/ 729723 w 3544925"/>
                <a:gd name="connsiteY36" fmla="*/ 285749 h 3317875"/>
                <a:gd name="connsiteX37" fmla="*/ 786801 w 3544925"/>
                <a:gd name="connsiteY37" fmla="*/ 129753 h 3317875"/>
                <a:gd name="connsiteX0" fmla="*/ 583671 w 3544925"/>
                <a:gd name="connsiteY0" fmla="*/ 1022350 h 3317875"/>
                <a:gd name="connsiteX1" fmla="*/ 573116 w 3544925"/>
                <a:gd name="connsiteY1" fmla="*/ 357744 h 3317875"/>
                <a:gd name="connsiteX2" fmla="*/ 891646 w 3544925"/>
                <a:gd name="connsiteY2" fmla="*/ 0 h 3317875"/>
                <a:gd name="connsiteX3" fmla="*/ 1929875 w 3544925"/>
                <a:gd name="connsiteY3" fmla="*/ 9529 h 3317875"/>
                <a:gd name="connsiteX4" fmla="*/ 3511023 w 3544925"/>
                <a:gd name="connsiteY4" fmla="*/ 1466860 h 3317875"/>
                <a:gd name="connsiteX5" fmla="*/ 3524756 w 3544925"/>
                <a:gd name="connsiteY5" fmla="*/ 2699794 h 3317875"/>
                <a:gd name="connsiteX6" fmla="*/ 3225272 w 3544925"/>
                <a:gd name="connsiteY6" fmla="*/ 2914660 h 3317875"/>
                <a:gd name="connsiteX7" fmla="*/ 2282296 w 3544925"/>
                <a:gd name="connsiteY7" fmla="*/ 2914650 h 3317875"/>
                <a:gd name="connsiteX8" fmla="*/ 1939396 w 3544925"/>
                <a:gd name="connsiteY8" fmla="*/ 2743200 h 3317875"/>
                <a:gd name="connsiteX9" fmla="*/ 1967971 w 3544925"/>
                <a:gd name="connsiteY9" fmla="*/ 3057525 h 3317875"/>
                <a:gd name="connsiteX10" fmla="*/ 2301346 w 3544925"/>
                <a:gd name="connsiteY10" fmla="*/ 3086100 h 3317875"/>
                <a:gd name="connsiteX11" fmla="*/ 2339446 w 3544925"/>
                <a:gd name="connsiteY11" fmla="*/ 3267075 h 3317875"/>
                <a:gd name="connsiteX12" fmla="*/ 1272646 w 3544925"/>
                <a:gd name="connsiteY12" fmla="*/ 3286125 h 3317875"/>
                <a:gd name="connsiteX13" fmla="*/ 1244071 w 3544925"/>
                <a:gd name="connsiteY13" fmla="*/ 3076575 h 3317875"/>
                <a:gd name="connsiteX14" fmla="*/ 1649437 w 3544925"/>
                <a:gd name="connsiteY14" fmla="*/ 3090318 h 3317875"/>
                <a:gd name="connsiteX15" fmla="*/ 1634598 w 3544925"/>
                <a:gd name="connsiteY15" fmla="*/ 2524131 h 3317875"/>
                <a:gd name="connsiteX16" fmla="*/ 663046 w 3544925"/>
                <a:gd name="connsiteY16" fmla="*/ 1524000 h 3317875"/>
                <a:gd name="connsiteX17" fmla="*/ 567798 w 3544925"/>
                <a:gd name="connsiteY17" fmla="*/ 1209674 h 3317875"/>
                <a:gd name="connsiteX18" fmla="*/ 301097 w 3544925"/>
                <a:gd name="connsiteY18" fmla="*/ 1800224 h 3317875"/>
                <a:gd name="connsiteX19" fmla="*/ 1215499 w 3544925"/>
                <a:gd name="connsiteY19" fmla="*/ 2447924 h 3317875"/>
                <a:gd name="connsiteX20" fmla="*/ 1215496 w 3544925"/>
                <a:gd name="connsiteY20" fmla="*/ 2990850 h 3317875"/>
                <a:gd name="connsiteX21" fmla="*/ 434446 w 3544925"/>
                <a:gd name="connsiteY21" fmla="*/ 2362200 h 3317875"/>
                <a:gd name="connsiteX22" fmla="*/ 110596 w 3544925"/>
                <a:gd name="connsiteY22" fmla="*/ 1371600 h 3317875"/>
                <a:gd name="connsiteX23" fmla="*/ 583671 w 3544925"/>
                <a:gd name="connsiteY23" fmla="*/ 1022350 h 3317875"/>
                <a:gd name="connsiteX24" fmla="*/ 3415841 w 3544925"/>
                <a:gd name="connsiteY24" fmla="*/ 2470572 h 3317875"/>
                <a:gd name="connsiteX25" fmla="*/ 3425297 w 3544925"/>
                <a:gd name="connsiteY25" fmla="*/ 1885949 h 3317875"/>
                <a:gd name="connsiteX26" fmla="*/ 3136233 w 3544925"/>
                <a:gd name="connsiteY26" fmla="*/ 1547812 h 3317875"/>
                <a:gd name="connsiteX27" fmla="*/ 2506678 w 3544925"/>
                <a:gd name="connsiteY27" fmla="*/ 1547812 h 3317875"/>
                <a:gd name="connsiteX28" fmla="*/ 2234672 w 3544925"/>
                <a:gd name="connsiteY28" fmla="*/ 1781175 h 3317875"/>
                <a:gd name="connsiteX29" fmla="*/ 2234672 w 3544925"/>
                <a:gd name="connsiteY29" fmla="*/ 2543175 h 3317875"/>
                <a:gd name="connsiteX30" fmla="*/ 2510897 w 3544925"/>
                <a:gd name="connsiteY30" fmla="*/ 2790825 h 3317875"/>
                <a:gd name="connsiteX31" fmla="*/ 3053822 w 3544925"/>
                <a:gd name="connsiteY31" fmla="*/ 2771775 h 3317875"/>
                <a:gd name="connsiteX32" fmla="*/ 3415841 w 3544925"/>
                <a:gd name="connsiteY32" fmla="*/ 2470572 h 3317875"/>
                <a:gd name="connsiteX33" fmla="*/ 786801 w 3544925"/>
                <a:gd name="connsiteY33" fmla="*/ 129753 h 3317875"/>
                <a:gd name="connsiteX34" fmla="*/ 2082271 w 3544925"/>
                <a:gd name="connsiteY34" fmla="*/ 1257300 h 3317875"/>
                <a:gd name="connsiteX35" fmla="*/ 1997594 w 3544925"/>
                <a:gd name="connsiteY35" fmla="*/ 1426808 h 3317875"/>
                <a:gd name="connsiteX36" fmla="*/ 729723 w 3544925"/>
                <a:gd name="connsiteY36" fmla="*/ 285749 h 3317875"/>
                <a:gd name="connsiteX37" fmla="*/ 786801 w 3544925"/>
                <a:gd name="connsiteY37" fmla="*/ 129753 h 3317875"/>
                <a:gd name="connsiteX0" fmla="*/ 583671 w 3544925"/>
                <a:gd name="connsiteY0" fmla="*/ 1022350 h 3317875"/>
                <a:gd name="connsiteX1" fmla="*/ 573116 w 3544925"/>
                <a:gd name="connsiteY1" fmla="*/ 357744 h 3317875"/>
                <a:gd name="connsiteX2" fmla="*/ 891646 w 3544925"/>
                <a:gd name="connsiteY2" fmla="*/ 0 h 3317875"/>
                <a:gd name="connsiteX3" fmla="*/ 1929875 w 3544925"/>
                <a:gd name="connsiteY3" fmla="*/ 9529 h 3317875"/>
                <a:gd name="connsiteX4" fmla="*/ 3511023 w 3544925"/>
                <a:gd name="connsiteY4" fmla="*/ 1466860 h 3317875"/>
                <a:gd name="connsiteX5" fmla="*/ 3524756 w 3544925"/>
                <a:gd name="connsiteY5" fmla="*/ 2699794 h 3317875"/>
                <a:gd name="connsiteX6" fmla="*/ 3225272 w 3544925"/>
                <a:gd name="connsiteY6" fmla="*/ 2914660 h 3317875"/>
                <a:gd name="connsiteX7" fmla="*/ 2282296 w 3544925"/>
                <a:gd name="connsiteY7" fmla="*/ 2914650 h 3317875"/>
                <a:gd name="connsiteX8" fmla="*/ 1939396 w 3544925"/>
                <a:gd name="connsiteY8" fmla="*/ 2743200 h 3317875"/>
                <a:gd name="connsiteX9" fmla="*/ 1967971 w 3544925"/>
                <a:gd name="connsiteY9" fmla="*/ 3057525 h 3317875"/>
                <a:gd name="connsiteX10" fmla="*/ 2301346 w 3544925"/>
                <a:gd name="connsiteY10" fmla="*/ 3086100 h 3317875"/>
                <a:gd name="connsiteX11" fmla="*/ 2339446 w 3544925"/>
                <a:gd name="connsiteY11" fmla="*/ 3267075 h 3317875"/>
                <a:gd name="connsiteX12" fmla="*/ 1272646 w 3544925"/>
                <a:gd name="connsiteY12" fmla="*/ 3286125 h 3317875"/>
                <a:gd name="connsiteX13" fmla="*/ 1244071 w 3544925"/>
                <a:gd name="connsiteY13" fmla="*/ 3076575 h 3317875"/>
                <a:gd name="connsiteX14" fmla="*/ 1649437 w 3544925"/>
                <a:gd name="connsiteY14" fmla="*/ 3090318 h 3317875"/>
                <a:gd name="connsiteX15" fmla="*/ 1634598 w 3544925"/>
                <a:gd name="connsiteY15" fmla="*/ 2524131 h 3317875"/>
                <a:gd name="connsiteX16" fmla="*/ 663046 w 3544925"/>
                <a:gd name="connsiteY16" fmla="*/ 1524000 h 3317875"/>
                <a:gd name="connsiteX17" fmla="*/ 567798 w 3544925"/>
                <a:gd name="connsiteY17" fmla="*/ 1209674 h 3317875"/>
                <a:gd name="connsiteX18" fmla="*/ 301097 w 3544925"/>
                <a:gd name="connsiteY18" fmla="*/ 1800224 h 3317875"/>
                <a:gd name="connsiteX19" fmla="*/ 1215499 w 3544925"/>
                <a:gd name="connsiteY19" fmla="*/ 2447924 h 3317875"/>
                <a:gd name="connsiteX20" fmla="*/ 1215496 w 3544925"/>
                <a:gd name="connsiteY20" fmla="*/ 2990850 h 3317875"/>
                <a:gd name="connsiteX21" fmla="*/ 434446 w 3544925"/>
                <a:gd name="connsiteY21" fmla="*/ 2362200 h 3317875"/>
                <a:gd name="connsiteX22" fmla="*/ 110596 w 3544925"/>
                <a:gd name="connsiteY22" fmla="*/ 1371600 h 3317875"/>
                <a:gd name="connsiteX23" fmla="*/ 583671 w 3544925"/>
                <a:gd name="connsiteY23" fmla="*/ 1022350 h 3317875"/>
                <a:gd name="connsiteX24" fmla="*/ 3415841 w 3544925"/>
                <a:gd name="connsiteY24" fmla="*/ 2470572 h 3317875"/>
                <a:gd name="connsiteX25" fmla="*/ 3409424 w 3544925"/>
                <a:gd name="connsiteY25" fmla="*/ 1860549 h 3317875"/>
                <a:gd name="connsiteX26" fmla="*/ 3136233 w 3544925"/>
                <a:gd name="connsiteY26" fmla="*/ 1547812 h 3317875"/>
                <a:gd name="connsiteX27" fmla="*/ 2506678 w 3544925"/>
                <a:gd name="connsiteY27" fmla="*/ 1547812 h 3317875"/>
                <a:gd name="connsiteX28" fmla="*/ 2234672 w 3544925"/>
                <a:gd name="connsiteY28" fmla="*/ 1781175 h 3317875"/>
                <a:gd name="connsiteX29" fmla="*/ 2234672 w 3544925"/>
                <a:gd name="connsiteY29" fmla="*/ 2543175 h 3317875"/>
                <a:gd name="connsiteX30" fmla="*/ 2510897 w 3544925"/>
                <a:gd name="connsiteY30" fmla="*/ 2790825 h 3317875"/>
                <a:gd name="connsiteX31" fmla="*/ 3053822 w 3544925"/>
                <a:gd name="connsiteY31" fmla="*/ 2771775 h 3317875"/>
                <a:gd name="connsiteX32" fmla="*/ 3415841 w 3544925"/>
                <a:gd name="connsiteY32" fmla="*/ 2470572 h 3317875"/>
                <a:gd name="connsiteX33" fmla="*/ 786801 w 3544925"/>
                <a:gd name="connsiteY33" fmla="*/ 129753 h 3317875"/>
                <a:gd name="connsiteX34" fmla="*/ 2082271 w 3544925"/>
                <a:gd name="connsiteY34" fmla="*/ 1257300 h 3317875"/>
                <a:gd name="connsiteX35" fmla="*/ 1997594 w 3544925"/>
                <a:gd name="connsiteY35" fmla="*/ 1426808 h 3317875"/>
                <a:gd name="connsiteX36" fmla="*/ 729723 w 3544925"/>
                <a:gd name="connsiteY36" fmla="*/ 285749 h 3317875"/>
                <a:gd name="connsiteX37" fmla="*/ 786801 w 3544925"/>
                <a:gd name="connsiteY37" fmla="*/ 129753 h 3317875"/>
                <a:gd name="connsiteX0" fmla="*/ 583671 w 3544925"/>
                <a:gd name="connsiteY0" fmla="*/ 1022350 h 3317875"/>
                <a:gd name="connsiteX1" fmla="*/ 573116 w 3544925"/>
                <a:gd name="connsiteY1" fmla="*/ 357744 h 3317875"/>
                <a:gd name="connsiteX2" fmla="*/ 891646 w 3544925"/>
                <a:gd name="connsiteY2" fmla="*/ 0 h 3317875"/>
                <a:gd name="connsiteX3" fmla="*/ 1929875 w 3544925"/>
                <a:gd name="connsiteY3" fmla="*/ 9529 h 3317875"/>
                <a:gd name="connsiteX4" fmla="*/ 3511023 w 3544925"/>
                <a:gd name="connsiteY4" fmla="*/ 1466860 h 3317875"/>
                <a:gd name="connsiteX5" fmla="*/ 3524756 w 3544925"/>
                <a:gd name="connsiteY5" fmla="*/ 2699794 h 3317875"/>
                <a:gd name="connsiteX6" fmla="*/ 3225272 w 3544925"/>
                <a:gd name="connsiteY6" fmla="*/ 2914660 h 3317875"/>
                <a:gd name="connsiteX7" fmla="*/ 2282296 w 3544925"/>
                <a:gd name="connsiteY7" fmla="*/ 2914650 h 3317875"/>
                <a:gd name="connsiteX8" fmla="*/ 1939396 w 3544925"/>
                <a:gd name="connsiteY8" fmla="*/ 2743200 h 3317875"/>
                <a:gd name="connsiteX9" fmla="*/ 1967971 w 3544925"/>
                <a:gd name="connsiteY9" fmla="*/ 3057525 h 3317875"/>
                <a:gd name="connsiteX10" fmla="*/ 2301346 w 3544925"/>
                <a:gd name="connsiteY10" fmla="*/ 3086100 h 3317875"/>
                <a:gd name="connsiteX11" fmla="*/ 2339446 w 3544925"/>
                <a:gd name="connsiteY11" fmla="*/ 3267075 h 3317875"/>
                <a:gd name="connsiteX12" fmla="*/ 1272646 w 3544925"/>
                <a:gd name="connsiteY12" fmla="*/ 3286125 h 3317875"/>
                <a:gd name="connsiteX13" fmla="*/ 1244071 w 3544925"/>
                <a:gd name="connsiteY13" fmla="*/ 3076575 h 3317875"/>
                <a:gd name="connsiteX14" fmla="*/ 1649437 w 3544925"/>
                <a:gd name="connsiteY14" fmla="*/ 3090318 h 3317875"/>
                <a:gd name="connsiteX15" fmla="*/ 1634598 w 3544925"/>
                <a:gd name="connsiteY15" fmla="*/ 2524131 h 3317875"/>
                <a:gd name="connsiteX16" fmla="*/ 663046 w 3544925"/>
                <a:gd name="connsiteY16" fmla="*/ 1524000 h 3317875"/>
                <a:gd name="connsiteX17" fmla="*/ 567798 w 3544925"/>
                <a:gd name="connsiteY17" fmla="*/ 1209674 h 3317875"/>
                <a:gd name="connsiteX18" fmla="*/ 301097 w 3544925"/>
                <a:gd name="connsiteY18" fmla="*/ 1800224 h 3317875"/>
                <a:gd name="connsiteX19" fmla="*/ 1215499 w 3544925"/>
                <a:gd name="connsiteY19" fmla="*/ 2447924 h 3317875"/>
                <a:gd name="connsiteX20" fmla="*/ 1215496 w 3544925"/>
                <a:gd name="connsiteY20" fmla="*/ 2990850 h 3317875"/>
                <a:gd name="connsiteX21" fmla="*/ 434446 w 3544925"/>
                <a:gd name="connsiteY21" fmla="*/ 2362200 h 3317875"/>
                <a:gd name="connsiteX22" fmla="*/ 110596 w 3544925"/>
                <a:gd name="connsiteY22" fmla="*/ 1371600 h 3317875"/>
                <a:gd name="connsiteX23" fmla="*/ 583671 w 3544925"/>
                <a:gd name="connsiteY23" fmla="*/ 1022350 h 3317875"/>
                <a:gd name="connsiteX24" fmla="*/ 3409424 w 3544925"/>
                <a:gd name="connsiteY24" fmla="*/ 2438822 h 3317875"/>
                <a:gd name="connsiteX25" fmla="*/ 3409424 w 3544925"/>
                <a:gd name="connsiteY25" fmla="*/ 1860549 h 3317875"/>
                <a:gd name="connsiteX26" fmla="*/ 3136233 w 3544925"/>
                <a:gd name="connsiteY26" fmla="*/ 1547812 h 3317875"/>
                <a:gd name="connsiteX27" fmla="*/ 2506678 w 3544925"/>
                <a:gd name="connsiteY27" fmla="*/ 1547812 h 3317875"/>
                <a:gd name="connsiteX28" fmla="*/ 2234672 w 3544925"/>
                <a:gd name="connsiteY28" fmla="*/ 1781175 h 3317875"/>
                <a:gd name="connsiteX29" fmla="*/ 2234672 w 3544925"/>
                <a:gd name="connsiteY29" fmla="*/ 2543175 h 3317875"/>
                <a:gd name="connsiteX30" fmla="*/ 2510897 w 3544925"/>
                <a:gd name="connsiteY30" fmla="*/ 2790825 h 3317875"/>
                <a:gd name="connsiteX31" fmla="*/ 3053822 w 3544925"/>
                <a:gd name="connsiteY31" fmla="*/ 2771775 h 3317875"/>
                <a:gd name="connsiteX32" fmla="*/ 3409424 w 3544925"/>
                <a:gd name="connsiteY32" fmla="*/ 2438822 h 3317875"/>
                <a:gd name="connsiteX33" fmla="*/ 786801 w 3544925"/>
                <a:gd name="connsiteY33" fmla="*/ 129753 h 3317875"/>
                <a:gd name="connsiteX34" fmla="*/ 2082271 w 3544925"/>
                <a:gd name="connsiteY34" fmla="*/ 1257300 h 3317875"/>
                <a:gd name="connsiteX35" fmla="*/ 1997594 w 3544925"/>
                <a:gd name="connsiteY35" fmla="*/ 1426808 h 3317875"/>
                <a:gd name="connsiteX36" fmla="*/ 729723 w 3544925"/>
                <a:gd name="connsiteY36" fmla="*/ 285749 h 3317875"/>
                <a:gd name="connsiteX37" fmla="*/ 786801 w 3544925"/>
                <a:gd name="connsiteY37" fmla="*/ 129753 h 3317875"/>
                <a:gd name="connsiteX0" fmla="*/ 583671 w 3544925"/>
                <a:gd name="connsiteY0" fmla="*/ 1022350 h 3317875"/>
                <a:gd name="connsiteX1" fmla="*/ 573116 w 3544925"/>
                <a:gd name="connsiteY1" fmla="*/ 357744 h 3317875"/>
                <a:gd name="connsiteX2" fmla="*/ 891646 w 3544925"/>
                <a:gd name="connsiteY2" fmla="*/ 0 h 3317875"/>
                <a:gd name="connsiteX3" fmla="*/ 1929875 w 3544925"/>
                <a:gd name="connsiteY3" fmla="*/ 9529 h 3317875"/>
                <a:gd name="connsiteX4" fmla="*/ 3511023 w 3544925"/>
                <a:gd name="connsiteY4" fmla="*/ 1466860 h 3317875"/>
                <a:gd name="connsiteX5" fmla="*/ 3524756 w 3544925"/>
                <a:gd name="connsiteY5" fmla="*/ 2699794 h 3317875"/>
                <a:gd name="connsiteX6" fmla="*/ 3225272 w 3544925"/>
                <a:gd name="connsiteY6" fmla="*/ 2914660 h 3317875"/>
                <a:gd name="connsiteX7" fmla="*/ 2282296 w 3544925"/>
                <a:gd name="connsiteY7" fmla="*/ 2914650 h 3317875"/>
                <a:gd name="connsiteX8" fmla="*/ 1939396 w 3544925"/>
                <a:gd name="connsiteY8" fmla="*/ 2743200 h 3317875"/>
                <a:gd name="connsiteX9" fmla="*/ 1967971 w 3544925"/>
                <a:gd name="connsiteY9" fmla="*/ 3057525 h 3317875"/>
                <a:gd name="connsiteX10" fmla="*/ 2301346 w 3544925"/>
                <a:gd name="connsiteY10" fmla="*/ 3086100 h 3317875"/>
                <a:gd name="connsiteX11" fmla="*/ 2339446 w 3544925"/>
                <a:gd name="connsiteY11" fmla="*/ 3267075 h 3317875"/>
                <a:gd name="connsiteX12" fmla="*/ 1272646 w 3544925"/>
                <a:gd name="connsiteY12" fmla="*/ 3286125 h 3317875"/>
                <a:gd name="connsiteX13" fmla="*/ 1244071 w 3544925"/>
                <a:gd name="connsiteY13" fmla="*/ 3076575 h 3317875"/>
                <a:gd name="connsiteX14" fmla="*/ 1649437 w 3544925"/>
                <a:gd name="connsiteY14" fmla="*/ 3090318 h 3317875"/>
                <a:gd name="connsiteX15" fmla="*/ 1634598 w 3544925"/>
                <a:gd name="connsiteY15" fmla="*/ 2524131 h 3317875"/>
                <a:gd name="connsiteX16" fmla="*/ 663046 w 3544925"/>
                <a:gd name="connsiteY16" fmla="*/ 1524000 h 3317875"/>
                <a:gd name="connsiteX17" fmla="*/ 567798 w 3544925"/>
                <a:gd name="connsiteY17" fmla="*/ 1209674 h 3317875"/>
                <a:gd name="connsiteX18" fmla="*/ 301097 w 3544925"/>
                <a:gd name="connsiteY18" fmla="*/ 1800224 h 3317875"/>
                <a:gd name="connsiteX19" fmla="*/ 1215499 w 3544925"/>
                <a:gd name="connsiteY19" fmla="*/ 2447924 h 3317875"/>
                <a:gd name="connsiteX20" fmla="*/ 1215496 w 3544925"/>
                <a:gd name="connsiteY20" fmla="*/ 2990850 h 3317875"/>
                <a:gd name="connsiteX21" fmla="*/ 434446 w 3544925"/>
                <a:gd name="connsiteY21" fmla="*/ 2362200 h 3317875"/>
                <a:gd name="connsiteX22" fmla="*/ 110596 w 3544925"/>
                <a:gd name="connsiteY22" fmla="*/ 1371600 h 3317875"/>
                <a:gd name="connsiteX23" fmla="*/ 583671 w 3544925"/>
                <a:gd name="connsiteY23" fmla="*/ 1022350 h 3317875"/>
                <a:gd name="connsiteX24" fmla="*/ 3409424 w 3544925"/>
                <a:gd name="connsiteY24" fmla="*/ 2438822 h 3317875"/>
                <a:gd name="connsiteX25" fmla="*/ 3409424 w 3544925"/>
                <a:gd name="connsiteY25" fmla="*/ 1860549 h 3317875"/>
                <a:gd name="connsiteX26" fmla="*/ 3136233 w 3544925"/>
                <a:gd name="connsiteY26" fmla="*/ 1547812 h 3317875"/>
                <a:gd name="connsiteX27" fmla="*/ 2506678 w 3544925"/>
                <a:gd name="connsiteY27" fmla="*/ 1547812 h 3317875"/>
                <a:gd name="connsiteX28" fmla="*/ 2234672 w 3544925"/>
                <a:gd name="connsiteY28" fmla="*/ 1781175 h 3317875"/>
                <a:gd name="connsiteX29" fmla="*/ 2234672 w 3544925"/>
                <a:gd name="connsiteY29" fmla="*/ 2543175 h 3317875"/>
                <a:gd name="connsiteX30" fmla="*/ 2510897 w 3544925"/>
                <a:gd name="connsiteY30" fmla="*/ 2790825 h 3317875"/>
                <a:gd name="connsiteX31" fmla="*/ 3053822 w 3544925"/>
                <a:gd name="connsiteY31" fmla="*/ 2771775 h 3317875"/>
                <a:gd name="connsiteX32" fmla="*/ 3409424 w 3544925"/>
                <a:gd name="connsiteY32" fmla="*/ 2438822 h 3317875"/>
                <a:gd name="connsiteX33" fmla="*/ 786801 w 3544925"/>
                <a:gd name="connsiteY33" fmla="*/ 129753 h 3317875"/>
                <a:gd name="connsiteX34" fmla="*/ 2082271 w 3544925"/>
                <a:gd name="connsiteY34" fmla="*/ 1257300 h 3317875"/>
                <a:gd name="connsiteX35" fmla="*/ 1997594 w 3544925"/>
                <a:gd name="connsiteY35" fmla="*/ 1426808 h 3317875"/>
                <a:gd name="connsiteX36" fmla="*/ 729723 w 3544925"/>
                <a:gd name="connsiteY36" fmla="*/ 285749 h 3317875"/>
                <a:gd name="connsiteX37" fmla="*/ 786801 w 3544925"/>
                <a:gd name="connsiteY37" fmla="*/ 129753 h 3317875"/>
                <a:gd name="connsiteX0" fmla="*/ 583671 w 3544925"/>
                <a:gd name="connsiteY0" fmla="*/ 1022350 h 3317875"/>
                <a:gd name="connsiteX1" fmla="*/ 573116 w 3544925"/>
                <a:gd name="connsiteY1" fmla="*/ 357744 h 3317875"/>
                <a:gd name="connsiteX2" fmla="*/ 891646 w 3544925"/>
                <a:gd name="connsiteY2" fmla="*/ 0 h 3317875"/>
                <a:gd name="connsiteX3" fmla="*/ 1929875 w 3544925"/>
                <a:gd name="connsiteY3" fmla="*/ 9529 h 3317875"/>
                <a:gd name="connsiteX4" fmla="*/ 3511023 w 3544925"/>
                <a:gd name="connsiteY4" fmla="*/ 1466860 h 3317875"/>
                <a:gd name="connsiteX5" fmla="*/ 3524756 w 3544925"/>
                <a:gd name="connsiteY5" fmla="*/ 2699794 h 3317875"/>
                <a:gd name="connsiteX6" fmla="*/ 3225272 w 3544925"/>
                <a:gd name="connsiteY6" fmla="*/ 2914660 h 3317875"/>
                <a:gd name="connsiteX7" fmla="*/ 2282296 w 3544925"/>
                <a:gd name="connsiteY7" fmla="*/ 2914650 h 3317875"/>
                <a:gd name="connsiteX8" fmla="*/ 1939396 w 3544925"/>
                <a:gd name="connsiteY8" fmla="*/ 2743200 h 3317875"/>
                <a:gd name="connsiteX9" fmla="*/ 1967971 w 3544925"/>
                <a:gd name="connsiteY9" fmla="*/ 3057525 h 3317875"/>
                <a:gd name="connsiteX10" fmla="*/ 2301346 w 3544925"/>
                <a:gd name="connsiteY10" fmla="*/ 3086100 h 3317875"/>
                <a:gd name="connsiteX11" fmla="*/ 2339446 w 3544925"/>
                <a:gd name="connsiteY11" fmla="*/ 3267075 h 3317875"/>
                <a:gd name="connsiteX12" fmla="*/ 1272646 w 3544925"/>
                <a:gd name="connsiteY12" fmla="*/ 3286125 h 3317875"/>
                <a:gd name="connsiteX13" fmla="*/ 1244071 w 3544925"/>
                <a:gd name="connsiteY13" fmla="*/ 3076575 h 3317875"/>
                <a:gd name="connsiteX14" fmla="*/ 1649437 w 3544925"/>
                <a:gd name="connsiteY14" fmla="*/ 3090318 h 3317875"/>
                <a:gd name="connsiteX15" fmla="*/ 1634598 w 3544925"/>
                <a:gd name="connsiteY15" fmla="*/ 2524131 h 3317875"/>
                <a:gd name="connsiteX16" fmla="*/ 663046 w 3544925"/>
                <a:gd name="connsiteY16" fmla="*/ 1524000 h 3317875"/>
                <a:gd name="connsiteX17" fmla="*/ 567798 w 3544925"/>
                <a:gd name="connsiteY17" fmla="*/ 1209674 h 3317875"/>
                <a:gd name="connsiteX18" fmla="*/ 301097 w 3544925"/>
                <a:gd name="connsiteY18" fmla="*/ 1800224 h 3317875"/>
                <a:gd name="connsiteX19" fmla="*/ 1215499 w 3544925"/>
                <a:gd name="connsiteY19" fmla="*/ 2447924 h 3317875"/>
                <a:gd name="connsiteX20" fmla="*/ 1215496 w 3544925"/>
                <a:gd name="connsiteY20" fmla="*/ 2990850 h 3317875"/>
                <a:gd name="connsiteX21" fmla="*/ 434446 w 3544925"/>
                <a:gd name="connsiteY21" fmla="*/ 2362200 h 3317875"/>
                <a:gd name="connsiteX22" fmla="*/ 110596 w 3544925"/>
                <a:gd name="connsiteY22" fmla="*/ 1371600 h 3317875"/>
                <a:gd name="connsiteX23" fmla="*/ 583671 w 3544925"/>
                <a:gd name="connsiteY23" fmla="*/ 1022350 h 3317875"/>
                <a:gd name="connsiteX24" fmla="*/ 3409424 w 3544925"/>
                <a:gd name="connsiteY24" fmla="*/ 2438822 h 3317875"/>
                <a:gd name="connsiteX25" fmla="*/ 3409424 w 3544925"/>
                <a:gd name="connsiteY25" fmla="*/ 1860549 h 3317875"/>
                <a:gd name="connsiteX26" fmla="*/ 3136233 w 3544925"/>
                <a:gd name="connsiteY26" fmla="*/ 1547812 h 3317875"/>
                <a:gd name="connsiteX27" fmla="*/ 2506678 w 3544925"/>
                <a:gd name="connsiteY27" fmla="*/ 1547812 h 3317875"/>
                <a:gd name="connsiteX28" fmla="*/ 2234672 w 3544925"/>
                <a:gd name="connsiteY28" fmla="*/ 1781175 h 3317875"/>
                <a:gd name="connsiteX29" fmla="*/ 2234672 w 3544925"/>
                <a:gd name="connsiteY29" fmla="*/ 2543175 h 3317875"/>
                <a:gd name="connsiteX30" fmla="*/ 2510897 w 3544925"/>
                <a:gd name="connsiteY30" fmla="*/ 2790825 h 3317875"/>
                <a:gd name="connsiteX31" fmla="*/ 3053822 w 3544925"/>
                <a:gd name="connsiteY31" fmla="*/ 2771775 h 3317875"/>
                <a:gd name="connsiteX32" fmla="*/ 3409424 w 3544925"/>
                <a:gd name="connsiteY32" fmla="*/ 2438822 h 3317875"/>
                <a:gd name="connsiteX33" fmla="*/ 786801 w 3544925"/>
                <a:gd name="connsiteY33" fmla="*/ 129753 h 3317875"/>
                <a:gd name="connsiteX34" fmla="*/ 2082271 w 3544925"/>
                <a:gd name="connsiteY34" fmla="*/ 1257300 h 3317875"/>
                <a:gd name="connsiteX35" fmla="*/ 1997594 w 3544925"/>
                <a:gd name="connsiteY35" fmla="*/ 1426808 h 3317875"/>
                <a:gd name="connsiteX36" fmla="*/ 729723 w 3544925"/>
                <a:gd name="connsiteY36" fmla="*/ 285749 h 3317875"/>
                <a:gd name="connsiteX37" fmla="*/ 786801 w 3544925"/>
                <a:gd name="connsiteY37" fmla="*/ 129753 h 3317875"/>
                <a:gd name="connsiteX0" fmla="*/ 583671 w 3544925"/>
                <a:gd name="connsiteY0" fmla="*/ 1022350 h 3317875"/>
                <a:gd name="connsiteX1" fmla="*/ 573116 w 3544925"/>
                <a:gd name="connsiteY1" fmla="*/ 357744 h 3317875"/>
                <a:gd name="connsiteX2" fmla="*/ 891646 w 3544925"/>
                <a:gd name="connsiteY2" fmla="*/ 0 h 3317875"/>
                <a:gd name="connsiteX3" fmla="*/ 1929875 w 3544925"/>
                <a:gd name="connsiteY3" fmla="*/ 9529 h 3317875"/>
                <a:gd name="connsiteX4" fmla="*/ 3511023 w 3544925"/>
                <a:gd name="connsiteY4" fmla="*/ 1466860 h 3317875"/>
                <a:gd name="connsiteX5" fmla="*/ 3524756 w 3544925"/>
                <a:gd name="connsiteY5" fmla="*/ 2699794 h 3317875"/>
                <a:gd name="connsiteX6" fmla="*/ 3225272 w 3544925"/>
                <a:gd name="connsiteY6" fmla="*/ 2914660 h 3317875"/>
                <a:gd name="connsiteX7" fmla="*/ 2282296 w 3544925"/>
                <a:gd name="connsiteY7" fmla="*/ 2914650 h 3317875"/>
                <a:gd name="connsiteX8" fmla="*/ 1939396 w 3544925"/>
                <a:gd name="connsiteY8" fmla="*/ 2743200 h 3317875"/>
                <a:gd name="connsiteX9" fmla="*/ 1967971 w 3544925"/>
                <a:gd name="connsiteY9" fmla="*/ 3057525 h 3317875"/>
                <a:gd name="connsiteX10" fmla="*/ 2301346 w 3544925"/>
                <a:gd name="connsiteY10" fmla="*/ 3086100 h 3317875"/>
                <a:gd name="connsiteX11" fmla="*/ 2339446 w 3544925"/>
                <a:gd name="connsiteY11" fmla="*/ 3267075 h 3317875"/>
                <a:gd name="connsiteX12" fmla="*/ 1272646 w 3544925"/>
                <a:gd name="connsiteY12" fmla="*/ 3286125 h 3317875"/>
                <a:gd name="connsiteX13" fmla="*/ 1244071 w 3544925"/>
                <a:gd name="connsiteY13" fmla="*/ 3076575 h 3317875"/>
                <a:gd name="connsiteX14" fmla="*/ 1649437 w 3544925"/>
                <a:gd name="connsiteY14" fmla="*/ 3090318 h 3317875"/>
                <a:gd name="connsiteX15" fmla="*/ 1634598 w 3544925"/>
                <a:gd name="connsiteY15" fmla="*/ 2524131 h 3317875"/>
                <a:gd name="connsiteX16" fmla="*/ 663046 w 3544925"/>
                <a:gd name="connsiteY16" fmla="*/ 1524000 h 3317875"/>
                <a:gd name="connsiteX17" fmla="*/ 567798 w 3544925"/>
                <a:gd name="connsiteY17" fmla="*/ 1209674 h 3317875"/>
                <a:gd name="connsiteX18" fmla="*/ 301097 w 3544925"/>
                <a:gd name="connsiteY18" fmla="*/ 1800224 h 3317875"/>
                <a:gd name="connsiteX19" fmla="*/ 1215499 w 3544925"/>
                <a:gd name="connsiteY19" fmla="*/ 2447924 h 3317875"/>
                <a:gd name="connsiteX20" fmla="*/ 1215496 w 3544925"/>
                <a:gd name="connsiteY20" fmla="*/ 2990850 h 3317875"/>
                <a:gd name="connsiteX21" fmla="*/ 434446 w 3544925"/>
                <a:gd name="connsiteY21" fmla="*/ 2362200 h 3317875"/>
                <a:gd name="connsiteX22" fmla="*/ 110596 w 3544925"/>
                <a:gd name="connsiteY22" fmla="*/ 1371600 h 3317875"/>
                <a:gd name="connsiteX23" fmla="*/ 583671 w 3544925"/>
                <a:gd name="connsiteY23" fmla="*/ 1022350 h 3317875"/>
                <a:gd name="connsiteX24" fmla="*/ 3409424 w 3544925"/>
                <a:gd name="connsiteY24" fmla="*/ 2438822 h 3317875"/>
                <a:gd name="connsiteX25" fmla="*/ 3409424 w 3544925"/>
                <a:gd name="connsiteY25" fmla="*/ 1860549 h 3317875"/>
                <a:gd name="connsiteX26" fmla="*/ 3136233 w 3544925"/>
                <a:gd name="connsiteY26" fmla="*/ 1547812 h 3317875"/>
                <a:gd name="connsiteX27" fmla="*/ 2506678 w 3544925"/>
                <a:gd name="connsiteY27" fmla="*/ 1547812 h 3317875"/>
                <a:gd name="connsiteX28" fmla="*/ 2234672 w 3544925"/>
                <a:gd name="connsiteY28" fmla="*/ 1781175 h 3317875"/>
                <a:gd name="connsiteX29" fmla="*/ 2234672 w 3544925"/>
                <a:gd name="connsiteY29" fmla="*/ 2543175 h 3317875"/>
                <a:gd name="connsiteX30" fmla="*/ 2510897 w 3544925"/>
                <a:gd name="connsiteY30" fmla="*/ 2790825 h 3317875"/>
                <a:gd name="connsiteX31" fmla="*/ 3053822 w 3544925"/>
                <a:gd name="connsiteY31" fmla="*/ 2771775 h 3317875"/>
                <a:gd name="connsiteX32" fmla="*/ 3409424 w 3544925"/>
                <a:gd name="connsiteY32" fmla="*/ 2438822 h 3317875"/>
                <a:gd name="connsiteX33" fmla="*/ 786801 w 3544925"/>
                <a:gd name="connsiteY33" fmla="*/ 129753 h 3317875"/>
                <a:gd name="connsiteX34" fmla="*/ 2082271 w 3544925"/>
                <a:gd name="connsiteY34" fmla="*/ 1257300 h 3317875"/>
                <a:gd name="connsiteX35" fmla="*/ 1997594 w 3544925"/>
                <a:gd name="connsiteY35" fmla="*/ 1426808 h 3317875"/>
                <a:gd name="connsiteX36" fmla="*/ 729723 w 3544925"/>
                <a:gd name="connsiteY36" fmla="*/ 285749 h 3317875"/>
                <a:gd name="connsiteX37" fmla="*/ 786801 w 3544925"/>
                <a:gd name="connsiteY37" fmla="*/ 129753 h 3317875"/>
                <a:gd name="connsiteX0" fmla="*/ 583671 w 3544925"/>
                <a:gd name="connsiteY0" fmla="*/ 1022350 h 3317875"/>
                <a:gd name="connsiteX1" fmla="*/ 573116 w 3544925"/>
                <a:gd name="connsiteY1" fmla="*/ 357744 h 3317875"/>
                <a:gd name="connsiteX2" fmla="*/ 891646 w 3544925"/>
                <a:gd name="connsiteY2" fmla="*/ 0 h 3317875"/>
                <a:gd name="connsiteX3" fmla="*/ 1929875 w 3544925"/>
                <a:gd name="connsiteY3" fmla="*/ 9529 h 3317875"/>
                <a:gd name="connsiteX4" fmla="*/ 3511023 w 3544925"/>
                <a:gd name="connsiteY4" fmla="*/ 1466860 h 3317875"/>
                <a:gd name="connsiteX5" fmla="*/ 3524756 w 3544925"/>
                <a:gd name="connsiteY5" fmla="*/ 2699794 h 3317875"/>
                <a:gd name="connsiteX6" fmla="*/ 3225272 w 3544925"/>
                <a:gd name="connsiteY6" fmla="*/ 2914660 h 3317875"/>
                <a:gd name="connsiteX7" fmla="*/ 2282296 w 3544925"/>
                <a:gd name="connsiteY7" fmla="*/ 2914650 h 3317875"/>
                <a:gd name="connsiteX8" fmla="*/ 1939396 w 3544925"/>
                <a:gd name="connsiteY8" fmla="*/ 2743200 h 3317875"/>
                <a:gd name="connsiteX9" fmla="*/ 1967971 w 3544925"/>
                <a:gd name="connsiteY9" fmla="*/ 3057525 h 3317875"/>
                <a:gd name="connsiteX10" fmla="*/ 2301346 w 3544925"/>
                <a:gd name="connsiteY10" fmla="*/ 3086100 h 3317875"/>
                <a:gd name="connsiteX11" fmla="*/ 2339446 w 3544925"/>
                <a:gd name="connsiteY11" fmla="*/ 3267075 h 3317875"/>
                <a:gd name="connsiteX12" fmla="*/ 1272646 w 3544925"/>
                <a:gd name="connsiteY12" fmla="*/ 3286125 h 3317875"/>
                <a:gd name="connsiteX13" fmla="*/ 1244071 w 3544925"/>
                <a:gd name="connsiteY13" fmla="*/ 3076575 h 3317875"/>
                <a:gd name="connsiteX14" fmla="*/ 1649437 w 3544925"/>
                <a:gd name="connsiteY14" fmla="*/ 3090318 h 3317875"/>
                <a:gd name="connsiteX15" fmla="*/ 1634598 w 3544925"/>
                <a:gd name="connsiteY15" fmla="*/ 2524131 h 3317875"/>
                <a:gd name="connsiteX16" fmla="*/ 663046 w 3544925"/>
                <a:gd name="connsiteY16" fmla="*/ 1524000 h 3317875"/>
                <a:gd name="connsiteX17" fmla="*/ 567798 w 3544925"/>
                <a:gd name="connsiteY17" fmla="*/ 1209674 h 3317875"/>
                <a:gd name="connsiteX18" fmla="*/ 301097 w 3544925"/>
                <a:gd name="connsiteY18" fmla="*/ 1800224 h 3317875"/>
                <a:gd name="connsiteX19" fmla="*/ 1215499 w 3544925"/>
                <a:gd name="connsiteY19" fmla="*/ 2447924 h 3317875"/>
                <a:gd name="connsiteX20" fmla="*/ 1215496 w 3544925"/>
                <a:gd name="connsiteY20" fmla="*/ 2990850 h 3317875"/>
                <a:gd name="connsiteX21" fmla="*/ 434446 w 3544925"/>
                <a:gd name="connsiteY21" fmla="*/ 2362200 h 3317875"/>
                <a:gd name="connsiteX22" fmla="*/ 110596 w 3544925"/>
                <a:gd name="connsiteY22" fmla="*/ 1371600 h 3317875"/>
                <a:gd name="connsiteX23" fmla="*/ 583671 w 3544925"/>
                <a:gd name="connsiteY23" fmla="*/ 1022350 h 3317875"/>
                <a:gd name="connsiteX24" fmla="*/ 3409424 w 3544925"/>
                <a:gd name="connsiteY24" fmla="*/ 2438822 h 3317875"/>
                <a:gd name="connsiteX25" fmla="*/ 3409424 w 3544925"/>
                <a:gd name="connsiteY25" fmla="*/ 1860549 h 3317875"/>
                <a:gd name="connsiteX26" fmla="*/ 3136233 w 3544925"/>
                <a:gd name="connsiteY26" fmla="*/ 1547812 h 3317875"/>
                <a:gd name="connsiteX27" fmla="*/ 2506678 w 3544925"/>
                <a:gd name="connsiteY27" fmla="*/ 1547812 h 3317875"/>
                <a:gd name="connsiteX28" fmla="*/ 2234672 w 3544925"/>
                <a:gd name="connsiteY28" fmla="*/ 1781175 h 3317875"/>
                <a:gd name="connsiteX29" fmla="*/ 2234672 w 3544925"/>
                <a:gd name="connsiteY29" fmla="*/ 2543175 h 3317875"/>
                <a:gd name="connsiteX30" fmla="*/ 2510897 w 3544925"/>
                <a:gd name="connsiteY30" fmla="*/ 2803524 h 3317875"/>
                <a:gd name="connsiteX31" fmla="*/ 3053822 w 3544925"/>
                <a:gd name="connsiteY31" fmla="*/ 2771775 h 3317875"/>
                <a:gd name="connsiteX32" fmla="*/ 3409424 w 3544925"/>
                <a:gd name="connsiteY32" fmla="*/ 2438822 h 3317875"/>
                <a:gd name="connsiteX33" fmla="*/ 786801 w 3544925"/>
                <a:gd name="connsiteY33" fmla="*/ 129753 h 3317875"/>
                <a:gd name="connsiteX34" fmla="*/ 2082271 w 3544925"/>
                <a:gd name="connsiteY34" fmla="*/ 1257300 h 3317875"/>
                <a:gd name="connsiteX35" fmla="*/ 1997594 w 3544925"/>
                <a:gd name="connsiteY35" fmla="*/ 1426808 h 3317875"/>
                <a:gd name="connsiteX36" fmla="*/ 729723 w 3544925"/>
                <a:gd name="connsiteY36" fmla="*/ 285749 h 3317875"/>
                <a:gd name="connsiteX37" fmla="*/ 786801 w 3544925"/>
                <a:gd name="connsiteY37" fmla="*/ 129753 h 3317875"/>
                <a:gd name="connsiteX0" fmla="*/ 583671 w 3544925"/>
                <a:gd name="connsiteY0" fmla="*/ 1022350 h 3317875"/>
                <a:gd name="connsiteX1" fmla="*/ 573116 w 3544925"/>
                <a:gd name="connsiteY1" fmla="*/ 357744 h 3317875"/>
                <a:gd name="connsiteX2" fmla="*/ 891646 w 3544925"/>
                <a:gd name="connsiteY2" fmla="*/ 0 h 3317875"/>
                <a:gd name="connsiteX3" fmla="*/ 1929875 w 3544925"/>
                <a:gd name="connsiteY3" fmla="*/ 9529 h 3317875"/>
                <a:gd name="connsiteX4" fmla="*/ 3511023 w 3544925"/>
                <a:gd name="connsiteY4" fmla="*/ 1466860 h 3317875"/>
                <a:gd name="connsiteX5" fmla="*/ 3524756 w 3544925"/>
                <a:gd name="connsiteY5" fmla="*/ 2699794 h 3317875"/>
                <a:gd name="connsiteX6" fmla="*/ 3225272 w 3544925"/>
                <a:gd name="connsiteY6" fmla="*/ 2914660 h 3317875"/>
                <a:gd name="connsiteX7" fmla="*/ 2282296 w 3544925"/>
                <a:gd name="connsiteY7" fmla="*/ 2914650 h 3317875"/>
                <a:gd name="connsiteX8" fmla="*/ 1939396 w 3544925"/>
                <a:gd name="connsiteY8" fmla="*/ 2743200 h 3317875"/>
                <a:gd name="connsiteX9" fmla="*/ 1967971 w 3544925"/>
                <a:gd name="connsiteY9" fmla="*/ 3057525 h 3317875"/>
                <a:gd name="connsiteX10" fmla="*/ 2301346 w 3544925"/>
                <a:gd name="connsiteY10" fmla="*/ 3086100 h 3317875"/>
                <a:gd name="connsiteX11" fmla="*/ 2339446 w 3544925"/>
                <a:gd name="connsiteY11" fmla="*/ 3267075 h 3317875"/>
                <a:gd name="connsiteX12" fmla="*/ 1272646 w 3544925"/>
                <a:gd name="connsiteY12" fmla="*/ 3286125 h 3317875"/>
                <a:gd name="connsiteX13" fmla="*/ 1244071 w 3544925"/>
                <a:gd name="connsiteY13" fmla="*/ 3076575 h 3317875"/>
                <a:gd name="connsiteX14" fmla="*/ 1649437 w 3544925"/>
                <a:gd name="connsiteY14" fmla="*/ 3090318 h 3317875"/>
                <a:gd name="connsiteX15" fmla="*/ 1634598 w 3544925"/>
                <a:gd name="connsiteY15" fmla="*/ 2524131 h 3317875"/>
                <a:gd name="connsiteX16" fmla="*/ 663046 w 3544925"/>
                <a:gd name="connsiteY16" fmla="*/ 1524000 h 3317875"/>
                <a:gd name="connsiteX17" fmla="*/ 567798 w 3544925"/>
                <a:gd name="connsiteY17" fmla="*/ 1209674 h 3317875"/>
                <a:gd name="connsiteX18" fmla="*/ 301097 w 3544925"/>
                <a:gd name="connsiteY18" fmla="*/ 1800224 h 3317875"/>
                <a:gd name="connsiteX19" fmla="*/ 1215499 w 3544925"/>
                <a:gd name="connsiteY19" fmla="*/ 2447924 h 3317875"/>
                <a:gd name="connsiteX20" fmla="*/ 1215496 w 3544925"/>
                <a:gd name="connsiteY20" fmla="*/ 2990850 h 3317875"/>
                <a:gd name="connsiteX21" fmla="*/ 434446 w 3544925"/>
                <a:gd name="connsiteY21" fmla="*/ 2362200 h 3317875"/>
                <a:gd name="connsiteX22" fmla="*/ 110596 w 3544925"/>
                <a:gd name="connsiteY22" fmla="*/ 1371600 h 3317875"/>
                <a:gd name="connsiteX23" fmla="*/ 583671 w 3544925"/>
                <a:gd name="connsiteY23" fmla="*/ 1022350 h 3317875"/>
                <a:gd name="connsiteX24" fmla="*/ 3409424 w 3544925"/>
                <a:gd name="connsiteY24" fmla="*/ 2438822 h 3317875"/>
                <a:gd name="connsiteX25" fmla="*/ 3409424 w 3544925"/>
                <a:gd name="connsiteY25" fmla="*/ 1860549 h 3317875"/>
                <a:gd name="connsiteX26" fmla="*/ 3136233 w 3544925"/>
                <a:gd name="connsiteY26" fmla="*/ 1547812 h 3317875"/>
                <a:gd name="connsiteX27" fmla="*/ 2506678 w 3544925"/>
                <a:gd name="connsiteY27" fmla="*/ 1547812 h 3317875"/>
                <a:gd name="connsiteX28" fmla="*/ 2234672 w 3544925"/>
                <a:gd name="connsiteY28" fmla="*/ 1781175 h 3317875"/>
                <a:gd name="connsiteX29" fmla="*/ 2234672 w 3544925"/>
                <a:gd name="connsiteY29" fmla="*/ 2543175 h 3317875"/>
                <a:gd name="connsiteX30" fmla="*/ 2510897 w 3544925"/>
                <a:gd name="connsiteY30" fmla="*/ 2803524 h 3317875"/>
                <a:gd name="connsiteX31" fmla="*/ 3117322 w 3544925"/>
                <a:gd name="connsiteY31" fmla="*/ 2803524 h 3317875"/>
                <a:gd name="connsiteX32" fmla="*/ 3409424 w 3544925"/>
                <a:gd name="connsiteY32" fmla="*/ 2438822 h 3317875"/>
                <a:gd name="connsiteX33" fmla="*/ 786801 w 3544925"/>
                <a:gd name="connsiteY33" fmla="*/ 129753 h 3317875"/>
                <a:gd name="connsiteX34" fmla="*/ 2082271 w 3544925"/>
                <a:gd name="connsiteY34" fmla="*/ 1257300 h 3317875"/>
                <a:gd name="connsiteX35" fmla="*/ 1997594 w 3544925"/>
                <a:gd name="connsiteY35" fmla="*/ 1426808 h 3317875"/>
                <a:gd name="connsiteX36" fmla="*/ 729723 w 3544925"/>
                <a:gd name="connsiteY36" fmla="*/ 285749 h 3317875"/>
                <a:gd name="connsiteX37" fmla="*/ 786801 w 3544925"/>
                <a:gd name="connsiteY37" fmla="*/ 129753 h 3317875"/>
                <a:gd name="connsiteX0" fmla="*/ 583671 w 3544925"/>
                <a:gd name="connsiteY0" fmla="*/ 1022350 h 3317875"/>
                <a:gd name="connsiteX1" fmla="*/ 573116 w 3544925"/>
                <a:gd name="connsiteY1" fmla="*/ 357744 h 3317875"/>
                <a:gd name="connsiteX2" fmla="*/ 891646 w 3544925"/>
                <a:gd name="connsiteY2" fmla="*/ 0 h 3317875"/>
                <a:gd name="connsiteX3" fmla="*/ 1929875 w 3544925"/>
                <a:gd name="connsiteY3" fmla="*/ 9529 h 3317875"/>
                <a:gd name="connsiteX4" fmla="*/ 3511023 w 3544925"/>
                <a:gd name="connsiteY4" fmla="*/ 1466860 h 3317875"/>
                <a:gd name="connsiteX5" fmla="*/ 3524756 w 3544925"/>
                <a:gd name="connsiteY5" fmla="*/ 2699794 h 3317875"/>
                <a:gd name="connsiteX6" fmla="*/ 3225272 w 3544925"/>
                <a:gd name="connsiteY6" fmla="*/ 2914660 h 3317875"/>
                <a:gd name="connsiteX7" fmla="*/ 2282296 w 3544925"/>
                <a:gd name="connsiteY7" fmla="*/ 2914650 h 3317875"/>
                <a:gd name="connsiteX8" fmla="*/ 1939396 w 3544925"/>
                <a:gd name="connsiteY8" fmla="*/ 2743200 h 3317875"/>
                <a:gd name="connsiteX9" fmla="*/ 1967971 w 3544925"/>
                <a:gd name="connsiteY9" fmla="*/ 3057525 h 3317875"/>
                <a:gd name="connsiteX10" fmla="*/ 2301346 w 3544925"/>
                <a:gd name="connsiteY10" fmla="*/ 3086100 h 3317875"/>
                <a:gd name="connsiteX11" fmla="*/ 2339446 w 3544925"/>
                <a:gd name="connsiteY11" fmla="*/ 3267075 h 3317875"/>
                <a:gd name="connsiteX12" fmla="*/ 1272646 w 3544925"/>
                <a:gd name="connsiteY12" fmla="*/ 3286125 h 3317875"/>
                <a:gd name="connsiteX13" fmla="*/ 1244071 w 3544925"/>
                <a:gd name="connsiteY13" fmla="*/ 3076575 h 3317875"/>
                <a:gd name="connsiteX14" fmla="*/ 1649437 w 3544925"/>
                <a:gd name="connsiteY14" fmla="*/ 3090318 h 3317875"/>
                <a:gd name="connsiteX15" fmla="*/ 1634598 w 3544925"/>
                <a:gd name="connsiteY15" fmla="*/ 2524131 h 3317875"/>
                <a:gd name="connsiteX16" fmla="*/ 663046 w 3544925"/>
                <a:gd name="connsiteY16" fmla="*/ 1524000 h 3317875"/>
                <a:gd name="connsiteX17" fmla="*/ 567798 w 3544925"/>
                <a:gd name="connsiteY17" fmla="*/ 1209674 h 3317875"/>
                <a:gd name="connsiteX18" fmla="*/ 301097 w 3544925"/>
                <a:gd name="connsiteY18" fmla="*/ 1800224 h 3317875"/>
                <a:gd name="connsiteX19" fmla="*/ 1215499 w 3544925"/>
                <a:gd name="connsiteY19" fmla="*/ 2447924 h 3317875"/>
                <a:gd name="connsiteX20" fmla="*/ 1215496 w 3544925"/>
                <a:gd name="connsiteY20" fmla="*/ 2990850 h 3317875"/>
                <a:gd name="connsiteX21" fmla="*/ 434446 w 3544925"/>
                <a:gd name="connsiteY21" fmla="*/ 2362200 h 3317875"/>
                <a:gd name="connsiteX22" fmla="*/ 110596 w 3544925"/>
                <a:gd name="connsiteY22" fmla="*/ 1371600 h 3317875"/>
                <a:gd name="connsiteX23" fmla="*/ 583671 w 3544925"/>
                <a:gd name="connsiteY23" fmla="*/ 1022350 h 3317875"/>
                <a:gd name="connsiteX24" fmla="*/ 3409424 w 3544925"/>
                <a:gd name="connsiteY24" fmla="*/ 2438822 h 3317875"/>
                <a:gd name="connsiteX25" fmla="*/ 3409424 w 3544925"/>
                <a:gd name="connsiteY25" fmla="*/ 1860549 h 3317875"/>
                <a:gd name="connsiteX26" fmla="*/ 3136233 w 3544925"/>
                <a:gd name="connsiteY26" fmla="*/ 1547812 h 3317875"/>
                <a:gd name="connsiteX27" fmla="*/ 2506678 w 3544925"/>
                <a:gd name="connsiteY27" fmla="*/ 1547812 h 3317875"/>
                <a:gd name="connsiteX28" fmla="*/ 2234672 w 3544925"/>
                <a:gd name="connsiteY28" fmla="*/ 1781175 h 3317875"/>
                <a:gd name="connsiteX29" fmla="*/ 2256899 w 3544925"/>
                <a:gd name="connsiteY29" fmla="*/ 2428875 h 3317875"/>
                <a:gd name="connsiteX30" fmla="*/ 2510897 w 3544925"/>
                <a:gd name="connsiteY30" fmla="*/ 2803524 h 3317875"/>
                <a:gd name="connsiteX31" fmla="*/ 3117322 w 3544925"/>
                <a:gd name="connsiteY31" fmla="*/ 2803524 h 3317875"/>
                <a:gd name="connsiteX32" fmla="*/ 3409424 w 3544925"/>
                <a:gd name="connsiteY32" fmla="*/ 2438822 h 3317875"/>
                <a:gd name="connsiteX33" fmla="*/ 786801 w 3544925"/>
                <a:gd name="connsiteY33" fmla="*/ 129753 h 3317875"/>
                <a:gd name="connsiteX34" fmla="*/ 2082271 w 3544925"/>
                <a:gd name="connsiteY34" fmla="*/ 1257300 h 3317875"/>
                <a:gd name="connsiteX35" fmla="*/ 1997594 w 3544925"/>
                <a:gd name="connsiteY35" fmla="*/ 1426808 h 3317875"/>
                <a:gd name="connsiteX36" fmla="*/ 729723 w 3544925"/>
                <a:gd name="connsiteY36" fmla="*/ 285749 h 3317875"/>
                <a:gd name="connsiteX37" fmla="*/ 786801 w 3544925"/>
                <a:gd name="connsiteY37" fmla="*/ 129753 h 3317875"/>
                <a:gd name="connsiteX0" fmla="*/ 583671 w 3544925"/>
                <a:gd name="connsiteY0" fmla="*/ 1022350 h 3317875"/>
                <a:gd name="connsiteX1" fmla="*/ 573116 w 3544925"/>
                <a:gd name="connsiteY1" fmla="*/ 357744 h 3317875"/>
                <a:gd name="connsiteX2" fmla="*/ 891646 w 3544925"/>
                <a:gd name="connsiteY2" fmla="*/ 0 h 3317875"/>
                <a:gd name="connsiteX3" fmla="*/ 1929875 w 3544925"/>
                <a:gd name="connsiteY3" fmla="*/ 9529 h 3317875"/>
                <a:gd name="connsiteX4" fmla="*/ 3511023 w 3544925"/>
                <a:gd name="connsiteY4" fmla="*/ 1466860 h 3317875"/>
                <a:gd name="connsiteX5" fmla="*/ 3524756 w 3544925"/>
                <a:gd name="connsiteY5" fmla="*/ 2699794 h 3317875"/>
                <a:gd name="connsiteX6" fmla="*/ 3225272 w 3544925"/>
                <a:gd name="connsiteY6" fmla="*/ 2914660 h 3317875"/>
                <a:gd name="connsiteX7" fmla="*/ 2282296 w 3544925"/>
                <a:gd name="connsiteY7" fmla="*/ 2914650 h 3317875"/>
                <a:gd name="connsiteX8" fmla="*/ 1939396 w 3544925"/>
                <a:gd name="connsiteY8" fmla="*/ 2743200 h 3317875"/>
                <a:gd name="connsiteX9" fmla="*/ 1967971 w 3544925"/>
                <a:gd name="connsiteY9" fmla="*/ 3057525 h 3317875"/>
                <a:gd name="connsiteX10" fmla="*/ 2301346 w 3544925"/>
                <a:gd name="connsiteY10" fmla="*/ 3086100 h 3317875"/>
                <a:gd name="connsiteX11" fmla="*/ 2339446 w 3544925"/>
                <a:gd name="connsiteY11" fmla="*/ 3267075 h 3317875"/>
                <a:gd name="connsiteX12" fmla="*/ 1272646 w 3544925"/>
                <a:gd name="connsiteY12" fmla="*/ 3286125 h 3317875"/>
                <a:gd name="connsiteX13" fmla="*/ 1244071 w 3544925"/>
                <a:gd name="connsiteY13" fmla="*/ 3076575 h 3317875"/>
                <a:gd name="connsiteX14" fmla="*/ 1649437 w 3544925"/>
                <a:gd name="connsiteY14" fmla="*/ 3090318 h 3317875"/>
                <a:gd name="connsiteX15" fmla="*/ 1634598 w 3544925"/>
                <a:gd name="connsiteY15" fmla="*/ 2524131 h 3317875"/>
                <a:gd name="connsiteX16" fmla="*/ 663046 w 3544925"/>
                <a:gd name="connsiteY16" fmla="*/ 1524000 h 3317875"/>
                <a:gd name="connsiteX17" fmla="*/ 567798 w 3544925"/>
                <a:gd name="connsiteY17" fmla="*/ 1209674 h 3317875"/>
                <a:gd name="connsiteX18" fmla="*/ 301097 w 3544925"/>
                <a:gd name="connsiteY18" fmla="*/ 1800224 h 3317875"/>
                <a:gd name="connsiteX19" fmla="*/ 1215499 w 3544925"/>
                <a:gd name="connsiteY19" fmla="*/ 2447924 h 3317875"/>
                <a:gd name="connsiteX20" fmla="*/ 1215496 w 3544925"/>
                <a:gd name="connsiteY20" fmla="*/ 2990850 h 3317875"/>
                <a:gd name="connsiteX21" fmla="*/ 434446 w 3544925"/>
                <a:gd name="connsiteY21" fmla="*/ 2362200 h 3317875"/>
                <a:gd name="connsiteX22" fmla="*/ 110596 w 3544925"/>
                <a:gd name="connsiteY22" fmla="*/ 1371600 h 3317875"/>
                <a:gd name="connsiteX23" fmla="*/ 583671 w 3544925"/>
                <a:gd name="connsiteY23" fmla="*/ 1022350 h 3317875"/>
                <a:gd name="connsiteX24" fmla="*/ 3409424 w 3544925"/>
                <a:gd name="connsiteY24" fmla="*/ 2438822 h 3317875"/>
                <a:gd name="connsiteX25" fmla="*/ 3409424 w 3544925"/>
                <a:gd name="connsiteY25" fmla="*/ 1860549 h 3317875"/>
                <a:gd name="connsiteX26" fmla="*/ 3136233 w 3544925"/>
                <a:gd name="connsiteY26" fmla="*/ 1547812 h 3317875"/>
                <a:gd name="connsiteX27" fmla="*/ 2506678 w 3544925"/>
                <a:gd name="connsiteY27" fmla="*/ 1547812 h 3317875"/>
                <a:gd name="connsiteX28" fmla="*/ 2256899 w 3544925"/>
                <a:gd name="connsiteY28" fmla="*/ 1825625 h 3317875"/>
                <a:gd name="connsiteX29" fmla="*/ 2256899 w 3544925"/>
                <a:gd name="connsiteY29" fmla="*/ 2428875 h 3317875"/>
                <a:gd name="connsiteX30" fmla="*/ 2510897 w 3544925"/>
                <a:gd name="connsiteY30" fmla="*/ 2803524 h 3317875"/>
                <a:gd name="connsiteX31" fmla="*/ 3117322 w 3544925"/>
                <a:gd name="connsiteY31" fmla="*/ 2803524 h 3317875"/>
                <a:gd name="connsiteX32" fmla="*/ 3409424 w 3544925"/>
                <a:gd name="connsiteY32" fmla="*/ 2438822 h 3317875"/>
                <a:gd name="connsiteX33" fmla="*/ 786801 w 3544925"/>
                <a:gd name="connsiteY33" fmla="*/ 129753 h 3317875"/>
                <a:gd name="connsiteX34" fmla="*/ 2082271 w 3544925"/>
                <a:gd name="connsiteY34" fmla="*/ 1257300 h 3317875"/>
                <a:gd name="connsiteX35" fmla="*/ 1997594 w 3544925"/>
                <a:gd name="connsiteY35" fmla="*/ 1426808 h 3317875"/>
                <a:gd name="connsiteX36" fmla="*/ 729723 w 3544925"/>
                <a:gd name="connsiteY36" fmla="*/ 285749 h 3317875"/>
                <a:gd name="connsiteX37" fmla="*/ 786801 w 3544925"/>
                <a:gd name="connsiteY37" fmla="*/ 129753 h 3317875"/>
                <a:gd name="connsiteX0" fmla="*/ 583671 w 3544925"/>
                <a:gd name="connsiteY0" fmla="*/ 1022350 h 3317875"/>
                <a:gd name="connsiteX1" fmla="*/ 573116 w 3544925"/>
                <a:gd name="connsiteY1" fmla="*/ 357744 h 3317875"/>
                <a:gd name="connsiteX2" fmla="*/ 891646 w 3544925"/>
                <a:gd name="connsiteY2" fmla="*/ 0 h 3317875"/>
                <a:gd name="connsiteX3" fmla="*/ 1929875 w 3544925"/>
                <a:gd name="connsiteY3" fmla="*/ 9529 h 3317875"/>
                <a:gd name="connsiteX4" fmla="*/ 3511023 w 3544925"/>
                <a:gd name="connsiteY4" fmla="*/ 1466860 h 3317875"/>
                <a:gd name="connsiteX5" fmla="*/ 3524756 w 3544925"/>
                <a:gd name="connsiteY5" fmla="*/ 2699794 h 3317875"/>
                <a:gd name="connsiteX6" fmla="*/ 3225272 w 3544925"/>
                <a:gd name="connsiteY6" fmla="*/ 2979737 h 3317875"/>
                <a:gd name="connsiteX7" fmla="*/ 2282296 w 3544925"/>
                <a:gd name="connsiteY7" fmla="*/ 2914650 h 3317875"/>
                <a:gd name="connsiteX8" fmla="*/ 1939396 w 3544925"/>
                <a:gd name="connsiteY8" fmla="*/ 2743200 h 3317875"/>
                <a:gd name="connsiteX9" fmla="*/ 1967971 w 3544925"/>
                <a:gd name="connsiteY9" fmla="*/ 3057525 h 3317875"/>
                <a:gd name="connsiteX10" fmla="*/ 2301346 w 3544925"/>
                <a:gd name="connsiteY10" fmla="*/ 3086100 h 3317875"/>
                <a:gd name="connsiteX11" fmla="*/ 2339446 w 3544925"/>
                <a:gd name="connsiteY11" fmla="*/ 3267075 h 3317875"/>
                <a:gd name="connsiteX12" fmla="*/ 1272646 w 3544925"/>
                <a:gd name="connsiteY12" fmla="*/ 3286125 h 3317875"/>
                <a:gd name="connsiteX13" fmla="*/ 1244071 w 3544925"/>
                <a:gd name="connsiteY13" fmla="*/ 3076575 h 3317875"/>
                <a:gd name="connsiteX14" fmla="*/ 1649437 w 3544925"/>
                <a:gd name="connsiteY14" fmla="*/ 3090318 h 3317875"/>
                <a:gd name="connsiteX15" fmla="*/ 1634598 w 3544925"/>
                <a:gd name="connsiteY15" fmla="*/ 2524131 h 3317875"/>
                <a:gd name="connsiteX16" fmla="*/ 663046 w 3544925"/>
                <a:gd name="connsiteY16" fmla="*/ 1524000 h 3317875"/>
                <a:gd name="connsiteX17" fmla="*/ 567798 w 3544925"/>
                <a:gd name="connsiteY17" fmla="*/ 1209674 h 3317875"/>
                <a:gd name="connsiteX18" fmla="*/ 301097 w 3544925"/>
                <a:gd name="connsiteY18" fmla="*/ 1800224 h 3317875"/>
                <a:gd name="connsiteX19" fmla="*/ 1215499 w 3544925"/>
                <a:gd name="connsiteY19" fmla="*/ 2447924 h 3317875"/>
                <a:gd name="connsiteX20" fmla="*/ 1215496 w 3544925"/>
                <a:gd name="connsiteY20" fmla="*/ 2990850 h 3317875"/>
                <a:gd name="connsiteX21" fmla="*/ 434446 w 3544925"/>
                <a:gd name="connsiteY21" fmla="*/ 2362200 h 3317875"/>
                <a:gd name="connsiteX22" fmla="*/ 110596 w 3544925"/>
                <a:gd name="connsiteY22" fmla="*/ 1371600 h 3317875"/>
                <a:gd name="connsiteX23" fmla="*/ 583671 w 3544925"/>
                <a:gd name="connsiteY23" fmla="*/ 1022350 h 3317875"/>
                <a:gd name="connsiteX24" fmla="*/ 3409424 w 3544925"/>
                <a:gd name="connsiteY24" fmla="*/ 2438822 h 3317875"/>
                <a:gd name="connsiteX25" fmla="*/ 3409424 w 3544925"/>
                <a:gd name="connsiteY25" fmla="*/ 1860549 h 3317875"/>
                <a:gd name="connsiteX26" fmla="*/ 3136233 w 3544925"/>
                <a:gd name="connsiteY26" fmla="*/ 1547812 h 3317875"/>
                <a:gd name="connsiteX27" fmla="*/ 2506678 w 3544925"/>
                <a:gd name="connsiteY27" fmla="*/ 1547812 h 3317875"/>
                <a:gd name="connsiteX28" fmla="*/ 2256899 w 3544925"/>
                <a:gd name="connsiteY28" fmla="*/ 1825625 h 3317875"/>
                <a:gd name="connsiteX29" fmla="*/ 2256899 w 3544925"/>
                <a:gd name="connsiteY29" fmla="*/ 2428875 h 3317875"/>
                <a:gd name="connsiteX30" fmla="*/ 2510897 w 3544925"/>
                <a:gd name="connsiteY30" fmla="*/ 2803524 h 3317875"/>
                <a:gd name="connsiteX31" fmla="*/ 3117322 w 3544925"/>
                <a:gd name="connsiteY31" fmla="*/ 2803524 h 3317875"/>
                <a:gd name="connsiteX32" fmla="*/ 3409424 w 3544925"/>
                <a:gd name="connsiteY32" fmla="*/ 2438822 h 3317875"/>
                <a:gd name="connsiteX33" fmla="*/ 786801 w 3544925"/>
                <a:gd name="connsiteY33" fmla="*/ 129753 h 3317875"/>
                <a:gd name="connsiteX34" fmla="*/ 2082271 w 3544925"/>
                <a:gd name="connsiteY34" fmla="*/ 1257300 h 3317875"/>
                <a:gd name="connsiteX35" fmla="*/ 1997594 w 3544925"/>
                <a:gd name="connsiteY35" fmla="*/ 1426808 h 3317875"/>
                <a:gd name="connsiteX36" fmla="*/ 729723 w 3544925"/>
                <a:gd name="connsiteY36" fmla="*/ 285749 h 3317875"/>
                <a:gd name="connsiteX37" fmla="*/ 786801 w 3544925"/>
                <a:gd name="connsiteY37" fmla="*/ 129753 h 3317875"/>
                <a:gd name="connsiteX0" fmla="*/ 583671 w 3540718"/>
                <a:gd name="connsiteY0" fmla="*/ 1022350 h 3317875"/>
                <a:gd name="connsiteX1" fmla="*/ 573116 w 3540718"/>
                <a:gd name="connsiteY1" fmla="*/ 357744 h 3317875"/>
                <a:gd name="connsiteX2" fmla="*/ 891646 w 3540718"/>
                <a:gd name="connsiteY2" fmla="*/ 0 h 3317875"/>
                <a:gd name="connsiteX3" fmla="*/ 1929875 w 3540718"/>
                <a:gd name="connsiteY3" fmla="*/ 9529 h 3317875"/>
                <a:gd name="connsiteX4" fmla="*/ 3511023 w 3540718"/>
                <a:gd name="connsiteY4" fmla="*/ 1466860 h 3317875"/>
                <a:gd name="connsiteX5" fmla="*/ 3520549 w 3540718"/>
                <a:gd name="connsiteY5" fmla="*/ 2676934 h 3317875"/>
                <a:gd name="connsiteX6" fmla="*/ 3225272 w 3540718"/>
                <a:gd name="connsiteY6" fmla="*/ 2979737 h 3317875"/>
                <a:gd name="connsiteX7" fmla="*/ 2282296 w 3540718"/>
                <a:gd name="connsiteY7" fmla="*/ 2914650 h 3317875"/>
                <a:gd name="connsiteX8" fmla="*/ 1939396 w 3540718"/>
                <a:gd name="connsiteY8" fmla="*/ 2743200 h 3317875"/>
                <a:gd name="connsiteX9" fmla="*/ 1967971 w 3540718"/>
                <a:gd name="connsiteY9" fmla="*/ 3057525 h 3317875"/>
                <a:gd name="connsiteX10" fmla="*/ 2301346 w 3540718"/>
                <a:gd name="connsiteY10" fmla="*/ 3086100 h 3317875"/>
                <a:gd name="connsiteX11" fmla="*/ 2339446 w 3540718"/>
                <a:gd name="connsiteY11" fmla="*/ 3267075 h 3317875"/>
                <a:gd name="connsiteX12" fmla="*/ 1272646 w 3540718"/>
                <a:gd name="connsiteY12" fmla="*/ 3286125 h 3317875"/>
                <a:gd name="connsiteX13" fmla="*/ 1244071 w 3540718"/>
                <a:gd name="connsiteY13" fmla="*/ 3076575 h 3317875"/>
                <a:gd name="connsiteX14" fmla="*/ 1649437 w 3540718"/>
                <a:gd name="connsiteY14" fmla="*/ 3090318 h 3317875"/>
                <a:gd name="connsiteX15" fmla="*/ 1634598 w 3540718"/>
                <a:gd name="connsiteY15" fmla="*/ 2524131 h 3317875"/>
                <a:gd name="connsiteX16" fmla="*/ 663046 w 3540718"/>
                <a:gd name="connsiteY16" fmla="*/ 1524000 h 3317875"/>
                <a:gd name="connsiteX17" fmla="*/ 567798 w 3540718"/>
                <a:gd name="connsiteY17" fmla="*/ 1209674 h 3317875"/>
                <a:gd name="connsiteX18" fmla="*/ 301097 w 3540718"/>
                <a:gd name="connsiteY18" fmla="*/ 1800224 h 3317875"/>
                <a:gd name="connsiteX19" fmla="*/ 1215499 w 3540718"/>
                <a:gd name="connsiteY19" fmla="*/ 2447924 h 3317875"/>
                <a:gd name="connsiteX20" fmla="*/ 1215496 w 3540718"/>
                <a:gd name="connsiteY20" fmla="*/ 2990850 h 3317875"/>
                <a:gd name="connsiteX21" fmla="*/ 434446 w 3540718"/>
                <a:gd name="connsiteY21" fmla="*/ 2362200 h 3317875"/>
                <a:gd name="connsiteX22" fmla="*/ 110596 w 3540718"/>
                <a:gd name="connsiteY22" fmla="*/ 1371600 h 3317875"/>
                <a:gd name="connsiteX23" fmla="*/ 583671 w 3540718"/>
                <a:gd name="connsiteY23" fmla="*/ 1022350 h 3317875"/>
                <a:gd name="connsiteX24" fmla="*/ 3409424 w 3540718"/>
                <a:gd name="connsiteY24" fmla="*/ 2438822 h 3317875"/>
                <a:gd name="connsiteX25" fmla="*/ 3409424 w 3540718"/>
                <a:gd name="connsiteY25" fmla="*/ 1860549 h 3317875"/>
                <a:gd name="connsiteX26" fmla="*/ 3136233 w 3540718"/>
                <a:gd name="connsiteY26" fmla="*/ 1547812 h 3317875"/>
                <a:gd name="connsiteX27" fmla="*/ 2506678 w 3540718"/>
                <a:gd name="connsiteY27" fmla="*/ 1547812 h 3317875"/>
                <a:gd name="connsiteX28" fmla="*/ 2256899 w 3540718"/>
                <a:gd name="connsiteY28" fmla="*/ 1825625 h 3317875"/>
                <a:gd name="connsiteX29" fmla="*/ 2256899 w 3540718"/>
                <a:gd name="connsiteY29" fmla="*/ 2428875 h 3317875"/>
                <a:gd name="connsiteX30" fmla="*/ 2510897 w 3540718"/>
                <a:gd name="connsiteY30" fmla="*/ 2803524 h 3317875"/>
                <a:gd name="connsiteX31" fmla="*/ 3117322 w 3540718"/>
                <a:gd name="connsiteY31" fmla="*/ 2803524 h 3317875"/>
                <a:gd name="connsiteX32" fmla="*/ 3409424 w 3540718"/>
                <a:gd name="connsiteY32" fmla="*/ 2438822 h 3317875"/>
                <a:gd name="connsiteX33" fmla="*/ 786801 w 3540718"/>
                <a:gd name="connsiteY33" fmla="*/ 129753 h 3317875"/>
                <a:gd name="connsiteX34" fmla="*/ 2082271 w 3540718"/>
                <a:gd name="connsiteY34" fmla="*/ 1257300 h 3317875"/>
                <a:gd name="connsiteX35" fmla="*/ 1997594 w 3540718"/>
                <a:gd name="connsiteY35" fmla="*/ 1426808 h 3317875"/>
                <a:gd name="connsiteX36" fmla="*/ 729723 w 3540718"/>
                <a:gd name="connsiteY36" fmla="*/ 285749 h 3317875"/>
                <a:gd name="connsiteX37" fmla="*/ 786801 w 3540718"/>
                <a:gd name="connsiteY37" fmla="*/ 129753 h 3317875"/>
                <a:gd name="connsiteX0" fmla="*/ 583671 w 3540718"/>
                <a:gd name="connsiteY0" fmla="*/ 1022350 h 3317875"/>
                <a:gd name="connsiteX1" fmla="*/ 573116 w 3540718"/>
                <a:gd name="connsiteY1" fmla="*/ 357744 h 3317875"/>
                <a:gd name="connsiteX2" fmla="*/ 891646 w 3540718"/>
                <a:gd name="connsiteY2" fmla="*/ 0 h 3317875"/>
                <a:gd name="connsiteX3" fmla="*/ 1929875 w 3540718"/>
                <a:gd name="connsiteY3" fmla="*/ 9529 h 3317875"/>
                <a:gd name="connsiteX4" fmla="*/ 3511023 w 3540718"/>
                <a:gd name="connsiteY4" fmla="*/ 1466860 h 3317875"/>
                <a:gd name="connsiteX5" fmla="*/ 3520549 w 3540718"/>
                <a:gd name="connsiteY5" fmla="*/ 2676934 h 3317875"/>
                <a:gd name="connsiteX6" fmla="*/ 3293852 w 3540718"/>
                <a:gd name="connsiteY6" fmla="*/ 2941637 h 3317875"/>
                <a:gd name="connsiteX7" fmla="*/ 2282296 w 3540718"/>
                <a:gd name="connsiteY7" fmla="*/ 2914650 h 3317875"/>
                <a:gd name="connsiteX8" fmla="*/ 1939396 w 3540718"/>
                <a:gd name="connsiteY8" fmla="*/ 2743200 h 3317875"/>
                <a:gd name="connsiteX9" fmla="*/ 1967971 w 3540718"/>
                <a:gd name="connsiteY9" fmla="*/ 3057525 h 3317875"/>
                <a:gd name="connsiteX10" fmla="*/ 2301346 w 3540718"/>
                <a:gd name="connsiteY10" fmla="*/ 3086100 h 3317875"/>
                <a:gd name="connsiteX11" fmla="*/ 2339446 w 3540718"/>
                <a:gd name="connsiteY11" fmla="*/ 3267075 h 3317875"/>
                <a:gd name="connsiteX12" fmla="*/ 1272646 w 3540718"/>
                <a:gd name="connsiteY12" fmla="*/ 3286125 h 3317875"/>
                <a:gd name="connsiteX13" fmla="*/ 1244071 w 3540718"/>
                <a:gd name="connsiteY13" fmla="*/ 3076575 h 3317875"/>
                <a:gd name="connsiteX14" fmla="*/ 1649437 w 3540718"/>
                <a:gd name="connsiteY14" fmla="*/ 3090318 h 3317875"/>
                <a:gd name="connsiteX15" fmla="*/ 1634598 w 3540718"/>
                <a:gd name="connsiteY15" fmla="*/ 2524131 h 3317875"/>
                <a:gd name="connsiteX16" fmla="*/ 663046 w 3540718"/>
                <a:gd name="connsiteY16" fmla="*/ 1524000 h 3317875"/>
                <a:gd name="connsiteX17" fmla="*/ 567798 w 3540718"/>
                <a:gd name="connsiteY17" fmla="*/ 1209674 h 3317875"/>
                <a:gd name="connsiteX18" fmla="*/ 301097 w 3540718"/>
                <a:gd name="connsiteY18" fmla="*/ 1800224 h 3317875"/>
                <a:gd name="connsiteX19" fmla="*/ 1215499 w 3540718"/>
                <a:gd name="connsiteY19" fmla="*/ 2447924 h 3317875"/>
                <a:gd name="connsiteX20" fmla="*/ 1215496 w 3540718"/>
                <a:gd name="connsiteY20" fmla="*/ 2990850 h 3317875"/>
                <a:gd name="connsiteX21" fmla="*/ 434446 w 3540718"/>
                <a:gd name="connsiteY21" fmla="*/ 2362200 h 3317875"/>
                <a:gd name="connsiteX22" fmla="*/ 110596 w 3540718"/>
                <a:gd name="connsiteY22" fmla="*/ 1371600 h 3317875"/>
                <a:gd name="connsiteX23" fmla="*/ 583671 w 3540718"/>
                <a:gd name="connsiteY23" fmla="*/ 1022350 h 3317875"/>
                <a:gd name="connsiteX24" fmla="*/ 3409424 w 3540718"/>
                <a:gd name="connsiteY24" fmla="*/ 2438822 h 3317875"/>
                <a:gd name="connsiteX25" fmla="*/ 3409424 w 3540718"/>
                <a:gd name="connsiteY25" fmla="*/ 1860549 h 3317875"/>
                <a:gd name="connsiteX26" fmla="*/ 3136233 w 3540718"/>
                <a:gd name="connsiteY26" fmla="*/ 1547812 h 3317875"/>
                <a:gd name="connsiteX27" fmla="*/ 2506678 w 3540718"/>
                <a:gd name="connsiteY27" fmla="*/ 1547812 h 3317875"/>
                <a:gd name="connsiteX28" fmla="*/ 2256899 w 3540718"/>
                <a:gd name="connsiteY28" fmla="*/ 1825625 h 3317875"/>
                <a:gd name="connsiteX29" fmla="*/ 2256899 w 3540718"/>
                <a:gd name="connsiteY29" fmla="*/ 2428875 h 3317875"/>
                <a:gd name="connsiteX30" fmla="*/ 2510897 w 3540718"/>
                <a:gd name="connsiteY30" fmla="*/ 2803524 h 3317875"/>
                <a:gd name="connsiteX31" fmla="*/ 3117322 w 3540718"/>
                <a:gd name="connsiteY31" fmla="*/ 2803524 h 3317875"/>
                <a:gd name="connsiteX32" fmla="*/ 3409424 w 3540718"/>
                <a:gd name="connsiteY32" fmla="*/ 2438822 h 3317875"/>
                <a:gd name="connsiteX33" fmla="*/ 786801 w 3540718"/>
                <a:gd name="connsiteY33" fmla="*/ 129753 h 3317875"/>
                <a:gd name="connsiteX34" fmla="*/ 2082271 w 3540718"/>
                <a:gd name="connsiteY34" fmla="*/ 1257300 h 3317875"/>
                <a:gd name="connsiteX35" fmla="*/ 1997594 w 3540718"/>
                <a:gd name="connsiteY35" fmla="*/ 1426808 h 3317875"/>
                <a:gd name="connsiteX36" fmla="*/ 729723 w 3540718"/>
                <a:gd name="connsiteY36" fmla="*/ 285749 h 3317875"/>
                <a:gd name="connsiteX37" fmla="*/ 786801 w 3540718"/>
                <a:gd name="connsiteY37" fmla="*/ 129753 h 3317875"/>
                <a:gd name="connsiteX0" fmla="*/ 583671 w 3540718"/>
                <a:gd name="connsiteY0" fmla="*/ 1022350 h 3317875"/>
                <a:gd name="connsiteX1" fmla="*/ 573116 w 3540718"/>
                <a:gd name="connsiteY1" fmla="*/ 357744 h 3317875"/>
                <a:gd name="connsiteX2" fmla="*/ 891646 w 3540718"/>
                <a:gd name="connsiteY2" fmla="*/ 0 h 3317875"/>
                <a:gd name="connsiteX3" fmla="*/ 1929875 w 3540718"/>
                <a:gd name="connsiteY3" fmla="*/ 9529 h 3317875"/>
                <a:gd name="connsiteX4" fmla="*/ 3511023 w 3540718"/>
                <a:gd name="connsiteY4" fmla="*/ 1466860 h 3317875"/>
                <a:gd name="connsiteX5" fmla="*/ 3520549 w 3540718"/>
                <a:gd name="connsiteY5" fmla="*/ 2676934 h 3317875"/>
                <a:gd name="connsiteX6" fmla="*/ 3293852 w 3540718"/>
                <a:gd name="connsiteY6" fmla="*/ 2941637 h 3317875"/>
                <a:gd name="connsiteX7" fmla="*/ 2256899 w 3540718"/>
                <a:gd name="connsiteY7" fmla="*/ 2941637 h 3317875"/>
                <a:gd name="connsiteX8" fmla="*/ 1939396 w 3540718"/>
                <a:gd name="connsiteY8" fmla="*/ 2743200 h 3317875"/>
                <a:gd name="connsiteX9" fmla="*/ 1967971 w 3540718"/>
                <a:gd name="connsiteY9" fmla="*/ 3057525 h 3317875"/>
                <a:gd name="connsiteX10" fmla="*/ 2301346 w 3540718"/>
                <a:gd name="connsiteY10" fmla="*/ 3086100 h 3317875"/>
                <a:gd name="connsiteX11" fmla="*/ 2339446 w 3540718"/>
                <a:gd name="connsiteY11" fmla="*/ 3267075 h 3317875"/>
                <a:gd name="connsiteX12" fmla="*/ 1272646 w 3540718"/>
                <a:gd name="connsiteY12" fmla="*/ 3286125 h 3317875"/>
                <a:gd name="connsiteX13" fmla="*/ 1244071 w 3540718"/>
                <a:gd name="connsiteY13" fmla="*/ 3076575 h 3317875"/>
                <a:gd name="connsiteX14" fmla="*/ 1649437 w 3540718"/>
                <a:gd name="connsiteY14" fmla="*/ 3090318 h 3317875"/>
                <a:gd name="connsiteX15" fmla="*/ 1634598 w 3540718"/>
                <a:gd name="connsiteY15" fmla="*/ 2524131 h 3317875"/>
                <a:gd name="connsiteX16" fmla="*/ 663046 w 3540718"/>
                <a:gd name="connsiteY16" fmla="*/ 1524000 h 3317875"/>
                <a:gd name="connsiteX17" fmla="*/ 567798 w 3540718"/>
                <a:gd name="connsiteY17" fmla="*/ 1209674 h 3317875"/>
                <a:gd name="connsiteX18" fmla="*/ 301097 w 3540718"/>
                <a:gd name="connsiteY18" fmla="*/ 1800224 h 3317875"/>
                <a:gd name="connsiteX19" fmla="*/ 1215499 w 3540718"/>
                <a:gd name="connsiteY19" fmla="*/ 2447924 h 3317875"/>
                <a:gd name="connsiteX20" fmla="*/ 1215496 w 3540718"/>
                <a:gd name="connsiteY20" fmla="*/ 2990850 h 3317875"/>
                <a:gd name="connsiteX21" fmla="*/ 434446 w 3540718"/>
                <a:gd name="connsiteY21" fmla="*/ 2362200 h 3317875"/>
                <a:gd name="connsiteX22" fmla="*/ 110596 w 3540718"/>
                <a:gd name="connsiteY22" fmla="*/ 1371600 h 3317875"/>
                <a:gd name="connsiteX23" fmla="*/ 583671 w 3540718"/>
                <a:gd name="connsiteY23" fmla="*/ 1022350 h 3317875"/>
                <a:gd name="connsiteX24" fmla="*/ 3409424 w 3540718"/>
                <a:gd name="connsiteY24" fmla="*/ 2438822 h 3317875"/>
                <a:gd name="connsiteX25" fmla="*/ 3409424 w 3540718"/>
                <a:gd name="connsiteY25" fmla="*/ 1860549 h 3317875"/>
                <a:gd name="connsiteX26" fmla="*/ 3136233 w 3540718"/>
                <a:gd name="connsiteY26" fmla="*/ 1547812 h 3317875"/>
                <a:gd name="connsiteX27" fmla="*/ 2506678 w 3540718"/>
                <a:gd name="connsiteY27" fmla="*/ 1547812 h 3317875"/>
                <a:gd name="connsiteX28" fmla="*/ 2256899 w 3540718"/>
                <a:gd name="connsiteY28" fmla="*/ 1825625 h 3317875"/>
                <a:gd name="connsiteX29" fmla="*/ 2256899 w 3540718"/>
                <a:gd name="connsiteY29" fmla="*/ 2428875 h 3317875"/>
                <a:gd name="connsiteX30" fmla="*/ 2510897 w 3540718"/>
                <a:gd name="connsiteY30" fmla="*/ 2803524 h 3317875"/>
                <a:gd name="connsiteX31" fmla="*/ 3117322 w 3540718"/>
                <a:gd name="connsiteY31" fmla="*/ 2803524 h 3317875"/>
                <a:gd name="connsiteX32" fmla="*/ 3409424 w 3540718"/>
                <a:gd name="connsiteY32" fmla="*/ 2438822 h 3317875"/>
                <a:gd name="connsiteX33" fmla="*/ 786801 w 3540718"/>
                <a:gd name="connsiteY33" fmla="*/ 129753 h 3317875"/>
                <a:gd name="connsiteX34" fmla="*/ 2082271 w 3540718"/>
                <a:gd name="connsiteY34" fmla="*/ 1257300 h 3317875"/>
                <a:gd name="connsiteX35" fmla="*/ 1997594 w 3540718"/>
                <a:gd name="connsiteY35" fmla="*/ 1426808 h 3317875"/>
                <a:gd name="connsiteX36" fmla="*/ 729723 w 3540718"/>
                <a:gd name="connsiteY36" fmla="*/ 285749 h 3317875"/>
                <a:gd name="connsiteX37" fmla="*/ 786801 w 3540718"/>
                <a:gd name="connsiteY37" fmla="*/ 129753 h 3317875"/>
                <a:gd name="connsiteX0" fmla="*/ 583671 w 3540718"/>
                <a:gd name="connsiteY0" fmla="*/ 1022350 h 3317875"/>
                <a:gd name="connsiteX1" fmla="*/ 573116 w 3540718"/>
                <a:gd name="connsiteY1" fmla="*/ 357744 h 3317875"/>
                <a:gd name="connsiteX2" fmla="*/ 891646 w 3540718"/>
                <a:gd name="connsiteY2" fmla="*/ 0 h 3317875"/>
                <a:gd name="connsiteX3" fmla="*/ 1929875 w 3540718"/>
                <a:gd name="connsiteY3" fmla="*/ 9529 h 3317875"/>
                <a:gd name="connsiteX4" fmla="*/ 3511023 w 3540718"/>
                <a:gd name="connsiteY4" fmla="*/ 1466860 h 3317875"/>
                <a:gd name="connsiteX5" fmla="*/ 3520549 w 3540718"/>
                <a:gd name="connsiteY5" fmla="*/ 2676934 h 3317875"/>
                <a:gd name="connsiteX6" fmla="*/ 3293852 w 3540718"/>
                <a:gd name="connsiteY6" fmla="*/ 2941637 h 3317875"/>
                <a:gd name="connsiteX7" fmla="*/ 2256899 w 3540718"/>
                <a:gd name="connsiteY7" fmla="*/ 2941637 h 3317875"/>
                <a:gd name="connsiteX8" fmla="*/ 1939396 w 3540718"/>
                <a:gd name="connsiteY8" fmla="*/ 2743200 h 3317875"/>
                <a:gd name="connsiteX9" fmla="*/ 1967971 w 3540718"/>
                <a:gd name="connsiteY9" fmla="*/ 3057525 h 3317875"/>
                <a:gd name="connsiteX10" fmla="*/ 2301346 w 3540718"/>
                <a:gd name="connsiteY10" fmla="*/ 3086100 h 3317875"/>
                <a:gd name="connsiteX11" fmla="*/ 2339446 w 3540718"/>
                <a:gd name="connsiteY11" fmla="*/ 3267075 h 3317875"/>
                <a:gd name="connsiteX12" fmla="*/ 1272646 w 3540718"/>
                <a:gd name="connsiteY12" fmla="*/ 3286125 h 3317875"/>
                <a:gd name="connsiteX13" fmla="*/ 1244071 w 3540718"/>
                <a:gd name="connsiteY13" fmla="*/ 3076575 h 3317875"/>
                <a:gd name="connsiteX14" fmla="*/ 1649437 w 3540718"/>
                <a:gd name="connsiteY14" fmla="*/ 3090318 h 3317875"/>
                <a:gd name="connsiteX15" fmla="*/ 1634598 w 3540718"/>
                <a:gd name="connsiteY15" fmla="*/ 2524131 h 3317875"/>
                <a:gd name="connsiteX16" fmla="*/ 663046 w 3540718"/>
                <a:gd name="connsiteY16" fmla="*/ 1524000 h 3317875"/>
                <a:gd name="connsiteX17" fmla="*/ 567798 w 3540718"/>
                <a:gd name="connsiteY17" fmla="*/ 1209674 h 3317875"/>
                <a:gd name="connsiteX18" fmla="*/ 301097 w 3540718"/>
                <a:gd name="connsiteY18" fmla="*/ 1800224 h 3317875"/>
                <a:gd name="connsiteX19" fmla="*/ 1215499 w 3540718"/>
                <a:gd name="connsiteY19" fmla="*/ 2447924 h 3317875"/>
                <a:gd name="connsiteX20" fmla="*/ 1215496 w 3540718"/>
                <a:gd name="connsiteY20" fmla="*/ 2990850 h 3317875"/>
                <a:gd name="connsiteX21" fmla="*/ 434446 w 3540718"/>
                <a:gd name="connsiteY21" fmla="*/ 2362200 h 3317875"/>
                <a:gd name="connsiteX22" fmla="*/ 110596 w 3540718"/>
                <a:gd name="connsiteY22" fmla="*/ 1371600 h 3317875"/>
                <a:gd name="connsiteX23" fmla="*/ 583671 w 3540718"/>
                <a:gd name="connsiteY23" fmla="*/ 1022350 h 3317875"/>
                <a:gd name="connsiteX24" fmla="*/ 3409424 w 3540718"/>
                <a:gd name="connsiteY24" fmla="*/ 2438822 h 3317875"/>
                <a:gd name="connsiteX25" fmla="*/ 3409424 w 3540718"/>
                <a:gd name="connsiteY25" fmla="*/ 1860549 h 3317875"/>
                <a:gd name="connsiteX26" fmla="*/ 3136233 w 3540718"/>
                <a:gd name="connsiteY26" fmla="*/ 1547812 h 3317875"/>
                <a:gd name="connsiteX27" fmla="*/ 2506678 w 3540718"/>
                <a:gd name="connsiteY27" fmla="*/ 1547812 h 3317875"/>
                <a:gd name="connsiteX28" fmla="*/ 2256899 w 3540718"/>
                <a:gd name="connsiteY28" fmla="*/ 1825625 h 3317875"/>
                <a:gd name="connsiteX29" fmla="*/ 2256899 w 3540718"/>
                <a:gd name="connsiteY29" fmla="*/ 2428875 h 3317875"/>
                <a:gd name="connsiteX30" fmla="*/ 2510897 w 3540718"/>
                <a:gd name="connsiteY30" fmla="*/ 2803524 h 3317875"/>
                <a:gd name="connsiteX31" fmla="*/ 3117322 w 3540718"/>
                <a:gd name="connsiteY31" fmla="*/ 2803524 h 3317875"/>
                <a:gd name="connsiteX32" fmla="*/ 3409424 w 3540718"/>
                <a:gd name="connsiteY32" fmla="*/ 2438822 h 3317875"/>
                <a:gd name="connsiteX33" fmla="*/ 786801 w 3540718"/>
                <a:gd name="connsiteY33" fmla="*/ 129753 h 3317875"/>
                <a:gd name="connsiteX34" fmla="*/ 2082271 w 3540718"/>
                <a:gd name="connsiteY34" fmla="*/ 1257300 h 3317875"/>
                <a:gd name="connsiteX35" fmla="*/ 1997594 w 3540718"/>
                <a:gd name="connsiteY35" fmla="*/ 1426808 h 3317875"/>
                <a:gd name="connsiteX36" fmla="*/ 729723 w 3540718"/>
                <a:gd name="connsiteY36" fmla="*/ 285749 h 3317875"/>
                <a:gd name="connsiteX37" fmla="*/ 786801 w 3540718"/>
                <a:gd name="connsiteY37" fmla="*/ 129753 h 3317875"/>
                <a:gd name="connsiteX0" fmla="*/ 583671 w 3540718"/>
                <a:gd name="connsiteY0" fmla="*/ 1022350 h 3317875"/>
                <a:gd name="connsiteX1" fmla="*/ 573116 w 3540718"/>
                <a:gd name="connsiteY1" fmla="*/ 357744 h 3317875"/>
                <a:gd name="connsiteX2" fmla="*/ 891646 w 3540718"/>
                <a:gd name="connsiteY2" fmla="*/ 0 h 3317875"/>
                <a:gd name="connsiteX3" fmla="*/ 1929875 w 3540718"/>
                <a:gd name="connsiteY3" fmla="*/ 9529 h 3317875"/>
                <a:gd name="connsiteX4" fmla="*/ 3511023 w 3540718"/>
                <a:gd name="connsiteY4" fmla="*/ 1466860 h 3317875"/>
                <a:gd name="connsiteX5" fmla="*/ 3520549 w 3540718"/>
                <a:gd name="connsiteY5" fmla="*/ 2676934 h 3317875"/>
                <a:gd name="connsiteX6" fmla="*/ 3293852 w 3540718"/>
                <a:gd name="connsiteY6" fmla="*/ 2941637 h 3317875"/>
                <a:gd name="connsiteX7" fmla="*/ 2256899 w 3540718"/>
                <a:gd name="connsiteY7" fmla="*/ 2941637 h 3317875"/>
                <a:gd name="connsiteX8" fmla="*/ 1985437 w 3540718"/>
                <a:gd name="connsiteY8" fmla="*/ 2686685 h 3317875"/>
                <a:gd name="connsiteX9" fmla="*/ 1967971 w 3540718"/>
                <a:gd name="connsiteY9" fmla="*/ 3057525 h 3317875"/>
                <a:gd name="connsiteX10" fmla="*/ 2301346 w 3540718"/>
                <a:gd name="connsiteY10" fmla="*/ 3086100 h 3317875"/>
                <a:gd name="connsiteX11" fmla="*/ 2339446 w 3540718"/>
                <a:gd name="connsiteY11" fmla="*/ 3267075 h 3317875"/>
                <a:gd name="connsiteX12" fmla="*/ 1272646 w 3540718"/>
                <a:gd name="connsiteY12" fmla="*/ 3286125 h 3317875"/>
                <a:gd name="connsiteX13" fmla="*/ 1244071 w 3540718"/>
                <a:gd name="connsiteY13" fmla="*/ 3076575 h 3317875"/>
                <a:gd name="connsiteX14" fmla="*/ 1649437 w 3540718"/>
                <a:gd name="connsiteY14" fmla="*/ 3090318 h 3317875"/>
                <a:gd name="connsiteX15" fmla="*/ 1634598 w 3540718"/>
                <a:gd name="connsiteY15" fmla="*/ 2524131 h 3317875"/>
                <a:gd name="connsiteX16" fmla="*/ 663046 w 3540718"/>
                <a:gd name="connsiteY16" fmla="*/ 1524000 h 3317875"/>
                <a:gd name="connsiteX17" fmla="*/ 567798 w 3540718"/>
                <a:gd name="connsiteY17" fmla="*/ 1209674 h 3317875"/>
                <a:gd name="connsiteX18" fmla="*/ 301097 w 3540718"/>
                <a:gd name="connsiteY18" fmla="*/ 1800224 h 3317875"/>
                <a:gd name="connsiteX19" fmla="*/ 1215499 w 3540718"/>
                <a:gd name="connsiteY19" fmla="*/ 2447924 h 3317875"/>
                <a:gd name="connsiteX20" fmla="*/ 1215496 w 3540718"/>
                <a:gd name="connsiteY20" fmla="*/ 2990850 h 3317875"/>
                <a:gd name="connsiteX21" fmla="*/ 434446 w 3540718"/>
                <a:gd name="connsiteY21" fmla="*/ 2362200 h 3317875"/>
                <a:gd name="connsiteX22" fmla="*/ 110596 w 3540718"/>
                <a:gd name="connsiteY22" fmla="*/ 1371600 h 3317875"/>
                <a:gd name="connsiteX23" fmla="*/ 583671 w 3540718"/>
                <a:gd name="connsiteY23" fmla="*/ 1022350 h 3317875"/>
                <a:gd name="connsiteX24" fmla="*/ 3409424 w 3540718"/>
                <a:gd name="connsiteY24" fmla="*/ 2438822 h 3317875"/>
                <a:gd name="connsiteX25" fmla="*/ 3409424 w 3540718"/>
                <a:gd name="connsiteY25" fmla="*/ 1860549 h 3317875"/>
                <a:gd name="connsiteX26" fmla="*/ 3136233 w 3540718"/>
                <a:gd name="connsiteY26" fmla="*/ 1547812 h 3317875"/>
                <a:gd name="connsiteX27" fmla="*/ 2506678 w 3540718"/>
                <a:gd name="connsiteY27" fmla="*/ 1547812 h 3317875"/>
                <a:gd name="connsiteX28" fmla="*/ 2256899 w 3540718"/>
                <a:gd name="connsiteY28" fmla="*/ 1825625 h 3317875"/>
                <a:gd name="connsiteX29" fmla="*/ 2256899 w 3540718"/>
                <a:gd name="connsiteY29" fmla="*/ 2428875 h 3317875"/>
                <a:gd name="connsiteX30" fmla="*/ 2510897 w 3540718"/>
                <a:gd name="connsiteY30" fmla="*/ 2803524 h 3317875"/>
                <a:gd name="connsiteX31" fmla="*/ 3117322 w 3540718"/>
                <a:gd name="connsiteY31" fmla="*/ 2803524 h 3317875"/>
                <a:gd name="connsiteX32" fmla="*/ 3409424 w 3540718"/>
                <a:gd name="connsiteY32" fmla="*/ 2438822 h 3317875"/>
                <a:gd name="connsiteX33" fmla="*/ 786801 w 3540718"/>
                <a:gd name="connsiteY33" fmla="*/ 129753 h 3317875"/>
                <a:gd name="connsiteX34" fmla="*/ 2082271 w 3540718"/>
                <a:gd name="connsiteY34" fmla="*/ 1257300 h 3317875"/>
                <a:gd name="connsiteX35" fmla="*/ 1997594 w 3540718"/>
                <a:gd name="connsiteY35" fmla="*/ 1426808 h 3317875"/>
                <a:gd name="connsiteX36" fmla="*/ 729723 w 3540718"/>
                <a:gd name="connsiteY36" fmla="*/ 285749 h 3317875"/>
                <a:gd name="connsiteX37" fmla="*/ 786801 w 3540718"/>
                <a:gd name="connsiteY37" fmla="*/ 129753 h 3317875"/>
                <a:gd name="connsiteX0" fmla="*/ 583671 w 3540718"/>
                <a:gd name="connsiteY0" fmla="*/ 1022350 h 3317875"/>
                <a:gd name="connsiteX1" fmla="*/ 573116 w 3540718"/>
                <a:gd name="connsiteY1" fmla="*/ 357744 h 3317875"/>
                <a:gd name="connsiteX2" fmla="*/ 891646 w 3540718"/>
                <a:gd name="connsiteY2" fmla="*/ 0 h 3317875"/>
                <a:gd name="connsiteX3" fmla="*/ 1929875 w 3540718"/>
                <a:gd name="connsiteY3" fmla="*/ 9529 h 3317875"/>
                <a:gd name="connsiteX4" fmla="*/ 3511023 w 3540718"/>
                <a:gd name="connsiteY4" fmla="*/ 1466860 h 3317875"/>
                <a:gd name="connsiteX5" fmla="*/ 3520549 w 3540718"/>
                <a:gd name="connsiteY5" fmla="*/ 2676934 h 3317875"/>
                <a:gd name="connsiteX6" fmla="*/ 3293852 w 3540718"/>
                <a:gd name="connsiteY6" fmla="*/ 2941637 h 3317875"/>
                <a:gd name="connsiteX7" fmla="*/ 2256899 w 3540718"/>
                <a:gd name="connsiteY7" fmla="*/ 2941637 h 3317875"/>
                <a:gd name="connsiteX8" fmla="*/ 1985437 w 3540718"/>
                <a:gd name="connsiteY8" fmla="*/ 2686685 h 3317875"/>
                <a:gd name="connsiteX9" fmla="*/ 1967971 w 3540718"/>
                <a:gd name="connsiteY9" fmla="*/ 3057525 h 3317875"/>
                <a:gd name="connsiteX10" fmla="*/ 2301346 w 3540718"/>
                <a:gd name="connsiteY10" fmla="*/ 3086100 h 3317875"/>
                <a:gd name="connsiteX11" fmla="*/ 2339446 w 3540718"/>
                <a:gd name="connsiteY11" fmla="*/ 3267075 h 3317875"/>
                <a:gd name="connsiteX12" fmla="*/ 1272646 w 3540718"/>
                <a:gd name="connsiteY12" fmla="*/ 3286125 h 3317875"/>
                <a:gd name="connsiteX13" fmla="*/ 1244071 w 3540718"/>
                <a:gd name="connsiteY13" fmla="*/ 3076575 h 3317875"/>
                <a:gd name="connsiteX14" fmla="*/ 1649437 w 3540718"/>
                <a:gd name="connsiteY14" fmla="*/ 3090318 h 3317875"/>
                <a:gd name="connsiteX15" fmla="*/ 1634598 w 3540718"/>
                <a:gd name="connsiteY15" fmla="*/ 2524131 h 3317875"/>
                <a:gd name="connsiteX16" fmla="*/ 663046 w 3540718"/>
                <a:gd name="connsiteY16" fmla="*/ 1524000 h 3317875"/>
                <a:gd name="connsiteX17" fmla="*/ 567798 w 3540718"/>
                <a:gd name="connsiteY17" fmla="*/ 1209674 h 3317875"/>
                <a:gd name="connsiteX18" fmla="*/ 301097 w 3540718"/>
                <a:gd name="connsiteY18" fmla="*/ 1800224 h 3317875"/>
                <a:gd name="connsiteX19" fmla="*/ 1215499 w 3540718"/>
                <a:gd name="connsiteY19" fmla="*/ 2447924 h 3317875"/>
                <a:gd name="connsiteX20" fmla="*/ 1215496 w 3540718"/>
                <a:gd name="connsiteY20" fmla="*/ 2990850 h 3317875"/>
                <a:gd name="connsiteX21" fmla="*/ 434446 w 3540718"/>
                <a:gd name="connsiteY21" fmla="*/ 2362200 h 3317875"/>
                <a:gd name="connsiteX22" fmla="*/ 110596 w 3540718"/>
                <a:gd name="connsiteY22" fmla="*/ 1371600 h 3317875"/>
                <a:gd name="connsiteX23" fmla="*/ 583671 w 3540718"/>
                <a:gd name="connsiteY23" fmla="*/ 1022350 h 3317875"/>
                <a:gd name="connsiteX24" fmla="*/ 3409424 w 3540718"/>
                <a:gd name="connsiteY24" fmla="*/ 2438822 h 3317875"/>
                <a:gd name="connsiteX25" fmla="*/ 3409424 w 3540718"/>
                <a:gd name="connsiteY25" fmla="*/ 1860549 h 3317875"/>
                <a:gd name="connsiteX26" fmla="*/ 3136233 w 3540718"/>
                <a:gd name="connsiteY26" fmla="*/ 1547812 h 3317875"/>
                <a:gd name="connsiteX27" fmla="*/ 2506678 w 3540718"/>
                <a:gd name="connsiteY27" fmla="*/ 1547812 h 3317875"/>
                <a:gd name="connsiteX28" fmla="*/ 2256899 w 3540718"/>
                <a:gd name="connsiteY28" fmla="*/ 1825625 h 3317875"/>
                <a:gd name="connsiteX29" fmla="*/ 2256899 w 3540718"/>
                <a:gd name="connsiteY29" fmla="*/ 2428875 h 3317875"/>
                <a:gd name="connsiteX30" fmla="*/ 2510897 w 3540718"/>
                <a:gd name="connsiteY30" fmla="*/ 2803524 h 3317875"/>
                <a:gd name="connsiteX31" fmla="*/ 3117322 w 3540718"/>
                <a:gd name="connsiteY31" fmla="*/ 2803524 h 3317875"/>
                <a:gd name="connsiteX32" fmla="*/ 3409424 w 3540718"/>
                <a:gd name="connsiteY32" fmla="*/ 2438822 h 3317875"/>
                <a:gd name="connsiteX33" fmla="*/ 786801 w 3540718"/>
                <a:gd name="connsiteY33" fmla="*/ 129753 h 3317875"/>
                <a:gd name="connsiteX34" fmla="*/ 2082271 w 3540718"/>
                <a:gd name="connsiteY34" fmla="*/ 1257300 h 3317875"/>
                <a:gd name="connsiteX35" fmla="*/ 1997594 w 3540718"/>
                <a:gd name="connsiteY35" fmla="*/ 1426808 h 3317875"/>
                <a:gd name="connsiteX36" fmla="*/ 729723 w 3540718"/>
                <a:gd name="connsiteY36" fmla="*/ 285749 h 3317875"/>
                <a:gd name="connsiteX37" fmla="*/ 786801 w 3540718"/>
                <a:gd name="connsiteY37" fmla="*/ 129753 h 3317875"/>
                <a:gd name="connsiteX0" fmla="*/ 583671 w 3540718"/>
                <a:gd name="connsiteY0" fmla="*/ 1022350 h 3327399"/>
                <a:gd name="connsiteX1" fmla="*/ 573116 w 3540718"/>
                <a:gd name="connsiteY1" fmla="*/ 357744 h 3327399"/>
                <a:gd name="connsiteX2" fmla="*/ 891646 w 3540718"/>
                <a:gd name="connsiteY2" fmla="*/ 0 h 3327399"/>
                <a:gd name="connsiteX3" fmla="*/ 1929875 w 3540718"/>
                <a:gd name="connsiteY3" fmla="*/ 9529 h 3327399"/>
                <a:gd name="connsiteX4" fmla="*/ 3511023 w 3540718"/>
                <a:gd name="connsiteY4" fmla="*/ 1466860 h 3327399"/>
                <a:gd name="connsiteX5" fmla="*/ 3520549 w 3540718"/>
                <a:gd name="connsiteY5" fmla="*/ 2676934 h 3327399"/>
                <a:gd name="connsiteX6" fmla="*/ 3293852 w 3540718"/>
                <a:gd name="connsiteY6" fmla="*/ 2941637 h 3327399"/>
                <a:gd name="connsiteX7" fmla="*/ 2256899 w 3540718"/>
                <a:gd name="connsiteY7" fmla="*/ 2941637 h 3327399"/>
                <a:gd name="connsiteX8" fmla="*/ 1985437 w 3540718"/>
                <a:gd name="connsiteY8" fmla="*/ 2686685 h 3327399"/>
                <a:gd name="connsiteX9" fmla="*/ 1967971 w 3540718"/>
                <a:gd name="connsiteY9" fmla="*/ 3057525 h 3327399"/>
                <a:gd name="connsiteX10" fmla="*/ 2301346 w 3540718"/>
                <a:gd name="connsiteY10" fmla="*/ 3086100 h 3327399"/>
                <a:gd name="connsiteX11" fmla="*/ 2256899 w 3540718"/>
                <a:gd name="connsiteY11" fmla="*/ 3294062 h 3327399"/>
                <a:gd name="connsiteX12" fmla="*/ 1272646 w 3540718"/>
                <a:gd name="connsiteY12" fmla="*/ 3286125 h 3327399"/>
                <a:gd name="connsiteX13" fmla="*/ 1244071 w 3540718"/>
                <a:gd name="connsiteY13" fmla="*/ 3076575 h 3327399"/>
                <a:gd name="connsiteX14" fmla="*/ 1649437 w 3540718"/>
                <a:gd name="connsiteY14" fmla="*/ 3090318 h 3327399"/>
                <a:gd name="connsiteX15" fmla="*/ 1634598 w 3540718"/>
                <a:gd name="connsiteY15" fmla="*/ 2524131 h 3327399"/>
                <a:gd name="connsiteX16" fmla="*/ 663046 w 3540718"/>
                <a:gd name="connsiteY16" fmla="*/ 1524000 h 3327399"/>
                <a:gd name="connsiteX17" fmla="*/ 567798 w 3540718"/>
                <a:gd name="connsiteY17" fmla="*/ 1209674 h 3327399"/>
                <a:gd name="connsiteX18" fmla="*/ 301097 w 3540718"/>
                <a:gd name="connsiteY18" fmla="*/ 1800224 h 3327399"/>
                <a:gd name="connsiteX19" fmla="*/ 1215499 w 3540718"/>
                <a:gd name="connsiteY19" fmla="*/ 2447924 h 3327399"/>
                <a:gd name="connsiteX20" fmla="*/ 1215496 w 3540718"/>
                <a:gd name="connsiteY20" fmla="*/ 2990850 h 3327399"/>
                <a:gd name="connsiteX21" fmla="*/ 434446 w 3540718"/>
                <a:gd name="connsiteY21" fmla="*/ 2362200 h 3327399"/>
                <a:gd name="connsiteX22" fmla="*/ 110596 w 3540718"/>
                <a:gd name="connsiteY22" fmla="*/ 1371600 h 3327399"/>
                <a:gd name="connsiteX23" fmla="*/ 583671 w 3540718"/>
                <a:gd name="connsiteY23" fmla="*/ 1022350 h 3327399"/>
                <a:gd name="connsiteX24" fmla="*/ 3409424 w 3540718"/>
                <a:gd name="connsiteY24" fmla="*/ 2438822 h 3327399"/>
                <a:gd name="connsiteX25" fmla="*/ 3409424 w 3540718"/>
                <a:gd name="connsiteY25" fmla="*/ 1860549 h 3327399"/>
                <a:gd name="connsiteX26" fmla="*/ 3136233 w 3540718"/>
                <a:gd name="connsiteY26" fmla="*/ 1547812 h 3327399"/>
                <a:gd name="connsiteX27" fmla="*/ 2506678 w 3540718"/>
                <a:gd name="connsiteY27" fmla="*/ 1547812 h 3327399"/>
                <a:gd name="connsiteX28" fmla="*/ 2256899 w 3540718"/>
                <a:gd name="connsiteY28" fmla="*/ 1825625 h 3327399"/>
                <a:gd name="connsiteX29" fmla="*/ 2256899 w 3540718"/>
                <a:gd name="connsiteY29" fmla="*/ 2428875 h 3327399"/>
                <a:gd name="connsiteX30" fmla="*/ 2510897 w 3540718"/>
                <a:gd name="connsiteY30" fmla="*/ 2803524 h 3327399"/>
                <a:gd name="connsiteX31" fmla="*/ 3117322 w 3540718"/>
                <a:gd name="connsiteY31" fmla="*/ 2803524 h 3327399"/>
                <a:gd name="connsiteX32" fmla="*/ 3409424 w 3540718"/>
                <a:gd name="connsiteY32" fmla="*/ 2438822 h 3327399"/>
                <a:gd name="connsiteX33" fmla="*/ 786801 w 3540718"/>
                <a:gd name="connsiteY33" fmla="*/ 129753 h 3327399"/>
                <a:gd name="connsiteX34" fmla="*/ 2082271 w 3540718"/>
                <a:gd name="connsiteY34" fmla="*/ 1257300 h 3327399"/>
                <a:gd name="connsiteX35" fmla="*/ 1997594 w 3540718"/>
                <a:gd name="connsiteY35" fmla="*/ 1426808 h 3327399"/>
                <a:gd name="connsiteX36" fmla="*/ 729723 w 3540718"/>
                <a:gd name="connsiteY36" fmla="*/ 285749 h 3327399"/>
                <a:gd name="connsiteX37" fmla="*/ 786801 w 3540718"/>
                <a:gd name="connsiteY37" fmla="*/ 129753 h 3327399"/>
                <a:gd name="connsiteX0" fmla="*/ 583671 w 3540718"/>
                <a:gd name="connsiteY0" fmla="*/ 1022350 h 3330310"/>
                <a:gd name="connsiteX1" fmla="*/ 573116 w 3540718"/>
                <a:gd name="connsiteY1" fmla="*/ 357744 h 3330310"/>
                <a:gd name="connsiteX2" fmla="*/ 891646 w 3540718"/>
                <a:gd name="connsiteY2" fmla="*/ 0 h 3330310"/>
                <a:gd name="connsiteX3" fmla="*/ 1929875 w 3540718"/>
                <a:gd name="connsiteY3" fmla="*/ 9529 h 3330310"/>
                <a:gd name="connsiteX4" fmla="*/ 3511023 w 3540718"/>
                <a:gd name="connsiteY4" fmla="*/ 1466860 h 3330310"/>
                <a:gd name="connsiteX5" fmla="*/ 3520549 w 3540718"/>
                <a:gd name="connsiteY5" fmla="*/ 2676934 h 3330310"/>
                <a:gd name="connsiteX6" fmla="*/ 3293852 w 3540718"/>
                <a:gd name="connsiteY6" fmla="*/ 2941637 h 3330310"/>
                <a:gd name="connsiteX7" fmla="*/ 2256899 w 3540718"/>
                <a:gd name="connsiteY7" fmla="*/ 2941637 h 3330310"/>
                <a:gd name="connsiteX8" fmla="*/ 1985437 w 3540718"/>
                <a:gd name="connsiteY8" fmla="*/ 2686685 h 3330310"/>
                <a:gd name="connsiteX9" fmla="*/ 1967971 w 3540718"/>
                <a:gd name="connsiteY9" fmla="*/ 3057525 h 3330310"/>
                <a:gd name="connsiteX10" fmla="*/ 2301346 w 3540718"/>
                <a:gd name="connsiteY10" fmla="*/ 3086100 h 3330310"/>
                <a:gd name="connsiteX11" fmla="*/ 2256899 w 3540718"/>
                <a:gd name="connsiteY11" fmla="*/ 3294062 h 3330310"/>
                <a:gd name="connsiteX12" fmla="*/ 1287886 w 3540718"/>
                <a:gd name="connsiteY12" fmla="*/ 3294062 h 3330310"/>
                <a:gd name="connsiteX13" fmla="*/ 1244071 w 3540718"/>
                <a:gd name="connsiteY13" fmla="*/ 3076575 h 3330310"/>
                <a:gd name="connsiteX14" fmla="*/ 1649437 w 3540718"/>
                <a:gd name="connsiteY14" fmla="*/ 3090318 h 3330310"/>
                <a:gd name="connsiteX15" fmla="*/ 1634598 w 3540718"/>
                <a:gd name="connsiteY15" fmla="*/ 2524131 h 3330310"/>
                <a:gd name="connsiteX16" fmla="*/ 663046 w 3540718"/>
                <a:gd name="connsiteY16" fmla="*/ 1524000 h 3330310"/>
                <a:gd name="connsiteX17" fmla="*/ 567798 w 3540718"/>
                <a:gd name="connsiteY17" fmla="*/ 1209674 h 3330310"/>
                <a:gd name="connsiteX18" fmla="*/ 301097 w 3540718"/>
                <a:gd name="connsiteY18" fmla="*/ 1800224 h 3330310"/>
                <a:gd name="connsiteX19" fmla="*/ 1215499 w 3540718"/>
                <a:gd name="connsiteY19" fmla="*/ 2447924 h 3330310"/>
                <a:gd name="connsiteX20" fmla="*/ 1215496 w 3540718"/>
                <a:gd name="connsiteY20" fmla="*/ 2990850 h 3330310"/>
                <a:gd name="connsiteX21" fmla="*/ 434446 w 3540718"/>
                <a:gd name="connsiteY21" fmla="*/ 2362200 h 3330310"/>
                <a:gd name="connsiteX22" fmla="*/ 110596 w 3540718"/>
                <a:gd name="connsiteY22" fmla="*/ 1371600 h 3330310"/>
                <a:gd name="connsiteX23" fmla="*/ 583671 w 3540718"/>
                <a:gd name="connsiteY23" fmla="*/ 1022350 h 3330310"/>
                <a:gd name="connsiteX24" fmla="*/ 3409424 w 3540718"/>
                <a:gd name="connsiteY24" fmla="*/ 2438822 h 3330310"/>
                <a:gd name="connsiteX25" fmla="*/ 3409424 w 3540718"/>
                <a:gd name="connsiteY25" fmla="*/ 1860549 h 3330310"/>
                <a:gd name="connsiteX26" fmla="*/ 3136233 w 3540718"/>
                <a:gd name="connsiteY26" fmla="*/ 1547812 h 3330310"/>
                <a:gd name="connsiteX27" fmla="*/ 2506678 w 3540718"/>
                <a:gd name="connsiteY27" fmla="*/ 1547812 h 3330310"/>
                <a:gd name="connsiteX28" fmla="*/ 2256899 w 3540718"/>
                <a:gd name="connsiteY28" fmla="*/ 1825625 h 3330310"/>
                <a:gd name="connsiteX29" fmla="*/ 2256899 w 3540718"/>
                <a:gd name="connsiteY29" fmla="*/ 2428875 h 3330310"/>
                <a:gd name="connsiteX30" fmla="*/ 2510897 w 3540718"/>
                <a:gd name="connsiteY30" fmla="*/ 2803524 h 3330310"/>
                <a:gd name="connsiteX31" fmla="*/ 3117322 w 3540718"/>
                <a:gd name="connsiteY31" fmla="*/ 2803524 h 3330310"/>
                <a:gd name="connsiteX32" fmla="*/ 3409424 w 3540718"/>
                <a:gd name="connsiteY32" fmla="*/ 2438822 h 3330310"/>
                <a:gd name="connsiteX33" fmla="*/ 786801 w 3540718"/>
                <a:gd name="connsiteY33" fmla="*/ 129753 h 3330310"/>
                <a:gd name="connsiteX34" fmla="*/ 2082271 w 3540718"/>
                <a:gd name="connsiteY34" fmla="*/ 1257300 h 3330310"/>
                <a:gd name="connsiteX35" fmla="*/ 1997594 w 3540718"/>
                <a:gd name="connsiteY35" fmla="*/ 1426808 h 3330310"/>
                <a:gd name="connsiteX36" fmla="*/ 729723 w 3540718"/>
                <a:gd name="connsiteY36" fmla="*/ 285749 h 3330310"/>
                <a:gd name="connsiteX37" fmla="*/ 786801 w 3540718"/>
                <a:gd name="connsiteY37" fmla="*/ 129753 h 3330310"/>
                <a:gd name="connsiteX0" fmla="*/ 583671 w 3540718"/>
                <a:gd name="connsiteY0" fmla="*/ 1022350 h 3294062"/>
                <a:gd name="connsiteX1" fmla="*/ 573116 w 3540718"/>
                <a:gd name="connsiteY1" fmla="*/ 357744 h 3294062"/>
                <a:gd name="connsiteX2" fmla="*/ 891646 w 3540718"/>
                <a:gd name="connsiteY2" fmla="*/ 0 h 3294062"/>
                <a:gd name="connsiteX3" fmla="*/ 1929875 w 3540718"/>
                <a:gd name="connsiteY3" fmla="*/ 9529 h 3294062"/>
                <a:gd name="connsiteX4" fmla="*/ 3511023 w 3540718"/>
                <a:gd name="connsiteY4" fmla="*/ 1466860 h 3294062"/>
                <a:gd name="connsiteX5" fmla="*/ 3520549 w 3540718"/>
                <a:gd name="connsiteY5" fmla="*/ 2676934 h 3294062"/>
                <a:gd name="connsiteX6" fmla="*/ 3293852 w 3540718"/>
                <a:gd name="connsiteY6" fmla="*/ 2941637 h 3294062"/>
                <a:gd name="connsiteX7" fmla="*/ 2256899 w 3540718"/>
                <a:gd name="connsiteY7" fmla="*/ 2941637 h 3294062"/>
                <a:gd name="connsiteX8" fmla="*/ 1985437 w 3540718"/>
                <a:gd name="connsiteY8" fmla="*/ 2686685 h 3294062"/>
                <a:gd name="connsiteX9" fmla="*/ 1967971 w 3540718"/>
                <a:gd name="connsiteY9" fmla="*/ 3057525 h 3294062"/>
                <a:gd name="connsiteX10" fmla="*/ 2301346 w 3540718"/>
                <a:gd name="connsiteY10" fmla="*/ 3086100 h 3294062"/>
                <a:gd name="connsiteX11" fmla="*/ 2256899 w 3540718"/>
                <a:gd name="connsiteY11" fmla="*/ 3294062 h 3294062"/>
                <a:gd name="connsiteX12" fmla="*/ 1287886 w 3540718"/>
                <a:gd name="connsiteY12" fmla="*/ 3294062 h 3294062"/>
                <a:gd name="connsiteX13" fmla="*/ 1244071 w 3540718"/>
                <a:gd name="connsiteY13" fmla="*/ 3076575 h 3294062"/>
                <a:gd name="connsiteX14" fmla="*/ 1649437 w 3540718"/>
                <a:gd name="connsiteY14" fmla="*/ 3090318 h 3294062"/>
                <a:gd name="connsiteX15" fmla="*/ 1634598 w 3540718"/>
                <a:gd name="connsiteY15" fmla="*/ 2524131 h 3294062"/>
                <a:gd name="connsiteX16" fmla="*/ 663046 w 3540718"/>
                <a:gd name="connsiteY16" fmla="*/ 1524000 h 3294062"/>
                <a:gd name="connsiteX17" fmla="*/ 567798 w 3540718"/>
                <a:gd name="connsiteY17" fmla="*/ 1209674 h 3294062"/>
                <a:gd name="connsiteX18" fmla="*/ 301097 w 3540718"/>
                <a:gd name="connsiteY18" fmla="*/ 1800224 h 3294062"/>
                <a:gd name="connsiteX19" fmla="*/ 1215499 w 3540718"/>
                <a:gd name="connsiteY19" fmla="*/ 2447924 h 3294062"/>
                <a:gd name="connsiteX20" fmla="*/ 1215496 w 3540718"/>
                <a:gd name="connsiteY20" fmla="*/ 2990850 h 3294062"/>
                <a:gd name="connsiteX21" fmla="*/ 434446 w 3540718"/>
                <a:gd name="connsiteY21" fmla="*/ 2362200 h 3294062"/>
                <a:gd name="connsiteX22" fmla="*/ 110596 w 3540718"/>
                <a:gd name="connsiteY22" fmla="*/ 1371600 h 3294062"/>
                <a:gd name="connsiteX23" fmla="*/ 583671 w 3540718"/>
                <a:gd name="connsiteY23" fmla="*/ 1022350 h 3294062"/>
                <a:gd name="connsiteX24" fmla="*/ 3409424 w 3540718"/>
                <a:gd name="connsiteY24" fmla="*/ 2438822 h 3294062"/>
                <a:gd name="connsiteX25" fmla="*/ 3409424 w 3540718"/>
                <a:gd name="connsiteY25" fmla="*/ 1860549 h 3294062"/>
                <a:gd name="connsiteX26" fmla="*/ 3136233 w 3540718"/>
                <a:gd name="connsiteY26" fmla="*/ 1547812 h 3294062"/>
                <a:gd name="connsiteX27" fmla="*/ 2506678 w 3540718"/>
                <a:gd name="connsiteY27" fmla="*/ 1547812 h 3294062"/>
                <a:gd name="connsiteX28" fmla="*/ 2256899 w 3540718"/>
                <a:gd name="connsiteY28" fmla="*/ 1825625 h 3294062"/>
                <a:gd name="connsiteX29" fmla="*/ 2256899 w 3540718"/>
                <a:gd name="connsiteY29" fmla="*/ 2428875 h 3294062"/>
                <a:gd name="connsiteX30" fmla="*/ 2510897 w 3540718"/>
                <a:gd name="connsiteY30" fmla="*/ 2803524 h 3294062"/>
                <a:gd name="connsiteX31" fmla="*/ 3117322 w 3540718"/>
                <a:gd name="connsiteY31" fmla="*/ 2803524 h 3294062"/>
                <a:gd name="connsiteX32" fmla="*/ 3409424 w 3540718"/>
                <a:gd name="connsiteY32" fmla="*/ 2438822 h 3294062"/>
                <a:gd name="connsiteX33" fmla="*/ 786801 w 3540718"/>
                <a:gd name="connsiteY33" fmla="*/ 129753 h 3294062"/>
                <a:gd name="connsiteX34" fmla="*/ 2082271 w 3540718"/>
                <a:gd name="connsiteY34" fmla="*/ 1257300 h 3294062"/>
                <a:gd name="connsiteX35" fmla="*/ 1997594 w 3540718"/>
                <a:gd name="connsiteY35" fmla="*/ 1426808 h 3294062"/>
                <a:gd name="connsiteX36" fmla="*/ 729723 w 3540718"/>
                <a:gd name="connsiteY36" fmla="*/ 285749 h 3294062"/>
                <a:gd name="connsiteX37" fmla="*/ 786801 w 3540718"/>
                <a:gd name="connsiteY37" fmla="*/ 129753 h 3294062"/>
                <a:gd name="connsiteX0" fmla="*/ 583671 w 3540718"/>
                <a:gd name="connsiteY0" fmla="*/ 1022350 h 3294062"/>
                <a:gd name="connsiteX1" fmla="*/ 573116 w 3540718"/>
                <a:gd name="connsiteY1" fmla="*/ 357744 h 3294062"/>
                <a:gd name="connsiteX2" fmla="*/ 891646 w 3540718"/>
                <a:gd name="connsiteY2" fmla="*/ 0 h 3294062"/>
                <a:gd name="connsiteX3" fmla="*/ 1929875 w 3540718"/>
                <a:gd name="connsiteY3" fmla="*/ 9529 h 3294062"/>
                <a:gd name="connsiteX4" fmla="*/ 3511023 w 3540718"/>
                <a:gd name="connsiteY4" fmla="*/ 1466860 h 3294062"/>
                <a:gd name="connsiteX5" fmla="*/ 3520549 w 3540718"/>
                <a:gd name="connsiteY5" fmla="*/ 2676934 h 3294062"/>
                <a:gd name="connsiteX6" fmla="*/ 3293852 w 3540718"/>
                <a:gd name="connsiteY6" fmla="*/ 2941637 h 3294062"/>
                <a:gd name="connsiteX7" fmla="*/ 2256899 w 3540718"/>
                <a:gd name="connsiteY7" fmla="*/ 2941637 h 3294062"/>
                <a:gd name="connsiteX8" fmla="*/ 1985437 w 3540718"/>
                <a:gd name="connsiteY8" fmla="*/ 2686685 h 3294062"/>
                <a:gd name="connsiteX9" fmla="*/ 1967971 w 3540718"/>
                <a:gd name="connsiteY9" fmla="*/ 3057525 h 3294062"/>
                <a:gd name="connsiteX10" fmla="*/ 2301346 w 3540718"/>
                <a:gd name="connsiteY10" fmla="*/ 3086100 h 3294062"/>
                <a:gd name="connsiteX11" fmla="*/ 2256899 w 3540718"/>
                <a:gd name="connsiteY11" fmla="*/ 3294062 h 3294062"/>
                <a:gd name="connsiteX12" fmla="*/ 1287886 w 3540718"/>
                <a:gd name="connsiteY12" fmla="*/ 3294062 h 3294062"/>
                <a:gd name="connsiteX13" fmla="*/ 1244071 w 3540718"/>
                <a:gd name="connsiteY13" fmla="*/ 3076575 h 3294062"/>
                <a:gd name="connsiteX14" fmla="*/ 1649437 w 3540718"/>
                <a:gd name="connsiteY14" fmla="*/ 3090318 h 3294062"/>
                <a:gd name="connsiteX15" fmla="*/ 1634598 w 3540718"/>
                <a:gd name="connsiteY15" fmla="*/ 2524131 h 3294062"/>
                <a:gd name="connsiteX16" fmla="*/ 663046 w 3540718"/>
                <a:gd name="connsiteY16" fmla="*/ 1524000 h 3294062"/>
                <a:gd name="connsiteX17" fmla="*/ 567798 w 3540718"/>
                <a:gd name="connsiteY17" fmla="*/ 1209674 h 3294062"/>
                <a:gd name="connsiteX18" fmla="*/ 301097 w 3540718"/>
                <a:gd name="connsiteY18" fmla="*/ 1800224 h 3294062"/>
                <a:gd name="connsiteX19" fmla="*/ 1215499 w 3540718"/>
                <a:gd name="connsiteY19" fmla="*/ 2447924 h 3294062"/>
                <a:gd name="connsiteX20" fmla="*/ 1215496 w 3540718"/>
                <a:gd name="connsiteY20" fmla="*/ 2990850 h 3294062"/>
                <a:gd name="connsiteX21" fmla="*/ 434446 w 3540718"/>
                <a:gd name="connsiteY21" fmla="*/ 2362200 h 3294062"/>
                <a:gd name="connsiteX22" fmla="*/ 110596 w 3540718"/>
                <a:gd name="connsiteY22" fmla="*/ 1371600 h 3294062"/>
                <a:gd name="connsiteX23" fmla="*/ 583671 w 3540718"/>
                <a:gd name="connsiteY23" fmla="*/ 1022350 h 3294062"/>
                <a:gd name="connsiteX24" fmla="*/ 3409424 w 3540718"/>
                <a:gd name="connsiteY24" fmla="*/ 2438822 h 3294062"/>
                <a:gd name="connsiteX25" fmla="*/ 3409424 w 3540718"/>
                <a:gd name="connsiteY25" fmla="*/ 1860549 h 3294062"/>
                <a:gd name="connsiteX26" fmla="*/ 3136233 w 3540718"/>
                <a:gd name="connsiteY26" fmla="*/ 1547812 h 3294062"/>
                <a:gd name="connsiteX27" fmla="*/ 2506678 w 3540718"/>
                <a:gd name="connsiteY27" fmla="*/ 1547812 h 3294062"/>
                <a:gd name="connsiteX28" fmla="*/ 2256899 w 3540718"/>
                <a:gd name="connsiteY28" fmla="*/ 1825625 h 3294062"/>
                <a:gd name="connsiteX29" fmla="*/ 2256899 w 3540718"/>
                <a:gd name="connsiteY29" fmla="*/ 2428875 h 3294062"/>
                <a:gd name="connsiteX30" fmla="*/ 2510897 w 3540718"/>
                <a:gd name="connsiteY30" fmla="*/ 2803524 h 3294062"/>
                <a:gd name="connsiteX31" fmla="*/ 3117322 w 3540718"/>
                <a:gd name="connsiteY31" fmla="*/ 2803524 h 3294062"/>
                <a:gd name="connsiteX32" fmla="*/ 3409424 w 3540718"/>
                <a:gd name="connsiteY32" fmla="*/ 2438822 h 3294062"/>
                <a:gd name="connsiteX33" fmla="*/ 786801 w 3540718"/>
                <a:gd name="connsiteY33" fmla="*/ 129753 h 3294062"/>
                <a:gd name="connsiteX34" fmla="*/ 2082271 w 3540718"/>
                <a:gd name="connsiteY34" fmla="*/ 1257300 h 3294062"/>
                <a:gd name="connsiteX35" fmla="*/ 1997594 w 3540718"/>
                <a:gd name="connsiteY35" fmla="*/ 1426808 h 3294062"/>
                <a:gd name="connsiteX36" fmla="*/ 729723 w 3540718"/>
                <a:gd name="connsiteY36" fmla="*/ 285749 h 3294062"/>
                <a:gd name="connsiteX37" fmla="*/ 786801 w 3540718"/>
                <a:gd name="connsiteY37" fmla="*/ 129753 h 3294062"/>
                <a:gd name="connsiteX0" fmla="*/ 583671 w 3540718"/>
                <a:gd name="connsiteY0" fmla="*/ 1022350 h 3294062"/>
                <a:gd name="connsiteX1" fmla="*/ 573116 w 3540718"/>
                <a:gd name="connsiteY1" fmla="*/ 357744 h 3294062"/>
                <a:gd name="connsiteX2" fmla="*/ 891646 w 3540718"/>
                <a:gd name="connsiteY2" fmla="*/ 0 h 3294062"/>
                <a:gd name="connsiteX3" fmla="*/ 1929875 w 3540718"/>
                <a:gd name="connsiteY3" fmla="*/ 9529 h 3294062"/>
                <a:gd name="connsiteX4" fmla="*/ 3511023 w 3540718"/>
                <a:gd name="connsiteY4" fmla="*/ 1466860 h 3294062"/>
                <a:gd name="connsiteX5" fmla="*/ 3520549 w 3540718"/>
                <a:gd name="connsiteY5" fmla="*/ 2676934 h 3294062"/>
                <a:gd name="connsiteX6" fmla="*/ 3293852 w 3540718"/>
                <a:gd name="connsiteY6" fmla="*/ 2941637 h 3294062"/>
                <a:gd name="connsiteX7" fmla="*/ 2256899 w 3540718"/>
                <a:gd name="connsiteY7" fmla="*/ 2941637 h 3294062"/>
                <a:gd name="connsiteX8" fmla="*/ 1985437 w 3540718"/>
                <a:gd name="connsiteY8" fmla="*/ 2686685 h 3294062"/>
                <a:gd name="connsiteX9" fmla="*/ 1967971 w 3540718"/>
                <a:gd name="connsiteY9" fmla="*/ 3057525 h 3294062"/>
                <a:gd name="connsiteX10" fmla="*/ 2301346 w 3540718"/>
                <a:gd name="connsiteY10" fmla="*/ 3086100 h 3294062"/>
                <a:gd name="connsiteX11" fmla="*/ 2256899 w 3540718"/>
                <a:gd name="connsiteY11" fmla="*/ 3294062 h 3294062"/>
                <a:gd name="connsiteX12" fmla="*/ 1287886 w 3540718"/>
                <a:gd name="connsiteY12" fmla="*/ 3294062 h 3294062"/>
                <a:gd name="connsiteX13" fmla="*/ 1251691 w 3540718"/>
                <a:gd name="connsiteY13" fmla="*/ 3103561 h 3294062"/>
                <a:gd name="connsiteX14" fmla="*/ 1649437 w 3540718"/>
                <a:gd name="connsiteY14" fmla="*/ 3090318 h 3294062"/>
                <a:gd name="connsiteX15" fmla="*/ 1634598 w 3540718"/>
                <a:gd name="connsiteY15" fmla="*/ 2524131 h 3294062"/>
                <a:gd name="connsiteX16" fmla="*/ 663046 w 3540718"/>
                <a:gd name="connsiteY16" fmla="*/ 1524000 h 3294062"/>
                <a:gd name="connsiteX17" fmla="*/ 567798 w 3540718"/>
                <a:gd name="connsiteY17" fmla="*/ 1209674 h 3294062"/>
                <a:gd name="connsiteX18" fmla="*/ 301097 w 3540718"/>
                <a:gd name="connsiteY18" fmla="*/ 1800224 h 3294062"/>
                <a:gd name="connsiteX19" fmla="*/ 1215499 w 3540718"/>
                <a:gd name="connsiteY19" fmla="*/ 2447924 h 3294062"/>
                <a:gd name="connsiteX20" fmla="*/ 1215496 w 3540718"/>
                <a:gd name="connsiteY20" fmla="*/ 2990850 h 3294062"/>
                <a:gd name="connsiteX21" fmla="*/ 434446 w 3540718"/>
                <a:gd name="connsiteY21" fmla="*/ 2362200 h 3294062"/>
                <a:gd name="connsiteX22" fmla="*/ 110596 w 3540718"/>
                <a:gd name="connsiteY22" fmla="*/ 1371600 h 3294062"/>
                <a:gd name="connsiteX23" fmla="*/ 583671 w 3540718"/>
                <a:gd name="connsiteY23" fmla="*/ 1022350 h 3294062"/>
                <a:gd name="connsiteX24" fmla="*/ 3409424 w 3540718"/>
                <a:gd name="connsiteY24" fmla="*/ 2438822 h 3294062"/>
                <a:gd name="connsiteX25" fmla="*/ 3409424 w 3540718"/>
                <a:gd name="connsiteY25" fmla="*/ 1860549 h 3294062"/>
                <a:gd name="connsiteX26" fmla="*/ 3136233 w 3540718"/>
                <a:gd name="connsiteY26" fmla="*/ 1547812 h 3294062"/>
                <a:gd name="connsiteX27" fmla="*/ 2506678 w 3540718"/>
                <a:gd name="connsiteY27" fmla="*/ 1547812 h 3294062"/>
                <a:gd name="connsiteX28" fmla="*/ 2256899 w 3540718"/>
                <a:gd name="connsiteY28" fmla="*/ 1825625 h 3294062"/>
                <a:gd name="connsiteX29" fmla="*/ 2256899 w 3540718"/>
                <a:gd name="connsiteY29" fmla="*/ 2428875 h 3294062"/>
                <a:gd name="connsiteX30" fmla="*/ 2510897 w 3540718"/>
                <a:gd name="connsiteY30" fmla="*/ 2803524 h 3294062"/>
                <a:gd name="connsiteX31" fmla="*/ 3117322 w 3540718"/>
                <a:gd name="connsiteY31" fmla="*/ 2803524 h 3294062"/>
                <a:gd name="connsiteX32" fmla="*/ 3409424 w 3540718"/>
                <a:gd name="connsiteY32" fmla="*/ 2438822 h 3294062"/>
                <a:gd name="connsiteX33" fmla="*/ 786801 w 3540718"/>
                <a:gd name="connsiteY33" fmla="*/ 129753 h 3294062"/>
                <a:gd name="connsiteX34" fmla="*/ 2082271 w 3540718"/>
                <a:gd name="connsiteY34" fmla="*/ 1257300 h 3294062"/>
                <a:gd name="connsiteX35" fmla="*/ 1997594 w 3540718"/>
                <a:gd name="connsiteY35" fmla="*/ 1426808 h 3294062"/>
                <a:gd name="connsiteX36" fmla="*/ 729723 w 3540718"/>
                <a:gd name="connsiteY36" fmla="*/ 285749 h 3294062"/>
                <a:gd name="connsiteX37" fmla="*/ 786801 w 3540718"/>
                <a:gd name="connsiteY37" fmla="*/ 129753 h 3294062"/>
                <a:gd name="connsiteX0" fmla="*/ 583671 w 3540718"/>
                <a:gd name="connsiteY0" fmla="*/ 1022350 h 3294062"/>
                <a:gd name="connsiteX1" fmla="*/ 573116 w 3540718"/>
                <a:gd name="connsiteY1" fmla="*/ 357744 h 3294062"/>
                <a:gd name="connsiteX2" fmla="*/ 891646 w 3540718"/>
                <a:gd name="connsiteY2" fmla="*/ 0 h 3294062"/>
                <a:gd name="connsiteX3" fmla="*/ 1929875 w 3540718"/>
                <a:gd name="connsiteY3" fmla="*/ 9529 h 3294062"/>
                <a:gd name="connsiteX4" fmla="*/ 3511023 w 3540718"/>
                <a:gd name="connsiteY4" fmla="*/ 1466860 h 3294062"/>
                <a:gd name="connsiteX5" fmla="*/ 3520549 w 3540718"/>
                <a:gd name="connsiteY5" fmla="*/ 2676934 h 3294062"/>
                <a:gd name="connsiteX6" fmla="*/ 3293852 w 3540718"/>
                <a:gd name="connsiteY6" fmla="*/ 2941637 h 3294062"/>
                <a:gd name="connsiteX7" fmla="*/ 2256899 w 3540718"/>
                <a:gd name="connsiteY7" fmla="*/ 2941637 h 3294062"/>
                <a:gd name="connsiteX8" fmla="*/ 1985437 w 3540718"/>
                <a:gd name="connsiteY8" fmla="*/ 2686685 h 3294062"/>
                <a:gd name="connsiteX9" fmla="*/ 1967971 w 3540718"/>
                <a:gd name="connsiteY9" fmla="*/ 3057525 h 3294062"/>
                <a:gd name="connsiteX10" fmla="*/ 2301346 w 3540718"/>
                <a:gd name="connsiteY10" fmla="*/ 3086100 h 3294062"/>
                <a:gd name="connsiteX11" fmla="*/ 2256899 w 3540718"/>
                <a:gd name="connsiteY11" fmla="*/ 3294062 h 3294062"/>
                <a:gd name="connsiteX12" fmla="*/ 1287886 w 3540718"/>
                <a:gd name="connsiteY12" fmla="*/ 3294062 h 3294062"/>
                <a:gd name="connsiteX13" fmla="*/ 1251691 w 3540718"/>
                <a:gd name="connsiteY13" fmla="*/ 3103561 h 3294062"/>
                <a:gd name="connsiteX14" fmla="*/ 1675874 w 3540718"/>
                <a:gd name="connsiteY14" fmla="*/ 3103561 h 3294062"/>
                <a:gd name="connsiteX15" fmla="*/ 1634598 w 3540718"/>
                <a:gd name="connsiteY15" fmla="*/ 2524131 h 3294062"/>
                <a:gd name="connsiteX16" fmla="*/ 663046 w 3540718"/>
                <a:gd name="connsiteY16" fmla="*/ 1524000 h 3294062"/>
                <a:gd name="connsiteX17" fmla="*/ 567798 w 3540718"/>
                <a:gd name="connsiteY17" fmla="*/ 1209674 h 3294062"/>
                <a:gd name="connsiteX18" fmla="*/ 301097 w 3540718"/>
                <a:gd name="connsiteY18" fmla="*/ 1800224 h 3294062"/>
                <a:gd name="connsiteX19" fmla="*/ 1215499 w 3540718"/>
                <a:gd name="connsiteY19" fmla="*/ 2447924 h 3294062"/>
                <a:gd name="connsiteX20" fmla="*/ 1215496 w 3540718"/>
                <a:gd name="connsiteY20" fmla="*/ 2990850 h 3294062"/>
                <a:gd name="connsiteX21" fmla="*/ 434446 w 3540718"/>
                <a:gd name="connsiteY21" fmla="*/ 2362200 h 3294062"/>
                <a:gd name="connsiteX22" fmla="*/ 110596 w 3540718"/>
                <a:gd name="connsiteY22" fmla="*/ 1371600 h 3294062"/>
                <a:gd name="connsiteX23" fmla="*/ 583671 w 3540718"/>
                <a:gd name="connsiteY23" fmla="*/ 1022350 h 3294062"/>
                <a:gd name="connsiteX24" fmla="*/ 3409424 w 3540718"/>
                <a:gd name="connsiteY24" fmla="*/ 2438822 h 3294062"/>
                <a:gd name="connsiteX25" fmla="*/ 3409424 w 3540718"/>
                <a:gd name="connsiteY25" fmla="*/ 1860549 h 3294062"/>
                <a:gd name="connsiteX26" fmla="*/ 3136233 w 3540718"/>
                <a:gd name="connsiteY26" fmla="*/ 1547812 h 3294062"/>
                <a:gd name="connsiteX27" fmla="*/ 2506678 w 3540718"/>
                <a:gd name="connsiteY27" fmla="*/ 1547812 h 3294062"/>
                <a:gd name="connsiteX28" fmla="*/ 2256899 w 3540718"/>
                <a:gd name="connsiteY28" fmla="*/ 1825625 h 3294062"/>
                <a:gd name="connsiteX29" fmla="*/ 2256899 w 3540718"/>
                <a:gd name="connsiteY29" fmla="*/ 2428875 h 3294062"/>
                <a:gd name="connsiteX30" fmla="*/ 2510897 w 3540718"/>
                <a:gd name="connsiteY30" fmla="*/ 2803524 h 3294062"/>
                <a:gd name="connsiteX31" fmla="*/ 3117322 w 3540718"/>
                <a:gd name="connsiteY31" fmla="*/ 2803524 h 3294062"/>
                <a:gd name="connsiteX32" fmla="*/ 3409424 w 3540718"/>
                <a:gd name="connsiteY32" fmla="*/ 2438822 h 3294062"/>
                <a:gd name="connsiteX33" fmla="*/ 786801 w 3540718"/>
                <a:gd name="connsiteY33" fmla="*/ 129753 h 3294062"/>
                <a:gd name="connsiteX34" fmla="*/ 2082271 w 3540718"/>
                <a:gd name="connsiteY34" fmla="*/ 1257300 h 3294062"/>
                <a:gd name="connsiteX35" fmla="*/ 1997594 w 3540718"/>
                <a:gd name="connsiteY35" fmla="*/ 1426808 h 3294062"/>
                <a:gd name="connsiteX36" fmla="*/ 729723 w 3540718"/>
                <a:gd name="connsiteY36" fmla="*/ 285749 h 3294062"/>
                <a:gd name="connsiteX37" fmla="*/ 786801 w 3540718"/>
                <a:gd name="connsiteY37" fmla="*/ 129753 h 3294062"/>
                <a:gd name="connsiteX0" fmla="*/ 583671 w 3540718"/>
                <a:gd name="connsiteY0" fmla="*/ 1022350 h 3294062"/>
                <a:gd name="connsiteX1" fmla="*/ 573116 w 3540718"/>
                <a:gd name="connsiteY1" fmla="*/ 357744 h 3294062"/>
                <a:gd name="connsiteX2" fmla="*/ 891646 w 3540718"/>
                <a:gd name="connsiteY2" fmla="*/ 0 h 3294062"/>
                <a:gd name="connsiteX3" fmla="*/ 1929875 w 3540718"/>
                <a:gd name="connsiteY3" fmla="*/ 9529 h 3294062"/>
                <a:gd name="connsiteX4" fmla="*/ 3511023 w 3540718"/>
                <a:gd name="connsiteY4" fmla="*/ 1466860 h 3294062"/>
                <a:gd name="connsiteX5" fmla="*/ 3520549 w 3540718"/>
                <a:gd name="connsiteY5" fmla="*/ 2676934 h 3294062"/>
                <a:gd name="connsiteX6" fmla="*/ 3293852 w 3540718"/>
                <a:gd name="connsiteY6" fmla="*/ 2941637 h 3294062"/>
                <a:gd name="connsiteX7" fmla="*/ 2256899 w 3540718"/>
                <a:gd name="connsiteY7" fmla="*/ 2941637 h 3294062"/>
                <a:gd name="connsiteX8" fmla="*/ 1985437 w 3540718"/>
                <a:gd name="connsiteY8" fmla="*/ 2686685 h 3294062"/>
                <a:gd name="connsiteX9" fmla="*/ 1985437 w 3540718"/>
                <a:gd name="connsiteY9" fmla="*/ 3103561 h 3294062"/>
                <a:gd name="connsiteX10" fmla="*/ 2301346 w 3540718"/>
                <a:gd name="connsiteY10" fmla="*/ 3086100 h 3294062"/>
                <a:gd name="connsiteX11" fmla="*/ 2256899 w 3540718"/>
                <a:gd name="connsiteY11" fmla="*/ 3294062 h 3294062"/>
                <a:gd name="connsiteX12" fmla="*/ 1287886 w 3540718"/>
                <a:gd name="connsiteY12" fmla="*/ 3294062 h 3294062"/>
                <a:gd name="connsiteX13" fmla="*/ 1251691 w 3540718"/>
                <a:gd name="connsiteY13" fmla="*/ 3103561 h 3294062"/>
                <a:gd name="connsiteX14" fmla="*/ 1675874 w 3540718"/>
                <a:gd name="connsiteY14" fmla="*/ 3103561 h 3294062"/>
                <a:gd name="connsiteX15" fmla="*/ 1634598 w 3540718"/>
                <a:gd name="connsiteY15" fmla="*/ 2524131 h 3294062"/>
                <a:gd name="connsiteX16" fmla="*/ 663046 w 3540718"/>
                <a:gd name="connsiteY16" fmla="*/ 1524000 h 3294062"/>
                <a:gd name="connsiteX17" fmla="*/ 567798 w 3540718"/>
                <a:gd name="connsiteY17" fmla="*/ 1209674 h 3294062"/>
                <a:gd name="connsiteX18" fmla="*/ 301097 w 3540718"/>
                <a:gd name="connsiteY18" fmla="*/ 1800224 h 3294062"/>
                <a:gd name="connsiteX19" fmla="*/ 1215499 w 3540718"/>
                <a:gd name="connsiteY19" fmla="*/ 2447924 h 3294062"/>
                <a:gd name="connsiteX20" fmla="*/ 1215496 w 3540718"/>
                <a:gd name="connsiteY20" fmla="*/ 2990850 h 3294062"/>
                <a:gd name="connsiteX21" fmla="*/ 434446 w 3540718"/>
                <a:gd name="connsiteY21" fmla="*/ 2362200 h 3294062"/>
                <a:gd name="connsiteX22" fmla="*/ 110596 w 3540718"/>
                <a:gd name="connsiteY22" fmla="*/ 1371600 h 3294062"/>
                <a:gd name="connsiteX23" fmla="*/ 583671 w 3540718"/>
                <a:gd name="connsiteY23" fmla="*/ 1022350 h 3294062"/>
                <a:gd name="connsiteX24" fmla="*/ 3409424 w 3540718"/>
                <a:gd name="connsiteY24" fmla="*/ 2438822 h 3294062"/>
                <a:gd name="connsiteX25" fmla="*/ 3409424 w 3540718"/>
                <a:gd name="connsiteY25" fmla="*/ 1860549 h 3294062"/>
                <a:gd name="connsiteX26" fmla="*/ 3136233 w 3540718"/>
                <a:gd name="connsiteY26" fmla="*/ 1547812 h 3294062"/>
                <a:gd name="connsiteX27" fmla="*/ 2506678 w 3540718"/>
                <a:gd name="connsiteY27" fmla="*/ 1547812 h 3294062"/>
                <a:gd name="connsiteX28" fmla="*/ 2256899 w 3540718"/>
                <a:gd name="connsiteY28" fmla="*/ 1825625 h 3294062"/>
                <a:gd name="connsiteX29" fmla="*/ 2256899 w 3540718"/>
                <a:gd name="connsiteY29" fmla="*/ 2428875 h 3294062"/>
                <a:gd name="connsiteX30" fmla="*/ 2510897 w 3540718"/>
                <a:gd name="connsiteY30" fmla="*/ 2803524 h 3294062"/>
                <a:gd name="connsiteX31" fmla="*/ 3117322 w 3540718"/>
                <a:gd name="connsiteY31" fmla="*/ 2803524 h 3294062"/>
                <a:gd name="connsiteX32" fmla="*/ 3409424 w 3540718"/>
                <a:gd name="connsiteY32" fmla="*/ 2438822 h 3294062"/>
                <a:gd name="connsiteX33" fmla="*/ 786801 w 3540718"/>
                <a:gd name="connsiteY33" fmla="*/ 129753 h 3294062"/>
                <a:gd name="connsiteX34" fmla="*/ 2082271 w 3540718"/>
                <a:gd name="connsiteY34" fmla="*/ 1257300 h 3294062"/>
                <a:gd name="connsiteX35" fmla="*/ 1997594 w 3540718"/>
                <a:gd name="connsiteY35" fmla="*/ 1426808 h 3294062"/>
                <a:gd name="connsiteX36" fmla="*/ 729723 w 3540718"/>
                <a:gd name="connsiteY36" fmla="*/ 285749 h 3294062"/>
                <a:gd name="connsiteX37" fmla="*/ 786801 w 3540718"/>
                <a:gd name="connsiteY37" fmla="*/ 129753 h 3294062"/>
                <a:gd name="connsiteX0" fmla="*/ 583671 w 3540718"/>
                <a:gd name="connsiteY0" fmla="*/ 1022350 h 3294062"/>
                <a:gd name="connsiteX1" fmla="*/ 573116 w 3540718"/>
                <a:gd name="connsiteY1" fmla="*/ 357744 h 3294062"/>
                <a:gd name="connsiteX2" fmla="*/ 891646 w 3540718"/>
                <a:gd name="connsiteY2" fmla="*/ 0 h 3294062"/>
                <a:gd name="connsiteX3" fmla="*/ 1929875 w 3540718"/>
                <a:gd name="connsiteY3" fmla="*/ 9529 h 3294062"/>
                <a:gd name="connsiteX4" fmla="*/ 3511023 w 3540718"/>
                <a:gd name="connsiteY4" fmla="*/ 1466860 h 3294062"/>
                <a:gd name="connsiteX5" fmla="*/ 3520549 w 3540718"/>
                <a:gd name="connsiteY5" fmla="*/ 2676934 h 3294062"/>
                <a:gd name="connsiteX6" fmla="*/ 3293852 w 3540718"/>
                <a:gd name="connsiteY6" fmla="*/ 2941637 h 3294062"/>
                <a:gd name="connsiteX7" fmla="*/ 2256899 w 3540718"/>
                <a:gd name="connsiteY7" fmla="*/ 2941637 h 3294062"/>
                <a:gd name="connsiteX8" fmla="*/ 1985437 w 3540718"/>
                <a:gd name="connsiteY8" fmla="*/ 2686685 h 3294062"/>
                <a:gd name="connsiteX9" fmla="*/ 1985437 w 3540718"/>
                <a:gd name="connsiteY9" fmla="*/ 3103561 h 3294062"/>
                <a:gd name="connsiteX10" fmla="*/ 2256899 w 3540718"/>
                <a:gd name="connsiteY10" fmla="*/ 3103561 h 3294062"/>
                <a:gd name="connsiteX11" fmla="*/ 2256899 w 3540718"/>
                <a:gd name="connsiteY11" fmla="*/ 3294062 h 3294062"/>
                <a:gd name="connsiteX12" fmla="*/ 1287886 w 3540718"/>
                <a:gd name="connsiteY12" fmla="*/ 3294062 h 3294062"/>
                <a:gd name="connsiteX13" fmla="*/ 1251691 w 3540718"/>
                <a:gd name="connsiteY13" fmla="*/ 3103561 h 3294062"/>
                <a:gd name="connsiteX14" fmla="*/ 1675874 w 3540718"/>
                <a:gd name="connsiteY14" fmla="*/ 3103561 h 3294062"/>
                <a:gd name="connsiteX15" fmla="*/ 1634598 w 3540718"/>
                <a:gd name="connsiteY15" fmla="*/ 2524131 h 3294062"/>
                <a:gd name="connsiteX16" fmla="*/ 663046 w 3540718"/>
                <a:gd name="connsiteY16" fmla="*/ 1524000 h 3294062"/>
                <a:gd name="connsiteX17" fmla="*/ 567798 w 3540718"/>
                <a:gd name="connsiteY17" fmla="*/ 1209674 h 3294062"/>
                <a:gd name="connsiteX18" fmla="*/ 301097 w 3540718"/>
                <a:gd name="connsiteY18" fmla="*/ 1800224 h 3294062"/>
                <a:gd name="connsiteX19" fmla="*/ 1215499 w 3540718"/>
                <a:gd name="connsiteY19" fmla="*/ 2447924 h 3294062"/>
                <a:gd name="connsiteX20" fmla="*/ 1215496 w 3540718"/>
                <a:gd name="connsiteY20" fmla="*/ 2990850 h 3294062"/>
                <a:gd name="connsiteX21" fmla="*/ 434446 w 3540718"/>
                <a:gd name="connsiteY21" fmla="*/ 2362200 h 3294062"/>
                <a:gd name="connsiteX22" fmla="*/ 110596 w 3540718"/>
                <a:gd name="connsiteY22" fmla="*/ 1371600 h 3294062"/>
                <a:gd name="connsiteX23" fmla="*/ 583671 w 3540718"/>
                <a:gd name="connsiteY23" fmla="*/ 1022350 h 3294062"/>
                <a:gd name="connsiteX24" fmla="*/ 3409424 w 3540718"/>
                <a:gd name="connsiteY24" fmla="*/ 2438822 h 3294062"/>
                <a:gd name="connsiteX25" fmla="*/ 3409424 w 3540718"/>
                <a:gd name="connsiteY25" fmla="*/ 1860549 h 3294062"/>
                <a:gd name="connsiteX26" fmla="*/ 3136233 w 3540718"/>
                <a:gd name="connsiteY26" fmla="*/ 1547812 h 3294062"/>
                <a:gd name="connsiteX27" fmla="*/ 2506678 w 3540718"/>
                <a:gd name="connsiteY27" fmla="*/ 1547812 h 3294062"/>
                <a:gd name="connsiteX28" fmla="*/ 2256899 w 3540718"/>
                <a:gd name="connsiteY28" fmla="*/ 1825625 h 3294062"/>
                <a:gd name="connsiteX29" fmla="*/ 2256899 w 3540718"/>
                <a:gd name="connsiteY29" fmla="*/ 2428875 h 3294062"/>
                <a:gd name="connsiteX30" fmla="*/ 2510897 w 3540718"/>
                <a:gd name="connsiteY30" fmla="*/ 2803524 h 3294062"/>
                <a:gd name="connsiteX31" fmla="*/ 3117322 w 3540718"/>
                <a:gd name="connsiteY31" fmla="*/ 2803524 h 3294062"/>
                <a:gd name="connsiteX32" fmla="*/ 3409424 w 3540718"/>
                <a:gd name="connsiteY32" fmla="*/ 2438822 h 3294062"/>
                <a:gd name="connsiteX33" fmla="*/ 786801 w 3540718"/>
                <a:gd name="connsiteY33" fmla="*/ 129753 h 3294062"/>
                <a:gd name="connsiteX34" fmla="*/ 2082271 w 3540718"/>
                <a:gd name="connsiteY34" fmla="*/ 1257300 h 3294062"/>
                <a:gd name="connsiteX35" fmla="*/ 1997594 w 3540718"/>
                <a:gd name="connsiteY35" fmla="*/ 1426808 h 3294062"/>
                <a:gd name="connsiteX36" fmla="*/ 729723 w 3540718"/>
                <a:gd name="connsiteY36" fmla="*/ 285749 h 3294062"/>
                <a:gd name="connsiteX37" fmla="*/ 786801 w 3540718"/>
                <a:gd name="connsiteY37" fmla="*/ 129753 h 3294062"/>
                <a:gd name="connsiteX0" fmla="*/ 583671 w 3540718"/>
                <a:gd name="connsiteY0" fmla="*/ 1022350 h 3294062"/>
                <a:gd name="connsiteX1" fmla="*/ 573116 w 3540718"/>
                <a:gd name="connsiteY1" fmla="*/ 357744 h 3294062"/>
                <a:gd name="connsiteX2" fmla="*/ 891646 w 3540718"/>
                <a:gd name="connsiteY2" fmla="*/ 0 h 3294062"/>
                <a:gd name="connsiteX3" fmla="*/ 1929875 w 3540718"/>
                <a:gd name="connsiteY3" fmla="*/ 9529 h 3294062"/>
                <a:gd name="connsiteX4" fmla="*/ 3511023 w 3540718"/>
                <a:gd name="connsiteY4" fmla="*/ 1466860 h 3294062"/>
                <a:gd name="connsiteX5" fmla="*/ 3520549 w 3540718"/>
                <a:gd name="connsiteY5" fmla="*/ 2676934 h 3294062"/>
                <a:gd name="connsiteX6" fmla="*/ 3293852 w 3540718"/>
                <a:gd name="connsiteY6" fmla="*/ 2941637 h 3294062"/>
                <a:gd name="connsiteX7" fmla="*/ 2256899 w 3540718"/>
                <a:gd name="connsiteY7" fmla="*/ 2941637 h 3294062"/>
                <a:gd name="connsiteX8" fmla="*/ 1985437 w 3540718"/>
                <a:gd name="connsiteY8" fmla="*/ 2686685 h 3294062"/>
                <a:gd name="connsiteX9" fmla="*/ 1985437 w 3540718"/>
                <a:gd name="connsiteY9" fmla="*/ 3103561 h 3294062"/>
                <a:gd name="connsiteX10" fmla="*/ 2256899 w 3540718"/>
                <a:gd name="connsiteY10" fmla="*/ 3103561 h 3294062"/>
                <a:gd name="connsiteX11" fmla="*/ 2256899 w 3540718"/>
                <a:gd name="connsiteY11" fmla="*/ 3294062 h 3294062"/>
                <a:gd name="connsiteX12" fmla="*/ 1287886 w 3540718"/>
                <a:gd name="connsiteY12" fmla="*/ 3294062 h 3294062"/>
                <a:gd name="connsiteX13" fmla="*/ 1251691 w 3540718"/>
                <a:gd name="connsiteY13" fmla="*/ 3103561 h 3294062"/>
                <a:gd name="connsiteX14" fmla="*/ 1675874 w 3540718"/>
                <a:gd name="connsiteY14" fmla="*/ 3103561 h 3294062"/>
                <a:gd name="connsiteX15" fmla="*/ 1634598 w 3540718"/>
                <a:gd name="connsiteY15" fmla="*/ 2524131 h 3294062"/>
                <a:gd name="connsiteX16" fmla="*/ 663046 w 3540718"/>
                <a:gd name="connsiteY16" fmla="*/ 1524000 h 3294062"/>
                <a:gd name="connsiteX17" fmla="*/ 567798 w 3540718"/>
                <a:gd name="connsiteY17" fmla="*/ 1209674 h 3294062"/>
                <a:gd name="connsiteX18" fmla="*/ 301097 w 3540718"/>
                <a:gd name="connsiteY18" fmla="*/ 1800224 h 3294062"/>
                <a:gd name="connsiteX19" fmla="*/ 1215499 w 3540718"/>
                <a:gd name="connsiteY19" fmla="*/ 2447924 h 3294062"/>
                <a:gd name="connsiteX20" fmla="*/ 1215496 w 3540718"/>
                <a:gd name="connsiteY20" fmla="*/ 2990850 h 3294062"/>
                <a:gd name="connsiteX21" fmla="*/ 434446 w 3540718"/>
                <a:gd name="connsiteY21" fmla="*/ 2362200 h 3294062"/>
                <a:gd name="connsiteX22" fmla="*/ 110596 w 3540718"/>
                <a:gd name="connsiteY22" fmla="*/ 1371600 h 3294062"/>
                <a:gd name="connsiteX23" fmla="*/ 583671 w 3540718"/>
                <a:gd name="connsiteY23" fmla="*/ 1022350 h 3294062"/>
                <a:gd name="connsiteX24" fmla="*/ 3409424 w 3540718"/>
                <a:gd name="connsiteY24" fmla="*/ 2438822 h 3294062"/>
                <a:gd name="connsiteX25" fmla="*/ 3409424 w 3540718"/>
                <a:gd name="connsiteY25" fmla="*/ 1860549 h 3294062"/>
                <a:gd name="connsiteX26" fmla="*/ 3136233 w 3540718"/>
                <a:gd name="connsiteY26" fmla="*/ 1547812 h 3294062"/>
                <a:gd name="connsiteX27" fmla="*/ 2506678 w 3540718"/>
                <a:gd name="connsiteY27" fmla="*/ 1547812 h 3294062"/>
                <a:gd name="connsiteX28" fmla="*/ 2256899 w 3540718"/>
                <a:gd name="connsiteY28" fmla="*/ 1825625 h 3294062"/>
                <a:gd name="connsiteX29" fmla="*/ 2256899 w 3540718"/>
                <a:gd name="connsiteY29" fmla="*/ 2428875 h 3294062"/>
                <a:gd name="connsiteX30" fmla="*/ 2510897 w 3540718"/>
                <a:gd name="connsiteY30" fmla="*/ 2803524 h 3294062"/>
                <a:gd name="connsiteX31" fmla="*/ 3117322 w 3540718"/>
                <a:gd name="connsiteY31" fmla="*/ 2803524 h 3294062"/>
                <a:gd name="connsiteX32" fmla="*/ 3409424 w 3540718"/>
                <a:gd name="connsiteY32" fmla="*/ 2438822 h 3294062"/>
                <a:gd name="connsiteX33" fmla="*/ 786801 w 3540718"/>
                <a:gd name="connsiteY33" fmla="*/ 129753 h 3294062"/>
                <a:gd name="connsiteX34" fmla="*/ 2082271 w 3540718"/>
                <a:gd name="connsiteY34" fmla="*/ 1257300 h 3294062"/>
                <a:gd name="connsiteX35" fmla="*/ 1997594 w 3540718"/>
                <a:gd name="connsiteY35" fmla="*/ 1426808 h 3294062"/>
                <a:gd name="connsiteX36" fmla="*/ 729723 w 3540718"/>
                <a:gd name="connsiteY36" fmla="*/ 285749 h 3294062"/>
                <a:gd name="connsiteX37" fmla="*/ 786801 w 3540718"/>
                <a:gd name="connsiteY37" fmla="*/ 129753 h 3294062"/>
                <a:gd name="connsiteX0" fmla="*/ 583671 w 3540718"/>
                <a:gd name="connsiteY0" fmla="*/ 1022350 h 3294062"/>
                <a:gd name="connsiteX1" fmla="*/ 573116 w 3540718"/>
                <a:gd name="connsiteY1" fmla="*/ 357744 h 3294062"/>
                <a:gd name="connsiteX2" fmla="*/ 891646 w 3540718"/>
                <a:gd name="connsiteY2" fmla="*/ 0 h 3294062"/>
                <a:gd name="connsiteX3" fmla="*/ 1929875 w 3540718"/>
                <a:gd name="connsiteY3" fmla="*/ 9529 h 3294062"/>
                <a:gd name="connsiteX4" fmla="*/ 3511023 w 3540718"/>
                <a:gd name="connsiteY4" fmla="*/ 1466860 h 3294062"/>
                <a:gd name="connsiteX5" fmla="*/ 3520549 w 3540718"/>
                <a:gd name="connsiteY5" fmla="*/ 2676934 h 3294062"/>
                <a:gd name="connsiteX6" fmla="*/ 3293852 w 3540718"/>
                <a:gd name="connsiteY6" fmla="*/ 2941637 h 3294062"/>
                <a:gd name="connsiteX7" fmla="*/ 2256899 w 3540718"/>
                <a:gd name="connsiteY7" fmla="*/ 2941637 h 3294062"/>
                <a:gd name="connsiteX8" fmla="*/ 1985437 w 3540718"/>
                <a:gd name="connsiteY8" fmla="*/ 2686685 h 3294062"/>
                <a:gd name="connsiteX9" fmla="*/ 1985437 w 3540718"/>
                <a:gd name="connsiteY9" fmla="*/ 3103561 h 3294062"/>
                <a:gd name="connsiteX10" fmla="*/ 2256899 w 3540718"/>
                <a:gd name="connsiteY10" fmla="*/ 3103561 h 3294062"/>
                <a:gd name="connsiteX11" fmla="*/ 2256899 w 3540718"/>
                <a:gd name="connsiteY11" fmla="*/ 3294062 h 3294062"/>
                <a:gd name="connsiteX12" fmla="*/ 1287886 w 3540718"/>
                <a:gd name="connsiteY12" fmla="*/ 3294062 h 3294062"/>
                <a:gd name="connsiteX13" fmla="*/ 1251691 w 3540718"/>
                <a:gd name="connsiteY13" fmla="*/ 3103561 h 3294062"/>
                <a:gd name="connsiteX14" fmla="*/ 1675874 w 3540718"/>
                <a:gd name="connsiteY14" fmla="*/ 3103561 h 3294062"/>
                <a:gd name="connsiteX15" fmla="*/ 1634598 w 3540718"/>
                <a:gd name="connsiteY15" fmla="*/ 2524131 h 3294062"/>
                <a:gd name="connsiteX16" fmla="*/ 663046 w 3540718"/>
                <a:gd name="connsiteY16" fmla="*/ 1524000 h 3294062"/>
                <a:gd name="connsiteX17" fmla="*/ 567798 w 3540718"/>
                <a:gd name="connsiteY17" fmla="*/ 1209674 h 3294062"/>
                <a:gd name="connsiteX18" fmla="*/ 301097 w 3540718"/>
                <a:gd name="connsiteY18" fmla="*/ 1800224 h 3294062"/>
                <a:gd name="connsiteX19" fmla="*/ 1215499 w 3540718"/>
                <a:gd name="connsiteY19" fmla="*/ 2447924 h 3294062"/>
                <a:gd name="connsiteX20" fmla="*/ 1215496 w 3540718"/>
                <a:gd name="connsiteY20" fmla="*/ 2990850 h 3294062"/>
                <a:gd name="connsiteX21" fmla="*/ 434446 w 3540718"/>
                <a:gd name="connsiteY21" fmla="*/ 2362200 h 3294062"/>
                <a:gd name="connsiteX22" fmla="*/ 110596 w 3540718"/>
                <a:gd name="connsiteY22" fmla="*/ 1371600 h 3294062"/>
                <a:gd name="connsiteX23" fmla="*/ 583671 w 3540718"/>
                <a:gd name="connsiteY23" fmla="*/ 1022350 h 3294062"/>
                <a:gd name="connsiteX24" fmla="*/ 3409424 w 3540718"/>
                <a:gd name="connsiteY24" fmla="*/ 2438822 h 3294062"/>
                <a:gd name="connsiteX25" fmla="*/ 3409424 w 3540718"/>
                <a:gd name="connsiteY25" fmla="*/ 1860549 h 3294062"/>
                <a:gd name="connsiteX26" fmla="*/ 3136233 w 3540718"/>
                <a:gd name="connsiteY26" fmla="*/ 1547812 h 3294062"/>
                <a:gd name="connsiteX27" fmla="*/ 2506678 w 3540718"/>
                <a:gd name="connsiteY27" fmla="*/ 1547812 h 3294062"/>
                <a:gd name="connsiteX28" fmla="*/ 2256899 w 3540718"/>
                <a:gd name="connsiteY28" fmla="*/ 1825625 h 3294062"/>
                <a:gd name="connsiteX29" fmla="*/ 2256899 w 3540718"/>
                <a:gd name="connsiteY29" fmla="*/ 2428875 h 3294062"/>
                <a:gd name="connsiteX30" fmla="*/ 2510897 w 3540718"/>
                <a:gd name="connsiteY30" fmla="*/ 2803524 h 3294062"/>
                <a:gd name="connsiteX31" fmla="*/ 3117322 w 3540718"/>
                <a:gd name="connsiteY31" fmla="*/ 2803524 h 3294062"/>
                <a:gd name="connsiteX32" fmla="*/ 3409424 w 3540718"/>
                <a:gd name="connsiteY32" fmla="*/ 2438822 h 3294062"/>
                <a:gd name="connsiteX33" fmla="*/ 786801 w 3540718"/>
                <a:gd name="connsiteY33" fmla="*/ 129753 h 3294062"/>
                <a:gd name="connsiteX34" fmla="*/ 2082271 w 3540718"/>
                <a:gd name="connsiteY34" fmla="*/ 1257300 h 3294062"/>
                <a:gd name="connsiteX35" fmla="*/ 1997594 w 3540718"/>
                <a:gd name="connsiteY35" fmla="*/ 1426808 h 3294062"/>
                <a:gd name="connsiteX36" fmla="*/ 729723 w 3540718"/>
                <a:gd name="connsiteY36" fmla="*/ 285749 h 3294062"/>
                <a:gd name="connsiteX37" fmla="*/ 786801 w 3540718"/>
                <a:gd name="connsiteY37" fmla="*/ 129753 h 3294062"/>
                <a:gd name="connsiteX0" fmla="*/ 583671 w 3540718"/>
                <a:gd name="connsiteY0" fmla="*/ 1022350 h 3294062"/>
                <a:gd name="connsiteX1" fmla="*/ 573116 w 3540718"/>
                <a:gd name="connsiteY1" fmla="*/ 357744 h 3294062"/>
                <a:gd name="connsiteX2" fmla="*/ 891646 w 3540718"/>
                <a:gd name="connsiteY2" fmla="*/ 0 h 3294062"/>
                <a:gd name="connsiteX3" fmla="*/ 1929875 w 3540718"/>
                <a:gd name="connsiteY3" fmla="*/ 9529 h 3294062"/>
                <a:gd name="connsiteX4" fmla="*/ 3511023 w 3540718"/>
                <a:gd name="connsiteY4" fmla="*/ 1466860 h 3294062"/>
                <a:gd name="connsiteX5" fmla="*/ 3520549 w 3540718"/>
                <a:gd name="connsiteY5" fmla="*/ 2676934 h 3294062"/>
                <a:gd name="connsiteX6" fmla="*/ 3293852 w 3540718"/>
                <a:gd name="connsiteY6" fmla="*/ 2941637 h 3294062"/>
                <a:gd name="connsiteX7" fmla="*/ 2256899 w 3540718"/>
                <a:gd name="connsiteY7" fmla="*/ 2941637 h 3294062"/>
                <a:gd name="connsiteX8" fmla="*/ 1985437 w 3540718"/>
                <a:gd name="connsiteY8" fmla="*/ 2686685 h 3294062"/>
                <a:gd name="connsiteX9" fmla="*/ 1985437 w 3540718"/>
                <a:gd name="connsiteY9" fmla="*/ 3103561 h 3294062"/>
                <a:gd name="connsiteX10" fmla="*/ 2256899 w 3540718"/>
                <a:gd name="connsiteY10" fmla="*/ 3103561 h 3294062"/>
                <a:gd name="connsiteX11" fmla="*/ 2256899 w 3540718"/>
                <a:gd name="connsiteY11" fmla="*/ 3294062 h 3294062"/>
                <a:gd name="connsiteX12" fmla="*/ 1287886 w 3540718"/>
                <a:gd name="connsiteY12" fmla="*/ 3294062 h 3294062"/>
                <a:gd name="connsiteX13" fmla="*/ 1251691 w 3540718"/>
                <a:gd name="connsiteY13" fmla="*/ 3103561 h 3294062"/>
                <a:gd name="connsiteX14" fmla="*/ 1675874 w 3540718"/>
                <a:gd name="connsiteY14" fmla="*/ 3103561 h 3294062"/>
                <a:gd name="connsiteX15" fmla="*/ 1634598 w 3540718"/>
                <a:gd name="connsiteY15" fmla="*/ 2524131 h 3294062"/>
                <a:gd name="connsiteX16" fmla="*/ 663046 w 3540718"/>
                <a:gd name="connsiteY16" fmla="*/ 1524000 h 3294062"/>
                <a:gd name="connsiteX17" fmla="*/ 567798 w 3540718"/>
                <a:gd name="connsiteY17" fmla="*/ 1209674 h 3294062"/>
                <a:gd name="connsiteX18" fmla="*/ 301097 w 3540718"/>
                <a:gd name="connsiteY18" fmla="*/ 1800224 h 3294062"/>
                <a:gd name="connsiteX19" fmla="*/ 1215499 w 3540718"/>
                <a:gd name="connsiteY19" fmla="*/ 2447924 h 3294062"/>
                <a:gd name="connsiteX20" fmla="*/ 1215496 w 3540718"/>
                <a:gd name="connsiteY20" fmla="*/ 2990850 h 3294062"/>
                <a:gd name="connsiteX21" fmla="*/ 434446 w 3540718"/>
                <a:gd name="connsiteY21" fmla="*/ 2362200 h 3294062"/>
                <a:gd name="connsiteX22" fmla="*/ 110596 w 3540718"/>
                <a:gd name="connsiteY22" fmla="*/ 1371600 h 3294062"/>
                <a:gd name="connsiteX23" fmla="*/ 583671 w 3540718"/>
                <a:gd name="connsiteY23" fmla="*/ 1022350 h 3294062"/>
                <a:gd name="connsiteX24" fmla="*/ 3409424 w 3540718"/>
                <a:gd name="connsiteY24" fmla="*/ 2438822 h 3294062"/>
                <a:gd name="connsiteX25" fmla="*/ 3409424 w 3540718"/>
                <a:gd name="connsiteY25" fmla="*/ 1860549 h 3294062"/>
                <a:gd name="connsiteX26" fmla="*/ 3136233 w 3540718"/>
                <a:gd name="connsiteY26" fmla="*/ 1547812 h 3294062"/>
                <a:gd name="connsiteX27" fmla="*/ 2506678 w 3540718"/>
                <a:gd name="connsiteY27" fmla="*/ 1547812 h 3294062"/>
                <a:gd name="connsiteX28" fmla="*/ 2256899 w 3540718"/>
                <a:gd name="connsiteY28" fmla="*/ 1825625 h 3294062"/>
                <a:gd name="connsiteX29" fmla="*/ 2256899 w 3540718"/>
                <a:gd name="connsiteY29" fmla="*/ 2428875 h 3294062"/>
                <a:gd name="connsiteX30" fmla="*/ 2510897 w 3540718"/>
                <a:gd name="connsiteY30" fmla="*/ 2803524 h 3294062"/>
                <a:gd name="connsiteX31" fmla="*/ 3117322 w 3540718"/>
                <a:gd name="connsiteY31" fmla="*/ 2803524 h 3294062"/>
                <a:gd name="connsiteX32" fmla="*/ 3409424 w 3540718"/>
                <a:gd name="connsiteY32" fmla="*/ 2438822 h 3294062"/>
                <a:gd name="connsiteX33" fmla="*/ 786801 w 3540718"/>
                <a:gd name="connsiteY33" fmla="*/ 129753 h 3294062"/>
                <a:gd name="connsiteX34" fmla="*/ 2082271 w 3540718"/>
                <a:gd name="connsiteY34" fmla="*/ 1257300 h 3294062"/>
                <a:gd name="connsiteX35" fmla="*/ 1997594 w 3540718"/>
                <a:gd name="connsiteY35" fmla="*/ 1426808 h 3294062"/>
                <a:gd name="connsiteX36" fmla="*/ 729723 w 3540718"/>
                <a:gd name="connsiteY36" fmla="*/ 285749 h 3294062"/>
                <a:gd name="connsiteX37" fmla="*/ 786801 w 3540718"/>
                <a:gd name="connsiteY37" fmla="*/ 129753 h 3294062"/>
                <a:gd name="connsiteX0" fmla="*/ 583671 w 3540718"/>
                <a:gd name="connsiteY0" fmla="*/ 1022350 h 3305121"/>
                <a:gd name="connsiteX1" fmla="*/ 573116 w 3540718"/>
                <a:gd name="connsiteY1" fmla="*/ 357744 h 3305121"/>
                <a:gd name="connsiteX2" fmla="*/ 891646 w 3540718"/>
                <a:gd name="connsiteY2" fmla="*/ 0 h 3305121"/>
                <a:gd name="connsiteX3" fmla="*/ 1929875 w 3540718"/>
                <a:gd name="connsiteY3" fmla="*/ 9529 h 3305121"/>
                <a:gd name="connsiteX4" fmla="*/ 3511023 w 3540718"/>
                <a:gd name="connsiteY4" fmla="*/ 1466860 h 3305121"/>
                <a:gd name="connsiteX5" fmla="*/ 3520549 w 3540718"/>
                <a:gd name="connsiteY5" fmla="*/ 2676934 h 3305121"/>
                <a:gd name="connsiteX6" fmla="*/ 3293852 w 3540718"/>
                <a:gd name="connsiteY6" fmla="*/ 2941637 h 3305121"/>
                <a:gd name="connsiteX7" fmla="*/ 2256899 w 3540718"/>
                <a:gd name="connsiteY7" fmla="*/ 2941637 h 3305121"/>
                <a:gd name="connsiteX8" fmla="*/ 1985437 w 3540718"/>
                <a:gd name="connsiteY8" fmla="*/ 2686685 h 3305121"/>
                <a:gd name="connsiteX9" fmla="*/ 1985437 w 3540718"/>
                <a:gd name="connsiteY9" fmla="*/ 3103561 h 3305121"/>
                <a:gd name="connsiteX10" fmla="*/ 2256899 w 3540718"/>
                <a:gd name="connsiteY10" fmla="*/ 3103561 h 3305121"/>
                <a:gd name="connsiteX11" fmla="*/ 2256899 w 3540718"/>
                <a:gd name="connsiteY11" fmla="*/ 3294062 h 3305121"/>
                <a:gd name="connsiteX12" fmla="*/ 1287886 w 3540718"/>
                <a:gd name="connsiteY12" fmla="*/ 3294062 h 3305121"/>
                <a:gd name="connsiteX13" fmla="*/ 1251691 w 3540718"/>
                <a:gd name="connsiteY13" fmla="*/ 3103561 h 3305121"/>
                <a:gd name="connsiteX14" fmla="*/ 1675874 w 3540718"/>
                <a:gd name="connsiteY14" fmla="*/ 3103561 h 3305121"/>
                <a:gd name="connsiteX15" fmla="*/ 1634598 w 3540718"/>
                <a:gd name="connsiteY15" fmla="*/ 2524131 h 3305121"/>
                <a:gd name="connsiteX16" fmla="*/ 663046 w 3540718"/>
                <a:gd name="connsiteY16" fmla="*/ 1524000 h 3305121"/>
                <a:gd name="connsiteX17" fmla="*/ 567798 w 3540718"/>
                <a:gd name="connsiteY17" fmla="*/ 1209674 h 3305121"/>
                <a:gd name="connsiteX18" fmla="*/ 301097 w 3540718"/>
                <a:gd name="connsiteY18" fmla="*/ 1800224 h 3305121"/>
                <a:gd name="connsiteX19" fmla="*/ 1215499 w 3540718"/>
                <a:gd name="connsiteY19" fmla="*/ 2447924 h 3305121"/>
                <a:gd name="connsiteX20" fmla="*/ 1215496 w 3540718"/>
                <a:gd name="connsiteY20" fmla="*/ 2990850 h 3305121"/>
                <a:gd name="connsiteX21" fmla="*/ 434446 w 3540718"/>
                <a:gd name="connsiteY21" fmla="*/ 2362200 h 3305121"/>
                <a:gd name="connsiteX22" fmla="*/ 110596 w 3540718"/>
                <a:gd name="connsiteY22" fmla="*/ 1371600 h 3305121"/>
                <a:gd name="connsiteX23" fmla="*/ 583671 w 3540718"/>
                <a:gd name="connsiteY23" fmla="*/ 1022350 h 3305121"/>
                <a:gd name="connsiteX24" fmla="*/ 3409424 w 3540718"/>
                <a:gd name="connsiteY24" fmla="*/ 2438822 h 3305121"/>
                <a:gd name="connsiteX25" fmla="*/ 3409424 w 3540718"/>
                <a:gd name="connsiteY25" fmla="*/ 1860549 h 3305121"/>
                <a:gd name="connsiteX26" fmla="*/ 3136233 w 3540718"/>
                <a:gd name="connsiteY26" fmla="*/ 1547812 h 3305121"/>
                <a:gd name="connsiteX27" fmla="*/ 2506678 w 3540718"/>
                <a:gd name="connsiteY27" fmla="*/ 1547812 h 3305121"/>
                <a:gd name="connsiteX28" fmla="*/ 2256899 w 3540718"/>
                <a:gd name="connsiteY28" fmla="*/ 1825625 h 3305121"/>
                <a:gd name="connsiteX29" fmla="*/ 2256899 w 3540718"/>
                <a:gd name="connsiteY29" fmla="*/ 2428875 h 3305121"/>
                <a:gd name="connsiteX30" fmla="*/ 2510897 w 3540718"/>
                <a:gd name="connsiteY30" fmla="*/ 2803524 h 3305121"/>
                <a:gd name="connsiteX31" fmla="*/ 3117322 w 3540718"/>
                <a:gd name="connsiteY31" fmla="*/ 2803524 h 3305121"/>
                <a:gd name="connsiteX32" fmla="*/ 3409424 w 3540718"/>
                <a:gd name="connsiteY32" fmla="*/ 2438822 h 3305121"/>
                <a:gd name="connsiteX33" fmla="*/ 786801 w 3540718"/>
                <a:gd name="connsiteY33" fmla="*/ 129753 h 3305121"/>
                <a:gd name="connsiteX34" fmla="*/ 2082271 w 3540718"/>
                <a:gd name="connsiteY34" fmla="*/ 1257300 h 3305121"/>
                <a:gd name="connsiteX35" fmla="*/ 1997594 w 3540718"/>
                <a:gd name="connsiteY35" fmla="*/ 1426808 h 3305121"/>
                <a:gd name="connsiteX36" fmla="*/ 729723 w 3540718"/>
                <a:gd name="connsiteY36" fmla="*/ 285749 h 3305121"/>
                <a:gd name="connsiteX37" fmla="*/ 786801 w 3540718"/>
                <a:gd name="connsiteY37" fmla="*/ 129753 h 3305121"/>
                <a:gd name="connsiteX0" fmla="*/ 583671 w 3540718"/>
                <a:gd name="connsiteY0" fmla="*/ 1022350 h 3305121"/>
                <a:gd name="connsiteX1" fmla="*/ 573116 w 3540718"/>
                <a:gd name="connsiteY1" fmla="*/ 357744 h 3305121"/>
                <a:gd name="connsiteX2" fmla="*/ 891646 w 3540718"/>
                <a:gd name="connsiteY2" fmla="*/ 0 h 3305121"/>
                <a:gd name="connsiteX3" fmla="*/ 1929875 w 3540718"/>
                <a:gd name="connsiteY3" fmla="*/ 9529 h 3305121"/>
                <a:gd name="connsiteX4" fmla="*/ 3511023 w 3540718"/>
                <a:gd name="connsiteY4" fmla="*/ 1466860 h 3305121"/>
                <a:gd name="connsiteX5" fmla="*/ 3520549 w 3540718"/>
                <a:gd name="connsiteY5" fmla="*/ 2676934 h 3305121"/>
                <a:gd name="connsiteX6" fmla="*/ 3293852 w 3540718"/>
                <a:gd name="connsiteY6" fmla="*/ 2941637 h 3305121"/>
                <a:gd name="connsiteX7" fmla="*/ 2256899 w 3540718"/>
                <a:gd name="connsiteY7" fmla="*/ 2941637 h 3305121"/>
                <a:gd name="connsiteX8" fmla="*/ 1985437 w 3540718"/>
                <a:gd name="connsiteY8" fmla="*/ 2686685 h 3305121"/>
                <a:gd name="connsiteX9" fmla="*/ 1985437 w 3540718"/>
                <a:gd name="connsiteY9" fmla="*/ 3103561 h 3305121"/>
                <a:gd name="connsiteX10" fmla="*/ 2256899 w 3540718"/>
                <a:gd name="connsiteY10" fmla="*/ 3103561 h 3305121"/>
                <a:gd name="connsiteX11" fmla="*/ 2256899 w 3540718"/>
                <a:gd name="connsiteY11" fmla="*/ 3294062 h 3305121"/>
                <a:gd name="connsiteX12" fmla="*/ 1287886 w 3540718"/>
                <a:gd name="connsiteY12" fmla="*/ 3294062 h 3305121"/>
                <a:gd name="connsiteX13" fmla="*/ 1251691 w 3540718"/>
                <a:gd name="connsiteY13" fmla="*/ 3103561 h 3305121"/>
                <a:gd name="connsiteX14" fmla="*/ 1675874 w 3540718"/>
                <a:gd name="connsiteY14" fmla="*/ 3103561 h 3305121"/>
                <a:gd name="connsiteX15" fmla="*/ 1675874 w 3540718"/>
                <a:gd name="connsiteY15" fmla="*/ 2463171 h 3305121"/>
                <a:gd name="connsiteX16" fmla="*/ 663046 w 3540718"/>
                <a:gd name="connsiteY16" fmla="*/ 1524000 h 3305121"/>
                <a:gd name="connsiteX17" fmla="*/ 567798 w 3540718"/>
                <a:gd name="connsiteY17" fmla="*/ 1209674 h 3305121"/>
                <a:gd name="connsiteX18" fmla="*/ 301097 w 3540718"/>
                <a:gd name="connsiteY18" fmla="*/ 1800224 h 3305121"/>
                <a:gd name="connsiteX19" fmla="*/ 1215499 w 3540718"/>
                <a:gd name="connsiteY19" fmla="*/ 2447924 h 3305121"/>
                <a:gd name="connsiteX20" fmla="*/ 1215496 w 3540718"/>
                <a:gd name="connsiteY20" fmla="*/ 2990850 h 3305121"/>
                <a:gd name="connsiteX21" fmla="*/ 434446 w 3540718"/>
                <a:gd name="connsiteY21" fmla="*/ 2362200 h 3305121"/>
                <a:gd name="connsiteX22" fmla="*/ 110596 w 3540718"/>
                <a:gd name="connsiteY22" fmla="*/ 1371600 h 3305121"/>
                <a:gd name="connsiteX23" fmla="*/ 583671 w 3540718"/>
                <a:gd name="connsiteY23" fmla="*/ 1022350 h 3305121"/>
                <a:gd name="connsiteX24" fmla="*/ 3409424 w 3540718"/>
                <a:gd name="connsiteY24" fmla="*/ 2438822 h 3305121"/>
                <a:gd name="connsiteX25" fmla="*/ 3409424 w 3540718"/>
                <a:gd name="connsiteY25" fmla="*/ 1860549 h 3305121"/>
                <a:gd name="connsiteX26" fmla="*/ 3136233 w 3540718"/>
                <a:gd name="connsiteY26" fmla="*/ 1547812 h 3305121"/>
                <a:gd name="connsiteX27" fmla="*/ 2506678 w 3540718"/>
                <a:gd name="connsiteY27" fmla="*/ 1547812 h 3305121"/>
                <a:gd name="connsiteX28" fmla="*/ 2256899 w 3540718"/>
                <a:gd name="connsiteY28" fmla="*/ 1825625 h 3305121"/>
                <a:gd name="connsiteX29" fmla="*/ 2256899 w 3540718"/>
                <a:gd name="connsiteY29" fmla="*/ 2428875 h 3305121"/>
                <a:gd name="connsiteX30" fmla="*/ 2510897 w 3540718"/>
                <a:gd name="connsiteY30" fmla="*/ 2803524 h 3305121"/>
                <a:gd name="connsiteX31" fmla="*/ 3117322 w 3540718"/>
                <a:gd name="connsiteY31" fmla="*/ 2803524 h 3305121"/>
                <a:gd name="connsiteX32" fmla="*/ 3409424 w 3540718"/>
                <a:gd name="connsiteY32" fmla="*/ 2438822 h 3305121"/>
                <a:gd name="connsiteX33" fmla="*/ 786801 w 3540718"/>
                <a:gd name="connsiteY33" fmla="*/ 129753 h 3305121"/>
                <a:gd name="connsiteX34" fmla="*/ 2082271 w 3540718"/>
                <a:gd name="connsiteY34" fmla="*/ 1257300 h 3305121"/>
                <a:gd name="connsiteX35" fmla="*/ 1997594 w 3540718"/>
                <a:gd name="connsiteY35" fmla="*/ 1426808 h 3305121"/>
                <a:gd name="connsiteX36" fmla="*/ 729723 w 3540718"/>
                <a:gd name="connsiteY36" fmla="*/ 285749 h 3305121"/>
                <a:gd name="connsiteX37" fmla="*/ 786801 w 3540718"/>
                <a:gd name="connsiteY37" fmla="*/ 129753 h 3305121"/>
                <a:gd name="connsiteX0" fmla="*/ 583671 w 3540718"/>
                <a:gd name="connsiteY0" fmla="*/ 1022350 h 3305121"/>
                <a:gd name="connsiteX1" fmla="*/ 573116 w 3540718"/>
                <a:gd name="connsiteY1" fmla="*/ 357744 h 3305121"/>
                <a:gd name="connsiteX2" fmla="*/ 891646 w 3540718"/>
                <a:gd name="connsiteY2" fmla="*/ 0 h 3305121"/>
                <a:gd name="connsiteX3" fmla="*/ 1929875 w 3540718"/>
                <a:gd name="connsiteY3" fmla="*/ 9529 h 3305121"/>
                <a:gd name="connsiteX4" fmla="*/ 3511023 w 3540718"/>
                <a:gd name="connsiteY4" fmla="*/ 1466860 h 3305121"/>
                <a:gd name="connsiteX5" fmla="*/ 3520549 w 3540718"/>
                <a:gd name="connsiteY5" fmla="*/ 2676934 h 3305121"/>
                <a:gd name="connsiteX6" fmla="*/ 3293852 w 3540718"/>
                <a:gd name="connsiteY6" fmla="*/ 2941637 h 3305121"/>
                <a:gd name="connsiteX7" fmla="*/ 2256899 w 3540718"/>
                <a:gd name="connsiteY7" fmla="*/ 2941637 h 3305121"/>
                <a:gd name="connsiteX8" fmla="*/ 1985437 w 3540718"/>
                <a:gd name="connsiteY8" fmla="*/ 2686685 h 3305121"/>
                <a:gd name="connsiteX9" fmla="*/ 1985437 w 3540718"/>
                <a:gd name="connsiteY9" fmla="*/ 3103561 h 3305121"/>
                <a:gd name="connsiteX10" fmla="*/ 2256899 w 3540718"/>
                <a:gd name="connsiteY10" fmla="*/ 3103561 h 3305121"/>
                <a:gd name="connsiteX11" fmla="*/ 2256899 w 3540718"/>
                <a:gd name="connsiteY11" fmla="*/ 3294062 h 3305121"/>
                <a:gd name="connsiteX12" fmla="*/ 1287886 w 3540718"/>
                <a:gd name="connsiteY12" fmla="*/ 3294062 h 3305121"/>
                <a:gd name="connsiteX13" fmla="*/ 1251691 w 3540718"/>
                <a:gd name="connsiteY13" fmla="*/ 3103561 h 3305121"/>
                <a:gd name="connsiteX14" fmla="*/ 1675874 w 3540718"/>
                <a:gd name="connsiteY14" fmla="*/ 3103561 h 3305121"/>
                <a:gd name="connsiteX15" fmla="*/ 1675874 w 3540718"/>
                <a:gd name="connsiteY15" fmla="*/ 2463171 h 3305121"/>
                <a:gd name="connsiteX16" fmla="*/ 663046 w 3540718"/>
                <a:gd name="connsiteY16" fmla="*/ 1524000 h 3305121"/>
                <a:gd name="connsiteX17" fmla="*/ 567798 w 3540718"/>
                <a:gd name="connsiteY17" fmla="*/ 1209674 h 3305121"/>
                <a:gd name="connsiteX18" fmla="*/ 301097 w 3540718"/>
                <a:gd name="connsiteY18" fmla="*/ 1800224 h 3305121"/>
                <a:gd name="connsiteX19" fmla="*/ 1215499 w 3540718"/>
                <a:gd name="connsiteY19" fmla="*/ 2447924 h 3305121"/>
                <a:gd name="connsiteX20" fmla="*/ 1215496 w 3540718"/>
                <a:gd name="connsiteY20" fmla="*/ 2990850 h 3305121"/>
                <a:gd name="connsiteX21" fmla="*/ 434446 w 3540718"/>
                <a:gd name="connsiteY21" fmla="*/ 2362200 h 3305121"/>
                <a:gd name="connsiteX22" fmla="*/ 110596 w 3540718"/>
                <a:gd name="connsiteY22" fmla="*/ 1371600 h 3305121"/>
                <a:gd name="connsiteX23" fmla="*/ 583671 w 3540718"/>
                <a:gd name="connsiteY23" fmla="*/ 1022350 h 3305121"/>
                <a:gd name="connsiteX24" fmla="*/ 3409424 w 3540718"/>
                <a:gd name="connsiteY24" fmla="*/ 2438822 h 3305121"/>
                <a:gd name="connsiteX25" fmla="*/ 3409424 w 3540718"/>
                <a:gd name="connsiteY25" fmla="*/ 1860549 h 3305121"/>
                <a:gd name="connsiteX26" fmla="*/ 3136233 w 3540718"/>
                <a:gd name="connsiteY26" fmla="*/ 1547812 h 3305121"/>
                <a:gd name="connsiteX27" fmla="*/ 2506678 w 3540718"/>
                <a:gd name="connsiteY27" fmla="*/ 1547812 h 3305121"/>
                <a:gd name="connsiteX28" fmla="*/ 2256899 w 3540718"/>
                <a:gd name="connsiteY28" fmla="*/ 1825625 h 3305121"/>
                <a:gd name="connsiteX29" fmla="*/ 2256899 w 3540718"/>
                <a:gd name="connsiteY29" fmla="*/ 2428875 h 3305121"/>
                <a:gd name="connsiteX30" fmla="*/ 2510897 w 3540718"/>
                <a:gd name="connsiteY30" fmla="*/ 2803524 h 3305121"/>
                <a:gd name="connsiteX31" fmla="*/ 3117322 w 3540718"/>
                <a:gd name="connsiteY31" fmla="*/ 2803524 h 3305121"/>
                <a:gd name="connsiteX32" fmla="*/ 3409424 w 3540718"/>
                <a:gd name="connsiteY32" fmla="*/ 2438822 h 3305121"/>
                <a:gd name="connsiteX33" fmla="*/ 786801 w 3540718"/>
                <a:gd name="connsiteY33" fmla="*/ 129753 h 3305121"/>
                <a:gd name="connsiteX34" fmla="*/ 2082271 w 3540718"/>
                <a:gd name="connsiteY34" fmla="*/ 1257300 h 3305121"/>
                <a:gd name="connsiteX35" fmla="*/ 1997594 w 3540718"/>
                <a:gd name="connsiteY35" fmla="*/ 1426808 h 3305121"/>
                <a:gd name="connsiteX36" fmla="*/ 729723 w 3540718"/>
                <a:gd name="connsiteY36" fmla="*/ 285749 h 3305121"/>
                <a:gd name="connsiteX37" fmla="*/ 786801 w 3540718"/>
                <a:gd name="connsiteY37" fmla="*/ 129753 h 3305121"/>
                <a:gd name="connsiteX0" fmla="*/ 583671 w 3540718"/>
                <a:gd name="connsiteY0" fmla="*/ 1022350 h 3305121"/>
                <a:gd name="connsiteX1" fmla="*/ 573116 w 3540718"/>
                <a:gd name="connsiteY1" fmla="*/ 357744 h 3305121"/>
                <a:gd name="connsiteX2" fmla="*/ 891646 w 3540718"/>
                <a:gd name="connsiteY2" fmla="*/ 0 h 3305121"/>
                <a:gd name="connsiteX3" fmla="*/ 1929875 w 3540718"/>
                <a:gd name="connsiteY3" fmla="*/ 9529 h 3305121"/>
                <a:gd name="connsiteX4" fmla="*/ 3511023 w 3540718"/>
                <a:gd name="connsiteY4" fmla="*/ 1466860 h 3305121"/>
                <a:gd name="connsiteX5" fmla="*/ 3520549 w 3540718"/>
                <a:gd name="connsiteY5" fmla="*/ 2676934 h 3305121"/>
                <a:gd name="connsiteX6" fmla="*/ 3293852 w 3540718"/>
                <a:gd name="connsiteY6" fmla="*/ 2941637 h 3305121"/>
                <a:gd name="connsiteX7" fmla="*/ 2256899 w 3540718"/>
                <a:gd name="connsiteY7" fmla="*/ 2941637 h 3305121"/>
                <a:gd name="connsiteX8" fmla="*/ 1985437 w 3540718"/>
                <a:gd name="connsiteY8" fmla="*/ 2686685 h 3305121"/>
                <a:gd name="connsiteX9" fmla="*/ 1985437 w 3540718"/>
                <a:gd name="connsiteY9" fmla="*/ 3103561 h 3305121"/>
                <a:gd name="connsiteX10" fmla="*/ 2256899 w 3540718"/>
                <a:gd name="connsiteY10" fmla="*/ 3103561 h 3305121"/>
                <a:gd name="connsiteX11" fmla="*/ 2256899 w 3540718"/>
                <a:gd name="connsiteY11" fmla="*/ 3294062 h 3305121"/>
                <a:gd name="connsiteX12" fmla="*/ 1287886 w 3540718"/>
                <a:gd name="connsiteY12" fmla="*/ 3294062 h 3305121"/>
                <a:gd name="connsiteX13" fmla="*/ 1251691 w 3540718"/>
                <a:gd name="connsiteY13" fmla="*/ 3103561 h 3305121"/>
                <a:gd name="connsiteX14" fmla="*/ 1675874 w 3540718"/>
                <a:gd name="connsiteY14" fmla="*/ 3103561 h 3305121"/>
                <a:gd name="connsiteX15" fmla="*/ 1675874 w 3540718"/>
                <a:gd name="connsiteY15" fmla="*/ 2463171 h 3305121"/>
                <a:gd name="connsiteX16" fmla="*/ 663046 w 3540718"/>
                <a:gd name="connsiteY16" fmla="*/ 1524000 h 3305121"/>
                <a:gd name="connsiteX17" fmla="*/ 567798 w 3540718"/>
                <a:gd name="connsiteY17" fmla="*/ 1209674 h 3305121"/>
                <a:gd name="connsiteX18" fmla="*/ 301097 w 3540718"/>
                <a:gd name="connsiteY18" fmla="*/ 1800224 h 3305121"/>
                <a:gd name="connsiteX19" fmla="*/ 1215499 w 3540718"/>
                <a:gd name="connsiteY19" fmla="*/ 2447924 h 3305121"/>
                <a:gd name="connsiteX20" fmla="*/ 1215496 w 3540718"/>
                <a:gd name="connsiteY20" fmla="*/ 2990850 h 3305121"/>
                <a:gd name="connsiteX21" fmla="*/ 701146 w 3540718"/>
                <a:gd name="connsiteY21" fmla="*/ 2446020 h 3305121"/>
                <a:gd name="connsiteX22" fmla="*/ 110596 w 3540718"/>
                <a:gd name="connsiteY22" fmla="*/ 1371600 h 3305121"/>
                <a:gd name="connsiteX23" fmla="*/ 583671 w 3540718"/>
                <a:gd name="connsiteY23" fmla="*/ 1022350 h 3305121"/>
                <a:gd name="connsiteX24" fmla="*/ 3409424 w 3540718"/>
                <a:gd name="connsiteY24" fmla="*/ 2438822 h 3305121"/>
                <a:gd name="connsiteX25" fmla="*/ 3409424 w 3540718"/>
                <a:gd name="connsiteY25" fmla="*/ 1860549 h 3305121"/>
                <a:gd name="connsiteX26" fmla="*/ 3136233 w 3540718"/>
                <a:gd name="connsiteY26" fmla="*/ 1547812 h 3305121"/>
                <a:gd name="connsiteX27" fmla="*/ 2506678 w 3540718"/>
                <a:gd name="connsiteY27" fmla="*/ 1547812 h 3305121"/>
                <a:gd name="connsiteX28" fmla="*/ 2256899 w 3540718"/>
                <a:gd name="connsiteY28" fmla="*/ 1825625 h 3305121"/>
                <a:gd name="connsiteX29" fmla="*/ 2256899 w 3540718"/>
                <a:gd name="connsiteY29" fmla="*/ 2428875 h 3305121"/>
                <a:gd name="connsiteX30" fmla="*/ 2510897 w 3540718"/>
                <a:gd name="connsiteY30" fmla="*/ 2803524 h 3305121"/>
                <a:gd name="connsiteX31" fmla="*/ 3117322 w 3540718"/>
                <a:gd name="connsiteY31" fmla="*/ 2803524 h 3305121"/>
                <a:gd name="connsiteX32" fmla="*/ 3409424 w 3540718"/>
                <a:gd name="connsiteY32" fmla="*/ 2438822 h 3305121"/>
                <a:gd name="connsiteX33" fmla="*/ 786801 w 3540718"/>
                <a:gd name="connsiteY33" fmla="*/ 129753 h 3305121"/>
                <a:gd name="connsiteX34" fmla="*/ 2082271 w 3540718"/>
                <a:gd name="connsiteY34" fmla="*/ 1257300 h 3305121"/>
                <a:gd name="connsiteX35" fmla="*/ 1997594 w 3540718"/>
                <a:gd name="connsiteY35" fmla="*/ 1426808 h 3305121"/>
                <a:gd name="connsiteX36" fmla="*/ 729723 w 3540718"/>
                <a:gd name="connsiteY36" fmla="*/ 285749 h 3305121"/>
                <a:gd name="connsiteX37" fmla="*/ 786801 w 3540718"/>
                <a:gd name="connsiteY37" fmla="*/ 129753 h 3305121"/>
                <a:gd name="connsiteX0" fmla="*/ 583671 w 3540718"/>
                <a:gd name="connsiteY0" fmla="*/ 1022350 h 3305121"/>
                <a:gd name="connsiteX1" fmla="*/ 573116 w 3540718"/>
                <a:gd name="connsiteY1" fmla="*/ 357744 h 3305121"/>
                <a:gd name="connsiteX2" fmla="*/ 891646 w 3540718"/>
                <a:gd name="connsiteY2" fmla="*/ 0 h 3305121"/>
                <a:gd name="connsiteX3" fmla="*/ 1929875 w 3540718"/>
                <a:gd name="connsiteY3" fmla="*/ 9529 h 3305121"/>
                <a:gd name="connsiteX4" fmla="*/ 3511023 w 3540718"/>
                <a:gd name="connsiteY4" fmla="*/ 1466860 h 3305121"/>
                <a:gd name="connsiteX5" fmla="*/ 3520549 w 3540718"/>
                <a:gd name="connsiteY5" fmla="*/ 2676934 h 3305121"/>
                <a:gd name="connsiteX6" fmla="*/ 3293852 w 3540718"/>
                <a:gd name="connsiteY6" fmla="*/ 2941637 h 3305121"/>
                <a:gd name="connsiteX7" fmla="*/ 2256899 w 3540718"/>
                <a:gd name="connsiteY7" fmla="*/ 2941637 h 3305121"/>
                <a:gd name="connsiteX8" fmla="*/ 1985437 w 3540718"/>
                <a:gd name="connsiteY8" fmla="*/ 2686685 h 3305121"/>
                <a:gd name="connsiteX9" fmla="*/ 1985437 w 3540718"/>
                <a:gd name="connsiteY9" fmla="*/ 3103561 h 3305121"/>
                <a:gd name="connsiteX10" fmla="*/ 2256899 w 3540718"/>
                <a:gd name="connsiteY10" fmla="*/ 3103561 h 3305121"/>
                <a:gd name="connsiteX11" fmla="*/ 2256899 w 3540718"/>
                <a:gd name="connsiteY11" fmla="*/ 3294062 h 3305121"/>
                <a:gd name="connsiteX12" fmla="*/ 1287886 w 3540718"/>
                <a:gd name="connsiteY12" fmla="*/ 3294062 h 3305121"/>
                <a:gd name="connsiteX13" fmla="*/ 1251691 w 3540718"/>
                <a:gd name="connsiteY13" fmla="*/ 3103561 h 3305121"/>
                <a:gd name="connsiteX14" fmla="*/ 1675874 w 3540718"/>
                <a:gd name="connsiteY14" fmla="*/ 3103561 h 3305121"/>
                <a:gd name="connsiteX15" fmla="*/ 1675874 w 3540718"/>
                <a:gd name="connsiteY15" fmla="*/ 2463171 h 3305121"/>
                <a:gd name="connsiteX16" fmla="*/ 663046 w 3540718"/>
                <a:gd name="connsiteY16" fmla="*/ 1524000 h 3305121"/>
                <a:gd name="connsiteX17" fmla="*/ 567798 w 3540718"/>
                <a:gd name="connsiteY17" fmla="*/ 1209674 h 3305121"/>
                <a:gd name="connsiteX18" fmla="*/ 301097 w 3540718"/>
                <a:gd name="connsiteY18" fmla="*/ 1800224 h 3305121"/>
                <a:gd name="connsiteX19" fmla="*/ 1215499 w 3540718"/>
                <a:gd name="connsiteY19" fmla="*/ 2447924 h 3305121"/>
                <a:gd name="connsiteX20" fmla="*/ 1215496 w 3540718"/>
                <a:gd name="connsiteY20" fmla="*/ 2990850 h 3305121"/>
                <a:gd name="connsiteX21" fmla="*/ 701146 w 3540718"/>
                <a:gd name="connsiteY21" fmla="*/ 2446020 h 3305121"/>
                <a:gd name="connsiteX22" fmla="*/ 110596 w 3540718"/>
                <a:gd name="connsiteY22" fmla="*/ 1371600 h 3305121"/>
                <a:gd name="connsiteX23" fmla="*/ 583671 w 3540718"/>
                <a:gd name="connsiteY23" fmla="*/ 1022350 h 3305121"/>
                <a:gd name="connsiteX24" fmla="*/ 3409424 w 3540718"/>
                <a:gd name="connsiteY24" fmla="*/ 2438822 h 3305121"/>
                <a:gd name="connsiteX25" fmla="*/ 3409424 w 3540718"/>
                <a:gd name="connsiteY25" fmla="*/ 1860549 h 3305121"/>
                <a:gd name="connsiteX26" fmla="*/ 3136233 w 3540718"/>
                <a:gd name="connsiteY26" fmla="*/ 1547812 h 3305121"/>
                <a:gd name="connsiteX27" fmla="*/ 2506678 w 3540718"/>
                <a:gd name="connsiteY27" fmla="*/ 1547812 h 3305121"/>
                <a:gd name="connsiteX28" fmla="*/ 2256899 w 3540718"/>
                <a:gd name="connsiteY28" fmla="*/ 1825625 h 3305121"/>
                <a:gd name="connsiteX29" fmla="*/ 2256899 w 3540718"/>
                <a:gd name="connsiteY29" fmla="*/ 2428875 h 3305121"/>
                <a:gd name="connsiteX30" fmla="*/ 2510897 w 3540718"/>
                <a:gd name="connsiteY30" fmla="*/ 2803524 h 3305121"/>
                <a:gd name="connsiteX31" fmla="*/ 3117322 w 3540718"/>
                <a:gd name="connsiteY31" fmla="*/ 2803524 h 3305121"/>
                <a:gd name="connsiteX32" fmla="*/ 3409424 w 3540718"/>
                <a:gd name="connsiteY32" fmla="*/ 2438822 h 3305121"/>
                <a:gd name="connsiteX33" fmla="*/ 786801 w 3540718"/>
                <a:gd name="connsiteY33" fmla="*/ 129753 h 3305121"/>
                <a:gd name="connsiteX34" fmla="*/ 2082271 w 3540718"/>
                <a:gd name="connsiteY34" fmla="*/ 1257300 h 3305121"/>
                <a:gd name="connsiteX35" fmla="*/ 1997594 w 3540718"/>
                <a:gd name="connsiteY35" fmla="*/ 1426808 h 3305121"/>
                <a:gd name="connsiteX36" fmla="*/ 729723 w 3540718"/>
                <a:gd name="connsiteY36" fmla="*/ 285749 h 3305121"/>
                <a:gd name="connsiteX37" fmla="*/ 786801 w 3540718"/>
                <a:gd name="connsiteY37" fmla="*/ 129753 h 3305121"/>
                <a:gd name="connsiteX0" fmla="*/ 583671 w 3540718"/>
                <a:gd name="connsiteY0" fmla="*/ 1022350 h 3305121"/>
                <a:gd name="connsiteX1" fmla="*/ 573116 w 3540718"/>
                <a:gd name="connsiteY1" fmla="*/ 357744 h 3305121"/>
                <a:gd name="connsiteX2" fmla="*/ 891646 w 3540718"/>
                <a:gd name="connsiteY2" fmla="*/ 0 h 3305121"/>
                <a:gd name="connsiteX3" fmla="*/ 1929875 w 3540718"/>
                <a:gd name="connsiteY3" fmla="*/ 9529 h 3305121"/>
                <a:gd name="connsiteX4" fmla="*/ 3511023 w 3540718"/>
                <a:gd name="connsiteY4" fmla="*/ 1466860 h 3305121"/>
                <a:gd name="connsiteX5" fmla="*/ 3520549 w 3540718"/>
                <a:gd name="connsiteY5" fmla="*/ 2676934 h 3305121"/>
                <a:gd name="connsiteX6" fmla="*/ 3293852 w 3540718"/>
                <a:gd name="connsiteY6" fmla="*/ 2941637 h 3305121"/>
                <a:gd name="connsiteX7" fmla="*/ 2256899 w 3540718"/>
                <a:gd name="connsiteY7" fmla="*/ 2941637 h 3305121"/>
                <a:gd name="connsiteX8" fmla="*/ 1985437 w 3540718"/>
                <a:gd name="connsiteY8" fmla="*/ 2686685 h 3305121"/>
                <a:gd name="connsiteX9" fmla="*/ 1985437 w 3540718"/>
                <a:gd name="connsiteY9" fmla="*/ 3103561 h 3305121"/>
                <a:gd name="connsiteX10" fmla="*/ 2256899 w 3540718"/>
                <a:gd name="connsiteY10" fmla="*/ 3103561 h 3305121"/>
                <a:gd name="connsiteX11" fmla="*/ 2256899 w 3540718"/>
                <a:gd name="connsiteY11" fmla="*/ 3294062 h 3305121"/>
                <a:gd name="connsiteX12" fmla="*/ 1287886 w 3540718"/>
                <a:gd name="connsiteY12" fmla="*/ 3294062 h 3305121"/>
                <a:gd name="connsiteX13" fmla="*/ 1251691 w 3540718"/>
                <a:gd name="connsiteY13" fmla="*/ 3103561 h 3305121"/>
                <a:gd name="connsiteX14" fmla="*/ 1675874 w 3540718"/>
                <a:gd name="connsiteY14" fmla="*/ 3103561 h 3305121"/>
                <a:gd name="connsiteX15" fmla="*/ 1675874 w 3540718"/>
                <a:gd name="connsiteY15" fmla="*/ 2463171 h 3305121"/>
                <a:gd name="connsiteX16" fmla="*/ 663046 w 3540718"/>
                <a:gd name="connsiteY16" fmla="*/ 1524000 h 3305121"/>
                <a:gd name="connsiteX17" fmla="*/ 567798 w 3540718"/>
                <a:gd name="connsiteY17" fmla="*/ 1209674 h 3305121"/>
                <a:gd name="connsiteX18" fmla="*/ 301097 w 3540718"/>
                <a:gd name="connsiteY18" fmla="*/ 1800224 h 3305121"/>
                <a:gd name="connsiteX19" fmla="*/ 1215499 w 3540718"/>
                <a:gd name="connsiteY19" fmla="*/ 2447924 h 3305121"/>
                <a:gd name="connsiteX20" fmla="*/ 1215496 w 3540718"/>
                <a:gd name="connsiteY20" fmla="*/ 2990850 h 3305121"/>
                <a:gd name="connsiteX21" fmla="*/ 701146 w 3540718"/>
                <a:gd name="connsiteY21" fmla="*/ 2446020 h 3305121"/>
                <a:gd name="connsiteX22" fmla="*/ 110596 w 3540718"/>
                <a:gd name="connsiteY22" fmla="*/ 1371600 h 3305121"/>
                <a:gd name="connsiteX23" fmla="*/ 583671 w 3540718"/>
                <a:gd name="connsiteY23" fmla="*/ 1022350 h 3305121"/>
                <a:gd name="connsiteX24" fmla="*/ 3409424 w 3540718"/>
                <a:gd name="connsiteY24" fmla="*/ 2438822 h 3305121"/>
                <a:gd name="connsiteX25" fmla="*/ 3409424 w 3540718"/>
                <a:gd name="connsiteY25" fmla="*/ 1860549 h 3305121"/>
                <a:gd name="connsiteX26" fmla="*/ 3136233 w 3540718"/>
                <a:gd name="connsiteY26" fmla="*/ 1547812 h 3305121"/>
                <a:gd name="connsiteX27" fmla="*/ 2506678 w 3540718"/>
                <a:gd name="connsiteY27" fmla="*/ 1547812 h 3305121"/>
                <a:gd name="connsiteX28" fmla="*/ 2256899 w 3540718"/>
                <a:gd name="connsiteY28" fmla="*/ 1825625 h 3305121"/>
                <a:gd name="connsiteX29" fmla="*/ 2256899 w 3540718"/>
                <a:gd name="connsiteY29" fmla="*/ 2428875 h 3305121"/>
                <a:gd name="connsiteX30" fmla="*/ 2510897 w 3540718"/>
                <a:gd name="connsiteY30" fmla="*/ 2803524 h 3305121"/>
                <a:gd name="connsiteX31" fmla="*/ 3117322 w 3540718"/>
                <a:gd name="connsiteY31" fmla="*/ 2803524 h 3305121"/>
                <a:gd name="connsiteX32" fmla="*/ 3409424 w 3540718"/>
                <a:gd name="connsiteY32" fmla="*/ 2438822 h 3305121"/>
                <a:gd name="connsiteX33" fmla="*/ 786801 w 3540718"/>
                <a:gd name="connsiteY33" fmla="*/ 129753 h 3305121"/>
                <a:gd name="connsiteX34" fmla="*/ 2082271 w 3540718"/>
                <a:gd name="connsiteY34" fmla="*/ 1257300 h 3305121"/>
                <a:gd name="connsiteX35" fmla="*/ 1997594 w 3540718"/>
                <a:gd name="connsiteY35" fmla="*/ 1426808 h 3305121"/>
                <a:gd name="connsiteX36" fmla="*/ 729723 w 3540718"/>
                <a:gd name="connsiteY36" fmla="*/ 285749 h 3305121"/>
                <a:gd name="connsiteX37" fmla="*/ 786801 w 3540718"/>
                <a:gd name="connsiteY37" fmla="*/ 129753 h 3305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540718" h="3305121">
                  <a:moveTo>
                    <a:pt x="583671" y="1022350"/>
                  </a:moveTo>
                  <a:lnTo>
                    <a:pt x="573116" y="357744"/>
                  </a:lnTo>
                  <a:cubicBezTo>
                    <a:pt x="598516" y="114857"/>
                    <a:pt x="546457" y="18348"/>
                    <a:pt x="891646" y="0"/>
                  </a:cubicBezTo>
                  <a:lnTo>
                    <a:pt x="1929875" y="9529"/>
                  </a:lnTo>
                  <a:lnTo>
                    <a:pt x="3511023" y="1466860"/>
                  </a:lnTo>
                  <a:cubicBezTo>
                    <a:pt x="3514198" y="1870218"/>
                    <a:pt x="3517374" y="2273576"/>
                    <a:pt x="3520549" y="2676934"/>
                  </a:cubicBezTo>
                  <a:cubicBezTo>
                    <a:pt x="3540718" y="2888514"/>
                    <a:pt x="3384155" y="2976562"/>
                    <a:pt x="3293852" y="2941637"/>
                  </a:cubicBezTo>
                  <a:cubicBezTo>
                    <a:pt x="3132813" y="2979034"/>
                    <a:pt x="2482642" y="2974710"/>
                    <a:pt x="2256899" y="2941637"/>
                  </a:cubicBezTo>
                  <a:lnTo>
                    <a:pt x="1985437" y="2686685"/>
                  </a:lnTo>
                  <a:lnTo>
                    <a:pt x="1985437" y="3103561"/>
                  </a:lnTo>
                  <a:lnTo>
                    <a:pt x="2256899" y="3103561"/>
                  </a:lnTo>
                  <a:cubicBezTo>
                    <a:pt x="2547412" y="3109911"/>
                    <a:pt x="2547729" y="3260989"/>
                    <a:pt x="2256899" y="3294062"/>
                  </a:cubicBezTo>
                  <a:lnTo>
                    <a:pt x="1287886" y="3294062"/>
                  </a:lnTo>
                  <a:cubicBezTo>
                    <a:pt x="1088601" y="3305121"/>
                    <a:pt x="1084753" y="3123865"/>
                    <a:pt x="1251691" y="3103561"/>
                  </a:cubicBezTo>
                  <a:lnTo>
                    <a:pt x="1675874" y="3103561"/>
                  </a:lnTo>
                  <a:lnTo>
                    <a:pt x="1675874" y="2463171"/>
                  </a:lnTo>
                  <a:lnTo>
                    <a:pt x="663046" y="1524000"/>
                  </a:lnTo>
                  <a:cubicBezTo>
                    <a:pt x="467784" y="1350961"/>
                    <a:pt x="628123" y="1163637"/>
                    <a:pt x="567798" y="1209674"/>
                  </a:cubicBezTo>
                  <a:cubicBezTo>
                    <a:pt x="278873" y="1217611"/>
                    <a:pt x="193147" y="1593849"/>
                    <a:pt x="301097" y="1800224"/>
                  </a:cubicBezTo>
                  <a:cubicBezTo>
                    <a:pt x="418572" y="2273299"/>
                    <a:pt x="1053574" y="2211386"/>
                    <a:pt x="1215499" y="2447924"/>
                  </a:cubicBezTo>
                  <a:cubicBezTo>
                    <a:pt x="1415524" y="2655887"/>
                    <a:pt x="1221847" y="2962275"/>
                    <a:pt x="1215496" y="2990850"/>
                  </a:cubicBezTo>
                  <a:cubicBezTo>
                    <a:pt x="897996" y="2819400"/>
                    <a:pt x="1453621" y="2671445"/>
                    <a:pt x="701146" y="2446020"/>
                  </a:cubicBezTo>
                  <a:cubicBezTo>
                    <a:pt x="306493" y="2320925"/>
                    <a:pt x="0" y="2099733"/>
                    <a:pt x="110596" y="1371600"/>
                  </a:cubicBezTo>
                  <a:cubicBezTo>
                    <a:pt x="135467" y="1148292"/>
                    <a:pt x="339640" y="1031991"/>
                    <a:pt x="583671" y="1022350"/>
                  </a:cubicBezTo>
                  <a:close/>
                  <a:moveTo>
                    <a:pt x="3409424" y="2438822"/>
                  </a:moveTo>
                  <a:cubicBezTo>
                    <a:pt x="3409401" y="2209023"/>
                    <a:pt x="3409447" y="2090348"/>
                    <a:pt x="3409424" y="1860549"/>
                  </a:cubicBezTo>
                  <a:cubicBezTo>
                    <a:pt x="3390339" y="1680783"/>
                    <a:pt x="3323732" y="1539550"/>
                    <a:pt x="3136233" y="1547812"/>
                  </a:cubicBezTo>
                  <a:lnTo>
                    <a:pt x="2506678" y="1547812"/>
                  </a:lnTo>
                  <a:cubicBezTo>
                    <a:pt x="2405426" y="1499540"/>
                    <a:pt x="2243851" y="1578622"/>
                    <a:pt x="2256899" y="1825625"/>
                  </a:cubicBezTo>
                  <a:lnTo>
                    <a:pt x="2256899" y="2428875"/>
                  </a:lnTo>
                  <a:cubicBezTo>
                    <a:pt x="2247374" y="2555875"/>
                    <a:pt x="2272772" y="2809874"/>
                    <a:pt x="2510897" y="2803524"/>
                  </a:cubicBezTo>
                  <a:lnTo>
                    <a:pt x="3117322" y="2803524"/>
                  </a:lnTo>
                  <a:cubicBezTo>
                    <a:pt x="3396745" y="2798373"/>
                    <a:pt x="3406226" y="2605898"/>
                    <a:pt x="3409424" y="2438822"/>
                  </a:cubicBezTo>
                  <a:close/>
                  <a:moveTo>
                    <a:pt x="786801" y="129753"/>
                  </a:moveTo>
                  <a:cubicBezTo>
                    <a:pt x="1012226" y="291678"/>
                    <a:pt x="1880472" y="1041124"/>
                    <a:pt x="2082271" y="1257300"/>
                  </a:cubicBezTo>
                  <a:cubicBezTo>
                    <a:pt x="2195135" y="1385785"/>
                    <a:pt x="2218268" y="1551232"/>
                    <a:pt x="1997594" y="1426808"/>
                  </a:cubicBezTo>
                  <a:lnTo>
                    <a:pt x="729723" y="285749"/>
                  </a:lnTo>
                  <a:cubicBezTo>
                    <a:pt x="628099" y="192475"/>
                    <a:pt x="713800" y="86502"/>
                    <a:pt x="786801" y="129753"/>
                  </a:cubicBez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92" name="Donut 291"/>
            <p:cNvSpPr/>
            <p:nvPr/>
          </p:nvSpPr>
          <p:spPr>
            <a:xfrm>
              <a:off x="7465325" y="2616080"/>
              <a:ext cx="914400" cy="914400"/>
            </a:xfrm>
            <a:prstGeom prst="donut">
              <a:avLst>
                <a:gd name="adj" fmla="val 1455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nvGrpSpPr>
          <p:cNvPr id="293" name="Group 292"/>
          <p:cNvGrpSpPr>
            <a:grpSpLocks noChangeAspect="1"/>
          </p:cNvGrpSpPr>
          <p:nvPr/>
        </p:nvGrpSpPr>
        <p:grpSpPr>
          <a:xfrm>
            <a:off x="3568129" y="4877417"/>
            <a:ext cx="203771" cy="161433"/>
            <a:chOff x="-125328" y="29028"/>
            <a:chExt cx="8673949" cy="6871731"/>
          </a:xfrm>
        </p:grpSpPr>
        <p:sp>
          <p:nvSpPr>
            <p:cNvPr id="294" name="Donut 293"/>
            <p:cNvSpPr>
              <a:spLocks noChangeAspect="1"/>
            </p:cNvSpPr>
            <p:nvPr/>
          </p:nvSpPr>
          <p:spPr>
            <a:xfrm>
              <a:off x="6561902" y="687710"/>
              <a:ext cx="1986719" cy="1986719"/>
            </a:xfrm>
            <a:prstGeom prst="donut">
              <a:avLst>
                <a:gd name="adj" fmla="val 2307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95" name="Oval 294"/>
            <p:cNvSpPr>
              <a:spLocks noChangeAspect="1"/>
            </p:cNvSpPr>
            <p:nvPr/>
          </p:nvSpPr>
          <p:spPr>
            <a:xfrm>
              <a:off x="2570108" y="29028"/>
              <a:ext cx="1031565" cy="103156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6" name="Oval 295"/>
            <p:cNvSpPr>
              <a:spLocks noChangeAspect="1"/>
            </p:cNvSpPr>
            <p:nvPr/>
          </p:nvSpPr>
          <p:spPr>
            <a:xfrm>
              <a:off x="830982" y="611298"/>
              <a:ext cx="1031565" cy="103156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7" name="Freeform 296"/>
            <p:cNvSpPr/>
            <p:nvPr/>
          </p:nvSpPr>
          <p:spPr>
            <a:xfrm>
              <a:off x="-125328" y="36854"/>
              <a:ext cx="6955098" cy="6863905"/>
            </a:xfrm>
            <a:custGeom>
              <a:avLst/>
              <a:gdLst>
                <a:gd name="connsiteX0" fmla="*/ 1079500 w 2298700"/>
                <a:gd name="connsiteY0" fmla="*/ 0 h 2209800"/>
                <a:gd name="connsiteX1" fmla="*/ 1460500 w 2298700"/>
                <a:gd name="connsiteY1" fmla="*/ 63500 h 2209800"/>
                <a:gd name="connsiteX2" fmla="*/ 1562100 w 2298700"/>
                <a:gd name="connsiteY2" fmla="*/ 495300 h 2209800"/>
                <a:gd name="connsiteX3" fmla="*/ 1371600 w 2298700"/>
                <a:gd name="connsiteY3" fmla="*/ 1244600 h 2209800"/>
                <a:gd name="connsiteX4" fmla="*/ 1155700 w 2298700"/>
                <a:gd name="connsiteY4" fmla="*/ 1574800 h 2209800"/>
                <a:gd name="connsiteX5" fmla="*/ 1219200 w 2298700"/>
                <a:gd name="connsiteY5" fmla="*/ 1866900 h 2209800"/>
                <a:gd name="connsiteX6" fmla="*/ 1485900 w 2298700"/>
                <a:gd name="connsiteY6" fmla="*/ 2120900 h 2209800"/>
                <a:gd name="connsiteX7" fmla="*/ 1841500 w 2298700"/>
                <a:gd name="connsiteY7" fmla="*/ 2044700 h 2209800"/>
                <a:gd name="connsiteX8" fmla="*/ 2006600 w 2298700"/>
                <a:gd name="connsiteY8" fmla="*/ 1701800 h 2209800"/>
                <a:gd name="connsiteX9" fmla="*/ 1955800 w 2298700"/>
                <a:gd name="connsiteY9" fmla="*/ 1244600 h 2209800"/>
                <a:gd name="connsiteX10" fmla="*/ 2006600 w 2298700"/>
                <a:gd name="connsiteY10" fmla="*/ 711200 h 2209800"/>
                <a:gd name="connsiteX11" fmla="*/ 2235200 w 2298700"/>
                <a:gd name="connsiteY11" fmla="*/ 546100 h 2209800"/>
                <a:gd name="connsiteX12" fmla="*/ 2298700 w 2298700"/>
                <a:gd name="connsiteY12" fmla="*/ 711200 h 2209800"/>
                <a:gd name="connsiteX13" fmla="*/ 2184400 w 2298700"/>
                <a:gd name="connsiteY13" fmla="*/ 774700 h 2209800"/>
                <a:gd name="connsiteX14" fmla="*/ 2070100 w 2298700"/>
                <a:gd name="connsiteY14" fmla="*/ 965200 h 2209800"/>
                <a:gd name="connsiteX15" fmla="*/ 2120900 w 2298700"/>
                <a:gd name="connsiteY15" fmla="*/ 1333500 h 2209800"/>
                <a:gd name="connsiteX16" fmla="*/ 2159000 w 2298700"/>
                <a:gd name="connsiteY16" fmla="*/ 1714500 h 2209800"/>
                <a:gd name="connsiteX17" fmla="*/ 2032000 w 2298700"/>
                <a:gd name="connsiteY17" fmla="*/ 2044700 h 2209800"/>
                <a:gd name="connsiteX18" fmla="*/ 1778000 w 2298700"/>
                <a:gd name="connsiteY18" fmla="*/ 2209800 h 2209800"/>
                <a:gd name="connsiteX19" fmla="*/ 1206500 w 2298700"/>
                <a:gd name="connsiteY19" fmla="*/ 2120900 h 2209800"/>
                <a:gd name="connsiteX20" fmla="*/ 1041400 w 2298700"/>
                <a:gd name="connsiteY20" fmla="*/ 1739900 h 2209800"/>
                <a:gd name="connsiteX21" fmla="*/ 990600 w 2298700"/>
                <a:gd name="connsiteY21" fmla="*/ 1524000 h 2209800"/>
                <a:gd name="connsiteX22" fmla="*/ 838200 w 2298700"/>
                <a:gd name="connsiteY22" fmla="*/ 1511300 h 2209800"/>
                <a:gd name="connsiteX23" fmla="*/ 76200 w 2298700"/>
                <a:gd name="connsiteY23" fmla="*/ 939800 h 2209800"/>
                <a:gd name="connsiteX24" fmla="*/ 0 w 2298700"/>
                <a:gd name="connsiteY24" fmla="*/ 736600 h 2209800"/>
                <a:gd name="connsiteX25" fmla="*/ 25400 w 2298700"/>
                <a:gd name="connsiteY25" fmla="*/ 520700 h 2209800"/>
                <a:gd name="connsiteX26" fmla="*/ 152400 w 2298700"/>
                <a:gd name="connsiteY26" fmla="*/ 355600 h 2209800"/>
                <a:gd name="connsiteX27" fmla="*/ 381000 w 2298700"/>
                <a:gd name="connsiteY27" fmla="*/ 317500 h 2209800"/>
                <a:gd name="connsiteX28" fmla="*/ 406400 w 2298700"/>
                <a:gd name="connsiteY28" fmla="*/ 431800 h 2209800"/>
                <a:gd name="connsiteX29" fmla="*/ 152400 w 2298700"/>
                <a:gd name="connsiteY29" fmla="*/ 546100 h 2209800"/>
                <a:gd name="connsiteX30" fmla="*/ 139700 w 2298700"/>
                <a:gd name="connsiteY30" fmla="*/ 711200 h 2209800"/>
                <a:gd name="connsiteX31" fmla="*/ 406400 w 2298700"/>
                <a:gd name="connsiteY31" fmla="*/ 1066800 h 2209800"/>
                <a:gd name="connsiteX32" fmla="*/ 850900 w 2298700"/>
                <a:gd name="connsiteY32" fmla="*/ 1358900 h 2209800"/>
                <a:gd name="connsiteX33" fmla="*/ 1016000 w 2298700"/>
                <a:gd name="connsiteY33" fmla="*/ 1397000 h 2209800"/>
                <a:gd name="connsiteX34" fmla="*/ 1244600 w 2298700"/>
                <a:gd name="connsiteY34" fmla="*/ 1282700 h 2209800"/>
                <a:gd name="connsiteX35" fmla="*/ 1308100 w 2298700"/>
                <a:gd name="connsiteY35" fmla="*/ 825500 h 2209800"/>
                <a:gd name="connsiteX36" fmla="*/ 1447800 w 2298700"/>
                <a:gd name="connsiteY36" fmla="*/ 381000 h 2209800"/>
                <a:gd name="connsiteX37" fmla="*/ 1409700 w 2298700"/>
                <a:gd name="connsiteY37" fmla="*/ 241300 h 2209800"/>
                <a:gd name="connsiteX38" fmla="*/ 1270000 w 2298700"/>
                <a:gd name="connsiteY38" fmla="*/ 177800 h 2209800"/>
                <a:gd name="connsiteX39" fmla="*/ 1104900 w 2298700"/>
                <a:gd name="connsiteY39" fmla="*/ 190500 h 2209800"/>
                <a:gd name="connsiteX40" fmla="*/ 1079500 w 2298700"/>
                <a:gd name="connsiteY40" fmla="*/ 0 h 2209800"/>
                <a:gd name="connsiteX0" fmla="*/ 1066835 w 2298700"/>
                <a:gd name="connsiteY0" fmla="*/ 0 h 2182887"/>
                <a:gd name="connsiteX1" fmla="*/ 1460500 w 2298700"/>
                <a:gd name="connsiteY1" fmla="*/ 36587 h 2182887"/>
                <a:gd name="connsiteX2" fmla="*/ 1562100 w 2298700"/>
                <a:gd name="connsiteY2" fmla="*/ 468387 h 2182887"/>
                <a:gd name="connsiteX3" fmla="*/ 1371600 w 2298700"/>
                <a:gd name="connsiteY3" fmla="*/ 1217687 h 2182887"/>
                <a:gd name="connsiteX4" fmla="*/ 1155700 w 2298700"/>
                <a:gd name="connsiteY4" fmla="*/ 1547887 h 2182887"/>
                <a:gd name="connsiteX5" fmla="*/ 1219200 w 2298700"/>
                <a:gd name="connsiteY5" fmla="*/ 1839987 h 2182887"/>
                <a:gd name="connsiteX6" fmla="*/ 1485900 w 2298700"/>
                <a:gd name="connsiteY6" fmla="*/ 2093987 h 2182887"/>
                <a:gd name="connsiteX7" fmla="*/ 1841500 w 2298700"/>
                <a:gd name="connsiteY7" fmla="*/ 2017787 h 2182887"/>
                <a:gd name="connsiteX8" fmla="*/ 2006600 w 2298700"/>
                <a:gd name="connsiteY8" fmla="*/ 1674887 h 2182887"/>
                <a:gd name="connsiteX9" fmla="*/ 1955800 w 2298700"/>
                <a:gd name="connsiteY9" fmla="*/ 1217687 h 2182887"/>
                <a:gd name="connsiteX10" fmla="*/ 2006600 w 2298700"/>
                <a:gd name="connsiteY10" fmla="*/ 684287 h 2182887"/>
                <a:gd name="connsiteX11" fmla="*/ 2235200 w 2298700"/>
                <a:gd name="connsiteY11" fmla="*/ 519187 h 2182887"/>
                <a:gd name="connsiteX12" fmla="*/ 2298700 w 2298700"/>
                <a:gd name="connsiteY12" fmla="*/ 684287 h 2182887"/>
                <a:gd name="connsiteX13" fmla="*/ 2184400 w 2298700"/>
                <a:gd name="connsiteY13" fmla="*/ 747787 h 2182887"/>
                <a:gd name="connsiteX14" fmla="*/ 2070100 w 2298700"/>
                <a:gd name="connsiteY14" fmla="*/ 938287 h 2182887"/>
                <a:gd name="connsiteX15" fmla="*/ 2120900 w 2298700"/>
                <a:gd name="connsiteY15" fmla="*/ 1306587 h 2182887"/>
                <a:gd name="connsiteX16" fmla="*/ 2159000 w 2298700"/>
                <a:gd name="connsiteY16" fmla="*/ 1687587 h 2182887"/>
                <a:gd name="connsiteX17" fmla="*/ 2032000 w 2298700"/>
                <a:gd name="connsiteY17" fmla="*/ 2017787 h 2182887"/>
                <a:gd name="connsiteX18" fmla="*/ 1778000 w 2298700"/>
                <a:gd name="connsiteY18" fmla="*/ 2182887 h 2182887"/>
                <a:gd name="connsiteX19" fmla="*/ 1206500 w 2298700"/>
                <a:gd name="connsiteY19" fmla="*/ 2093987 h 2182887"/>
                <a:gd name="connsiteX20" fmla="*/ 1041400 w 2298700"/>
                <a:gd name="connsiteY20" fmla="*/ 1712987 h 2182887"/>
                <a:gd name="connsiteX21" fmla="*/ 990600 w 2298700"/>
                <a:gd name="connsiteY21" fmla="*/ 1497087 h 2182887"/>
                <a:gd name="connsiteX22" fmla="*/ 838200 w 2298700"/>
                <a:gd name="connsiteY22" fmla="*/ 1484387 h 2182887"/>
                <a:gd name="connsiteX23" fmla="*/ 76200 w 2298700"/>
                <a:gd name="connsiteY23" fmla="*/ 912887 h 2182887"/>
                <a:gd name="connsiteX24" fmla="*/ 0 w 2298700"/>
                <a:gd name="connsiteY24" fmla="*/ 709687 h 2182887"/>
                <a:gd name="connsiteX25" fmla="*/ 25400 w 2298700"/>
                <a:gd name="connsiteY25" fmla="*/ 493787 h 2182887"/>
                <a:gd name="connsiteX26" fmla="*/ 152400 w 2298700"/>
                <a:gd name="connsiteY26" fmla="*/ 328687 h 2182887"/>
                <a:gd name="connsiteX27" fmla="*/ 381000 w 2298700"/>
                <a:gd name="connsiteY27" fmla="*/ 290587 h 2182887"/>
                <a:gd name="connsiteX28" fmla="*/ 406400 w 2298700"/>
                <a:gd name="connsiteY28" fmla="*/ 404887 h 2182887"/>
                <a:gd name="connsiteX29" fmla="*/ 152400 w 2298700"/>
                <a:gd name="connsiteY29" fmla="*/ 519187 h 2182887"/>
                <a:gd name="connsiteX30" fmla="*/ 139700 w 2298700"/>
                <a:gd name="connsiteY30" fmla="*/ 684287 h 2182887"/>
                <a:gd name="connsiteX31" fmla="*/ 406400 w 2298700"/>
                <a:gd name="connsiteY31" fmla="*/ 1039887 h 2182887"/>
                <a:gd name="connsiteX32" fmla="*/ 850900 w 2298700"/>
                <a:gd name="connsiteY32" fmla="*/ 1331987 h 2182887"/>
                <a:gd name="connsiteX33" fmla="*/ 1016000 w 2298700"/>
                <a:gd name="connsiteY33" fmla="*/ 1370087 h 2182887"/>
                <a:gd name="connsiteX34" fmla="*/ 1244600 w 2298700"/>
                <a:gd name="connsiteY34" fmla="*/ 1255787 h 2182887"/>
                <a:gd name="connsiteX35" fmla="*/ 1308100 w 2298700"/>
                <a:gd name="connsiteY35" fmla="*/ 798587 h 2182887"/>
                <a:gd name="connsiteX36" fmla="*/ 1447800 w 2298700"/>
                <a:gd name="connsiteY36" fmla="*/ 354087 h 2182887"/>
                <a:gd name="connsiteX37" fmla="*/ 1409700 w 2298700"/>
                <a:gd name="connsiteY37" fmla="*/ 214387 h 2182887"/>
                <a:gd name="connsiteX38" fmla="*/ 1270000 w 2298700"/>
                <a:gd name="connsiteY38" fmla="*/ 150887 h 2182887"/>
                <a:gd name="connsiteX39" fmla="*/ 1104900 w 2298700"/>
                <a:gd name="connsiteY39" fmla="*/ 163587 h 2182887"/>
                <a:gd name="connsiteX40" fmla="*/ 1066835 w 2298700"/>
                <a:gd name="connsiteY40" fmla="*/ 0 h 2182887"/>
                <a:gd name="connsiteX0" fmla="*/ 1066835 w 2298700"/>
                <a:gd name="connsiteY0" fmla="*/ 36880 h 2219767"/>
                <a:gd name="connsiteX1" fmla="*/ 1460500 w 2298700"/>
                <a:gd name="connsiteY1" fmla="*/ 73467 h 2219767"/>
                <a:gd name="connsiteX2" fmla="*/ 1562100 w 2298700"/>
                <a:gd name="connsiteY2" fmla="*/ 505267 h 2219767"/>
                <a:gd name="connsiteX3" fmla="*/ 1371600 w 2298700"/>
                <a:gd name="connsiteY3" fmla="*/ 1254567 h 2219767"/>
                <a:gd name="connsiteX4" fmla="*/ 1155700 w 2298700"/>
                <a:gd name="connsiteY4" fmla="*/ 1584767 h 2219767"/>
                <a:gd name="connsiteX5" fmla="*/ 1219200 w 2298700"/>
                <a:gd name="connsiteY5" fmla="*/ 1876867 h 2219767"/>
                <a:gd name="connsiteX6" fmla="*/ 1485900 w 2298700"/>
                <a:gd name="connsiteY6" fmla="*/ 2130867 h 2219767"/>
                <a:gd name="connsiteX7" fmla="*/ 1841500 w 2298700"/>
                <a:gd name="connsiteY7" fmla="*/ 2054667 h 2219767"/>
                <a:gd name="connsiteX8" fmla="*/ 2006600 w 2298700"/>
                <a:gd name="connsiteY8" fmla="*/ 1711767 h 2219767"/>
                <a:gd name="connsiteX9" fmla="*/ 1955800 w 2298700"/>
                <a:gd name="connsiteY9" fmla="*/ 1254567 h 2219767"/>
                <a:gd name="connsiteX10" fmla="*/ 2006600 w 2298700"/>
                <a:gd name="connsiteY10" fmla="*/ 721167 h 2219767"/>
                <a:gd name="connsiteX11" fmla="*/ 2235200 w 2298700"/>
                <a:gd name="connsiteY11" fmla="*/ 556067 h 2219767"/>
                <a:gd name="connsiteX12" fmla="*/ 2298700 w 2298700"/>
                <a:gd name="connsiteY12" fmla="*/ 721167 h 2219767"/>
                <a:gd name="connsiteX13" fmla="*/ 2184400 w 2298700"/>
                <a:gd name="connsiteY13" fmla="*/ 784667 h 2219767"/>
                <a:gd name="connsiteX14" fmla="*/ 2070100 w 2298700"/>
                <a:gd name="connsiteY14" fmla="*/ 975167 h 2219767"/>
                <a:gd name="connsiteX15" fmla="*/ 2120900 w 2298700"/>
                <a:gd name="connsiteY15" fmla="*/ 1343467 h 2219767"/>
                <a:gd name="connsiteX16" fmla="*/ 2159000 w 2298700"/>
                <a:gd name="connsiteY16" fmla="*/ 1724467 h 2219767"/>
                <a:gd name="connsiteX17" fmla="*/ 2032000 w 2298700"/>
                <a:gd name="connsiteY17" fmla="*/ 2054667 h 2219767"/>
                <a:gd name="connsiteX18" fmla="*/ 1778000 w 2298700"/>
                <a:gd name="connsiteY18" fmla="*/ 2219767 h 2219767"/>
                <a:gd name="connsiteX19" fmla="*/ 1206500 w 2298700"/>
                <a:gd name="connsiteY19" fmla="*/ 2130867 h 2219767"/>
                <a:gd name="connsiteX20" fmla="*/ 1041400 w 2298700"/>
                <a:gd name="connsiteY20" fmla="*/ 1749867 h 2219767"/>
                <a:gd name="connsiteX21" fmla="*/ 990600 w 2298700"/>
                <a:gd name="connsiteY21" fmla="*/ 1533967 h 2219767"/>
                <a:gd name="connsiteX22" fmla="*/ 838200 w 2298700"/>
                <a:gd name="connsiteY22" fmla="*/ 1521267 h 2219767"/>
                <a:gd name="connsiteX23" fmla="*/ 76200 w 2298700"/>
                <a:gd name="connsiteY23" fmla="*/ 949767 h 2219767"/>
                <a:gd name="connsiteX24" fmla="*/ 0 w 2298700"/>
                <a:gd name="connsiteY24" fmla="*/ 746567 h 2219767"/>
                <a:gd name="connsiteX25" fmla="*/ 25400 w 2298700"/>
                <a:gd name="connsiteY25" fmla="*/ 530667 h 2219767"/>
                <a:gd name="connsiteX26" fmla="*/ 152400 w 2298700"/>
                <a:gd name="connsiteY26" fmla="*/ 365567 h 2219767"/>
                <a:gd name="connsiteX27" fmla="*/ 381000 w 2298700"/>
                <a:gd name="connsiteY27" fmla="*/ 327467 h 2219767"/>
                <a:gd name="connsiteX28" fmla="*/ 406400 w 2298700"/>
                <a:gd name="connsiteY28" fmla="*/ 441767 h 2219767"/>
                <a:gd name="connsiteX29" fmla="*/ 152400 w 2298700"/>
                <a:gd name="connsiteY29" fmla="*/ 556067 h 2219767"/>
                <a:gd name="connsiteX30" fmla="*/ 139700 w 2298700"/>
                <a:gd name="connsiteY30" fmla="*/ 721167 h 2219767"/>
                <a:gd name="connsiteX31" fmla="*/ 406400 w 2298700"/>
                <a:gd name="connsiteY31" fmla="*/ 1076767 h 2219767"/>
                <a:gd name="connsiteX32" fmla="*/ 850900 w 2298700"/>
                <a:gd name="connsiteY32" fmla="*/ 1368867 h 2219767"/>
                <a:gd name="connsiteX33" fmla="*/ 1016000 w 2298700"/>
                <a:gd name="connsiteY33" fmla="*/ 1406967 h 2219767"/>
                <a:gd name="connsiteX34" fmla="*/ 1244600 w 2298700"/>
                <a:gd name="connsiteY34" fmla="*/ 1292667 h 2219767"/>
                <a:gd name="connsiteX35" fmla="*/ 1308100 w 2298700"/>
                <a:gd name="connsiteY35" fmla="*/ 835467 h 2219767"/>
                <a:gd name="connsiteX36" fmla="*/ 1447800 w 2298700"/>
                <a:gd name="connsiteY36" fmla="*/ 390967 h 2219767"/>
                <a:gd name="connsiteX37" fmla="*/ 1409700 w 2298700"/>
                <a:gd name="connsiteY37" fmla="*/ 251267 h 2219767"/>
                <a:gd name="connsiteX38" fmla="*/ 1270000 w 2298700"/>
                <a:gd name="connsiteY38" fmla="*/ 187767 h 2219767"/>
                <a:gd name="connsiteX39" fmla="*/ 1104900 w 2298700"/>
                <a:gd name="connsiteY39" fmla="*/ 200467 h 2219767"/>
                <a:gd name="connsiteX40" fmla="*/ 1066835 w 2298700"/>
                <a:gd name="connsiteY40" fmla="*/ 36880 h 2219767"/>
                <a:gd name="connsiteX0" fmla="*/ 1066835 w 2298700"/>
                <a:gd name="connsiteY0" fmla="*/ 0 h 2182887"/>
                <a:gd name="connsiteX1" fmla="*/ 1562100 w 2298700"/>
                <a:gd name="connsiteY1" fmla="*/ 468387 h 2182887"/>
                <a:gd name="connsiteX2" fmla="*/ 1371600 w 2298700"/>
                <a:gd name="connsiteY2" fmla="*/ 1217687 h 2182887"/>
                <a:gd name="connsiteX3" fmla="*/ 1155700 w 2298700"/>
                <a:gd name="connsiteY3" fmla="*/ 1547887 h 2182887"/>
                <a:gd name="connsiteX4" fmla="*/ 1219200 w 2298700"/>
                <a:gd name="connsiteY4" fmla="*/ 1839987 h 2182887"/>
                <a:gd name="connsiteX5" fmla="*/ 1485900 w 2298700"/>
                <a:gd name="connsiteY5" fmla="*/ 2093987 h 2182887"/>
                <a:gd name="connsiteX6" fmla="*/ 1841500 w 2298700"/>
                <a:gd name="connsiteY6" fmla="*/ 2017787 h 2182887"/>
                <a:gd name="connsiteX7" fmla="*/ 2006600 w 2298700"/>
                <a:gd name="connsiteY7" fmla="*/ 1674887 h 2182887"/>
                <a:gd name="connsiteX8" fmla="*/ 1955800 w 2298700"/>
                <a:gd name="connsiteY8" fmla="*/ 1217687 h 2182887"/>
                <a:gd name="connsiteX9" fmla="*/ 2006600 w 2298700"/>
                <a:gd name="connsiteY9" fmla="*/ 684287 h 2182887"/>
                <a:gd name="connsiteX10" fmla="*/ 2235200 w 2298700"/>
                <a:gd name="connsiteY10" fmla="*/ 519187 h 2182887"/>
                <a:gd name="connsiteX11" fmla="*/ 2298700 w 2298700"/>
                <a:gd name="connsiteY11" fmla="*/ 684287 h 2182887"/>
                <a:gd name="connsiteX12" fmla="*/ 2184400 w 2298700"/>
                <a:gd name="connsiteY12" fmla="*/ 747787 h 2182887"/>
                <a:gd name="connsiteX13" fmla="*/ 2070100 w 2298700"/>
                <a:gd name="connsiteY13" fmla="*/ 938287 h 2182887"/>
                <a:gd name="connsiteX14" fmla="*/ 2120900 w 2298700"/>
                <a:gd name="connsiteY14" fmla="*/ 1306587 h 2182887"/>
                <a:gd name="connsiteX15" fmla="*/ 2159000 w 2298700"/>
                <a:gd name="connsiteY15" fmla="*/ 1687587 h 2182887"/>
                <a:gd name="connsiteX16" fmla="*/ 2032000 w 2298700"/>
                <a:gd name="connsiteY16" fmla="*/ 2017787 h 2182887"/>
                <a:gd name="connsiteX17" fmla="*/ 1778000 w 2298700"/>
                <a:gd name="connsiteY17" fmla="*/ 2182887 h 2182887"/>
                <a:gd name="connsiteX18" fmla="*/ 1206500 w 2298700"/>
                <a:gd name="connsiteY18" fmla="*/ 2093987 h 2182887"/>
                <a:gd name="connsiteX19" fmla="*/ 1041400 w 2298700"/>
                <a:gd name="connsiteY19" fmla="*/ 1712987 h 2182887"/>
                <a:gd name="connsiteX20" fmla="*/ 990600 w 2298700"/>
                <a:gd name="connsiteY20" fmla="*/ 1497087 h 2182887"/>
                <a:gd name="connsiteX21" fmla="*/ 838200 w 2298700"/>
                <a:gd name="connsiteY21" fmla="*/ 1484387 h 2182887"/>
                <a:gd name="connsiteX22" fmla="*/ 76200 w 2298700"/>
                <a:gd name="connsiteY22" fmla="*/ 912887 h 2182887"/>
                <a:gd name="connsiteX23" fmla="*/ 0 w 2298700"/>
                <a:gd name="connsiteY23" fmla="*/ 709687 h 2182887"/>
                <a:gd name="connsiteX24" fmla="*/ 25400 w 2298700"/>
                <a:gd name="connsiteY24" fmla="*/ 493787 h 2182887"/>
                <a:gd name="connsiteX25" fmla="*/ 152400 w 2298700"/>
                <a:gd name="connsiteY25" fmla="*/ 328687 h 2182887"/>
                <a:gd name="connsiteX26" fmla="*/ 381000 w 2298700"/>
                <a:gd name="connsiteY26" fmla="*/ 290587 h 2182887"/>
                <a:gd name="connsiteX27" fmla="*/ 406400 w 2298700"/>
                <a:gd name="connsiteY27" fmla="*/ 404887 h 2182887"/>
                <a:gd name="connsiteX28" fmla="*/ 152400 w 2298700"/>
                <a:gd name="connsiteY28" fmla="*/ 519187 h 2182887"/>
                <a:gd name="connsiteX29" fmla="*/ 139700 w 2298700"/>
                <a:gd name="connsiteY29" fmla="*/ 684287 h 2182887"/>
                <a:gd name="connsiteX30" fmla="*/ 406400 w 2298700"/>
                <a:gd name="connsiteY30" fmla="*/ 1039887 h 2182887"/>
                <a:gd name="connsiteX31" fmla="*/ 850900 w 2298700"/>
                <a:gd name="connsiteY31" fmla="*/ 1331987 h 2182887"/>
                <a:gd name="connsiteX32" fmla="*/ 1016000 w 2298700"/>
                <a:gd name="connsiteY32" fmla="*/ 1370087 h 2182887"/>
                <a:gd name="connsiteX33" fmla="*/ 1244600 w 2298700"/>
                <a:gd name="connsiteY33" fmla="*/ 1255787 h 2182887"/>
                <a:gd name="connsiteX34" fmla="*/ 1308100 w 2298700"/>
                <a:gd name="connsiteY34" fmla="*/ 798587 h 2182887"/>
                <a:gd name="connsiteX35" fmla="*/ 1447800 w 2298700"/>
                <a:gd name="connsiteY35" fmla="*/ 354087 h 2182887"/>
                <a:gd name="connsiteX36" fmla="*/ 1409700 w 2298700"/>
                <a:gd name="connsiteY36" fmla="*/ 214387 h 2182887"/>
                <a:gd name="connsiteX37" fmla="*/ 1270000 w 2298700"/>
                <a:gd name="connsiteY37" fmla="*/ 150887 h 2182887"/>
                <a:gd name="connsiteX38" fmla="*/ 1104900 w 2298700"/>
                <a:gd name="connsiteY38" fmla="*/ 163587 h 2182887"/>
                <a:gd name="connsiteX39" fmla="*/ 1066835 w 2298700"/>
                <a:gd name="connsiteY39" fmla="*/ 0 h 2182887"/>
                <a:gd name="connsiteX0" fmla="*/ 1066835 w 2298700"/>
                <a:gd name="connsiteY0" fmla="*/ 0 h 2182887"/>
                <a:gd name="connsiteX1" fmla="*/ 1557351 w 2298700"/>
                <a:gd name="connsiteY1" fmla="*/ 462055 h 2182887"/>
                <a:gd name="connsiteX2" fmla="*/ 1371600 w 2298700"/>
                <a:gd name="connsiteY2" fmla="*/ 1217687 h 2182887"/>
                <a:gd name="connsiteX3" fmla="*/ 1155700 w 2298700"/>
                <a:gd name="connsiteY3" fmla="*/ 1547887 h 2182887"/>
                <a:gd name="connsiteX4" fmla="*/ 1219200 w 2298700"/>
                <a:gd name="connsiteY4" fmla="*/ 1839987 h 2182887"/>
                <a:gd name="connsiteX5" fmla="*/ 1485900 w 2298700"/>
                <a:gd name="connsiteY5" fmla="*/ 2093987 h 2182887"/>
                <a:gd name="connsiteX6" fmla="*/ 1841500 w 2298700"/>
                <a:gd name="connsiteY6" fmla="*/ 2017787 h 2182887"/>
                <a:gd name="connsiteX7" fmla="*/ 2006600 w 2298700"/>
                <a:gd name="connsiteY7" fmla="*/ 1674887 h 2182887"/>
                <a:gd name="connsiteX8" fmla="*/ 1955800 w 2298700"/>
                <a:gd name="connsiteY8" fmla="*/ 1217687 h 2182887"/>
                <a:gd name="connsiteX9" fmla="*/ 2006600 w 2298700"/>
                <a:gd name="connsiteY9" fmla="*/ 684287 h 2182887"/>
                <a:gd name="connsiteX10" fmla="*/ 2235200 w 2298700"/>
                <a:gd name="connsiteY10" fmla="*/ 519187 h 2182887"/>
                <a:gd name="connsiteX11" fmla="*/ 2298700 w 2298700"/>
                <a:gd name="connsiteY11" fmla="*/ 684287 h 2182887"/>
                <a:gd name="connsiteX12" fmla="*/ 2184400 w 2298700"/>
                <a:gd name="connsiteY12" fmla="*/ 747787 h 2182887"/>
                <a:gd name="connsiteX13" fmla="*/ 2070100 w 2298700"/>
                <a:gd name="connsiteY13" fmla="*/ 938287 h 2182887"/>
                <a:gd name="connsiteX14" fmla="*/ 2120900 w 2298700"/>
                <a:gd name="connsiteY14" fmla="*/ 1306587 h 2182887"/>
                <a:gd name="connsiteX15" fmla="*/ 2159000 w 2298700"/>
                <a:gd name="connsiteY15" fmla="*/ 1687587 h 2182887"/>
                <a:gd name="connsiteX16" fmla="*/ 2032000 w 2298700"/>
                <a:gd name="connsiteY16" fmla="*/ 2017787 h 2182887"/>
                <a:gd name="connsiteX17" fmla="*/ 1778000 w 2298700"/>
                <a:gd name="connsiteY17" fmla="*/ 2182887 h 2182887"/>
                <a:gd name="connsiteX18" fmla="*/ 1206500 w 2298700"/>
                <a:gd name="connsiteY18" fmla="*/ 2093987 h 2182887"/>
                <a:gd name="connsiteX19" fmla="*/ 1041400 w 2298700"/>
                <a:gd name="connsiteY19" fmla="*/ 1712987 h 2182887"/>
                <a:gd name="connsiteX20" fmla="*/ 990600 w 2298700"/>
                <a:gd name="connsiteY20" fmla="*/ 1497087 h 2182887"/>
                <a:gd name="connsiteX21" fmla="*/ 838200 w 2298700"/>
                <a:gd name="connsiteY21" fmla="*/ 1484387 h 2182887"/>
                <a:gd name="connsiteX22" fmla="*/ 76200 w 2298700"/>
                <a:gd name="connsiteY22" fmla="*/ 912887 h 2182887"/>
                <a:gd name="connsiteX23" fmla="*/ 0 w 2298700"/>
                <a:gd name="connsiteY23" fmla="*/ 709687 h 2182887"/>
                <a:gd name="connsiteX24" fmla="*/ 25400 w 2298700"/>
                <a:gd name="connsiteY24" fmla="*/ 493787 h 2182887"/>
                <a:gd name="connsiteX25" fmla="*/ 152400 w 2298700"/>
                <a:gd name="connsiteY25" fmla="*/ 328687 h 2182887"/>
                <a:gd name="connsiteX26" fmla="*/ 381000 w 2298700"/>
                <a:gd name="connsiteY26" fmla="*/ 290587 h 2182887"/>
                <a:gd name="connsiteX27" fmla="*/ 406400 w 2298700"/>
                <a:gd name="connsiteY27" fmla="*/ 404887 h 2182887"/>
                <a:gd name="connsiteX28" fmla="*/ 152400 w 2298700"/>
                <a:gd name="connsiteY28" fmla="*/ 519187 h 2182887"/>
                <a:gd name="connsiteX29" fmla="*/ 139700 w 2298700"/>
                <a:gd name="connsiteY29" fmla="*/ 684287 h 2182887"/>
                <a:gd name="connsiteX30" fmla="*/ 406400 w 2298700"/>
                <a:gd name="connsiteY30" fmla="*/ 1039887 h 2182887"/>
                <a:gd name="connsiteX31" fmla="*/ 850900 w 2298700"/>
                <a:gd name="connsiteY31" fmla="*/ 1331987 h 2182887"/>
                <a:gd name="connsiteX32" fmla="*/ 1016000 w 2298700"/>
                <a:gd name="connsiteY32" fmla="*/ 1370087 h 2182887"/>
                <a:gd name="connsiteX33" fmla="*/ 1244600 w 2298700"/>
                <a:gd name="connsiteY33" fmla="*/ 1255787 h 2182887"/>
                <a:gd name="connsiteX34" fmla="*/ 1308100 w 2298700"/>
                <a:gd name="connsiteY34" fmla="*/ 798587 h 2182887"/>
                <a:gd name="connsiteX35" fmla="*/ 1447800 w 2298700"/>
                <a:gd name="connsiteY35" fmla="*/ 354087 h 2182887"/>
                <a:gd name="connsiteX36" fmla="*/ 1409700 w 2298700"/>
                <a:gd name="connsiteY36" fmla="*/ 214387 h 2182887"/>
                <a:gd name="connsiteX37" fmla="*/ 1270000 w 2298700"/>
                <a:gd name="connsiteY37" fmla="*/ 150887 h 2182887"/>
                <a:gd name="connsiteX38" fmla="*/ 1104900 w 2298700"/>
                <a:gd name="connsiteY38" fmla="*/ 163587 h 2182887"/>
                <a:gd name="connsiteX39" fmla="*/ 1066835 w 2298700"/>
                <a:gd name="connsiteY39" fmla="*/ 0 h 2182887"/>
                <a:gd name="connsiteX0" fmla="*/ 1066835 w 2298700"/>
                <a:gd name="connsiteY0" fmla="*/ 52762 h 2235649"/>
                <a:gd name="connsiteX1" fmla="*/ 1557351 w 2298700"/>
                <a:gd name="connsiteY1" fmla="*/ 514817 h 2235649"/>
                <a:gd name="connsiteX2" fmla="*/ 1371600 w 2298700"/>
                <a:gd name="connsiteY2" fmla="*/ 1270449 h 2235649"/>
                <a:gd name="connsiteX3" fmla="*/ 1155700 w 2298700"/>
                <a:gd name="connsiteY3" fmla="*/ 1600649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76200 w 2298700"/>
                <a:gd name="connsiteY22" fmla="*/ 965649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152400 w 2298700"/>
                <a:gd name="connsiteY28" fmla="*/ 571949 h 2235649"/>
                <a:gd name="connsiteX29" fmla="*/ 139700 w 2298700"/>
                <a:gd name="connsiteY29" fmla="*/ 737049 h 2235649"/>
                <a:gd name="connsiteX30" fmla="*/ 406400 w 2298700"/>
                <a:gd name="connsiteY30" fmla="*/ 1092649 h 2235649"/>
                <a:gd name="connsiteX31" fmla="*/ 850900 w 2298700"/>
                <a:gd name="connsiteY31" fmla="*/ 1384749 h 2235649"/>
                <a:gd name="connsiteX32" fmla="*/ 1016000 w 2298700"/>
                <a:gd name="connsiteY32" fmla="*/ 1422849 h 2235649"/>
                <a:gd name="connsiteX33" fmla="*/ 1244600 w 2298700"/>
                <a:gd name="connsiteY33" fmla="*/ 1308549 h 2235649"/>
                <a:gd name="connsiteX34" fmla="*/ 1308100 w 2298700"/>
                <a:gd name="connsiteY34" fmla="*/ 851349 h 2235649"/>
                <a:gd name="connsiteX35" fmla="*/ 1447800 w 2298700"/>
                <a:gd name="connsiteY35" fmla="*/ 406849 h 2235649"/>
                <a:gd name="connsiteX36" fmla="*/ 1409700 w 2298700"/>
                <a:gd name="connsiteY36" fmla="*/ 267149 h 2235649"/>
                <a:gd name="connsiteX37" fmla="*/ 1270000 w 2298700"/>
                <a:gd name="connsiteY37" fmla="*/ 203649 h 2235649"/>
                <a:gd name="connsiteX38" fmla="*/ 1104900 w 2298700"/>
                <a:gd name="connsiteY38" fmla="*/ 216349 h 2235649"/>
                <a:gd name="connsiteX39" fmla="*/ 1066835 w 2298700"/>
                <a:gd name="connsiteY39" fmla="*/ 52762 h 2235649"/>
                <a:gd name="connsiteX0" fmla="*/ 1066835 w 2298700"/>
                <a:gd name="connsiteY0" fmla="*/ 52762 h 2235649"/>
                <a:gd name="connsiteX1" fmla="*/ 1557351 w 2298700"/>
                <a:gd name="connsiteY1" fmla="*/ 514817 h 2235649"/>
                <a:gd name="connsiteX2" fmla="*/ 1371600 w 2298700"/>
                <a:gd name="connsiteY2" fmla="*/ 1270449 h 2235649"/>
                <a:gd name="connsiteX3" fmla="*/ 1155700 w 2298700"/>
                <a:gd name="connsiteY3" fmla="*/ 1600649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76200 w 2298700"/>
                <a:gd name="connsiteY22" fmla="*/ 965649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152400 w 2298700"/>
                <a:gd name="connsiteY28" fmla="*/ 571949 h 2235649"/>
                <a:gd name="connsiteX29" fmla="*/ 139700 w 2298700"/>
                <a:gd name="connsiteY29" fmla="*/ 737049 h 2235649"/>
                <a:gd name="connsiteX30" fmla="*/ 406400 w 2298700"/>
                <a:gd name="connsiteY30" fmla="*/ 1092649 h 2235649"/>
                <a:gd name="connsiteX31" fmla="*/ 850900 w 2298700"/>
                <a:gd name="connsiteY31" fmla="*/ 1384749 h 2235649"/>
                <a:gd name="connsiteX32" fmla="*/ 1016000 w 2298700"/>
                <a:gd name="connsiteY32" fmla="*/ 1422849 h 2235649"/>
                <a:gd name="connsiteX33" fmla="*/ 1244600 w 2298700"/>
                <a:gd name="connsiteY33" fmla="*/ 1308549 h 2235649"/>
                <a:gd name="connsiteX34" fmla="*/ 1308100 w 2298700"/>
                <a:gd name="connsiteY34" fmla="*/ 851349 h 2235649"/>
                <a:gd name="connsiteX35" fmla="*/ 1447800 w 2298700"/>
                <a:gd name="connsiteY35" fmla="*/ 406849 h 2235649"/>
                <a:gd name="connsiteX36" fmla="*/ 1409700 w 2298700"/>
                <a:gd name="connsiteY36" fmla="*/ 267149 h 2235649"/>
                <a:gd name="connsiteX37" fmla="*/ 1270000 w 2298700"/>
                <a:gd name="connsiteY37" fmla="*/ 203649 h 2235649"/>
                <a:gd name="connsiteX38" fmla="*/ 1104900 w 2298700"/>
                <a:gd name="connsiteY38" fmla="*/ 216349 h 2235649"/>
                <a:gd name="connsiteX39" fmla="*/ 1066835 w 2298700"/>
                <a:gd name="connsiteY39" fmla="*/ 52762 h 2235649"/>
                <a:gd name="connsiteX0" fmla="*/ 1066835 w 2298700"/>
                <a:gd name="connsiteY0" fmla="*/ 52762 h 2235649"/>
                <a:gd name="connsiteX1" fmla="*/ 1557351 w 2298700"/>
                <a:gd name="connsiteY1" fmla="*/ 514817 h 2235649"/>
                <a:gd name="connsiteX2" fmla="*/ 1371600 w 2298700"/>
                <a:gd name="connsiteY2" fmla="*/ 1270449 h 2235649"/>
                <a:gd name="connsiteX3" fmla="*/ 1155700 w 2298700"/>
                <a:gd name="connsiteY3" fmla="*/ 1600649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76200 w 2298700"/>
                <a:gd name="connsiteY22" fmla="*/ 965649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152400 w 2298700"/>
                <a:gd name="connsiteY28" fmla="*/ 571949 h 2235649"/>
                <a:gd name="connsiteX29" fmla="*/ 139700 w 2298700"/>
                <a:gd name="connsiteY29" fmla="*/ 737049 h 2235649"/>
                <a:gd name="connsiteX30" fmla="*/ 406400 w 2298700"/>
                <a:gd name="connsiteY30" fmla="*/ 1092649 h 2235649"/>
                <a:gd name="connsiteX31" fmla="*/ 850900 w 2298700"/>
                <a:gd name="connsiteY31" fmla="*/ 1384749 h 2235649"/>
                <a:gd name="connsiteX32" fmla="*/ 1016000 w 2298700"/>
                <a:gd name="connsiteY32" fmla="*/ 1422849 h 2235649"/>
                <a:gd name="connsiteX33" fmla="*/ 1244600 w 2298700"/>
                <a:gd name="connsiteY33" fmla="*/ 1308549 h 2235649"/>
                <a:gd name="connsiteX34" fmla="*/ 1308100 w 2298700"/>
                <a:gd name="connsiteY34" fmla="*/ 851349 h 2235649"/>
                <a:gd name="connsiteX35" fmla="*/ 1447800 w 2298700"/>
                <a:gd name="connsiteY35" fmla="*/ 406849 h 2235649"/>
                <a:gd name="connsiteX36" fmla="*/ 1270000 w 2298700"/>
                <a:gd name="connsiteY36" fmla="*/ 203649 h 2235649"/>
                <a:gd name="connsiteX37" fmla="*/ 1104900 w 2298700"/>
                <a:gd name="connsiteY37" fmla="*/ 216349 h 2235649"/>
                <a:gd name="connsiteX38" fmla="*/ 1066835 w 2298700"/>
                <a:gd name="connsiteY38" fmla="*/ 52762 h 2235649"/>
                <a:gd name="connsiteX0" fmla="*/ 1066835 w 2298700"/>
                <a:gd name="connsiteY0" fmla="*/ 52762 h 2235649"/>
                <a:gd name="connsiteX1" fmla="*/ 1557351 w 2298700"/>
                <a:gd name="connsiteY1" fmla="*/ 514817 h 2235649"/>
                <a:gd name="connsiteX2" fmla="*/ 1371600 w 2298700"/>
                <a:gd name="connsiteY2" fmla="*/ 1270449 h 2235649"/>
                <a:gd name="connsiteX3" fmla="*/ 1155700 w 2298700"/>
                <a:gd name="connsiteY3" fmla="*/ 1600649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76200 w 2298700"/>
                <a:gd name="connsiteY22" fmla="*/ 965649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152400 w 2298700"/>
                <a:gd name="connsiteY28" fmla="*/ 571949 h 2235649"/>
                <a:gd name="connsiteX29" fmla="*/ 139700 w 2298700"/>
                <a:gd name="connsiteY29" fmla="*/ 737049 h 2235649"/>
                <a:gd name="connsiteX30" fmla="*/ 406400 w 2298700"/>
                <a:gd name="connsiteY30" fmla="*/ 1092649 h 2235649"/>
                <a:gd name="connsiteX31" fmla="*/ 850900 w 2298700"/>
                <a:gd name="connsiteY31" fmla="*/ 1384749 h 2235649"/>
                <a:gd name="connsiteX32" fmla="*/ 1016000 w 2298700"/>
                <a:gd name="connsiteY32" fmla="*/ 1422849 h 2235649"/>
                <a:gd name="connsiteX33" fmla="*/ 1244600 w 2298700"/>
                <a:gd name="connsiteY33" fmla="*/ 1308549 h 2235649"/>
                <a:gd name="connsiteX34" fmla="*/ 1308100 w 2298700"/>
                <a:gd name="connsiteY34" fmla="*/ 851349 h 2235649"/>
                <a:gd name="connsiteX35" fmla="*/ 1408223 w 2298700"/>
                <a:gd name="connsiteY35" fmla="*/ 463840 h 2235649"/>
                <a:gd name="connsiteX36" fmla="*/ 1270000 w 2298700"/>
                <a:gd name="connsiteY36" fmla="*/ 203649 h 2235649"/>
                <a:gd name="connsiteX37" fmla="*/ 1104900 w 2298700"/>
                <a:gd name="connsiteY37" fmla="*/ 216349 h 2235649"/>
                <a:gd name="connsiteX38" fmla="*/ 1066835 w 2298700"/>
                <a:gd name="connsiteY38" fmla="*/ 52762 h 2235649"/>
                <a:gd name="connsiteX0" fmla="*/ 1066835 w 2298700"/>
                <a:gd name="connsiteY0" fmla="*/ 52762 h 2235649"/>
                <a:gd name="connsiteX1" fmla="*/ 1557351 w 2298700"/>
                <a:gd name="connsiteY1" fmla="*/ 514817 h 2235649"/>
                <a:gd name="connsiteX2" fmla="*/ 1371600 w 2298700"/>
                <a:gd name="connsiteY2" fmla="*/ 1270449 h 2235649"/>
                <a:gd name="connsiteX3" fmla="*/ 1155700 w 2298700"/>
                <a:gd name="connsiteY3" fmla="*/ 1600649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76200 w 2298700"/>
                <a:gd name="connsiteY22" fmla="*/ 965649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152400 w 2298700"/>
                <a:gd name="connsiteY28" fmla="*/ 571949 h 2235649"/>
                <a:gd name="connsiteX29" fmla="*/ 139700 w 2298700"/>
                <a:gd name="connsiteY29" fmla="*/ 737049 h 2235649"/>
                <a:gd name="connsiteX30" fmla="*/ 406400 w 2298700"/>
                <a:gd name="connsiteY30" fmla="*/ 1092649 h 2235649"/>
                <a:gd name="connsiteX31" fmla="*/ 850900 w 2298700"/>
                <a:gd name="connsiteY31" fmla="*/ 1384749 h 2235649"/>
                <a:gd name="connsiteX32" fmla="*/ 1016000 w 2298700"/>
                <a:gd name="connsiteY32" fmla="*/ 1422849 h 2235649"/>
                <a:gd name="connsiteX33" fmla="*/ 1244600 w 2298700"/>
                <a:gd name="connsiteY33" fmla="*/ 1308549 h 2235649"/>
                <a:gd name="connsiteX34" fmla="*/ 1308100 w 2298700"/>
                <a:gd name="connsiteY34" fmla="*/ 851349 h 2235649"/>
                <a:gd name="connsiteX35" fmla="*/ 1408223 w 2298700"/>
                <a:gd name="connsiteY35" fmla="*/ 463840 h 2235649"/>
                <a:gd name="connsiteX36" fmla="*/ 1104900 w 2298700"/>
                <a:gd name="connsiteY36" fmla="*/ 216349 h 2235649"/>
                <a:gd name="connsiteX37" fmla="*/ 1066835 w 2298700"/>
                <a:gd name="connsiteY37" fmla="*/ 52762 h 2235649"/>
                <a:gd name="connsiteX0" fmla="*/ 1066835 w 2298700"/>
                <a:gd name="connsiteY0" fmla="*/ 52762 h 2235649"/>
                <a:gd name="connsiteX1" fmla="*/ 1557351 w 2298700"/>
                <a:gd name="connsiteY1" fmla="*/ 514817 h 2235649"/>
                <a:gd name="connsiteX2" fmla="*/ 1371600 w 2298700"/>
                <a:gd name="connsiteY2" fmla="*/ 1270449 h 2235649"/>
                <a:gd name="connsiteX3" fmla="*/ 1155700 w 2298700"/>
                <a:gd name="connsiteY3" fmla="*/ 1600649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76200 w 2298700"/>
                <a:gd name="connsiteY22" fmla="*/ 965649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152400 w 2298700"/>
                <a:gd name="connsiteY28" fmla="*/ 571949 h 2235649"/>
                <a:gd name="connsiteX29" fmla="*/ 139700 w 2298700"/>
                <a:gd name="connsiteY29" fmla="*/ 737049 h 2235649"/>
                <a:gd name="connsiteX30" fmla="*/ 406400 w 2298700"/>
                <a:gd name="connsiteY30" fmla="*/ 1092649 h 2235649"/>
                <a:gd name="connsiteX31" fmla="*/ 850900 w 2298700"/>
                <a:gd name="connsiteY31" fmla="*/ 1384749 h 2235649"/>
                <a:gd name="connsiteX32" fmla="*/ 1016000 w 2298700"/>
                <a:gd name="connsiteY32" fmla="*/ 1422849 h 2235649"/>
                <a:gd name="connsiteX33" fmla="*/ 1244600 w 2298700"/>
                <a:gd name="connsiteY33" fmla="*/ 1308549 h 2235649"/>
                <a:gd name="connsiteX34" fmla="*/ 1308100 w 2298700"/>
                <a:gd name="connsiteY34" fmla="*/ 851349 h 2235649"/>
                <a:gd name="connsiteX35" fmla="*/ 1408223 w 2298700"/>
                <a:gd name="connsiteY35" fmla="*/ 463840 h 2235649"/>
                <a:gd name="connsiteX36" fmla="*/ 1104900 w 2298700"/>
                <a:gd name="connsiteY36" fmla="*/ 216349 h 2235649"/>
                <a:gd name="connsiteX37" fmla="*/ 1066835 w 2298700"/>
                <a:gd name="connsiteY37" fmla="*/ 52762 h 2235649"/>
                <a:gd name="connsiteX0" fmla="*/ 1066835 w 2298700"/>
                <a:gd name="connsiteY0" fmla="*/ 52762 h 2235649"/>
                <a:gd name="connsiteX1" fmla="*/ 1557351 w 2298700"/>
                <a:gd name="connsiteY1" fmla="*/ 514817 h 2235649"/>
                <a:gd name="connsiteX2" fmla="*/ 1371600 w 2298700"/>
                <a:gd name="connsiteY2" fmla="*/ 1270449 h 2235649"/>
                <a:gd name="connsiteX3" fmla="*/ 1155700 w 2298700"/>
                <a:gd name="connsiteY3" fmla="*/ 1600649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76200 w 2298700"/>
                <a:gd name="connsiteY22" fmla="*/ 965649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152400 w 2298700"/>
                <a:gd name="connsiteY28" fmla="*/ 571949 h 2235649"/>
                <a:gd name="connsiteX29" fmla="*/ 139700 w 2298700"/>
                <a:gd name="connsiteY29" fmla="*/ 737049 h 2235649"/>
                <a:gd name="connsiteX30" fmla="*/ 406400 w 2298700"/>
                <a:gd name="connsiteY30" fmla="*/ 1092649 h 2235649"/>
                <a:gd name="connsiteX31" fmla="*/ 850900 w 2298700"/>
                <a:gd name="connsiteY31" fmla="*/ 1384749 h 2235649"/>
                <a:gd name="connsiteX32" fmla="*/ 1016000 w 2298700"/>
                <a:gd name="connsiteY32" fmla="*/ 1422849 h 2235649"/>
                <a:gd name="connsiteX33" fmla="*/ 1244600 w 2298700"/>
                <a:gd name="connsiteY33" fmla="*/ 1308549 h 2235649"/>
                <a:gd name="connsiteX34" fmla="*/ 1308100 w 2298700"/>
                <a:gd name="connsiteY34" fmla="*/ 851349 h 2235649"/>
                <a:gd name="connsiteX35" fmla="*/ 1408223 w 2298700"/>
                <a:gd name="connsiteY35" fmla="*/ 463840 h 2235649"/>
                <a:gd name="connsiteX36" fmla="*/ 1104900 w 2298700"/>
                <a:gd name="connsiteY36" fmla="*/ 216349 h 2235649"/>
                <a:gd name="connsiteX37" fmla="*/ 1066835 w 2298700"/>
                <a:gd name="connsiteY37" fmla="*/ 52762 h 2235649"/>
                <a:gd name="connsiteX0" fmla="*/ 1066835 w 2298700"/>
                <a:gd name="connsiteY0" fmla="*/ 52762 h 2235649"/>
                <a:gd name="connsiteX1" fmla="*/ 1557351 w 2298700"/>
                <a:gd name="connsiteY1" fmla="*/ 514817 h 2235649"/>
                <a:gd name="connsiteX2" fmla="*/ 1371600 w 2298700"/>
                <a:gd name="connsiteY2" fmla="*/ 1270449 h 2235649"/>
                <a:gd name="connsiteX3" fmla="*/ 1155700 w 2298700"/>
                <a:gd name="connsiteY3" fmla="*/ 1600649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76200 w 2298700"/>
                <a:gd name="connsiteY22" fmla="*/ 965649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152400 w 2298700"/>
                <a:gd name="connsiteY28" fmla="*/ 571949 h 2235649"/>
                <a:gd name="connsiteX29" fmla="*/ 139700 w 2298700"/>
                <a:gd name="connsiteY29" fmla="*/ 737049 h 2235649"/>
                <a:gd name="connsiteX30" fmla="*/ 406400 w 2298700"/>
                <a:gd name="connsiteY30" fmla="*/ 1092649 h 2235649"/>
                <a:gd name="connsiteX31" fmla="*/ 850900 w 2298700"/>
                <a:gd name="connsiteY31" fmla="*/ 1384749 h 2235649"/>
                <a:gd name="connsiteX32" fmla="*/ 1016000 w 2298700"/>
                <a:gd name="connsiteY32" fmla="*/ 1422849 h 2235649"/>
                <a:gd name="connsiteX33" fmla="*/ 1244600 w 2298700"/>
                <a:gd name="connsiteY33" fmla="*/ 1308549 h 2235649"/>
                <a:gd name="connsiteX34" fmla="*/ 1308100 w 2298700"/>
                <a:gd name="connsiteY34" fmla="*/ 851349 h 2235649"/>
                <a:gd name="connsiteX35" fmla="*/ 1408223 w 2298700"/>
                <a:gd name="connsiteY35" fmla="*/ 463840 h 2235649"/>
                <a:gd name="connsiteX36" fmla="*/ 1104900 w 2298700"/>
                <a:gd name="connsiteY36" fmla="*/ 216349 h 2235649"/>
                <a:gd name="connsiteX37" fmla="*/ 1066835 w 2298700"/>
                <a:gd name="connsiteY37" fmla="*/ 52762 h 2235649"/>
                <a:gd name="connsiteX0" fmla="*/ 1066835 w 2298700"/>
                <a:gd name="connsiteY0" fmla="*/ 52762 h 2235649"/>
                <a:gd name="connsiteX1" fmla="*/ 1557351 w 2298700"/>
                <a:gd name="connsiteY1" fmla="*/ 514817 h 2235649"/>
                <a:gd name="connsiteX2" fmla="*/ 1371600 w 2298700"/>
                <a:gd name="connsiteY2" fmla="*/ 1270449 h 2235649"/>
                <a:gd name="connsiteX3" fmla="*/ 1155700 w 2298700"/>
                <a:gd name="connsiteY3" fmla="*/ 1600649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76200 w 2298700"/>
                <a:gd name="connsiteY22" fmla="*/ 965649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152400 w 2298700"/>
                <a:gd name="connsiteY28" fmla="*/ 571949 h 2235649"/>
                <a:gd name="connsiteX29" fmla="*/ 139700 w 2298700"/>
                <a:gd name="connsiteY29" fmla="*/ 737049 h 2235649"/>
                <a:gd name="connsiteX30" fmla="*/ 406400 w 2298700"/>
                <a:gd name="connsiteY30" fmla="*/ 1092649 h 2235649"/>
                <a:gd name="connsiteX31" fmla="*/ 850900 w 2298700"/>
                <a:gd name="connsiteY31" fmla="*/ 1384749 h 2235649"/>
                <a:gd name="connsiteX32" fmla="*/ 1016000 w 2298700"/>
                <a:gd name="connsiteY32" fmla="*/ 1422849 h 2235649"/>
                <a:gd name="connsiteX33" fmla="*/ 1244600 w 2298700"/>
                <a:gd name="connsiteY33" fmla="*/ 1308549 h 2235649"/>
                <a:gd name="connsiteX34" fmla="*/ 1219447 w 2298700"/>
                <a:gd name="connsiteY34" fmla="*/ 1224958 h 2235649"/>
                <a:gd name="connsiteX35" fmla="*/ 1408223 w 2298700"/>
                <a:gd name="connsiteY35" fmla="*/ 463840 h 2235649"/>
                <a:gd name="connsiteX36" fmla="*/ 1104900 w 2298700"/>
                <a:gd name="connsiteY36" fmla="*/ 216349 h 2235649"/>
                <a:gd name="connsiteX37" fmla="*/ 1066835 w 2298700"/>
                <a:gd name="connsiteY37" fmla="*/ 52762 h 2235649"/>
                <a:gd name="connsiteX0" fmla="*/ 1066835 w 2298700"/>
                <a:gd name="connsiteY0" fmla="*/ 52762 h 2235649"/>
                <a:gd name="connsiteX1" fmla="*/ 1557351 w 2298700"/>
                <a:gd name="connsiteY1" fmla="*/ 514817 h 2235649"/>
                <a:gd name="connsiteX2" fmla="*/ 1371600 w 2298700"/>
                <a:gd name="connsiteY2" fmla="*/ 1270449 h 2235649"/>
                <a:gd name="connsiteX3" fmla="*/ 1155700 w 2298700"/>
                <a:gd name="connsiteY3" fmla="*/ 1600649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76200 w 2298700"/>
                <a:gd name="connsiteY22" fmla="*/ 965649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152400 w 2298700"/>
                <a:gd name="connsiteY28" fmla="*/ 571949 h 2235649"/>
                <a:gd name="connsiteX29" fmla="*/ 139700 w 2298700"/>
                <a:gd name="connsiteY29" fmla="*/ 737049 h 2235649"/>
                <a:gd name="connsiteX30" fmla="*/ 406400 w 2298700"/>
                <a:gd name="connsiteY30" fmla="*/ 1092649 h 2235649"/>
                <a:gd name="connsiteX31" fmla="*/ 850900 w 2298700"/>
                <a:gd name="connsiteY31" fmla="*/ 1384749 h 2235649"/>
                <a:gd name="connsiteX32" fmla="*/ 1016000 w 2298700"/>
                <a:gd name="connsiteY32" fmla="*/ 1422849 h 2235649"/>
                <a:gd name="connsiteX33" fmla="*/ 1219447 w 2298700"/>
                <a:gd name="connsiteY33" fmla="*/ 1224958 h 2235649"/>
                <a:gd name="connsiteX34" fmla="*/ 1408223 w 2298700"/>
                <a:gd name="connsiteY34" fmla="*/ 463840 h 2235649"/>
                <a:gd name="connsiteX35" fmla="*/ 1104900 w 2298700"/>
                <a:gd name="connsiteY35" fmla="*/ 216349 h 2235649"/>
                <a:gd name="connsiteX36" fmla="*/ 1066835 w 2298700"/>
                <a:gd name="connsiteY36" fmla="*/ 52762 h 2235649"/>
                <a:gd name="connsiteX0" fmla="*/ 1066835 w 2298700"/>
                <a:gd name="connsiteY0" fmla="*/ 52762 h 2235649"/>
                <a:gd name="connsiteX1" fmla="*/ 1557351 w 2298700"/>
                <a:gd name="connsiteY1" fmla="*/ 514817 h 2235649"/>
                <a:gd name="connsiteX2" fmla="*/ 1371600 w 2298700"/>
                <a:gd name="connsiteY2" fmla="*/ 1270449 h 2235649"/>
                <a:gd name="connsiteX3" fmla="*/ 1155700 w 2298700"/>
                <a:gd name="connsiteY3" fmla="*/ 1600649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76200 w 2298700"/>
                <a:gd name="connsiteY22" fmla="*/ 965649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152400 w 2298700"/>
                <a:gd name="connsiteY28" fmla="*/ 571949 h 2235649"/>
                <a:gd name="connsiteX29" fmla="*/ 139700 w 2298700"/>
                <a:gd name="connsiteY29" fmla="*/ 737049 h 2235649"/>
                <a:gd name="connsiteX30" fmla="*/ 406400 w 2298700"/>
                <a:gd name="connsiteY30" fmla="*/ 1092649 h 2235649"/>
                <a:gd name="connsiteX31" fmla="*/ 861982 w 2298700"/>
                <a:gd name="connsiteY31" fmla="*/ 1362586 h 2235649"/>
                <a:gd name="connsiteX32" fmla="*/ 1016000 w 2298700"/>
                <a:gd name="connsiteY32" fmla="*/ 1422849 h 2235649"/>
                <a:gd name="connsiteX33" fmla="*/ 1219447 w 2298700"/>
                <a:gd name="connsiteY33" fmla="*/ 1224958 h 2235649"/>
                <a:gd name="connsiteX34" fmla="*/ 1408223 w 2298700"/>
                <a:gd name="connsiteY34" fmla="*/ 463840 h 2235649"/>
                <a:gd name="connsiteX35" fmla="*/ 1104900 w 2298700"/>
                <a:gd name="connsiteY35" fmla="*/ 216349 h 2235649"/>
                <a:gd name="connsiteX36" fmla="*/ 1066835 w 2298700"/>
                <a:gd name="connsiteY36" fmla="*/ 52762 h 2235649"/>
                <a:gd name="connsiteX0" fmla="*/ 1066835 w 2298700"/>
                <a:gd name="connsiteY0" fmla="*/ 52762 h 2235649"/>
                <a:gd name="connsiteX1" fmla="*/ 1557351 w 2298700"/>
                <a:gd name="connsiteY1" fmla="*/ 514817 h 2235649"/>
                <a:gd name="connsiteX2" fmla="*/ 1371600 w 2298700"/>
                <a:gd name="connsiteY2" fmla="*/ 1270449 h 2235649"/>
                <a:gd name="connsiteX3" fmla="*/ 1163616 w 2298700"/>
                <a:gd name="connsiteY3" fmla="*/ 1537325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76200 w 2298700"/>
                <a:gd name="connsiteY22" fmla="*/ 965649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152400 w 2298700"/>
                <a:gd name="connsiteY28" fmla="*/ 571949 h 2235649"/>
                <a:gd name="connsiteX29" fmla="*/ 139700 w 2298700"/>
                <a:gd name="connsiteY29" fmla="*/ 737049 h 2235649"/>
                <a:gd name="connsiteX30" fmla="*/ 406400 w 2298700"/>
                <a:gd name="connsiteY30" fmla="*/ 1092649 h 2235649"/>
                <a:gd name="connsiteX31" fmla="*/ 861982 w 2298700"/>
                <a:gd name="connsiteY31" fmla="*/ 1362586 h 2235649"/>
                <a:gd name="connsiteX32" fmla="*/ 1016000 w 2298700"/>
                <a:gd name="connsiteY32" fmla="*/ 1422849 h 2235649"/>
                <a:gd name="connsiteX33" fmla="*/ 1219447 w 2298700"/>
                <a:gd name="connsiteY33" fmla="*/ 1224958 h 2235649"/>
                <a:gd name="connsiteX34" fmla="*/ 1408223 w 2298700"/>
                <a:gd name="connsiteY34" fmla="*/ 463840 h 2235649"/>
                <a:gd name="connsiteX35" fmla="*/ 1104900 w 2298700"/>
                <a:gd name="connsiteY35" fmla="*/ 216349 h 2235649"/>
                <a:gd name="connsiteX36" fmla="*/ 1066835 w 2298700"/>
                <a:gd name="connsiteY36" fmla="*/ 52762 h 2235649"/>
                <a:gd name="connsiteX0" fmla="*/ 1066835 w 2298700"/>
                <a:gd name="connsiteY0" fmla="*/ 52762 h 2235649"/>
                <a:gd name="connsiteX1" fmla="*/ 1557351 w 2298700"/>
                <a:gd name="connsiteY1" fmla="*/ 514817 h 2235649"/>
                <a:gd name="connsiteX2" fmla="*/ 1371600 w 2298700"/>
                <a:gd name="connsiteY2" fmla="*/ 1270449 h 2235649"/>
                <a:gd name="connsiteX3" fmla="*/ 1163616 w 2298700"/>
                <a:gd name="connsiteY3" fmla="*/ 1537325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76200 w 2298700"/>
                <a:gd name="connsiteY22" fmla="*/ 965649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152400 w 2298700"/>
                <a:gd name="connsiteY28" fmla="*/ 571949 h 2235649"/>
                <a:gd name="connsiteX29" fmla="*/ 139700 w 2298700"/>
                <a:gd name="connsiteY29" fmla="*/ 737049 h 2235649"/>
                <a:gd name="connsiteX30" fmla="*/ 406400 w 2298700"/>
                <a:gd name="connsiteY30" fmla="*/ 1092649 h 2235649"/>
                <a:gd name="connsiteX31" fmla="*/ 861982 w 2298700"/>
                <a:gd name="connsiteY31" fmla="*/ 1362586 h 2235649"/>
                <a:gd name="connsiteX32" fmla="*/ 1016000 w 2298700"/>
                <a:gd name="connsiteY32" fmla="*/ 1422849 h 2235649"/>
                <a:gd name="connsiteX33" fmla="*/ 1219447 w 2298700"/>
                <a:gd name="connsiteY33" fmla="*/ 1224958 h 2235649"/>
                <a:gd name="connsiteX34" fmla="*/ 1408223 w 2298700"/>
                <a:gd name="connsiteY34" fmla="*/ 463840 h 2235649"/>
                <a:gd name="connsiteX35" fmla="*/ 1104900 w 2298700"/>
                <a:gd name="connsiteY35" fmla="*/ 216349 h 2235649"/>
                <a:gd name="connsiteX36" fmla="*/ 1066835 w 2298700"/>
                <a:gd name="connsiteY36" fmla="*/ 52762 h 2235649"/>
                <a:gd name="connsiteX0" fmla="*/ 1066835 w 2298700"/>
                <a:gd name="connsiteY0" fmla="*/ 52762 h 2235649"/>
                <a:gd name="connsiteX1" fmla="*/ 1557351 w 2298700"/>
                <a:gd name="connsiteY1" fmla="*/ 514817 h 2235649"/>
                <a:gd name="connsiteX2" fmla="*/ 1371600 w 2298700"/>
                <a:gd name="connsiteY2" fmla="*/ 1270449 h 2235649"/>
                <a:gd name="connsiteX3" fmla="*/ 1163616 w 2298700"/>
                <a:gd name="connsiteY3" fmla="*/ 1537325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76200 w 2298700"/>
                <a:gd name="connsiteY22" fmla="*/ 965649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152400 w 2298700"/>
                <a:gd name="connsiteY28" fmla="*/ 571949 h 2235649"/>
                <a:gd name="connsiteX29" fmla="*/ 139700 w 2298700"/>
                <a:gd name="connsiteY29" fmla="*/ 737049 h 2235649"/>
                <a:gd name="connsiteX30" fmla="*/ 406400 w 2298700"/>
                <a:gd name="connsiteY30" fmla="*/ 1092649 h 2235649"/>
                <a:gd name="connsiteX31" fmla="*/ 861982 w 2298700"/>
                <a:gd name="connsiteY31" fmla="*/ 1362586 h 2235649"/>
                <a:gd name="connsiteX32" fmla="*/ 1016000 w 2298700"/>
                <a:gd name="connsiteY32" fmla="*/ 1422849 h 2235649"/>
                <a:gd name="connsiteX33" fmla="*/ 1219447 w 2298700"/>
                <a:gd name="connsiteY33" fmla="*/ 1224958 h 2235649"/>
                <a:gd name="connsiteX34" fmla="*/ 1408223 w 2298700"/>
                <a:gd name="connsiteY34" fmla="*/ 463840 h 2235649"/>
                <a:gd name="connsiteX35" fmla="*/ 1104900 w 2298700"/>
                <a:gd name="connsiteY35" fmla="*/ 216349 h 2235649"/>
                <a:gd name="connsiteX36" fmla="*/ 1066835 w 2298700"/>
                <a:gd name="connsiteY36" fmla="*/ 52762 h 2235649"/>
                <a:gd name="connsiteX0" fmla="*/ 1066835 w 2298700"/>
                <a:gd name="connsiteY0" fmla="*/ 52762 h 2235649"/>
                <a:gd name="connsiteX1" fmla="*/ 1557351 w 2298700"/>
                <a:gd name="connsiteY1" fmla="*/ 514817 h 2235649"/>
                <a:gd name="connsiteX2" fmla="*/ 1371600 w 2298700"/>
                <a:gd name="connsiteY2" fmla="*/ 1270449 h 2235649"/>
                <a:gd name="connsiteX3" fmla="*/ 1163616 w 2298700"/>
                <a:gd name="connsiteY3" fmla="*/ 1537325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76200 w 2298700"/>
                <a:gd name="connsiteY22" fmla="*/ 965649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152400 w 2298700"/>
                <a:gd name="connsiteY28" fmla="*/ 571949 h 2235649"/>
                <a:gd name="connsiteX29" fmla="*/ 139700 w 2298700"/>
                <a:gd name="connsiteY29" fmla="*/ 737049 h 2235649"/>
                <a:gd name="connsiteX30" fmla="*/ 406400 w 2298700"/>
                <a:gd name="connsiteY30" fmla="*/ 1092649 h 2235649"/>
                <a:gd name="connsiteX31" fmla="*/ 861982 w 2298700"/>
                <a:gd name="connsiteY31" fmla="*/ 1362586 h 2235649"/>
                <a:gd name="connsiteX32" fmla="*/ 1016000 w 2298700"/>
                <a:gd name="connsiteY32" fmla="*/ 1422849 h 2235649"/>
                <a:gd name="connsiteX33" fmla="*/ 1219447 w 2298700"/>
                <a:gd name="connsiteY33" fmla="*/ 1224958 h 2235649"/>
                <a:gd name="connsiteX34" fmla="*/ 1408223 w 2298700"/>
                <a:gd name="connsiteY34" fmla="*/ 463840 h 2235649"/>
                <a:gd name="connsiteX35" fmla="*/ 1104900 w 2298700"/>
                <a:gd name="connsiteY35" fmla="*/ 216349 h 2235649"/>
                <a:gd name="connsiteX36" fmla="*/ 1066835 w 2298700"/>
                <a:gd name="connsiteY36" fmla="*/ 52762 h 2235649"/>
                <a:gd name="connsiteX0" fmla="*/ 1066835 w 2298700"/>
                <a:gd name="connsiteY0" fmla="*/ 52762 h 2235649"/>
                <a:gd name="connsiteX1" fmla="*/ 1557351 w 2298700"/>
                <a:gd name="connsiteY1" fmla="*/ 514817 h 2235649"/>
                <a:gd name="connsiteX2" fmla="*/ 1371600 w 2298700"/>
                <a:gd name="connsiteY2" fmla="*/ 1270449 h 2235649"/>
                <a:gd name="connsiteX3" fmla="*/ 1163616 w 2298700"/>
                <a:gd name="connsiteY3" fmla="*/ 1537325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76200 w 2298700"/>
                <a:gd name="connsiteY22" fmla="*/ 965649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152400 w 2298700"/>
                <a:gd name="connsiteY28" fmla="*/ 571949 h 2235649"/>
                <a:gd name="connsiteX29" fmla="*/ 139700 w 2298700"/>
                <a:gd name="connsiteY29" fmla="*/ 737049 h 2235649"/>
                <a:gd name="connsiteX30" fmla="*/ 406400 w 2298700"/>
                <a:gd name="connsiteY30" fmla="*/ 1092649 h 2235649"/>
                <a:gd name="connsiteX31" fmla="*/ 861982 w 2298700"/>
                <a:gd name="connsiteY31" fmla="*/ 1362586 h 2235649"/>
                <a:gd name="connsiteX32" fmla="*/ 1219447 w 2298700"/>
                <a:gd name="connsiteY32" fmla="*/ 1224958 h 2235649"/>
                <a:gd name="connsiteX33" fmla="*/ 1408223 w 2298700"/>
                <a:gd name="connsiteY33" fmla="*/ 463840 h 2235649"/>
                <a:gd name="connsiteX34" fmla="*/ 1104900 w 2298700"/>
                <a:gd name="connsiteY34" fmla="*/ 216349 h 2235649"/>
                <a:gd name="connsiteX35" fmla="*/ 1066835 w 2298700"/>
                <a:gd name="connsiteY35" fmla="*/ 52762 h 2235649"/>
                <a:gd name="connsiteX0" fmla="*/ 1066835 w 2298700"/>
                <a:gd name="connsiteY0" fmla="*/ 52762 h 2235649"/>
                <a:gd name="connsiteX1" fmla="*/ 1557351 w 2298700"/>
                <a:gd name="connsiteY1" fmla="*/ 514817 h 2235649"/>
                <a:gd name="connsiteX2" fmla="*/ 1371600 w 2298700"/>
                <a:gd name="connsiteY2" fmla="*/ 1270449 h 2235649"/>
                <a:gd name="connsiteX3" fmla="*/ 1163616 w 2298700"/>
                <a:gd name="connsiteY3" fmla="*/ 1537325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76200 w 2298700"/>
                <a:gd name="connsiteY22" fmla="*/ 965649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152400 w 2298700"/>
                <a:gd name="connsiteY28" fmla="*/ 571949 h 2235649"/>
                <a:gd name="connsiteX29" fmla="*/ 139700 w 2298700"/>
                <a:gd name="connsiteY29" fmla="*/ 737049 h 2235649"/>
                <a:gd name="connsiteX30" fmla="*/ 406400 w 2298700"/>
                <a:gd name="connsiteY30" fmla="*/ 1092649 h 2235649"/>
                <a:gd name="connsiteX31" fmla="*/ 861982 w 2298700"/>
                <a:gd name="connsiteY31" fmla="*/ 1362586 h 2235649"/>
                <a:gd name="connsiteX32" fmla="*/ 1219447 w 2298700"/>
                <a:gd name="connsiteY32" fmla="*/ 1224958 h 2235649"/>
                <a:gd name="connsiteX33" fmla="*/ 1408223 w 2298700"/>
                <a:gd name="connsiteY33" fmla="*/ 463840 h 2235649"/>
                <a:gd name="connsiteX34" fmla="*/ 1104900 w 2298700"/>
                <a:gd name="connsiteY34" fmla="*/ 216349 h 2235649"/>
                <a:gd name="connsiteX35" fmla="*/ 1066835 w 2298700"/>
                <a:gd name="connsiteY35" fmla="*/ 52762 h 2235649"/>
                <a:gd name="connsiteX0" fmla="*/ 1066835 w 2298700"/>
                <a:gd name="connsiteY0" fmla="*/ 52762 h 2235649"/>
                <a:gd name="connsiteX1" fmla="*/ 1557351 w 2298700"/>
                <a:gd name="connsiteY1" fmla="*/ 514817 h 2235649"/>
                <a:gd name="connsiteX2" fmla="*/ 1371600 w 2298700"/>
                <a:gd name="connsiteY2" fmla="*/ 1270449 h 2235649"/>
                <a:gd name="connsiteX3" fmla="*/ 1163616 w 2298700"/>
                <a:gd name="connsiteY3" fmla="*/ 1537325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76200 w 2298700"/>
                <a:gd name="connsiteY22" fmla="*/ 965649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152400 w 2298700"/>
                <a:gd name="connsiteY28" fmla="*/ 571949 h 2235649"/>
                <a:gd name="connsiteX29" fmla="*/ 139700 w 2298700"/>
                <a:gd name="connsiteY29" fmla="*/ 737049 h 2235649"/>
                <a:gd name="connsiteX30" fmla="*/ 406400 w 2298700"/>
                <a:gd name="connsiteY30" fmla="*/ 1092649 h 2235649"/>
                <a:gd name="connsiteX31" fmla="*/ 861982 w 2298700"/>
                <a:gd name="connsiteY31" fmla="*/ 1362586 h 2235649"/>
                <a:gd name="connsiteX32" fmla="*/ 1219447 w 2298700"/>
                <a:gd name="connsiteY32" fmla="*/ 1224958 h 2235649"/>
                <a:gd name="connsiteX33" fmla="*/ 1408223 w 2298700"/>
                <a:gd name="connsiteY33" fmla="*/ 463840 h 2235649"/>
                <a:gd name="connsiteX34" fmla="*/ 1104900 w 2298700"/>
                <a:gd name="connsiteY34" fmla="*/ 216349 h 2235649"/>
                <a:gd name="connsiteX35" fmla="*/ 1066835 w 2298700"/>
                <a:gd name="connsiteY35" fmla="*/ 52762 h 2235649"/>
                <a:gd name="connsiteX0" fmla="*/ 1066835 w 2298700"/>
                <a:gd name="connsiteY0" fmla="*/ 52762 h 2235649"/>
                <a:gd name="connsiteX1" fmla="*/ 1557351 w 2298700"/>
                <a:gd name="connsiteY1" fmla="*/ 514817 h 2235649"/>
                <a:gd name="connsiteX2" fmla="*/ 1371600 w 2298700"/>
                <a:gd name="connsiteY2" fmla="*/ 1270449 h 2235649"/>
                <a:gd name="connsiteX3" fmla="*/ 1163616 w 2298700"/>
                <a:gd name="connsiteY3" fmla="*/ 1537325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76200 w 2298700"/>
                <a:gd name="connsiteY22" fmla="*/ 965649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152400 w 2298700"/>
                <a:gd name="connsiteY28" fmla="*/ 571949 h 2235649"/>
                <a:gd name="connsiteX29" fmla="*/ 139700 w 2298700"/>
                <a:gd name="connsiteY29" fmla="*/ 737049 h 2235649"/>
                <a:gd name="connsiteX30" fmla="*/ 221178 w 2298700"/>
                <a:gd name="connsiteY30" fmla="*/ 878932 h 2235649"/>
                <a:gd name="connsiteX31" fmla="*/ 861982 w 2298700"/>
                <a:gd name="connsiteY31" fmla="*/ 1362586 h 2235649"/>
                <a:gd name="connsiteX32" fmla="*/ 1219447 w 2298700"/>
                <a:gd name="connsiteY32" fmla="*/ 1224958 h 2235649"/>
                <a:gd name="connsiteX33" fmla="*/ 1408223 w 2298700"/>
                <a:gd name="connsiteY33" fmla="*/ 463840 h 2235649"/>
                <a:gd name="connsiteX34" fmla="*/ 1104900 w 2298700"/>
                <a:gd name="connsiteY34" fmla="*/ 216349 h 2235649"/>
                <a:gd name="connsiteX35" fmla="*/ 1066835 w 2298700"/>
                <a:gd name="connsiteY35" fmla="*/ 52762 h 2235649"/>
                <a:gd name="connsiteX0" fmla="*/ 1066835 w 2298700"/>
                <a:gd name="connsiteY0" fmla="*/ 52762 h 2235649"/>
                <a:gd name="connsiteX1" fmla="*/ 1557351 w 2298700"/>
                <a:gd name="connsiteY1" fmla="*/ 514817 h 2235649"/>
                <a:gd name="connsiteX2" fmla="*/ 1371600 w 2298700"/>
                <a:gd name="connsiteY2" fmla="*/ 1270449 h 2235649"/>
                <a:gd name="connsiteX3" fmla="*/ 1163616 w 2298700"/>
                <a:gd name="connsiteY3" fmla="*/ 1537325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76200 w 2298700"/>
                <a:gd name="connsiteY22" fmla="*/ 965649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152400 w 2298700"/>
                <a:gd name="connsiteY28" fmla="*/ 571949 h 2235649"/>
                <a:gd name="connsiteX29" fmla="*/ 221178 w 2298700"/>
                <a:gd name="connsiteY29" fmla="*/ 878932 h 2235649"/>
                <a:gd name="connsiteX30" fmla="*/ 861982 w 2298700"/>
                <a:gd name="connsiteY30" fmla="*/ 1362586 h 2235649"/>
                <a:gd name="connsiteX31" fmla="*/ 1219447 w 2298700"/>
                <a:gd name="connsiteY31" fmla="*/ 1224958 h 2235649"/>
                <a:gd name="connsiteX32" fmla="*/ 1408223 w 2298700"/>
                <a:gd name="connsiteY32" fmla="*/ 463840 h 2235649"/>
                <a:gd name="connsiteX33" fmla="*/ 1104900 w 2298700"/>
                <a:gd name="connsiteY33" fmla="*/ 216349 h 2235649"/>
                <a:gd name="connsiteX34" fmla="*/ 1066835 w 2298700"/>
                <a:gd name="connsiteY34" fmla="*/ 52762 h 2235649"/>
                <a:gd name="connsiteX0" fmla="*/ 1066835 w 2298700"/>
                <a:gd name="connsiteY0" fmla="*/ 52762 h 2235649"/>
                <a:gd name="connsiteX1" fmla="*/ 1557351 w 2298700"/>
                <a:gd name="connsiteY1" fmla="*/ 514817 h 2235649"/>
                <a:gd name="connsiteX2" fmla="*/ 1371600 w 2298700"/>
                <a:gd name="connsiteY2" fmla="*/ 1270449 h 2235649"/>
                <a:gd name="connsiteX3" fmla="*/ 1163616 w 2298700"/>
                <a:gd name="connsiteY3" fmla="*/ 1537325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76200 w 2298700"/>
                <a:gd name="connsiteY22" fmla="*/ 965649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331290 w 2298700"/>
                <a:gd name="connsiteY28" fmla="*/ 489628 h 2235649"/>
                <a:gd name="connsiteX29" fmla="*/ 221178 w 2298700"/>
                <a:gd name="connsiteY29" fmla="*/ 878932 h 2235649"/>
                <a:gd name="connsiteX30" fmla="*/ 861982 w 2298700"/>
                <a:gd name="connsiteY30" fmla="*/ 1362586 h 2235649"/>
                <a:gd name="connsiteX31" fmla="*/ 1219447 w 2298700"/>
                <a:gd name="connsiteY31" fmla="*/ 1224958 h 2235649"/>
                <a:gd name="connsiteX32" fmla="*/ 1408223 w 2298700"/>
                <a:gd name="connsiteY32" fmla="*/ 463840 h 2235649"/>
                <a:gd name="connsiteX33" fmla="*/ 1104900 w 2298700"/>
                <a:gd name="connsiteY33" fmla="*/ 216349 h 2235649"/>
                <a:gd name="connsiteX34" fmla="*/ 1066835 w 2298700"/>
                <a:gd name="connsiteY34" fmla="*/ 52762 h 2235649"/>
                <a:gd name="connsiteX0" fmla="*/ 1066835 w 2298700"/>
                <a:gd name="connsiteY0" fmla="*/ 52762 h 2235649"/>
                <a:gd name="connsiteX1" fmla="*/ 1557351 w 2298700"/>
                <a:gd name="connsiteY1" fmla="*/ 514817 h 2235649"/>
                <a:gd name="connsiteX2" fmla="*/ 1371600 w 2298700"/>
                <a:gd name="connsiteY2" fmla="*/ 1270449 h 2235649"/>
                <a:gd name="connsiteX3" fmla="*/ 1163616 w 2298700"/>
                <a:gd name="connsiteY3" fmla="*/ 1537325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76200 w 2298700"/>
                <a:gd name="connsiteY22" fmla="*/ 965649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331290 w 2298700"/>
                <a:gd name="connsiteY28" fmla="*/ 489628 h 2235649"/>
                <a:gd name="connsiteX29" fmla="*/ 221178 w 2298700"/>
                <a:gd name="connsiteY29" fmla="*/ 878932 h 2235649"/>
                <a:gd name="connsiteX30" fmla="*/ 861982 w 2298700"/>
                <a:gd name="connsiteY30" fmla="*/ 1362586 h 2235649"/>
                <a:gd name="connsiteX31" fmla="*/ 1219447 w 2298700"/>
                <a:gd name="connsiteY31" fmla="*/ 1224958 h 2235649"/>
                <a:gd name="connsiteX32" fmla="*/ 1408223 w 2298700"/>
                <a:gd name="connsiteY32" fmla="*/ 463840 h 2235649"/>
                <a:gd name="connsiteX33" fmla="*/ 1104900 w 2298700"/>
                <a:gd name="connsiteY33" fmla="*/ 216349 h 2235649"/>
                <a:gd name="connsiteX34" fmla="*/ 1066835 w 2298700"/>
                <a:gd name="connsiteY34" fmla="*/ 52762 h 2235649"/>
                <a:gd name="connsiteX0" fmla="*/ 1066835 w 2298700"/>
                <a:gd name="connsiteY0" fmla="*/ 52762 h 2235649"/>
                <a:gd name="connsiteX1" fmla="*/ 1557351 w 2298700"/>
                <a:gd name="connsiteY1" fmla="*/ 514817 h 2235649"/>
                <a:gd name="connsiteX2" fmla="*/ 1371600 w 2298700"/>
                <a:gd name="connsiteY2" fmla="*/ 1270449 h 2235649"/>
                <a:gd name="connsiteX3" fmla="*/ 1163616 w 2298700"/>
                <a:gd name="connsiteY3" fmla="*/ 1537325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76200 w 2298700"/>
                <a:gd name="connsiteY22" fmla="*/ 965649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331290 w 2298700"/>
                <a:gd name="connsiteY28" fmla="*/ 489628 h 2235649"/>
                <a:gd name="connsiteX29" fmla="*/ 221178 w 2298700"/>
                <a:gd name="connsiteY29" fmla="*/ 878932 h 2235649"/>
                <a:gd name="connsiteX30" fmla="*/ 861982 w 2298700"/>
                <a:gd name="connsiteY30" fmla="*/ 1362586 h 2235649"/>
                <a:gd name="connsiteX31" fmla="*/ 1219447 w 2298700"/>
                <a:gd name="connsiteY31" fmla="*/ 1224958 h 2235649"/>
                <a:gd name="connsiteX32" fmla="*/ 1408223 w 2298700"/>
                <a:gd name="connsiteY32" fmla="*/ 463840 h 2235649"/>
                <a:gd name="connsiteX33" fmla="*/ 1104900 w 2298700"/>
                <a:gd name="connsiteY33" fmla="*/ 216349 h 2235649"/>
                <a:gd name="connsiteX34" fmla="*/ 1066835 w 2298700"/>
                <a:gd name="connsiteY34" fmla="*/ 52762 h 2235649"/>
                <a:gd name="connsiteX0" fmla="*/ 1066835 w 2298700"/>
                <a:gd name="connsiteY0" fmla="*/ 52762 h 2235649"/>
                <a:gd name="connsiteX1" fmla="*/ 1557351 w 2298700"/>
                <a:gd name="connsiteY1" fmla="*/ 514817 h 2235649"/>
                <a:gd name="connsiteX2" fmla="*/ 1371600 w 2298700"/>
                <a:gd name="connsiteY2" fmla="*/ 1270449 h 2235649"/>
                <a:gd name="connsiteX3" fmla="*/ 1163616 w 2298700"/>
                <a:gd name="connsiteY3" fmla="*/ 1537325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55620 w 2298700"/>
                <a:gd name="connsiteY22" fmla="*/ 930821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331290 w 2298700"/>
                <a:gd name="connsiteY28" fmla="*/ 489628 h 2235649"/>
                <a:gd name="connsiteX29" fmla="*/ 221178 w 2298700"/>
                <a:gd name="connsiteY29" fmla="*/ 878932 h 2235649"/>
                <a:gd name="connsiteX30" fmla="*/ 861982 w 2298700"/>
                <a:gd name="connsiteY30" fmla="*/ 1362586 h 2235649"/>
                <a:gd name="connsiteX31" fmla="*/ 1219447 w 2298700"/>
                <a:gd name="connsiteY31" fmla="*/ 1224958 h 2235649"/>
                <a:gd name="connsiteX32" fmla="*/ 1408223 w 2298700"/>
                <a:gd name="connsiteY32" fmla="*/ 463840 h 2235649"/>
                <a:gd name="connsiteX33" fmla="*/ 1104900 w 2298700"/>
                <a:gd name="connsiteY33" fmla="*/ 216349 h 2235649"/>
                <a:gd name="connsiteX34" fmla="*/ 1066835 w 2298700"/>
                <a:gd name="connsiteY34" fmla="*/ 52762 h 2235649"/>
                <a:gd name="connsiteX0" fmla="*/ 1041435 w 2273300"/>
                <a:gd name="connsiteY0" fmla="*/ 52762 h 2235649"/>
                <a:gd name="connsiteX1" fmla="*/ 1531951 w 2273300"/>
                <a:gd name="connsiteY1" fmla="*/ 514817 h 2235649"/>
                <a:gd name="connsiteX2" fmla="*/ 1346200 w 2273300"/>
                <a:gd name="connsiteY2" fmla="*/ 1270449 h 2235649"/>
                <a:gd name="connsiteX3" fmla="*/ 1138216 w 2273300"/>
                <a:gd name="connsiteY3" fmla="*/ 1537325 h 2235649"/>
                <a:gd name="connsiteX4" fmla="*/ 1193800 w 2273300"/>
                <a:gd name="connsiteY4" fmla="*/ 1892749 h 2235649"/>
                <a:gd name="connsiteX5" fmla="*/ 1460500 w 2273300"/>
                <a:gd name="connsiteY5" fmla="*/ 2146749 h 2235649"/>
                <a:gd name="connsiteX6" fmla="*/ 1816100 w 2273300"/>
                <a:gd name="connsiteY6" fmla="*/ 2070549 h 2235649"/>
                <a:gd name="connsiteX7" fmla="*/ 1981200 w 2273300"/>
                <a:gd name="connsiteY7" fmla="*/ 1727649 h 2235649"/>
                <a:gd name="connsiteX8" fmla="*/ 1930400 w 2273300"/>
                <a:gd name="connsiteY8" fmla="*/ 1270449 h 2235649"/>
                <a:gd name="connsiteX9" fmla="*/ 1981200 w 2273300"/>
                <a:gd name="connsiteY9" fmla="*/ 737049 h 2235649"/>
                <a:gd name="connsiteX10" fmla="*/ 2209800 w 2273300"/>
                <a:gd name="connsiteY10" fmla="*/ 571949 h 2235649"/>
                <a:gd name="connsiteX11" fmla="*/ 2273300 w 2273300"/>
                <a:gd name="connsiteY11" fmla="*/ 737049 h 2235649"/>
                <a:gd name="connsiteX12" fmla="*/ 2159000 w 2273300"/>
                <a:gd name="connsiteY12" fmla="*/ 800549 h 2235649"/>
                <a:gd name="connsiteX13" fmla="*/ 2044700 w 2273300"/>
                <a:gd name="connsiteY13" fmla="*/ 991049 h 2235649"/>
                <a:gd name="connsiteX14" fmla="*/ 2095500 w 2273300"/>
                <a:gd name="connsiteY14" fmla="*/ 1359349 h 2235649"/>
                <a:gd name="connsiteX15" fmla="*/ 2133600 w 2273300"/>
                <a:gd name="connsiteY15" fmla="*/ 1740349 h 2235649"/>
                <a:gd name="connsiteX16" fmla="*/ 2006600 w 2273300"/>
                <a:gd name="connsiteY16" fmla="*/ 2070549 h 2235649"/>
                <a:gd name="connsiteX17" fmla="*/ 1752600 w 2273300"/>
                <a:gd name="connsiteY17" fmla="*/ 2235649 h 2235649"/>
                <a:gd name="connsiteX18" fmla="*/ 1181100 w 2273300"/>
                <a:gd name="connsiteY18" fmla="*/ 2146749 h 2235649"/>
                <a:gd name="connsiteX19" fmla="*/ 1016000 w 2273300"/>
                <a:gd name="connsiteY19" fmla="*/ 1765749 h 2235649"/>
                <a:gd name="connsiteX20" fmla="*/ 965200 w 2273300"/>
                <a:gd name="connsiteY20" fmla="*/ 1549849 h 2235649"/>
                <a:gd name="connsiteX21" fmla="*/ 812800 w 2273300"/>
                <a:gd name="connsiteY21" fmla="*/ 1537149 h 2235649"/>
                <a:gd name="connsiteX22" fmla="*/ 30220 w 2273300"/>
                <a:gd name="connsiteY22" fmla="*/ 930821 h 2235649"/>
                <a:gd name="connsiteX23" fmla="*/ 0 w 2273300"/>
                <a:gd name="connsiteY23" fmla="*/ 546549 h 2235649"/>
                <a:gd name="connsiteX24" fmla="*/ 127000 w 2273300"/>
                <a:gd name="connsiteY24" fmla="*/ 381449 h 2235649"/>
                <a:gd name="connsiteX25" fmla="*/ 355600 w 2273300"/>
                <a:gd name="connsiteY25" fmla="*/ 343349 h 2235649"/>
                <a:gd name="connsiteX26" fmla="*/ 381000 w 2273300"/>
                <a:gd name="connsiteY26" fmla="*/ 457649 h 2235649"/>
                <a:gd name="connsiteX27" fmla="*/ 305890 w 2273300"/>
                <a:gd name="connsiteY27" fmla="*/ 489628 h 2235649"/>
                <a:gd name="connsiteX28" fmla="*/ 195778 w 2273300"/>
                <a:gd name="connsiteY28" fmla="*/ 878932 h 2235649"/>
                <a:gd name="connsiteX29" fmla="*/ 836582 w 2273300"/>
                <a:gd name="connsiteY29" fmla="*/ 1362586 h 2235649"/>
                <a:gd name="connsiteX30" fmla="*/ 1194047 w 2273300"/>
                <a:gd name="connsiteY30" fmla="*/ 1224958 h 2235649"/>
                <a:gd name="connsiteX31" fmla="*/ 1382823 w 2273300"/>
                <a:gd name="connsiteY31" fmla="*/ 463840 h 2235649"/>
                <a:gd name="connsiteX32" fmla="*/ 1079500 w 2273300"/>
                <a:gd name="connsiteY32" fmla="*/ 216349 h 2235649"/>
                <a:gd name="connsiteX33" fmla="*/ 1041435 w 2273300"/>
                <a:gd name="connsiteY33" fmla="*/ 52762 h 2235649"/>
                <a:gd name="connsiteX0" fmla="*/ 1011215 w 2243080"/>
                <a:gd name="connsiteY0" fmla="*/ 52762 h 2235649"/>
                <a:gd name="connsiteX1" fmla="*/ 1501731 w 2243080"/>
                <a:gd name="connsiteY1" fmla="*/ 514817 h 2235649"/>
                <a:gd name="connsiteX2" fmla="*/ 1315980 w 2243080"/>
                <a:gd name="connsiteY2" fmla="*/ 1270449 h 2235649"/>
                <a:gd name="connsiteX3" fmla="*/ 1107996 w 2243080"/>
                <a:gd name="connsiteY3" fmla="*/ 1537325 h 2235649"/>
                <a:gd name="connsiteX4" fmla="*/ 1163580 w 2243080"/>
                <a:gd name="connsiteY4" fmla="*/ 1892749 h 2235649"/>
                <a:gd name="connsiteX5" fmla="*/ 1430280 w 2243080"/>
                <a:gd name="connsiteY5" fmla="*/ 2146749 h 2235649"/>
                <a:gd name="connsiteX6" fmla="*/ 1785880 w 2243080"/>
                <a:gd name="connsiteY6" fmla="*/ 2070549 h 2235649"/>
                <a:gd name="connsiteX7" fmla="*/ 1950980 w 2243080"/>
                <a:gd name="connsiteY7" fmla="*/ 1727649 h 2235649"/>
                <a:gd name="connsiteX8" fmla="*/ 1900180 w 2243080"/>
                <a:gd name="connsiteY8" fmla="*/ 1270449 h 2235649"/>
                <a:gd name="connsiteX9" fmla="*/ 1950980 w 2243080"/>
                <a:gd name="connsiteY9" fmla="*/ 737049 h 2235649"/>
                <a:gd name="connsiteX10" fmla="*/ 2179580 w 2243080"/>
                <a:gd name="connsiteY10" fmla="*/ 571949 h 2235649"/>
                <a:gd name="connsiteX11" fmla="*/ 2243080 w 2243080"/>
                <a:gd name="connsiteY11" fmla="*/ 737049 h 2235649"/>
                <a:gd name="connsiteX12" fmla="*/ 2128780 w 2243080"/>
                <a:gd name="connsiteY12" fmla="*/ 800549 h 2235649"/>
                <a:gd name="connsiteX13" fmla="*/ 2014480 w 2243080"/>
                <a:gd name="connsiteY13" fmla="*/ 991049 h 2235649"/>
                <a:gd name="connsiteX14" fmla="*/ 2065280 w 2243080"/>
                <a:gd name="connsiteY14" fmla="*/ 1359349 h 2235649"/>
                <a:gd name="connsiteX15" fmla="*/ 2103380 w 2243080"/>
                <a:gd name="connsiteY15" fmla="*/ 1740349 h 2235649"/>
                <a:gd name="connsiteX16" fmla="*/ 1976380 w 2243080"/>
                <a:gd name="connsiteY16" fmla="*/ 2070549 h 2235649"/>
                <a:gd name="connsiteX17" fmla="*/ 1722380 w 2243080"/>
                <a:gd name="connsiteY17" fmla="*/ 2235649 h 2235649"/>
                <a:gd name="connsiteX18" fmla="*/ 1150880 w 2243080"/>
                <a:gd name="connsiteY18" fmla="*/ 2146749 h 2235649"/>
                <a:gd name="connsiteX19" fmla="*/ 985780 w 2243080"/>
                <a:gd name="connsiteY19" fmla="*/ 1765749 h 2235649"/>
                <a:gd name="connsiteX20" fmla="*/ 934980 w 2243080"/>
                <a:gd name="connsiteY20" fmla="*/ 1549849 h 2235649"/>
                <a:gd name="connsiteX21" fmla="*/ 782580 w 2243080"/>
                <a:gd name="connsiteY21" fmla="*/ 1537149 h 2235649"/>
                <a:gd name="connsiteX22" fmla="*/ 0 w 2243080"/>
                <a:gd name="connsiteY22" fmla="*/ 930821 h 2235649"/>
                <a:gd name="connsiteX23" fmla="*/ 96780 w 2243080"/>
                <a:gd name="connsiteY23" fmla="*/ 381449 h 2235649"/>
                <a:gd name="connsiteX24" fmla="*/ 325380 w 2243080"/>
                <a:gd name="connsiteY24" fmla="*/ 343349 h 2235649"/>
                <a:gd name="connsiteX25" fmla="*/ 350780 w 2243080"/>
                <a:gd name="connsiteY25" fmla="*/ 457649 h 2235649"/>
                <a:gd name="connsiteX26" fmla="*/ 275670 w 2243080"/>
                <a:gd name="connsiteY26" fmla="*/ 489628 h 2235649"/>
                <a:gd name="connsiteX27" fmla="*/ 165558 w 2243080"/>
                <a:gd name="connsiteY27" fmla="*/ 878932 h 2235649"/>
                <a:gd name="connsiteX28" fmla="*/ 806362 w 2243080"/>
                <a:gd name="connsiteY28" fmla="*/ 1362586 h 2235649"/>
                <a:gd name="connsiteX29" fmla="*/ 1163827 w 2243080"/>
                <a:gd name="connsiteY29" fmla="*/ 1224958 h 2235649"/>
                <a:gd name="connsiteX30" fmla="*/ 1352603 w 2243080"/>
                <a:gd name="connsiteY30" fmla="*/ 463840 h 2235649"/>
                <a:gd name="connsiteX31" fmla="*/ 1049280 w 2243080"/>
                <a:gd name="connsiteY31" fmla="*/ 216349 h 2235649"/>
                <a:gd name="connsiteX32" fmla="*/ 1011215 w 2243080"/>
                <a:gd name="connsiteY32" fmla="*/ 52762 h 2235649"/>
                <a:gd name="connsiteX0" fmla="*/ 1011215 w 2243080"/>
                <a:gd name="connsiteY0" fmla="*/ 52762 h 2235649"/>
                <a:gd name="connsiteX1" fmla="*/ 1501731 w 2243080"/>
                <a:gd name="connsiteY1" fmla="*/ 514817 h 2235649"/>
                <a:gd name="connsiteX2" fmla="*/ 1315980 w 2243080"/>
                <a:gd name="connsiteY2" fmla="*/ 1270449 h 2235649"/>
                <a:gd name="connsiteX3" fmla="*/ 1107996 w 2243080"/>
                <a:gd name="connsiteY3" fmla="*/ 1537325 h 2235649"/>
                <a:gd name="connsiteX4" fmla="*/ 1163580 w 2243080"/>
                <a:gd name="connsiteY4" fmla="*/ 1892749 h 2235649"/>
                <a:gd name="connsiteX5" fmla="*/ 1430280 w 2243080"/>
                <a:gd name="connsiteY5" fmla="*/ 2146749 h 2235649"/>
                <a:gd name="connsiteX6" fmla="*/ 1785880 w 2243080"/>
                <a:gd name="connsiteY6" fmla="*/ 2070549 h 2235649"/>
                <a:gd name="connsiteX7" fmla="*/ 1950980 w 2243080"/>
                <a:gd name="connsiteY7" fmla="*/ 1727649 h 2235649"/>
                <a:gd name="connsiteX8" fmla="*/ 1900180 w 2243080"/>
                <a:gd name="connsiteY8" fmla="*/ 1270449 h 2235649"/>
                <a:gd name="connsiteX9" fmla="*/ 1950980 w 2243080"/>
                <a:gd name="connsiteY9" fmla="*/ 737049 h 2235649"/>
                <a:gd name="connsiteX10" fmla="*/ 2179580 w 2243080"/>
                <a:gd name="connsiteY10" fmla="*/ 571949 h 2235649"/>
                <a:gd name="connsiteX11" fmla="*/ 2243080 w 2243080"/>
                <a:gd name="connsiteY11" fmla="*/ 737049 h 2235649"/>
                <a:gd name="connsiteX12" fmla="*/ 2128780 w 2243080"/>
                <a:gd name="connsiteY12" fmla="*/ 800549 h 2235649"/>
                <a:gd name="connsiteX13" fmla="*/ 2014480 w 2243080"/>
                <a:gd name="connsiteY13" fmla="*/ 991049 h 2235649"/>
                <a:gd name="connsiteX14" fmla="*/ 2065280 w 2243080"/>
                <a:gd name="connsiteY14" fmla="*/ 1359349 h 2235649"/>
                <a:gd name="connsiteX15" fmla="*/ 2103380 w 2243080"/>
                <a:gd name="connsiteY15" fmla="*/ 1740349 h 2235649"/>
                <a:gd name="connsiteX16" fmla="*/ 1976380 w 2243080"/>
                <a:gd name="connsiteY16" fmla="*/ 2070549 h 2235649"/>
                <a:gd name="connsiteX17" fmla="*/ 1722380 w 2243080"/>
                <a:gd name="connsiteY17" fmla="*/ 2235649 h 2235649"/>
                <a:gd name="connsiteX18" fmla="*/ 1150880 w 2243080"/>
                <a:gd name="connsiteY18" fmla="*/ 2146749 h 2235649"/>
                <a:gd name="connsiteX19" fmla="*/ 985780 w 2243080"/>
                <a:gd name="connsiteY19" fmla="*/ 1765749 h 2235649"/>
                <a:gd name="connsiteX20" fmla="*/ 934980 w 2243080"/>
                <a:gd name="connsiteY20" fmla="*/ 1549849 h 2235649"/>
                <a:gd name="connsiteX21" fmla="*/ 782580 w 2243080"/>
                <a:gd name="connsiteY21" fmla="*/ 1537149 h 2235649"/>
                <a:gd name="connsiteX22" fmla="*/ 0 w 2243080"/>
                <a:gd name="connsiteY22" fmla="*/ 930821 h 2235649"/>
                <a:gd name="connsiteX23" fmla="*/ 325380 w 2243080"/>
                <a:gd name="connsiteY23" fmla="*/ 343349 h 2235649"/>
                <a:gd name="connsiteX24" fmla="*/ 350780 w 2243080"/>
                <a:gd name="connsiteY24" fmla="*/ 457649 h 2235649"/>
                <a:gd name="connsiteX25" fmla="*/ 275670 w 2243080"/>
                <a:gd name="connsiteY25" fmla="*/ 489628 h 2235649"/>
                <a:gd name="connsiteX26" fmla="*/ 165558 w 2243080"/>
                <a:gd name="connsiteY26" fmla="*/ 878932 h 2235649"/>
                <a:gd name="connsiteX27" fmla="*/ 806362 w 2243080"/>
                <a:gd name="connsiteY27" fmla="*/ 1362586 h 2235649"/>
                <a:gd name="connsiteX28" fmla="*/ 1163827 w 2243080"/>
                <a:gd name="connsiteY28" fmla="*/ 1224958 h 2235649"/>
                <a:gd name="connsiteX29" fmla="*/ 1352603 w 2243080"/>
                <a:gd name="connsiteY29" fmla="*/ 463840 h 2235649"/>
                <a:gd name="connsiteX30" fmla="*/ 1049280 w 2243080"/>
                <a:gd name="connsiteY30" fmla="*/ 216349 h 2235649"/>
                <a:gd name="connsiteX31" fmla="*/ 1011215 w 2243080"/>
                <a:gd name="connsiteY31" fmla="*/ 52762 h 2235649"/>
                <a:gd name="connsiteX0" fmla="*/ 1011215 w 2243080"/>
                <a:gd name="connsiteY0" fmla="*/ 52762 h 2235649"/>
                <a:gd name="connsiteX1" fmla="*/ 1501731 w 2243080"/>
                <a:gd name="connsiteY1" fmla="*/ 514817 h 2235649"/>
                <a:gd name="connsiteX2" fmla="*/ 1315980 w 2243080"/>
                <a:gd name="connsiteY2" fmla="*/ 1270449 h 2235649"/>
                <a:gd name="connsiteX3" fmla="*/ 1107996 w 2243080"/>
                <a:gd name="connsiteY3" fmla="*/ 1537325 h 2235649"/>
                <a:gd name="connsiteX4" fmla="*/ 1163580 w 2243080"/>
                <a:gd name="connsiteY4" fmla="*/ 1892749 h 2235649"/>
                <a:gd name="connsiteX5" fmla="*/ 1430280 w 2243080"/>
                <a:gd name="connsiteY5" fmla="*/ 2146749 h 2235649"/>
                <a:gd name="connsiteX6" fmla="*/ 1785880 w 2243080"/>
                <a:gd name="connsiteY6" fmla="*/ 2070549 h 2235649"/>
                <a:gd name="connsiteX7" fmla="*/ 1950980 w 2243080"/>
                <a:gd name="connsiteY7" fmla="*/ 1727649 h 2235649"/>
                <a:gd name="connsiteX8" fmla="*/ 1900180 w 2243080"/>
                <a:gd name="connsiteY8" fmla="*/ 1270449 h 2235649"/>
                <a:gd name="connsiteX9" fmla="*/ 1950980 w 2243080"/>
                <a:gd name="connsiteY9" fmla="*/ 737049 h 2235649"/>
                <a:gd name="connsiteX10" fmla="*/ 2179580 w 2243080"/>
                <a:gd name="connsiteY10" fmla="*/ 571949 h 2235649"/>
                <a:gd name="connsiteX11" fmla="*/ 2243080 w 2243080"/>
                <a:gd name="connsiteY11" fmla="*/ 737049 h 2235649"/>
                <a:gd name="connsiteX12" fmla="*/ 2128780 w 2243080"/>
                <a:gd name="connsiteY12" fmla="*/ 800549 h 2235649"/>
                <a:gd name="connsiteX13" fmla="*/ 2014480 w 2243080"/>
                <a:gd name="connsiteY13" fmla="*/ 991049 h 2235649"/>
                <a:gd name="connsiteX14" fmla="*/ 2065280 w 2243080"/>
                <a:gd name="connsiteY14" fmla="*/ 1359349 h 2235649"/>
                <a:gd name="connsiteX15" fmla="*/ 2103380 w 2243080"/>
                <a:gd name="connsiteY15" fmla="*/ 1740349 h 2235649"/>
                <a:gd name="connsiteX16" fmla="*/ 1976380 w 2243080"/>
                <a:gd name="connsiteY16" fmla="*/ 2070549 h 2235649"/>
                <a:gd name="connsiteX17" fmla="*/ 1722380 w 2243080"/>
                <a:gd name="connsiteY17" fmla="*/ 2235649 h 2235649"/>
                <a:gd name="connsiteX18" fmla="*/ 1150880 w 2243080"/>
                <a:gd name="connsiteY18" fmla="*/ 2146749 h 2235649"/>
                <a:gd name="connsiteX19" fmla="*/ 985780 w 2243080"/>
                <a:gd name="connsiteY19" fmla="*/ 1765749 h 2235649"/>
                <a:gd name="connsiteX20" fmla="*/ 934980 w 2243080"/>
                <a:gd name="connsiteY20" fmla="*/ 1549849 h 2235649"/>
                <a:gd name="connsiteX21" fmla="*/ 782580 w 2243080"/>
                <a:gd name="connsiteY21" fmla="*/ 1537149 h 2235649"/>
                <a:gd name="connsiteX22" fmla="*/ 0 w 2243080"/>
                <a:gd name="connsiteY22" fmla="*/ 930821 h 2235649"/>
                <a:gd name="connsiteX23" fmla="*/ 211397 w 2243080"/>
                <a:gd name="connsiteY23" fmla="*/ 352847 h 2235649"/>
                <a:gd name="connsiteX24" fmla="*/ 350780 w 2243080"/>
                <a:gd name="connsiteY24" fmla="*/ 457649 h 2235649"/>
                <a:gd name="connsiteX25" fmla="*/ 275670 w 2243080"/>
                <a:gd name="connsiteY25" fmla="*/ 489628 h 2235649"/>
                <a:gd name="connsiteX26" fmla="*/ 165558 w 2243080"/>
                <a:gd name="connsiteY26" fmla="*/ 878932 h 2235649"/>
                <a:gd name="connsiteX27" fmla="*/ 806362 w 2243080"/>
                <a:gd name="connsiteY27" fmla="*/ 1362586 h 2235649"/>
                <a:gd name="connsiteX28" fmla="*/ 1163827 w 2243080"/>
                <a:gd name="connsiteY28" fmla="*/ 1224958 h 2235649"/>
                <a:gd name="connsiteX29" fmla="*/ 1352603 w 2243080"/>
                <a:gd name="connsiteY29" fmla="*/ 463840 h 2235649"/>
                <a:gd name="connsiteX30" fmla="*/ 1049280 w 2243080"/>
                <a:gd name="connsiteY30" fmla="*/ 216349 h 2235649"/>
                <a:gd name="connsiteX31" fmla="*/ 1011215 w 2243080"/>
                <a:gd name="connsiteY31" fmla="*/ 52762 h 2235649"/>
                <a:gd name="connsiteX0" fmla="*/ 1107748 w 2339613"/>
                <a:gd name="connsiteY0" fmla="*/ 52762 h 2235649"/>
                <a:gd name="connsiteX1" fmla="*/ 1598264 w 2339613"/>
                <a:gd name="connsiteY1" fmla="*/ 514817 h 2235649"/>
                <a:gd name="connsiteX2" fmla="*/ 1412513 w 2339613"/>
                <a:gd name="connsiteY2" fmla="*/ 1270449 h 2235649"/>
                <a:gd name="connsiteX3" fmla="*/ 1204529 w 2339613"/>
                <a:gd name="connsiteY3" fmla="*/ 1537325 h 2235649"/>
                <a:gd name="connsiteX4" fmla="*/ 1260113 w 2339613"/>
                <a:gd name="connsiteY4" fmla="*/ 1892749 h 2235649"/>
                <a:gd name="connsiteX5" fmla="*/ 1526813 w 2339613"/>
                <a:gd name="connsiteY5" fmla="*/ 2146749 h 2235649"/>
                <a:gd name="connsiteX6" fmla="*/ 1882413 w 2339613"/>
                <a:gd name="connsiteY6" fmla="*/ 2070549 h 2235649"/>
                <a:gd name="connsiteX7" fmla="*/ 2047513 w 2339613"/>
                <a:gd name="connsiteY7" fmla="*/ 1727649 h 2235649"/>
                <a:gd name="connsiteX8" fmla="*/ 1996713 w 2339613"/>
                <a:gd name="connsiteY8" fmla="*/ 1270449 h 2235649"/>
                <a:gd name="connsiteX9" fmla="*/ 2047513 w 2339613"/>
                <a:gd name="connsiteY9" fmla="*/ 737049 h 2235649"/>
                <a:gd name="connsiteX10" fmla="*/ 2276113 w 2339613"/>
                <a:gd name="connsiteY10" fmla="*/ 571949 h 2235649"/>
                <a:gd name="connsiteX11" fmla="*/ 2339613 w 2339613"/>
                <a:gd name="connsiteY11" fmla="*/ 737049 h 2235649"/>
                <a:gd name="connsiteX12" fmla="*/ 2225313 w 2339613"/>
                <a:gd name="connsiteY12" fmla="*/ 800549 h 2235649"/>
                <a:gd name="connsiteX13" fmla="*/ 2111013 w 2339613"/>
                <a:gd name="connsiteY13" fmla="*/ 991049 h 2235649"/>
                <a:gd name="connsiteX14" fmla="*/ 2161813 w 2339613"/>
                <a:gd name="connsiteY14" fmla="*/ 1359349 h 2235649"/>
                <a:gd name="connsiteX15" fmla="*/ 2199913 w 2339613"/>
                <a:gd name="connsiteY15" fmla="*/ 1740349 h 2235649"/>
                <a:gd name="connsiteX16" fmla="*/ 2072913 w 2339613"/>
                <a:gd name="connsiteY16" fmla="*/ 2070549 h 2235649"/>
                <a:gd name="connsiteX17" fmla="*/ 1818913 w 2339613"/>
                <a:gd name="connsiteY17" fmla="*/ 2235649 h 2235649"/>
                <a:gd name="connsiteX18" fmla="*/ 1247413 w 2339613"/>
                <a:gd name="connsiteY18" fmla="*/ 2146749 h 2235649"/>
                <a:gd name="connsiteX19" fmla="*/ 1082313 w 2339613"/>
                <a:gd name="connsiteY19" fmla="*/ 1765749 h 2235649"/>
                <a:gd name="connsiteX20" fmla="*/ 1031513 w 2339613"/>
                <a:gd name="connsiteY20" fmla="*/ 1549849 h 2235649"/>
                <a:gd name="connsiteX21" fmla="*/ 879113 w 2339613"/>
                <a:gd name="connsiteY21" fmla="*/ 1537149 h 2235649"/>
                <a:gd name="connsiteX22" fmla="*/ 96533 w 2339613"/>
                <a:gd name="connsiteY22" fmla="*/ 930821 h 2235649"/>
                <a:gd name="connsiteX23" fmla="*/ 307930 w 2339613"/>
                <a:gd name="connsiteY23" fmla="*/ 352847 h 2235649"/>
                <a:gd name="connsiteX24" fmla="*/ 447313 w 2339613"/>
                <a:gd name="connsiteY24" fmla="*/ 457649 h 2235649"/>
                <a:gd name="connsiteX25" fmla="*/ 372203 w 2339613"/>
                <a:gd name="connsiteY25" fmla="*/ 489628 h 2235649"/>
                <a:gd name="connsiteX26" fmla="*/ 262091 w 2339613"/>
                <a:gd name="connsiteY26" fmla="*/ 878932 h 2235649"/>
                <a:gd name="connsiteX27" fmla="*/ 902895 w 2339613"/>
                <a:gd name="connsiteY27" fmla="*/ 1362586 h 2235649"/>
                <a:gd name="connsiteX28" fmla="*/ 1260360 w 2339613"/>
                <a:gd name="connsiteY28" fmla="*/ 1224958 h 2235649"/>
                <a:gd name="connsiteX29" fmla="*/ 1449136 w 2339613"/>
                <a:gd name="connsiteY29" fmla="*/ 463840 h 2235649"/>
                <a:gd name="connsiteX30" fmla="*/ 1145813 w 2339613"/>
                <a:gd name="connsiteY30" fmla="*/ 216349 h 2235649"/>
                <a:gd name="connsiteX31" fmla="*/ 1107748 w 2339613"/>
                <a:gd name="connsiteY31" fmla="*/ 52762 h 2235649"/>
                <a:gd name="connsiteX0" fmla="*/ 1130720 w 2362585"/>
                <a:gd name="connsiteY0" fmla="*/ 52762 h 2235649"/>
                <a:gd name="connsiteX1" fmla="*/ 1621236 w 2362585"/>
                <a:gd name="connsiteY1" fmla="*/ 514817 h 2235649"/>
                <a:gd name="connsiteX2" fmla="*/ 1435485 w 2362585"/>
                <a:gd name="connsiteY2" fmla="*/ 1270449 h 2235649"/>
                <a:gd name="connsiteX3" fmla="*/ 1227501 w 2362585"/>
                <a:gd name="connsiteY3" fmla="*/ 1537325 h 2235649"/>
                <a:gd name="connsiteX4" fmla="*/ 1283085 w 2362585"/>
                <a:gd name="connsiteY4" fmla="*/ 1892749 h 2235649"/>
                <a:gd name="connsiteX5" fmla="*/ 1549785 w 2362585"/>
                <a:gd name="connsiteY5" fmla="*/ 2146749 h 2235649"/>
                <a:gd name="connsiteX6" fmla="*/ 1905385 w 2362585"/>
                <a:gd name="connsiteY6" fmla="*/ 2070549 h 2235649"/>
                <a:gd name="connsiteX7" fmla="*/ 2070485 w 2362585"/>
                <a:gd name="connsiteY7" fmla="*/ 1727649 h 2235649"/>
                <a:gd name="connsiteX8" fmla="*/ 2019685 w 2362585"/>
                <a:gd name="connsiteY8" fmla="*/ 1270449 h 2235649"/>
                <a:gd name="connsiteX9" fmla="*/ 2070485 w 2362585"/>
                <a:gd name="connsiteY9" fmla="*/ 737049 h 2235649"/>
                <a:gd name="connsiteX10" fmla="*/ 2299085 w 2362585"/>
                <a:gd name="connsiteY10" fmla="*/ 571949 h 2235649"/>
                <a:gd name="connsiteX11" fmla="*/ 2362585 w 2362585"/>
                <a:gd name="connsiteY11" fmla="*/ 737049 h 2235649"/>
                <a:gd name="connsiteX12" fmla="*/ 2248285 w 2362585"/>
                <a:gd name="connsiteY12" fmla="*/ 800549 h 2235649"/>
                <a:gd name="connsiteX13" fmla="*/ 2133985 w 2362585"/>
                <a:gd name="connsiteY13" fmla="*/ 991049 h 2235649"/>
                <a:gd name="connsiteX14" fmla="*/ 2184785 w 2362585"/>
                <a:gd name="connsiteY14" fmla="*/ 1359349 h 2235649"/>
                <a:gd name="connsiteX15" fmla="*/ 2222885 w 2362585"/>
                <a:gd name="connsiteY15" fmla="*/ 1740349 h 2235649"/>
                <a:gd name="connsiteX16" fmla="*/ 2095885 w 2362585"/>
                <a:gd name="connsiteY16" fmla="*/ 2070549 h 2235649"/>
                <a:gd name="connsiteX17" fmla="*/ 1841885 w 2362585"/>
                <a:gd name="connsiteY17" fmla="*/ 2235649 h 2235649"/>
                <a:gd name="connsiteX18" fmla="*/ 1270385 w 2362585"/>
                <a:gd name="connsiteY18" fmla="*/ 2146749 h 2235649"/>
                <a:gd name="connsiteX19" fmla="*/ 1105285 w 2362585"/>
                <a:gd name="connsiteY19" fmla="*/ 1765749 h 2235649"/>
                <a:gd name="connsiteX20" fmla="*/ 1054485 w 2362585"/>
                <a:gd name="connsiteY20" fmla="*/ 1549849 h 2235649"/>
                <a:gd name="connsiteX21" fmla="*/ 902085 w 2362585"/>
                <a:gd name="connsiteY21" fmla="*/ 1537149 h 2235649"/>
                <a:gd name="connsiteX22" fmla="*/ 119505 w 2362585"/>
                <a:gd name="connsiteY22" fmla="*/ 930821 h 2235649"/>
                <a:gd name="connsiteX23" fmla="*/ 330902 w 2362585"/>
                <a:gd name="connsiteY23" fmla="*/ 352847 h 2235649"/>
                <a:gd name="connsiteX24" fmla="*/ 470285 w 2362585"/>
                <a:gd name="connsiteY24" fmla="*/ 457649 h 2235649"/>
                <a:gd name="connsiteX25" fmla="*/ 395175 w 2362585"/>
                <a:gd name="connsiteY25" fmla="*/ 489628 h 2235649"/>
                <a:gd name="connsiteX26" fmla="*/ 285063 w 2362585"/>
                <a:gd name="connsiteY26" fmla="*/ 878932 h 2235649"/>
                <a:gd name="connsiteX27" fmla="*/ 925867 w 2362585"/>
                <a:gd name="connsiteY27" fmla="*/ 1362586 h 2235649"/>
                <a:gd name="connsiteX28" fmla="*/ 1283332 w 2362585"/>
                <a:gd name="connsiteY28" fmla="*/ 1224958 h 2235649"/>
                <a:gd name="connsiteX29" fmla="*/ 1472108 w 2362585"/>
                <a:gd name="connsiteY29" fmla="*/ 463840 h 2235649"/>
                <a:gd name="connsiteX30" fmla="*/ 1168785 w 2362585"/>
                <a:gd name="connsiteY30" fmla="*/ 216349 h 2235649"/>
                <a:gd name="connsiteX31" fmla="*/ 1130720 w 2362585"/>
                <a:gd name="connsiteY31" fmla="*/ 52762 h 2235649"/>
                <a:gd name="connsiteX0" fmla="*/ 1130720 w 2362585"/>
                <a:gd name="connsiteY0" fmla="*/ 52762 h 2235649"/>
                <a:gd name="connsiteX1" fmla="*/ 1621236 w 2362585"/>
                <a:gd name="connsiteY1" fmla="*/ 514817 h 2235649"/>
                <a:gd name="connsiteX2" fmla="*/ 1435485 w 2362585"/>
                <a:gd name="connsiteY2" fmla="*/ 1270449 h 2235649"/>
                <a:gd name="connsiteX3" fmla="*/ 1227501 w 2362585"/>
                <a:gd name="connsiteY3" fmla="*/ 1537325 h 2235649"/>
                <a:gd name="connsiteX4" fmla="*/ 1283085 w 2362585"/>
                <a:gd name="connsiteY4" fmla="*/ 1892749 h 2235649"/>
                <a:gd name="connsiteX5" fmla="*/ 1549785 w 2362585"/>
                <a:gd name="connsiteY5" fmla="*/ 2146749 h 2235649"/>
                <a:gd name="connsiteX6" fmla="*/ 1905385 w 2362585"/>
                <a:gd name="connsiteY6" fmla="*/ 2070549 h 2235649"/>
                <a:gd name="connsiteX7" fmla="*/ 2070485 w 2362585"/>
                <a:gd name="connsiteY7" fmla="*/ 1727649 h 2235649"/>
                <a:gd name="connsiteX8" fmla="*/ 2019685 w 2362585"/>
                <a:gd name="connsiteY8" fmla="*/ 1270449 h 2235649"/>
                <a:gd name="connsiteX9" fmla="*/ 2070485 w 2362585"/>
                <a:gd name="connsiteY9" fmla="*/ 737049 h 2235649"/>
                <a:gd name="connsiteX10" fmla="*/ 2299085 w 2362585"/>
                <a:gd name="connsiteY10" fmla="*/ 571949 h 2235649"/>
                <a:gd name="connsiteX11" fmla="*/ 2362585 w 2362585"/>
                <a:gd name="connsiteY11" fmla="*/ 737049 h 2235649"/>
                <a:gd name="connsiteX12" fmla="*/ 2248285 w 2362585"/>
                <a:gd name="connsiteY12" fmla="*/ 800549 h 2235649"/>
                <a:gd name="connsiteX13" fmla="*/ 2133985 w 2362585"/>
                <a:gd name="connsiteY13" fmla="*/ 991049 h 2235649"/>
                <a:gd name="connsiteX14" fmla="*/ 2184785 w 2362585"/>
                <a:gd name="connsiteY14" fmla="*/ 1359349 h 2235649"/>
                <a:gd name="connsiteX15" fmla="*/ 2222885 w 2362585"/>
                <a:gd name="connsiteY15" fmla="*/ 1740349 h 2235649"/>
                <a:gd name="connsiteX16" fmla="*/ 2095885 w 2362585"/>
                <a:gd name="connsiteY16" fmla="*/ 2070549 h 2235649"/>
                <a:gd name="connsiteX17" fmla="*/ 1841885 w 2362585"/>
                <a:gd name="connsiteY17" fmla="*/ 2235649 h 2235649"/>
                <a:gd name="connsiteX18" fmla="*/ 1270385 w 2362585"/>
                <a:gd name="connsiteY18" fmla="*/ 2146749 h 2235649"/>
                <a:gd name="connsiteX19" fmla="*/ 1105285 w 2362585"/>
                <a:gd name="connsiteY19" fmla="*/ 1765749 h 2235649"/>
                <a:gd name="connsiteX20" fmla="*/ 1054485 w 2362585"/>
                <a:gd name="connsiteY20" fmla="*/ 1549849 h 2235649"/>
                <a:gd name="connsiteX21" fmla="*/ 902085 w 2362585"/>
                <a:gd name="connsiteY21" fmla="*/ 1537149 h 2235649"/>
                <a:gd name="connsiteX22" fmla="*/ 119505 w 2362585"/>
                <a:gd name="connsiteY22" fmla="*/ 930821 h 2235649"/>
                <a:gd name="connsiteX23" fmla="*/ 330902 w 2362585"/>
                <a:gd name="connsiteY23" fmla="*/ 352847 h 2235649"/>
                <a:gd name="connsiteX24" fmla="*/ 470285 w 2362585"/>
                <a:gd name="connsiteY24" fmla="*/ 457649 h 2235649"/>
                <a:gd name="connsiteX25" fmla="*/ 395175 w 2362585"/>
                <a:gd name="connsiteY25" fmla="*/ 489628 h 2235649"/>
                <a:gd name="connsiteX26" fmla="*/ 285063 w 2362585"/>
                <a:gd name="connsiteY26" fmla="*/ 878932 h 2235649"/>
                <a:gd name="connsiteX27" fmla="*/ 925867 w 2362585"/>
                <a:gd name="connsiteY27" fmla="*/ 1362586 h 2235649"/>
                <a:gd name="connsiteX28" fmla="*/ 1283332 w 2362585"/>
                <a:gd name="connsiteY28" fmla="*/ 1224958 h 2235649"/>
                <a:gd name="connsiteX29" fmla="*/ 1472108 w 2362585"/>
                <a:gd name="connsiteY29" fmla="*/ 463840 h 2235649"/>
                <a:gd name="connsiteX30" fmla="*/ 1168785 w 2362585"/>
                <a:gd name="connsiteY30" fmla="*/ 216349 h 2235649"/>
                <a:gd name="connsiteX31" fmla="*/ 1130720 w 2362585"/>
                <a:gd name="connsiteY31" fmla="*/ 52762 h 2235649"/>
                <a:gd name="connsiteX0" fmla="*/ 1130720 w 2362585"/>
                <a:gd name="connsiteY0" fmla="*/ 52762 h 2235649"/>
                <a:gd name="connsiteX1" fmla="*/ 1621236 w 2362585"/>
                <a:gd name="connsiteY1" fmla="*/ 514817 h 2235649"/>
                <a:gd name="connsiteX2" fmla="*/ 1435485 w 2362585"/>
                <a:gd name="connsiteY2" fmla="*/ 1270449 h 2235649"/>
                <a:gd name="connsiteX3" fmla="*/ 1227501 w 2362585"/>
                <a:gd name="connsiteY3" fmla="*/ 1537325 h 2235649"/>
                <a:gd name="connsiteX4" fmla="*/ 1283085 w 2362585"/>
                <a:gd name="connsiteY4" fmla="*/ 1892749 h 2235649"/>
                <a:gd name="connsiteX5" fmla="*/ 1549785 w 2362585"/>
                <a:gd name="connsiteY5" fmla="*/ 2146749 h 2235649"/>
                <a:gd name="connsiteX6" fmla="*/ 1905385 w 2362585"/>
                <a:gd name="connsiteY6" fmla="*/ 2070549 h 2235649"/>
                <a:gd name="connsiteX7" fmla="*/ 2070485 w 2362585"/>
                <a:gd name="connsiteY7" fmla="*/ 1727649 h 2235649"/>
                <a:gd name="connsiteX8" fmla="*/ 2019685 w 2362585"/>
                <a:gd name="connsiteY8" fmla="*/ 1270449 h 2235649"/>
                <a:gd name="connsiteX9" fmla="*/ 2070485 w 2362585"/>
                <a:gd name="connsiteY9" fmla="*/ 737049 h 2235649"/>
                <a:gd name="connsiteX10" fmla="*/ 2299085 w 2362585"/>
                <a:gd name="connsiteY10" fmla="*/ 571949 h 2235649"/>
                <a:gd name="connsiteX11" fmla="*/ 2362585 w 2362585"/>
                <a:gd name="connsiteY11" fmla="*/ 737049 h 2235649"/>
                <a:gd name="connsiteX12" fmla="*/ 2248285 w 2362585"/>
                <a:gd name="connsiteY12" fmla="*/ 800549 h 2235649"/>
                <a:gd name="connsiteX13" fmla="*/ 2133985 w 2362585"/>
                <a:gd name="connsiteY13" fmla="*/ 991049 h 2235649"/>
                <a:gd name="connsiteX14" fmla="*/ 2184785 w 2362585"/>
                <a:gd name="connsiteY14" fmla="*/ 1359349 h 2235649"/>
                <a:gd name="connsiteX15" fmla="*/ 2222885 w 2362585"/>
                <a:gd name="connsiteY15" fmla="*/ 1740349 h 2235649"/>
                <a:gd name="connsiteX16" fmla="*/ 2095885 w 2362585"/>
                <a:gd name="connsiteY16" fmla="*/ 2070549 h 2235649"/>
                <a:gd name="connsiteX17" fmla="*/ 1841885 w 2362585"/>
                <a:gd name="connsiteY17" fmla="*/ 2235649 h 2235649"/>
                <a:gd name="connsiteX18" fmla="*/ 1270385 w 2362585"/>
                <a:gd name="connsiteY18" fmla="*/ 2146749 h 2235649"/>
                <a:gd name="connsiteX19" fmla="*/ 1105285 w 2362585"/>
                <a:gd name="connsiteY19" fmla="*/ 1765749 h 2235649"/>
                <a:gd name="connsiteX20" fmla="*/ 1081397 w 2362585"/>
                <a:gd name="connsiteY20" fmla="*/ 1579928 h 2235649"/>
                <a:gd name="connsiteX21" fmla="*/ 902085 w 2362585"/>
                <a:gd name="connsiteY21" fmla="*/ 1537149 h 2235649"/>
                <a:gd name="connsiteX22" fmla="*/ 119505 w 2362585"/>
                <a:gd name="connsiteY22" fmla="*/ 930821 h 2235649"/>
                <a:gd name="connsiteX23" fmla="*/ 330902 w 2362585"/>
                <a:gd name="connsiteY23" fmla="*/ 352847 h 2235649"/>
                <a:gd name="connsiteX24" fmla="*/ 470285 w 2362585"/>
                <a:gd name="connsiteY24" fmla="*/ 457649 h 2235649"/>
                <a:gd name="connsiteX25" fmla="*/ 395175 w 2362585"/>
                <a:gd name="connsiteY25" fmla="*/ 489628 h 2235649"/>
                <a:gd name="connsiteX26" fmla="*/ 285063 w 2362585"/>
                <a:gd name="connsiteY26" fmla="*/ 878932 h 2235649"/>
                <a:gd name="connsiteX27" fmla="*/ 925867 w 2362585"/>
                <a:gd name="connsiteY27" fmla="*/ 1362586 h 2235649"/>
                <a:gd name="connsiteX28" fmla="*/ 1283332 w 2362585"/>
                <a:gd name="connsiteY28" fmla="*/ 1224958 h 2235649"/>
                <a:gd name="connsiteX29" fmla="*/ 1472108 w 2362585"/>
                <a:gd name="connsiteY29" fmla="*/ 463840 h 2235649"/>
                <a:gd name="connsiteX30" fmla="*/ 1168785 w 2362585"/>
                <a:gd name="connsiteY30" fmla="*/ 216349 h 2235649"/>
                <a:gd name="connsiteX31" fmla="*/ 1130720 w 2362585"/>
                <a:gd name="connsiteY31" fmla="*/ 52762 h 2235649"/>
                <a:gd name="connsiteX0" fmla="*/ 1130720 w 2362585"/>
                <a:gd name="connsiteY0" fmla="*/ 52762 h 2235649"/>
                <a:gd name="connsiteX1" fmla="*/ 1621236 w 2362585"/>
                <a:gd name="connsiteY1" fmla="*/ 514817 h 2235649"/>
                <a:gd name="connsiteX2" fmla="*/ 1435485 w 2362585"/>
                <a:gd name="connsiteY2" fmla="*/ 1270449 h 2235649"/>
                <a:gd name="connsiteX3" fmla="*/ 1227501 w 2362585"/>
                <a:gd name="connsiteY3" fmla="*/ 1537325 h 2235649"/>
                <a:gd name="connsiteX4" fmla="*/ 1283085 w 2362585"/>
                <a:gd name="connsiteY4" fmla="*/ 1892749 h 2235649"/>
                <a:gd name="connsiteX5" fmla="*/ 1549785 w 2362585"/>
                <a:gd name="connsiteY5" fmla="*/ 2146749 h 2235649"/>
                <a:gd name="connsiteX6" fmla="*/ 1905385 w 2362585"/>
                <a:gd name="connsiteY6" fmla="*/ 2070549 h 2235649"/>
                <a:gd name="connsiteX7" fmla="*/ 2070485 w 2362585"/>
                <a:gd name="connsiteY7" fmla="*/ 1727649 h 2235649"/>
                <a:gd name="connsiteX8" fmla="*/ 2019685 w 2362585"/>
                <a:gd name="connsiteY8" fmla="*/ 1270449 h 2235649"/>
                <a:gd name="connsiteX9" fmla="*/ 2070485 w 2362585"/>
                <a:gd name="connsiteY9" fmla="*/ 737049 h 2235649"/>
                <a:gd name="connsiteX10" fmla="*/ 2299085 w 2362585"/>
                <a:gd name="connsiteY10" fmla="*/ 571949 h 2235649"/>
                <a:gd name="connsiteX11" fmla="*/ 2362585 w 2362585"/>
                <a:gd name="connsiteY11" fmla="*/ 737049 h 2235649"/>
                <a:gd name="connsiteX12" fmla="*/ 2248285 w 2362585"/>
                <a:gd name="connsiteY12" fmla="*/ 800549 h 2235649"/>
                <a:gd name="connsiteX13" fmla="*/ 2133985 w 2362585"/>
                <a:gd name="connsiteY13" fmla="*/ 991049 h 2235649"/>
                <a:gd name="connsiteX14" fmla="*/ 2184785 w 2362585"/>
                <a:gd name="connsiteY14" fmla="*/ 1359349 h 2235649"/>
                <a:gd name="connsiteX15" fmla="*/ 2222885 w 2362585"/>
                <a:gd name="connsiteY15" fmla="*/ 1740349 h 2235649"/>
                <a:gd name="connsiteX16" fmla="*/ 2095885 w 2362585"/>
                <a:gd name="connsiteY16" fmla="*/ 2070549 h 2235649"/>
                <a:gd name="connsiteX17" fmla="*/ 1841885 w 2362585"/>
                <a:gd name="connsiteY17" fmla="*/ 2235649 h 2235649"/>
                <a:gd name="connsiteX18" fmla="*/ 1270385 w 2362585"/>
                <a:gd name="connsiteY18" fmla="*/ 2146749 h 2235649"/>
                <a:gd name="connsiteX19" fmla="*/ 1105285 w 2362585"/>
                <a:gd name="connsiteY19" fmla="*/ 1765749 h 2235649"/>
                <a:gd name="connsiteX20" fmla="*/ 1073482 w 2362585"/>
                <a:gd name="connsiteY20" fmla="*/ 1570430 h 2235649"/>
                <a:gd name="connsiteX21" fmla="*/ 902085 w 2362585"/>
                <a:gd name="connsiteY21" fmla="*/ 1537149 h 2235649"/>
                <a:gd name="connsiteX22" fmla="*/ 119505 w 2362585"/>
                <a:gd name="connsiteY22" fmla="*/ 930821 h 2235649"/>
                <a:gd name="connsiteX23" fmla="*/ 330902 w 2362585"/>
                <a:gd name="connsiteY23" fmla="*/ 352847 h 2235649"/>
                <a:gd name="connsiteX24" fmla="*/ 470285 w 2362585"/>
                <a:gd name="connsiteY24" fmla="*/ 457649 h 2235649"/>
                <a:gd name="connsiteX25" fmla="*/ 395175 w 2362585"/>
                <a:gd name="connsiteY25" fmla="*/ 489628 h 2235649"/>
                <a:gd name="connsiteX26" fmla="*/ 285063 w 2362585"/>
                <a:gd name="connsiteY26" fmla="*/ 878932 h 2235649"/>
                <a:gd name="connsiteX27" fmla="*/ 925867 w 2362585"/>
                <a:gd name="connsiteY27" fmla="*/ 1362586 h 2235649"/>
                <a:gd name="connsiteX28" fmla="*/ 1283332 w 2362585"/>
                <a:gd name="connsiteY28" fmla="*/ 1224958 h 2235649"/>
                <a:gd name="connsiteX29" fmla="*/ 1472108 w 2362585"/>
                <a:gd name="connsiteY29" fmla="*/ 463840 h 2235649"/>
                <a:gd name="connsiteX30" fmla="*/ 1168785 w 2362585"/>
                <a:gd name="connsiteY30" fmla="*/ 216349 h 2235649"/>
                <a:gd name="connsiteX31" fmla="*/ 1130720 w 2362585"/>
                <a:gd name="connsiteY31" fmla="*/ 52762 h 2235649"/>
                <a:gd name="connsiteX0" fmla="*/ 1130720 w 2362585"/>
                <a:gd name="connsiteY0" fmla="*/ 52762 h 2235649"/>
                <a:gd name="connsiteX1" fmla="*/ 1621236 w 2362585"/>
                <a:gd name="connsiteY1" fmla="*/ 514817 h 2235649"/>
                <a:gd name="connsiteX2" fmla="*/ 1435485 w 2362585"/>
                <a:gd name="connsiteY2" fmla="*/ 1270449 h 2235649"/>
                <a:gd name="connsiteX3" fmla="*/ 1227501 w 2362585"/>
                <a:gd name="connsiteY3" fmla="*/ 1537325 h 2235649"/>
                <a:gd name="connsiteX4" fmla="*/ 1283085 w 2362585"/>
                <a:gd name="connsiteY4" fmla="*/ 1892749 h 2235649"/>
                <a:gd name="connsiteX5" fmla="*/ 1549785 w 2362585"/>
                <a:gd name="connsiteY5" fmla="*/ 2146749 h 2235649"/>
                <a:gd name="connsiteX6" fmla="*/ 1905385 w 2362585"/>
                <a:gd name="connsiteY6" fmla="*/ 2070549 h 2235649"/>
                <a:gd name="connsiteX7" fmla="*/ 2070485 w 2362585"/>
                <a:gd name="connsiteY7" fmla="*/ 1727649 h 2235649"/>
                <a:gd name="connsiteX8" fmla="*/ 2019685 w 2362585"/>
                <a:gd name="connsiteY8" fmla="*/ 1270449 h 2235649"/>
                <a:gd name="connsiteX9" fmla="*/ 2070485 w 2362585"/>
                <a:gd name="connsiteY9" fmla="*/ 737049 h 2235649"/>
                <a:gd name="connsiteX10" fmla="*/ 2299085 w 2362585"/>
                <a:gd name="connsiteY10" fmla="*/ 571949 h 2235649"/>
                <a:gd name="connsiteX11" fmla="*/ 2362585 w 2362585"/>
                <a:gd name="connsiteY11" fmla="*/ 737049 h 2235649"/>
                <a:gd name="connsiteX12" fmla="*/ 2248285 w 2362585"/>
                <a:gd name="connsiteY12" fmla="*/ 800549 h 2235649"/>
                <a:gd name="connsiteX13" fmla="*/ 2133985 w 2362585"/>
                <a:gd name="connsiteY13" fmla="*/ 991049 h 2235649"/>
                <a:gd name="connsiteX14" fmla="*/ 2184785 w 2362585"/>
                <a:gd name="connsiteY14" fmla="*/ 1359349 h 2235649"/>
                <a:gd name="connsiteX15" fmla="*/ 2222885 w 2362585"/>
                <a:gd name="connsiteY15" fmla="*/ 1740349 h 2235649"/>
                <a:gd name="connsiteX16" fmla="*/ 2095885 w 2362585"/>
                <a:gd name="connsiteY16" fmla="*/ 2070549 h 2235649"/>
                <a:gd name="connsiteX17" fmla="*/ 1841885 w 2362585"/>
                <a:gd name="connsiteY17" fmla="*/ 2235649 h 2235649"/>
                <a:gd name="connsiteX18" fmla="*/ 1270385 w 2362585"/>
                <a:gd name="connsiteY18" fmla="*/ 2146749 h 2235649"/>
                <a:gd name="connsiteX19" fmla="*/ 1105285 w 2362585"/>
                <a:gd name="connsiteY19" fmla="*/ 1765749 h 2235649"/>
                <a:gd name="connsiteX20" fmla="*/ 1073482 w 2362585"/>
                <a:gd name="connsiteY20" fmla="*/ 1570430 h 2235649"/>
                <a:gd name="connsiteX21" fmla="*/ 902085 w 2362585"/>
                <a:gd name="connsiteY21" fmla="*/ 1537149 h 2235649"/>
                <a:gd name="connsiteX22" fmla="*/ 119505 w 2362585"/>
                <a:gd name="connsiteY22" fmla="*/ 930821 h 2235649"/>
                <a:gd name="connsiteX23" fmla="*/ 330902 w 2362585"/>
                <a:gd name="connsiteY23" fmla="*/ 352847 h 2235649"/>
                <a:gd name="connsiteX24" fmla="*/ 470285 w 2362585"/>
                <a:gd name="connsiteY24" fmla="*/ 457649 h 2235649"/>
                <a:gd name="connsiteX25" fmla="*/ 395175 w 2362585"/>
                <a:gd name="connsiteY25" fmla="*/ 489628 h 2235649"/>
                <a:gd name="connsiteX26" fmla="*/ 285063 w 2362585"/>
                <a:gd name="connsiteY26" fmla="*/ 878932 h 2235649"/>
                <a:gd name="connsiteX27" fmla="*/ 925867 w 2362585"/>
                <a:gd name="connsiteY27" fmla="*/ 1362586 h 2235649"/>
                <a:gd name="connsiteX28" fmla="*/ 1283332 w 2362585"/>
                <a:gd name="connsiteY28" fmla="*/ 1224958 h 2235649"/>
                <a:gd name="connsiteX29" fmla="*/ 1472108 w 2362585"/>
                <a:gd name="connsiteY29" fmla="*/ 463840 h 2235649"/>
                <a:gd name="connsiteX30" fmla="*/ 1168785 w 2362585"/>
                <a:gd name="connsiteY30" fmla="*/ 216349 h 2235649"/>
                <a:gd name="connsiteX31" fmla="*/ 1130720 w 2362585"/>
                <a:gd name="connsiteY31" fmla="*/ 52762 h 2235649"/>
                <a:gd name="connsiteX0" fmla="*/ 1130720 w 2362585"/>
                <a:gd name="connsiteY0" fmla="*/ 52762 h 2235649"/>
                <a:gd name="connsiteX1" fmla="*/ 1621236 w 2362585"/>
                <a:gd name="connsiteY1" fmla="*/ 514817 h 2235649"/>
                <a:gd name="connsiteX2" fmla="*/ 1435485 w 2362585"/>
                <a:gd name="connsiteY2" fmla="*/ 1270449 h 2235649"/>
                <a:gd name="connsiteX3" fmla="*/ 1227501 w 2362585"/>
                <a:gd name="connsiteY3" fmla="*/ 1537325 h 2235649"/>
                <a:gd name="connsiteX4" fmla="*/ 1283085 w 2362585"/>
                <a:gd name="connsiteY4" fmla="*/ 1892749 h 2235649"/>
                <a:gd name="connsiteX5" fmla="*/ 1549785 w 2362585"/>
                <a:gd name="connsiteY5" fmla="*/ 2146749 h 2235649"/>
                <a:gd name="connsiteX6" fmla="*/ 1905385 w 2362585"/>
                <a:gd name="connsiteY6" fmla="*/ 2070549 h 2235649"/>
                <a:gd name="connsiteX7" fmla="*/ 2070485 w 2362585"/>
                <a:gd name="connsiteY7" fmla="*/ 1727649 h 2235649"/>
                <a:gd name="connsiteX8" fmla="*/ 2019685 w 2362585"/>
                <a:gd name="connsiteY8" fmla="*/ 1270449 h 2235649"/>
                <a:gd name="connsiteX9" fmla="*/ 2070485 w 2362585"/>
                <a:gd name="connsiteY9" fmla="*/ 737049 h 2235649"/>
                <a:gd name="connsiteX10" fmla="*/ 2299085 w 2362585"/>
                <a:gd name="connsiteY10" fmla="*/ 571949 h 2235649"/>
                <a:gd name="connsiteX11" fmla="*/ 2362585 w 2362585"/>
                <a:gd name="connsiteY11" fmla="*/ 737049 h 2235649"/>
                <a:gd name="connsiteX12" fmla="*/ 2248285 w 2362585"/>
                <a:gd name="connsiteY12" fmla="*/ 800549 h 2235649"/>
                <a:gd name="connsiteX13" fmla="*/ 2133985 w 2362585"/>
                <a:gd name="connsiteY13" fmla="*/ 991049 h 2235649"/>
                <a:gd name="connsiteX14" fmla="*/ 2184785 w 2362585"/>
                <a:gd name="connsiteY14" fmla="*/ 1359349 h 2235649"/>
                <a:gd name="connsiteX15" fmla="*/ 2222885 w 2362585"/>
                <a:gd name="connsiteY15" fmla="*/ 1740349 h 2235649"/>
                <a:gd name="connsiteX16" fmla="*/ 2095885 w 2362585"/>
                <a:gd name="connsiteY16" fmla="*/ 2070549 h 2235649"/>
                <a:gd name="connsiteX17" fmla="*/ 1841885 w 2362585"/>
                <a:gd name="connsiteY17" fmla="*/ 2235649 h 2235649"/>
                <a:gd name="connsiteX18" fmla="*/ 1270385 w 2362585"/>
                <a:gd name="connsiteY18" fmla="*/ 2146749 h 2235649"/>
                <a:gd name="connsiteX19" fmla="*/ 1105285 w 2362585"/>
                <a:gd name="connsiteY19" fmla="*/ 1765749 h 2235649"/>
                <a:gd name="connsiteX20" fmla="*/ 1073482 w 2362585"/>
                <a:gd name="connsiteY20" fmla="*/ 1570430 h 2235649"/>
                <a:gd name="connsiteX21" fmla="*/ 902085 w 2362585"/>
                <a:gd name="connsiteY21" fmla="*/ 1537149 h 2235649"/>
                <a:gd name="connsiteX22" fmla="*/ 119505 w 2362585"/>
                <a:gd name="connsiteY22" fmla="*/ 930821 h 2235649"/>
                <a:gd name="connsiteX23" fmla="*/ 330902 w 2362585"/>
                <a:gd name="connsiteY23" fmla="*/ 352847 h 2235649"/>
                <a:gd name="connsiteX24" fmla="*/ 470285 w 2362585"/>
                <a:gd name="connsiteY24" fmla="*/ 457649 h 2235649"/>
                <a:gd name="connsiteX25" fmla="*/ 395175 w 2362585"/>
                <a:gd name="connsiteY25" fmla="*/ 489628 h 2235649"/>
                <a:gd name="connsiteX26" fmla="*/ 285063 w 2362585"/>
                <a:gd name="connsiteY26" fmla="*/ 878932 h 2235649"/>
                <a:gd name="connsiteX27" fmla="*/ 925867 w 2362585"/>
                <a:gd name="connsiteY27" fmla="*/ 1362586 h 2235649"/>
                <a:gd name="connsiteX28" fmla="*/ 1283332 w 2362585"/>
                <a:gd name="connsiteY28" fmla="*/ 1224958 h 2235649"/>
                <a:gd name="connsiteX29" fmla="*/ 1472108 w 2362585"/>
                <a:gd name="connsiteY29" fmla="*/ 463840 h 2235649"/>
                <a:gd name="connsiteX30" fmla="*/ 1168785 w 2362585"/>
                <a:gd name="connsiteY30" fmla="*/ 216349 h 2235649"/>
                <a:gd name="connsiteX31" fmla="*/ 1130720 w 2362585"/>
                <a:gd name="connsiteY31" fmla="*/ 52762 h 2235649"/>
                <a:gd name="connsiteX0" fmla="*/ 1130720 w 2362585"/>
                <a:gd name="connsiteY0" fmla="*/ 52762 h 2235649"/>
                <a:gd name="connsiteX1" fmla="*/ 1621236 w 2362585"/>
                <a:gd name="connsiteY1" fmla="*/ 514817 h 2235649"/>
                <a:gd name="connsiteX2" fmla="*/ 1435485 w 2362585"/>
                <a:gd name="connsiteY2" fmla="*/ 1270449 h 2235649"/>
                <a:gd name="connsiteX3" fmla="*/ 1227501 w 2362585"/>
                <a:gd name="connsiteY3" fmla="*/ 1537325 h 2235649"/>
                <a:gd name="connsiteX4" fmla="*/ 1283085 w 2362585"/>
                <a:gd name="connsiteY4" fmla="*/ 1892749 h 2235649"/>
                <a:gd name="connsiteX5" fmla="*/ 1549785 w 2362585"/>
                <a:gd name="connsiteY5" fmla="*/ 2146749 h 2235649"/>
                <a:gd name="connsiteX6" fmla="*/ 1905385 w 2362585"/>
                <a:gd name="connsiteY6" fmla="*/ 2070549 h 2235649"/>
                <a:gd name="connsiteX7" fmla="*/ 2070485 w 2362585"/>
                <a:gd name="connsiteY7" fmla="*/ 1727649 h 2235649"/>
                <a:gd name="connsiteX8" fmla="*/ 2019685 w 2362585"/>
                <a:gd name="connsiteY8" fmla="*/ 1270449 h 2235649"/>
                <a:gd name="connsiteX9" fmla="*/ 2070485 w 2362585"/>
                <a:gd name="connsiteY9" fmla="*/ 737049 h 2235649"/>
                <a:gd name="connsiteX10" fmla="*/ 2299085 w 2362585"/>
                <a:gd name="connsiteY10" fmla="*/ 571949 h 2235649"/>
                <a:gd name="connsiteX11" fmla="*/ 2362585 w 2362585"/>
                <a:gd name="connsiteY11" fmla="*/ 737049 h 2235649"/>
                <a:gd name="connsiteX12" fmla="*/ 2248285 w 2362585"/>
                <a:gd name="connsiteY12" fmla="*/ 800549 h 2235649"/>
                <a:gd name="connsiteX13" fmla="*/ 2133985 w 2362585"/>
                <a:gd name="connsiteY13" fmla="*/ 991049 h 2235649"/>
                <a:gd name="connsiteX14" fmla="*/ 2184785 w 2362585"/>
                <a:gd name="connsiteY14" fmla="*/ 1359349 h 2235649"/>
                <a:gd name="connsiteX15" fmla="*/ 2222885 w 2362585"/>
                <a:gd name="connsiteY15" fmla="*/ 1740349 h 2235649"/>
                <a:gd name="connsiteX16" fmla="*/ 2095885 w 2362585"/>
                <a:gd name="connsiteY16" fmla="*/ 2070549 h 2235649"/>
                <a:gd name="connsiteX17" fmla="*/ 1841885 w 2362585"/>
                <a:gd name="connsiteY17" fmla="*/ 2235649 h 2235649"/>
                <a:gd name="connsiteX18" fmla="*/ 1270385 w 2362585"/>
                <a:gd name="connsiteY18" fmla="*/ 2146749 h 2235649"/>
                <a:gd name="connsiteX19" fmla="*/ 1105285 w 2362585"/>
                <a:gd name="connsiteY19" fmla="*/ 1765749 h 2235649"/>
                <a:gd name="connsiteX20" fmla="*/ 1073482 w 2362585"/>
                <a:gd name="connsiteY20" fmla="*/ 1570430 h 2235649"/>
                <a:gd name="connsiteX21" fmla="*/ 902085 w 2362585"/>
                <a:gd name="connsiteY21" fmla="*/ 1537149 h 2235649"/>
                <a:gd name="connsiteX22" fmla="*/ 119505 w 2362585"/>
                <a:gd name="connsiteY22" fmla="*/ 930821 h 2235649"/>
                <a:gd name="connsiteX23" fmla="*/ 330902 w 2362585"/>
                <a:gd name="connsiteY23" fmla="*/ 352847 h 2235649"/>
                <a:gd name="connsiteX24" fmla="*/ 470285 w 2362585"/>
                <a:gd name="connsiteY24" fmla="*/ 457649 h 2235649"/>
                <a:gd name="connsiteX25" fmla="*/ 395175 w 2362585"/>
                <a:gd name="connsiteY25" fmla="*/ 489628 h 2235649"/>
                <a:gd name="connsiteX26" fmla="*/ 285063 w 2362585"/>
                <a:gd name="connsiteY26" fmla="*/ 878932 h 2235649"/>
                <a:gd name="connsiteX27" fmla="*/ 925867 w 2362585"/>
                <a:gd name="connsiteY27" fmla="*/ 1362586 h 2235649"/>
                <a:gd name="connsiteX28" fmla="*/ 1283332 w 2362585"/>
                <a:gd name="connsiteY28" fmla="*/ 1224958 h 2235649"/>
                <a:gd name="connsiteX29" fmla="*/ 1472108 w 2362585"/>
                <a:gd name="connsiteY29" fmla="*/ 463840 h 2235649"/>
                <a:gd name="connsiteX30" fmla="*/ 1168785 w 2362585"/>
                <a:gd name="connsiteY30" fmla="*/ 216349 h 2235649"/>
                <a:gd name="connsiteX31" fmla="*/ 1130720 w 2362585"/>
                <a:gd name="connsiteY31" fmla="*/ 52762 h 2235649"/>
                <a:gd name="connsiteX0" fmla="*/ 1130720 w 2362585"/>
                <a:gd name="connsiteY0" fmla="*/ 52762 h 2235649"/>
                <a:gd name="connsiteX1" fmla="*/ 1621236 w 2362585"/>
                <a:gd name="connsiteY1" fmla="*/ 514817 h 2235649"/>
                <a:gd name="connsiteX2" fmla="*/ 1435485 w 2362585"/>
                <a:gd name="connsiteY2" fmla="*/ 1270449 h 2235649"/>
                <a:gd name="connsiteX3" fmla="*/ 1227501 w 2362585"/>
                <a:gd name="connsiteY3" fmla="*/ 1537325 h 2235649"/>
                <a:gd name="connsiteX4" fmla="*/ 1549785 w 2362585"/>
                <a:gd name="connsiteY4" fmla="*/ 2146749 h 2235649"/>
                <a:gd name="connsiteX5" fmla="*/ 1905385 w 2362585"/>
                <a:gd name="connsiteY5" fmla="*/ 2070549 h 2235649"/>
                <a:gd name="connsiteX6" fmla="*/ 2070485 w 2362585"/>
                <a:gd name="connsiteY6" fmla="*/ 1727649 h 2235649"/>
                <a:gd name="connsiteX7" fmla="*/ 2019685 w 2362585"/>
                <a:gd name="connsiteY7" fmla="*/ 1270449 h 2235649"/>
                <a:gd name="connsiteX8" fmla="*/ 2070485 w 2362585"/>
                <a:gd name="connsiteY8" fmla="*/ 737049 h 2235649"/>
                <a:gd name="connsiteX9" fmla="*/ 2299085 w 2362585"/>
                <a:gd name="connsiteY9" fmla="*/ 571949 h 2235649"/>
                <a:gd name="connsiteX10" fmla="*/ 2362585 w 2362585"/>
                <a:gd name="connsiteY10" fmla="*/ 737049 h 2235649"/>
                <a:gd name="connsiteX11" fmla="*/ 2248285 w 2362585"/>
                <a:gd name="connsiteY11" fmla="*/ 800549 h 2235649"/>
                <a:gd name="connsiteX12" fmla="*/ 2133985 w 2362585"/>
                <a:gd name="connsiteY12" fmla="*/ 991049 h 2235649"/>
                <a:gd name="connsiteX13" fmla="*/ 2184785 w 2362585"/>
                <a:gd name="connsiteY13" fmla="*/ 1359349 h 2235649"/>
                <a:gd name="connsiteX14" fmla="*/ 2222885 w 2362585"/>
                <a:gd name="connsiteY14" fmla="*/ 1740349 h 2235649"/>
                <a:gd name="connsiteX15" fmla="*/ 2095885 w 2362585"/>
                <a:gd name="connsiteY15" fmla="*/ 2070549 h 2235649"/>
                <a:gd name="connsiteX16" fmla="*/ 1841885 w 2362585"/>
                <a:gd name="connsiteY16" fmla="*/ 2235649 h 2235649"/>
                <a:gd name="connsiteX17" fmla="*/ 1270385 w 2362585"/>
                <a:gd name="connsiteY17" fmla="*/ 2146749 h 2235649"/>
                <a:gd name="connsiteX18" fmla="*/ 1105285 w 2362585"/>
                <a:gd name="connsiteY18" fmla="*/ 1765749 h 2235649"/>
                <a:gd name="connsiteX19" fmla="*/ 1073482 w 2362585"/>
                <a:gd name="connsiteY19" fmla="*/ 1570430 h 2235649"/>
                <a:gd name="connsiteX20" fmla="*/ 902085 w 2362585"/>
                <a:gd name="connsiteY20" fmla="*/ 1537149 h 2235649"/>
                <a:gd name="connsiteX21" fmla="*/ 119505 w 2362585"/>
                <a:gd name="connsiteY21" fmla="*/ 930821 h 2235649"/>
                <a:gd name="connsiteX22" fmla="*/ 330902 w 2362585"/>
                <a:gd name="connsiteY22" fmla="*/ 352847 h 2235649"/>
                <a:gd name="connsiteX23" fmla="*/ 470285 w 2362585"/>
                <a:gd name="connsiteY23" fmla="*/ 457649 h 2235649"/>
                <a:gd name="connsiteX24" fmla="*/ 395175 w 2362585"/>
                <a:gd name="connsiteY24" fmla="*/ 489628 h 2235649"/>
                <a:gd name="connsiteX25" fmla="*/ 285063 w 2362585"/>
                <a:gd name="connsiteY25" fmla="*/ 878932 h 2235649"/>
                <a:gd name="connsiteX26" fmla="*/ 925867 w 2362585"/>
                <a:gd name="connsiteY26" fmla="*/ 1362586 h 2235649"/>
                <a:gd name="connsiteX27" fmla="*/ 1283332 w 2362585"/>
                <a:gd name="connsiteY27" fmla="*/ 1224958 h 2235649"/>
                <a:gd name="connsiteX28" fmla="*/ 1472108 w 2362585"/>
                <a:gd name="connsiteY28" fmla="*/ 463840 h 2235649"/>
                <a:gd name="connsiteX29" fmla="*/ 1168785 w 2362585"/>
                <a:gd name="connsiteY29" fmla="*/ 216349 h 2235649"/>
                <a:gd name="connsiteX30" fmla="*/ 1130720 w 2362585"/>
                <a:gd name="connsiteY30" fmla="*/ 52762 h 2235649"/>
                <a:gd name="connsiteX0" fmla="*/ 1130720 w 2362585"/>
                <a:gd name="connsiteY0" fmla="*/ 52762 h 2235649"/>
                <a:gd name="connsiteX1" fmla="*/ 1621236 w 2362585"/>
                <a:gd name="connsiteY1" fmla="*/ 514817 h 2235649"/>
                <a:gd name="connsiteX2" fmla="*/ 1435485 w 2362585"/>
                <a:gd name="connsiteY2" fmla="*/ 1270449 h 2235649"/>
                <a:gd name="connsiteX3" fmla="*/ 1227501 w 2362585"/>
                <a:gd name="connsiteY3" fmla="*/ 1537325 h 2235649"/>
                <a:gd name="connsiteX4" fmla="*/ 1905385 w 2362585"/>
                <a:gd name="connsiteY4" fmla="*/ 2070549 h 2235649"/>
                <a:gd name="connsiteX5" fmla="*/ 2070485 w 2362585"/>
                <a:gd name="connsiteY5" fmla="*/ 1727649 h 2235649"/>
                <a:gd name="connsiteX6" fmla="*/ 2019685 w 2362585"/>
                <a:gd name="connsiteY6" fmla="*/ 1270449 h 2235649"/>
                <a:gd name="connsiteX7" fmla="*/ 2070485 w 2362585"/>
                <a:gd name="connsiteY7" fmla="*/ 737049 h 2235649"/>
                <a:gd name="connsiteX8" fmla="*/ 2299085 w 2362585"/>
                <a:gd name="connsiteY8" fmla="*/ 571949 h 2235649"/>
                <a:gd name="connsiteX9" fmla="*/ 2362585 w 2362585"/>
                <a:gd name="connsiteY9" fmla="*/ 737049 h 2235649"/>
                <a:gd name="connsiteX10" fmla="*/ 2248285 w 2362585"/>
                <a:gd name="connsiteY10" fmla="*/ 800549 h 2235649"/>
                <a:gd name="connsiteX11" fmla="*/ 2133985 w 2362585"/>
                <a:gd name="connsiteY11" fmla="*/ 991049 h 2235649"/>
                <a:gd name="connsiteX12" fmla="*/ 2184785 w 2362585"/>
                <a:gd name="connsiteY12" fmla="*/ 1359349 h 2235649"/>
                <a:gd name="connsiteX13" fmla="*/ 2222885 w 2362585"/>
                <a:gd name="connsiteY13" fmla="*/ 1740349 h 2235649"/>
                <a:gd name="connsiteX14" fmla="*/ 2095885 w 2362585"/>
                <a:gd name="connsiteY14" fmla="*/ 2070549 h 2235649"/>
                <a:gd name="connsiteX15" fmla="*/ 1841885 w 2362585"/>
                <a:gd name="connsiteY15" fmla="*/ 2235649 h 2235649"/>
                <a:gd name="connsiteX16" fmla="*/ 1270385 w 2362585"/>
                <a:gd name="connsiteY16" fmla="*/ 2146749 h 2235649"/>
                <a:gd name="connsiteX17" fmla="*/ 1105285 w 2362585"/>
                <a:gd name="connsiteY17" fmla="*/ 1765749 h 2235649"/>
                <a:gd name="connsiteX18" fmla="*/ 1073482 w 2362585"/>
                <a:gd name="connsiteY18" fmla="*/ 1570430 h 2235649"/>
                <a:gd name="connsiteX19" fmla="*/ 902085 w 2362585"/>
                <a:gd name="connsiteY19" fmla="*/ 1537149 h 2235649"/>
                <a:gd name="connsiteX20" fmla="*/ 119505 w 2362585"/>
                <a:gd name="connsiteY20" fmla="*/ 930821 h 2235649"/>
                <a:gd name="connsiteX21" fmla="*/ 330902 w 2362585"/>
                <a:gd name="connsiteY21" fmla="*/ 352847 h 2235649"/>
                <a:gd name="connsiteX22" fmla="*/ 470285 w 2362585"/>
                <a:gd name="connsiteY22" fmla="*/ 457649 h 2235649"/>
                <a:gd name="connsiteX23" fmla="*/ 395175 w 2362585"/>
                <a:gd name="connsiteY23" fmla="*/ 489628 h 2235649"/>
                <a:gd name="connsiteX24" fmla="*/ 285063 w 2362585"/>
                <a:gd name="connsiteY24" fmla="*/ 878932 h 2235649"/>
                <a:gd name="connsiteX25" fmla="*/ 925867 w 2362585"/>
                <a:gd name="connsiteY25" fmla="*/ 1362586 h 2235649"/>
                <a:gd name="connsiteX26" fmla="*/ 1283332 w 2362585"/>
                <a:gd name="connsiteY26" fmla="*/ 1224958 h 2235649"/>
                <a:gd name="connsiteX27" fmla="*/ 1472108 w 2362585"/>
                <a:gd name="connsiteY27" fmla="*/ 463840 h 2235649"/>
                <a:gd name="connsiteX28" fmla="*/ 1168785 w 2362585"/>
                <a:gd name="connsiteY28" fmla="*/ 216349 h 2235649"/>
                <a:gd name="connsiteX29" fmla="*/ 1130720 w 2362585"/>
                <a:gd name="connsiteY29" fmla="*/ 52762 h 2235649"/>
                <a:gd name="connsiteX0" fmla="*/ 1130720 w 2362585"/>
                <a:gd name="connsiteY0" fmla="*/ 52762 h 2235649"/>
                <a:gd name="connsiteX1" fmla="*/ 1621236 w 2362585"/>
                <a:gd name="connsiteY1" fmla="*/ 514817 h 2235649"/>
                <a:gd name="connsiteX2" fmla="*/ 1435485 w 2362585"/>
                <a:gd name="connsiteY2" fmla="*/ 1270449 h 2235649"/>
                <a:gd name="connsiteX3" fmla="*/ 1227501 w 2362585"/>
                <a:gd name="connsiteY3" fmla="*/ 1537325 h 2235649"/>
                <a:gd name="connsiteX4" fmla="*/ 2070485 w 2362585"/>
                <a:gd name="connsiteY4" fmla="*/ 1727649 h 2235649"/>
                <a:gd name="connsiteX5" fmla="*/ 2019685 w 2362585"/>
                <a:gd name="connsiteY5" fmla="*/ 1270449 h 2235649"/>
                <a:gd name="connsiteX6" fmla="*/ 2070485 w 2362585"/>
                <a:gd name="connsiteY6" fmla="*/ 737049 h 2235649"/>
                <a:gd name="connsiteX7" fmla="*/ 2299085 w 2362585"/>
                <a:gd name="connsiteY7" fmla="*/ 571949 h 2235649"/>
                <a:gd name="connsiteX8" fmla="*/ 2362585 w 2362585"/>
                <a:gd name="connsiteY8" fmla="*/ 737049 h 2235649"/>
                <a:gd name="connsiteX9" fmla="*/ 2248285 w 2362585"/>
                <a:gd name="connsiteY9" fmla="*/ 800549 h 2235649"/>
                <a:gd name="connsiteX10" fmla="*/ 2133985 w 2362585"/>
                <a:gd name="connsiteY10" fmla="*/ 991049 h 2235649"/>
                <a:gd name="connsiteX11" fmla="*/ 2184785 w 2362585"/>
                <a:gd name="connsiteY11" fmla="*/ 1359349 h 2235649"/>
                <a:gd name="connsiteX12" fmla="*/ 2222885 w 2362585"/>
                <a:gd name="connsiteY12" fmla="*/ 1740349 h 2235649"/>
                <a:gd name="connsiteX13" fmla="*/ 2095885 w 2362585"/>
                <a:gd name="connsiteY13" fmla="*/ 2070549 h 2235649"/>
                <a:gd name="connsiteX14" fmla="*/ 1841885 w 2362585"/>
                <a:gd name="connsiteY14" fmla="*/ 2235649 h 2235649"/>
                <a:gd name="connsiteX15" fmla="*/ 1270385 w 2362585"/>
                <a:gd name="connsiteY15" fmla="*/ 2146749 h 2235649"/>
                <a:gd name="connsiteX16" fmla="*/ 1105285 w 2362585"/>
                <a:gd name="connsiteY16" fmla="*/ 1765749 h 2235649"/>
                <a:gd name="connsiteX17" fmla="*/ 1073482 w 2362585"/>
                <a:gd name="connsiteY17" fmla="*/ 1570430 h 2235649"/>
                <a:gd name="connsiteX18" fmla="*/ 902085 w 2362585"/>
                <a:gd name="connsiteY18" fmla="*/ 1537149 h 2235649"/>
                <a:gd name="connsiteX19" fmla="*/ 119505 w 2362585"/>
                <a:gd name="connsiteY19" fmla="*/ 930821 h 2235649"/>
                <a:gd name="connsiteX20" fmla="*/ 330902 w 2362585"/>
                <a:gd name="connsiteY20" fmla="*/ 352847 h 2235649"/>
                <a:gd name="connsiteX21" fmla="*/ 470285 w 2362585"/>
                <a:gd name="connsiteY21" fmla="*/ 457649 h 2235649"/>
                <a:gd name="connsiteX22" fmla="*/ 395175 w 2362585"/>
                <a:gd name="connsiteY22" fmla="*/ 489628 h 2235649"/>
                <a:gd name="connsiteX23" fmla="*/ 285063 w 2362585"/>
                <a:gd name="connsiteY23" fmla="*/ 878932 h 2235649"/>
                <a:gd name="connsiteX24" fmla="*/ 925867 w 2362585"/>
                <a:gd name="connsiteY24" fmla="*/ 1362586 h 2235649"/>
                <a:gd name="connsiteX25" fmla="*/ 1283332 w 2362585"/>
                <a:gd name="connsiteY25" fmla="*/ 1224958 h 2235649"/>
                <a:gd name="connsiteX26" fmla="*/ 1472108 w 2362585"/>
                <a:gd name="connsiteY26" fmla="*/ 463840 h 2235649"/>
                <a:gd name="connsiteX27" fmla="*/ 1168785 w 2362585"/>
                <a:gd name="connsiteY27" fmla="*/ 216349 h 2235649"/>
                <a:gd name="connsiteX28" fmla="*/ 1130720 w 2362585"/>
                <a:gd name="connsiteY28" fmla="*/ 52762 h 2235649"/>
                <a:gd name="connsiteX0" fmla="*/ 1130720 w 2362585"/>
                <a:gd name="connsiteY0" fmla="*/ 52762 h 2376599"/>
                <a:gd name="connsiteX1" fmla="*/ 1621236 w 2362585"/>
                <a:gd name="connsiteY1" fmla="*/ 514817 h 2376599"/>
                <a:gd name="connsiteX2" fmla="*/ 1435485 w 2362585"/>
                <a:gd name="connsiteY2" fmla="*/ 1270449 h 2376599"/>
                <a:gd name="connsiteX3" fmla="*/ 1227501 w 2362585"/>
                <a:gd name="connsiteY3" fmla="*/ 1537325 h 2376599"/>
                <a:gd name="connsiteX4" fmla="*/ 2070485 w 2362585"/>
                <a:gd name="connsiteY4" fmla="*/ 1727649 h 2376599"/>
                <a:gd name="connsiteX5" fmla="*/ 2019685 w 2362585"/>
                <a:gd name="connsiteY5" fmla="*/ 1270449 h 2376599"/>
                <a:gd name="connsiteX6" fmla="*/ 2070485 w 2362585"/>
                <a:gd name="connsiteY6" fmla="*/ 737049 h 2376599"/>
                <a:gd name="connsiteX7" fmla="*/ 2299085 w 2362585"/>
                <a:gd name="connsiteY7" fmla="*/ 571949 h 2376599"/>
                <a:gd name="connsiteX8" fmla="*/ 2362585 w 2362585"/>
                <a:gd name="connsiteY8" fmla="*/ 737049 h 2376599"/>
                <a:gd name="connsiteX9" fmla="*/ 2248285 w 2362585"/>
                <a:gd name="connsiteY9" fmla="*/ 800549 h 2376599"/>
                <a:gd name="connsiteX10" fmla="*/ 2133985 w 2362585"/>
                <a:gd name="connsiteY10" fmla="*/ 991049 h 2376599"/>
                <a:gd name="connsiteX11" fmla="*/ 2184785 w 2362585"/>
                <a:gd name="connsiteY11" fmla="*/ 1359349 h 2376599"/>
                <a:gd name="connsiteX12" fmla="*/ 2222885 w 2362585"/>
                <a:gd name="connsiteY12" fmla="*/ 1740349 h 2376599"/>
                <a:gd name="connsiteX13" fmla="*/ 2095885 w 2362585"/>
                <a:gd name="connsiteY13" fmla="*/ 2070549 h 2376599"/>
                <a:gd name="connsiteX14" fmla="*/ 1841885 w 2362585"/>
                <a:gd name="connsiteY14" fmla="*/ 2235649 h 2376599"/>
                <a:gd name="connsiteX15" fmla="*/ 1270385 w 2362585"/>
                <a:gd name="connsiteY15" fmla="*/ 2146749 h 2376599"/>
                <a:gd name="connsiteX16" fmla="*/ 1105285 w 2362585"/>
                <a:gd name="connsiteY16" fmla="*/ 1765749 h 2376599"/>
                <a:gd name="connsiteX17" fmla="*/ 1073482 w 2362585"/>
                <a:gd name="connsiteY17" fmla="*/ 1570430 h 2376599"/>
                <a:gd name="connsiteX18" fmla="*/ 902085 w 2362585"/>
                <a:gd name="connsiteY18" fmla="*/ 1537149 h 2376599"/>
                <a:gd name="connsiteX19" fmla="*/ 119505 w 2362585"/>
                <a:gd name="connsiteY19" fmla="*/ 930821 h 2376599"/>
                <a:gd name="connsiteX20" fmla="*/ 330902 w 2362585"/>
                <a:gd name="connsiteY20" fmla="*/ 352847 h 2376599"/>
                <a:gd name="connsiteX21" fmla="*/ 470285 w 2362585"/>
                <a:gd name="connsiteY21" fmla="*/ 457649 h 2376599"/>
                <a:gd name="connsiteX22" fmla="*/ 395175 w 2362585"/>
                <a:gd name="connsiteY22" fmla="*/ 489628 h 2376599"/>
                <a:gd name="connsiteX23" fmla="*/ 285063 w 2362585"/>
                <a:gd name="connsiteY23" fmla="*/ 878932 h 2376599"/>
                <a:gd name="connsiteX24" fmla="*/ 925867 w 2362585"/>
                <a:gd name="connsiteY24" fmla="*/ 1362586 h 2376599"/>
                <a:gd name="connsiteX25" fmla="*/ 1283332 w 2362585"/>
                <a:gd name="connsiteY25" fmla="*/ 1224958 h 2376599"/>
                <a:gd name="connsiteX26" fmla="*/ 1472108 w 2362585"/>
                <a:gd name="connsiteY26" fmla="*/ 463840 h 2376599"/>
                <a:gd name="connsiteX27" fmla="*/ 1168785 w 2362585"/>
                <a:gd name="connsiteY27" fmla="*/ 216349 h 2376599"/>
                <a:gd name="connsiteX28" fmla="*/ 1130720 w 2362585"/>
                <a:gd name="connsiteY28" fmla="*/ 52762 h 2376599"/>
                <a:gd name="connsiteX0" fmla="*/ 1130720 w 2362585"/>
                <a:gd name="connsiteY0" fmla="*/ 52762 h 2376599"/>
                <a:gd name="connsiteX1" fmla="*/ 1621236 w 2362585"/>
                <a:gd name="connsiteY1" fmla="*/ 514817 h 2376599"/>
                <a:gd name="connsiteX2" fmla="*/ 1435485 w 2362585"/>
                <a:gd name="connsiteY2" fmla="*/ 1270449 h 2376599"/>
                <a:gd name="connsiteX3" fmla="*/ 1227501 w 2362585"/>
                <a:gd name="connsiteY3" fmla="*/ 1537325 h 2376599"/>
                <a:gd name="connsiteX4" fmla="*/ 2070485 w 2362585"/>
                <a:gd name="connsiteY4" fmla="*/ 1727649 h 2376599"/>
                <a:gd name="connsiteX5" fmla="*/ 2019685 w 2362585"/>
                <a:gd name="connsiteY5" fmla="*/ 1270449 h 2376599"/>
                <a:gd name="connsiteX6" fmla="*/ 2070485 w 2362585"/>
                <a:gd name="connsiteY6" fmla="*/ 737049 h 2376599"/>
                <a:gd name="connsiteX7" fmla="*/ 2299085 w 2362585"/>
                <a:gd name="connsiteY7" fmla="*/ 571949 h 2376599"/>
                <a:gd name="connsiteX8" fmla="*/ 2362585 w 2362585"/>
                <a:gd name="connsiteY8" fmla="*/ 737049 h 2376599"/>
                <a:gd name="connsiteX9" fmla="*/ 2248285 w 2362585"/>
                <a:gd name="connsiteY9" fmla="*/ 800549 h 2376599"/>
                <a:gd name="connsiteX10" fmla="*/ 2133985 w 2362585"/>
                <a:gd name="connsiteY10" fmla="*/ 991049 h 2376599"/>
                <a:gd name="connsiteX11" fmla="*/ 2184785 w 2362585"/>
                <a:gd name="connsiteY11" fmla="*/ 1359349 h 2376599"/>
                <a:gd name="connsiteX12" fmla="*/ 2222885 w 2362585"/>
                <a:gd name="connsiteY12" fmla="*/ 1740349 h 2376599"/>
                <a:gd name="connsiteX13" fmla="*/ 2095885 w 2362585"/>
                <a:gd name="connsiteY13" fmla="*/ 2070549 h 2376599"/>
                <a:gd name="connsiteX14" fmla="*/ 1841885 w 2362585"/>
                <a:gd name="connsiteY14" fmla="*/ 2235649 h 2376599"/>
                <a:gd name="connsiteX15" fmla="*/ 1270385 w 2362585"/>
                <a:gd name="connsiteY15" fmla="*/ 2146749 h 2376599"/>
                <a:gd name="connsiteX16" fmla="*/ 1105285 w 2362585"/>
                <a:gd name="connsiteY16" fmla="*/ 1765749 h 2376599"/>
                <a:gd name="connsiteX17" fmla="*/ 1073482 w 2362585"/>
                <a:gd name="connsiteY17" fmla="*/ 1570430 h 2376599"/>
                <a:gd name="connsiteX18" fmla="*/ 902085 w 2362585"/>
                <a:gd name="connsiteY18" fmla="*/ 1537149 h 2376599"/>
                <a:gd name="connsiteX19" fmla="*/ 119505 w 2362585"/>
                <a:gd name="connsiteY19" fmla="*/ 930821 h 2376599"/>
                <a:gd name="connsiteX20" fmla="*/ 330902 w 2362585"/>
                <a:gd name="connsiteY20" fmla="*/ 352847 h 2376599"/>
                <a:gd name="connsiteX21" fmla="*/ 470285 w 2362585"/>
                <a:gd name="connsiteY21" fmla="*/ 457649 h 2376599"/>
                <a:gd name="connsiteX22" fmla="*/ 395175 w 2362585"/>
                <a:gd name="connsiteY22" fmla="*/ 489628 h 2376599"/>
                <a:gd name="connsiteX23" fmla="*/ 285063 w 2362585"/>
                <a:gd name="connsiteY23" fmla="*/ 878932 h 2376599"/>
                <a:gd name="connsiteX24" fmla="*/ 925867 w 2362585"/>
                <a:gd name="connsiteY24" fmla="*/ 1362586 h 2376599"/>
                <a:gd name="connsiteX25" fmla="*/ 1283332 w 2362585"/>
                <a:gd name="connsiteY25" fmla="*/ 1224958 h 2376599"/>
                <a:gd name="connsiteX26" fmla="*/ 1472108 w 2362585"/>
                <a:gd name="connsiteY26" fmla="*/ 463840 h 2376599"/>
                <a:gd name="connsiteX27" fmla="*/ 1168785 w 2362585"/>
                <a:gd name="connsiteY27" fmla="*/ 216349 h 2376599"/>
                <a:gd name="connsiteX28" fmla="*/ 1130720 w 2362585"/>
                <a:gd name="connsiteY28" fmla="*/ 52762 h 2376599"/>
                <a:gd name="connsiteX0" fmla="*/ 1130720 w 2362585"/>
                <a:gd name="connsiteY0" fmla="*/ 52762 h 2376599"/>
                <a:gd name="connsiteX1" fmla="*/ 1621236 w 2362585"/>
                <a:gd name="connsiteY1" fmla="*/ 514817 h 2376599"/>
                <a:gd name="connsiteX2" fmla="*/ 1435485 w 2362585"/>
                <a:gd name="connsiteY2" fmla="*/ 1270449 h 2376599"/>
                <a:gd name="connsiteX3" fmla="*/ 1227501 w 2362585"/>
                <a:gd name="connsiteY3" fmla="*/ 1537325 h 2376599"/>
                <a:gd name="connsiteX4" fmla="*/ 2070485 w 2362585"/>
                <a:gd name="connsiteY4" fmla="*/ 1727649 h 2376599"/>
                <a:gd name="connsiteX5" fmla="*/ 2019685 w 2362585"/>
                <a:gd name="connsiteY5" fmla="*/ 1270449 h 2376599"/>
                <a:gd name="connsiteX6" fmla="*/ 2070485 w 2362585"/>
                <a:gd name="connsiteY6" fmla="*/ 737049 h 2376599"/>
                <a:gd name="connsiteX7" fmla="*/ 2248426 w 2362585"/>
                <a:gd name="connsiteY7" fmla="*/ 589363 h 2376599"/>
                <a:gd name="connsiteX8" fmla="*/ 2362585 w 2362585"/>
                <a:gd name="connsiteY8" fmla="*/ 737049 h 2376599"/>
                <a:gd name="connsiteX9" fmla="*/ 2248285 w 2362585"/>
                <a:gd name="connsiteY9" fmla="*/ 800549 h 2376599"/>
                <a:gd name="connsiteX10" fmla="*/ 2133985 w 2362585"/>
                <a:gd name="connsiteY10" fmla="*/ 991049 h 2376599"/>
                <a:gd name="connsiteX11" fmla="*/ 2184785 w 2362585"/>
                <a:gd name="connsiteY11" fmla="*/ 1359349 h 2376599"/>
                <a:gd name="connsiteX12" fmla="*/ 2222885 w 2362585"/>
                <a:gd name="connsiteY12" fmla="*/ 1740349 h 2376599"/>
                <a:gd name="connsiteX13" fmla="*/ 2095885 w 2362585"/>
                <a:gd name="connsiteY13" fmla="*/ 2070549 h 2376599"/>
                <a:gd name="connsiteX14" fmla="*/ 1841885 w 2362585"/>
                <a:gd name="connsiteY14" fmla="*/ 2235649 h 2376599"/>
                <a:gd name="connsiteX15" fmla="*/ 1270385 w 2362585"/>
                <a:gd name="connsiteY15" fmla="*/ 2146749 h 2376599"/>
                <a:gd name="connsiteX16" fmla="*/ 1105285 w 2362585"/>
                <a:gd name="connsiteY16" fmla="*/ 1765749 h 2376599"/>
                <a:gd name="connsiteX17" fmla="*/ 1073482 w 2362585"/>
                <a:gd name="connsiteY17" fmla="*/ 1570430 h 2376599"/>
                <a:gd name="connsiteX18" fmla="*/ 902085 w 2362585"/>
                <a:gd name="connsiteY18" fmla="*/ 1537149 h 2376599"/>
                <a:gd name="connsiteX19" fmla="*/ 119505 w 2362585"/>
                <a:gd name="connsiteY19" fmla="*/ 930821 h 2376599"/>
                <a:gd name="connsiteX20" fmla="*/ 330902 w 2362585"/>
                <a:gd name="connsiteY20" fmla="*/ 352847 h 2376599"/>
                <a:gd name="connsiteX21" fmla="*/ 470285 w 2362585"/>
                <a:gd name="connsiteY21" fmla="*/ 457649 h 2376599"/>
                <a:gd name="connsiteX22" fmla="*/ 395175 w 2362585"/>
                <a:gd name="connsiteY22" fmla="*/ 489628 h 2376599"/>
                <a:gd name="connsiteX23" fmla="*/ 285063 w 2362585"/>
                <a:gd name="connsiteY23" fmla="*/ 878932 h 2376599"/>
                <a:gd name="connsiteX24" fmla="*/ 925867 w 2362585"/>
                <a:gd name="connsiteY24" fmla="*/ 1362586 h 2376599"/>
                <a:gd name="connsiteX25" fmla="*/ 1283332 w 2362585"/>
                <a:gd name="connsiteY25" fmla="*/ 1224958 h 2376599"/>
                <a:gd name="connsiteX26" fmla="*/ 1472108 w 2362585"/>
                <a:gd name="connsiteY26" fmla="*/ 463840 h 2376599"/>
                <a:gd name="connsiteX27" fmla="*/ 1168785 w 2362585"/>
                <a:gd name="connsiteY27" fmla="*/ 216349 h 2376599"/>
                <a:gd name="connsiteX28" fmla="*/ 1130720 w 2362585"/>
                <a:gd name="connsiteY28" fmla="*/ 52762 h 2376599"/>
                <a:gd name="connsiteX0" fmla="*/ 1130720 w 2362585"/>
                <a:gd name="connsiteY0" fmla="*/ 52762 h 2376599"/>
                <a:gd name="connsiteX1" fmla="*/ 1621236 w 2362585"/>
                <a:gd name="connsiteY1" fmla="*/ 514817 h 2376599"/>
                <a:gd name="connsiteX2" fmla="*/ 1435485 w 2362585"/>
                <a:gd name="connsiteY2" fmla="*/ 1270449 h 2376599"/>
                <a:gd name="connsiteX3" fmla="*/ 1227501 w 2362585"/>
                <a:gd name="connsiteY3" fmla="*/ 1537325 h 2376599"/>
                <a:gd name="connsiteX4" fmla="*/ 2070485 w 2362585"/>
                <a:gd name="connsiteY4" fmla="*/ 1727649 h 2376599"/>
                <a:gd name="connsiteX5" fmla="*/ 2019685 w 2362585"/>
                <a:gd name="connsiteY5" fmla="*/ 1270449 h 2376599"/>
                <a:gd name="connsiteX6" fmla="*/ 2248426 w 2362585"/>
                <a:gd name="connsiteY6" fmla="*/ 589363 h 2376599"/>
                <a:gd name="connsiteX7" fmla="*/ 2362585 w 2362585"/>
                <a:gd name="connsiteY7" fmla="*/ 737049 h 2376599"/>
                <a:gd name="connsiteX8" fmla="*/ 2248285 w 2362585"/>
                <a:gd name="connsiteY8" fmla="*/ 800549 h 2376599"/>
                <a:gd name="connsiteX9" fmla="*/ 2133985 w 2362585"/>
                <a:gd name="connsiteY9" fmla="*/ 991049 h 2376599"/>
                <a:gd name="connsiteX10" fmla="*/ 2184785 w 2362585"/>
                <a:gd name="connsiteY10" fmla="*/ 1359349 h 2376599"/>
                <a:gd name="connsiteX11" fmla="*/ 2222885 w 2362585"/>
                <a:gd name="connsiteY11" fmla="*/ 1740349 h 2376599"/>
                <a:gd name="connsiteX12" fmla="*/ 2095885 w 2362585"/>
                <a:gd name="connsiteY12" fmla="*/ 2070549 h 2376599"/>
                <a:gd name="connsiteX13" fmla="*/ 1841885 w 2362585"/>
                <a:gd name="connsiteY13" fmla="*/ 2235649 h 2376599"/>
                <a:gd name="connsiteX14" fmla="*/ 1270385 w 2362585"/>
                <a:gd name="connsiteY14" fmla="*/ 2146749 h 2376599"/>
                <a:gd name="connsiteX15" fmla="*/ 1105285 w 2362585"/>
                <a:gd name="connsiteY15" fmla="*/ 1765749 h 2376599"/>
                <a:gd name="connsiteX16" fmla="*/ 1073482 w 2362585"/>
                <a:gd name="connsiteY16" fmla="*/ 1570430 h 2376599"/>
                <a:gd name="connsiteX17" fmla="*/ 902085 w 2362585"/>
                <a:gd name="connsiteY17" fmla="*/ 1537149 h 2376599"/>
                <a:gd name="connsiteX18" fmla="*/ 119505 w 2362585"/>
                <a:gd name="connsiteY18" fmla="*/ 930821 h 2376599"/>
                <a:gd name="connsiteX19" fmla="*/ 330902 w 2362585"/>
                <a:gd name="connsiteY19" fmla="*/ 352847 h 2376599"/>
                <a:gd name="connsiteX20" fmla="*/ 470285 w 2362585"/>
                <a:gd name="connsiteY20" fmla="*/ 457649 h 2376599"/>
                <a:gd name="connsiteX21" fmla="*/ 395175 w 2362585"/>
                <a:gd name="connsiteY21" fmla="*/ 489628 h 2376599"/>
                <a:gd name="connsiteX22" fmla="*/ 285063 w 2362585"/>
                <a:gd name="connsiteY22" fmla="*/ 878932 h 2376599"/>
                <a:gd name="connsiteX23" fmla="*/ 925867 w 2362585"/>
                <a:gd name="connsiteY23" fmla="*/ 1362586 h 2376599"/>
                <a:gd name="connsiteX24" fmla="*/ 1283332 w 2362585"/>
                <a:gd name="connsiteY24" fmla="*/ 1224958 h 2376599"/>
                <a:gd name="connsiteX25" fmla="*/ 1472108 w 2362585"/>
                <a:gd name="connsiteY25" fmla="*/ 463840 h 2376599"/>
                <a:gd name="connsiteX26" fmla="*/ 1168785 w 2362585"/>
                <a:gd name="connsiteY26" fmla="*/ 216349 h 2376599"/>
                <a:gd name="connsiteX27" fmla="*/ 1130720 w 2362585"/>
                <a:gd name="connsiteY27" fmla="*/ 52762 h 2376599"/>
                <a:gd name="connsiteX0" fmla="*/ 1130720 w 2362585"/>
                <a:gd name="connsiteY0" fmla="*/ 52762 h 2376599"/>
                <a:gd name="connsiteX1" fmla="*/ 1621236 w 2362585"/>
                <a:gd name="connsiteY1" fmla="*/ 514817 h 2376599"/>
                <a:gd name="connsiteX2" fmla="*/ 1435485 w 2362585"/>
                <a:gd name="connsiteY2" fmla="*/ 1270449 h 2376599"/>
                <a:gd name="connsiteX3" fmla="*/ 1227501 w 2362585"/>
                <a:gd name="connsiteY3" fmla="*/ 1537325 h 2376599"/>
                <a:gd name="connsiteX4" fmla="*/ 2070485 w 2362585"/>
                <a:gd name="connsiteY4" fmla="*/ 1727649 h 2376599"/>
                <a:gd name="connsiteX5" fmla="*/ 2019685 w 2362585"/>
                <a:gd name="connsiteY5" fmla="*/ 1270449 h 2376599"/>
                <a:gd name="connsiteX6" fmla="*/ 2248426 w 2362585"/>
                <a:gd name="connsiteY6" fmla="*/ 589363 h 2376599"/>
                <a:gd name="connsiteX7" fmla="*/ 2362585 w 2362585"/>
                <a:gd name="connsiteY7" fmla="*/ 737049 h 2376599"/>
                <a:gd name="connsiteX8" fmla="*/ 2248285 w 2362585"/>
                <a:gd name="connsiteY8" fmla="*/ 800549 h 2376599"/>
                <a:gd name="connsiteX9" fmla="*/ 2133985 w 2362585"/>
                <a:gd name="connsiteY9" fmla="*/ 991049 h 2376599"/>
                <a:gd name="connsiteX10" fmla="*/ 2184785 w 2362585"/>
                <a:gd name="connsiteY10" fmla="*/ 1359349 h 2376599"/>
                <a:gd name="connsiteX11" fmla="*/ 2222885 w 2362585"/>
                <a:gd name="connsiteY11" fmla="*/ 1740349 h 2376599"/>
                <a:gd name="connsiteX12" fmla="*/ 2095885 w 2362585"/>
                <a:gd name="connsiteY12" fmla="*/ 2070549 h 2376599"/>
                <a:gd name="connsiteX13" fmla="*/ 1841885 w 2362585"/>
                <a:gd name="connsiteY13" fmla="*/ 2235649 h 2376599"/>
                <a:gd name="connsiteX14" fmla="*/ 1270385 w 2362585"/>
                <a:gd name="connsiteY14" fmla="*/ 2146749 h 2376599"/>
                <a:gd name="connsiteX15" fmla="*/ 1105285 w 2362585"/>
                <a:gd name="connsiteY15" fmla="*/ 1765749 h 2376599"/>
                <a:gd name="connsiteX16" fmla="*/ 1073482 w 2362585"/>
                <a:gd name="connsiteY16" fmla="*/ 1570430 h 2376599"/>
                <a:gd name="connsiteX17" fmla="*/ 902085 w 2362585"/>
                <a:gd name="connsiteY17" fmla="*/ 1537149 h 2376599"/>
                <a:gd name="connsiteX18" fmla="*/ 119505 w 2362585"/>
                <a:gd name="connsiteY18" fmla="*/ 930821 h 2376599"/>
                <a:gd name="connsiteX19" fmla="*/ 330902 w 2362585"/>
                <a:gd name="connsiteY19" fmla="*/ 352847 h 2376599"/>
                <a:gd name="connsiteX20" fmla="*/ 470285 w 2362585"/>
                <a:gd name="connsiteY20" fmla="*/ 457649 h 2376599"/>
                <a:gd name="connsiteX21" fmla="*/ 395175 w 2362585"/>
                <a:gd name="connsiteY21" fmla="*/ 489628 h 2376599"/>
                <a:gd name="connsiteX22" fmla="*/ 285063 w 2362585"/>
                <a:gd name="connsiteY22" fmla="*/ 878932 h 2376599"/>
                <a:gd name="connsiteX23" fmla="*/ 925867 w 2362585"/>
                <a:gd name="connsiteY23" fmla="*/ 1362586 h 2376599"/>
                <a:gd name="connsiteX24" fmla="*/ 1283332 w 2362585"/>
                <a:gd name="connsiteY24" fmla="*/ 1224958 h 2376599"/>
                <a:gd name="connsiteX25" fmla="*/ 1472108 w 2362585"/>
                <a:gd name="connsiteY25" fmla="*/ 463840 h 2376599"/>
                <a:gd name="connsiteX26" fmla="*/ 1168785 w 2362585"/>
                <a:gd name="connsiteY26" fmla="*/ 216349 h 2376599"/>
                <a:gd name="connsiteX27" fmla="*/ 1130720 w 2362585"/>
                <a:gd name="connsiteY27" fmla="*/ 52762 h 2376599"/>
                <a:gd name="connsiteX0" fmla="*/ 1130720 w 2362585"/>
                <a:gd name="connsiteY0" fmla="*/ 52762 h 2376599"/>
                <a:gd name="connsiteX1" fmla="*/ 1621236 w 2362585"/>
                <a:gd name="connsiteY1" fmla="*/ 514817 h 2376599"/>
                <a:gd name="connsiteX2" fmla="*/ 1435485 w 2362585"/>
                <a:gd name="connsiteY2" fmla="*/ 1270449 h 2376599"/>
                <a:gd name="connsiteX3" fmla="*/ 1227501 w 2362585"/>
                <a:gd name="connsiteY3" fmla="*/ 1537325 h 2376599"/>
                <a:gd name="connsiteX4" fmla="*/ 2070485 w 2362585"/>
                <a:gd name="connsiteY4" fmla="*/ 1727649 h 2376599"/>
                <a:gd name="connsiteX5" fmla="*/ 2019685 w 2362585"/>
                <a:gd name="connsiteY5" fmla="*/ 1270449 h 2376599"/>
                <a:gd name="connsiteX6" fmla="*/ 2248426 w 2362585"/>
                <a:gd name="connsiteY6" fmla="*/ 589363 h 2376599"/>
                <a:gd name="connsiteX7" fmla="*/ 2362585 w 2362585"/>
                <a:gd name="connsiteY7" fmla="*/ 737049 h 2376599"/>
                <a:gd name="connsiteX8" fmla="*/ 2248285 w 2362585"/>
                <a:gd name="connsiteY8" fmla="*/ 800549 h 2376599"/>
                <a:gd name="connsiteX9" fmla="*/ 2133985 w 2362585"/>
                <a:gd name="connsiteY9" fmla="*/ 991049 h 2376599"/>
                <a:gd name="connsiteX10" fmla="*/ 2184785 w 2362585"/>
                <a:gd name="connsiteY10" fmla="*/ 1359349 h 2376599"/>
                <a:gd name="connsiteX11" fmla="*/ 2222885 w 2362585"/>
                <a:gd name="connsiteY11" fmla="*/ 1740349 h 2376599"/>
                <a:gd name="connsiteX12" fmla="*/ 2095885 w 2362585"/>
                <a:gd name="connsiteY12" fmla="*/ 2070549 h 2376599"/>
                <a:gd name="connsiteX13" fmla="*/ 1841885 w 2362585"/>
                <a:gd name="connsiteY13" fmla="*/ 2235649 h 2376599"/>
                <a:gd name="connsiteX14" fmla="*/ 1270385 w 2362585"/>
                <a:gd name="connsiteY14" fmla="*/ 2146749 h 2376599"/>
                <a:gd name="connsiteX15" fmla="*/ 1105285 w 2362585"/>
                <a:gd name="connsiteY15" fmla="*/ 1765749 h 2376599"/>
                <a:gd name="connsiteX16" fmla="*/ 1073482 w 2362585"/>
                <a:gd name="connsiteY16" fmla="*/ 1570430 h 2376599"/>
                <a:gd name="connsiteX17" fmla="*/ 902085 w 2362585"/>
                <a:gd name="connsiteY17" fmla="*/ 1537149 h 2376599"/>
                <a:gd name="connsiteX18" fmla="*/ 119505 w 2362585"/>
                <a:gd name="connsiteY18" fmla="*/ 930821 h 2376599"/>
                <a:gd name="connsiteX19" fmla="*/ 330902 w 2362585"/>
                <a:gd name="connsiteY19" fmla="*/ 352847 h 2376599"/>
                <a:gd name="connsiteX20" fmla="*/ 470285 w 2362585"/>
                <a:gd name="connsiteY20" fmla="*/ 457649 h 2376599"/>
                <a:gd name="connsiteX21" fmla="*/ 395175 w 2362585"/>
                <a:gd name="connsiteY21" fmla="*/ 489628 h 2376599"/>
                <a:gd name="connsiteX22" fmla="*/ 285063 w 2362585"/>
                <a:gd name="connsiteY22" fmla="*/ 878932 h 2376599"/>
                <a:gd name="connsiteX23" fmla="*/ 925867 w 2362585"/>
                <a:gd name="connsiteY23" fmla="*/ 1362586 h 2376599"/>
                <a:gd name="connsiteX24" fmla="*/ 1283332 w 2362585"/>
                <a:gd name="connsiteY24" fmla="*/ 1224958 h 2376599"/>
                <a:gd name="connsiteX25" fmla="*/ 1472108 w 2362585"/>
                <a:gd name="connsiteY25" fmla="*/ 463840 h 2376599"/>
                <a:gd name="connsiteX26" fmla="*/ 1168785 w 2362585"/>
                <a:gd name="connsiteY26" fmla="*/ 216349 h 2376599"/>
                <a:gd name="connsiteX27" fmla="*/ 1130720 w 2362585"/>
                <a:gd name="connsiteY27" fmla="*/ 52762 h 2376599"/>
                <a:gd name="connsiteX0" fmla="*/ 1130720 w 2311926"/>
                <a:gd name="connsiteY0" fmla="*/ 52762 h 2376599"/>
                <a:gd name="connsiteX1" fmla="*/ 1621236 w 2311926"/>
                <a:gd name="connsiteY1" fmla="*/ 514817 h 2376599"/>
                <a:gd name="connsiteX2" fmla="*/ 1435485 w 2311926"/>
                <a:gd name="connsiteY2" fmla="*/ 1270449 h 2376599"/>
                <a:gd name="connsiteX3" fmla="*/ 1227501 w 2311926"/>
                <a:gd name="connsiteY3" fmla="*/ 1537325 h 2376599"/>
                <a:gd name="connsiteX4" fmla="*/ 2070485 w 2311926"/>
                <a:gd name="connsiteY4" fmla="*/ 1727649 h 2376599"/>
                <a:gd name="connsiteX5" fmla="*/ 2019685 w 2311926"/>
                <a:gd name="connsiteY5" fmla="*/ 1270449 h 2376599"/>
                <a:gd name="connsiteX6" fmla="*/ 2248426 w 2311926"/>
                <a:gd name="connsiteY6" fmla="*/ 589363 h 2376599"/>
                <a:gd name="connsiteX7" fmla="*/ 2311926 w 2311926"/>
                <a:gd name="connsiteY7" fmla="*/ 735466 h 2376599"/>
                <a:gd name="connsiteX8" fmla="*/ 2248285 w 2311926"/>
                <a:gd name="connsiteY8" fmla="*/ 800549 h 2376599"/>
                <a:gd name="connsiteX9" fmla="*/ 2133985 w 2311926"/>
                <a:gd name="connsiteY9" fmla="*/ 991049 h 2376599"/>
                <a:gd name="connsiteX10" fmla="*/ 2184785 w 2311926"/>
                <a:gd name="connsiteY10" fmla="*/ 1359349 h 2376599"/>
                <a:gd name="connsiteX11" fmla="*/ 2222885 w 2311926"/>
                <a:gd name="connsiteY11" fmla="*/ 1740349 h 2376599"/>
                <a:gd name="connsiteX12" fmla="*/ 2095885 w 2311926"/>
                <a:gd name="connsiteY12" fmla="*/ 2070549 h 2376599"/>
                <a:gd name="connsiteX13" fmla="*/ 1841885 w 2311926"/>
                <a:gd name="connsiteY13" fmla="*/ 2235649 h 2376599"/>
                <a:gd name="connsiteX14" fmla="*/ 1270385 w 2311926"/>
                <a:gd name="connsiteY14" fmla="*/ 2146749 h 2376599"/>
                <a:gd name="connsiteX15" fmla="*/ 1105285 w 2311926"/>
                <a:gd name="connsiteY15" fmla="*/ 1765749 h 2376599"/>
                <a:gd name="connsiteX16" fmla="*/ 1073482 w 2311926"/>
                <a:gd name="connsiteY16" fmla="*/ 1570430 h 2376599"/>
                <a:gd name="connsiteX17" fmla="*/ 902085 w 2311926"/>
                <a:gd name="connsiteY17" fmla="*/ 1537149 h 2376599"/>
                <a:gd name="connsiteX18" fmla="*/ 119505 w 2311926"/>
                <a:gd name="connsiteY18" fmla="*/ 930821 h 2376599"/>
                <a:gd name="connsiteX19" fmla="*/ 330902 w 2311926"/>
                <a:gd name="connsiteY19" fmla="*/ 352847 h 2376599"/>
                <a:gd name="connsiteX20" fmla="*/ 470285 w 2311926"/>
                <a:gd name="connsiteY20" fmla="*/ 457649 h 2376599"/>
                <a:gd name="connsiteX21" fmla="*/ 395175 w 2311926"/>
                <a:gd name="connsiteY21" fmla="*/ 489628 h 2376599"/>
                <a:gd name="connsiteX22" fmla="*/ 285063 w 2311926"/>
                <a:gd name="connsiteY22" fmla="*/ 878932 h 2376599"/>
                <a:gd name="connsiteX23" fmla="*/ 925867 w 2311926"/>
                <a:gd name="connsiteY23" fmla="*/ 1362586 h 2376599"/>
                <a:gd name="connsiteX24" fmla="*/ 1283332 w 2311926"/>
                <a:gd name="connsiteY24" fmla="*/ 1224958 h 2376599"/>
                <a:gd name="connsiteX25" fmla="*/ 1472108 w 2311926"/>
                <a:gd name="connsiteY25" fmla="*/ 463840 h 2376599"/>
                <a:gd name="connsiteX26" fmla="*/ 1168785 w 2311926"/>
                <a:gd name="connsiteY26" fmla="*/ 216349 h 2376599"/>
                <a:gd name="connsiteX27" fmla="*/ 1130720 w 2311926"/>
                <a:gd name="connsiteY27" fmla="*/ 52762 h 2376599"/>
                <a:gd name="connsiteX0" fmla="*/ 1130720 w 2311926"/>
                <a:gd name="connsiteY0" fmla="*/ 52762 h 2376599"/>
                <a:gd name="connsiteX1" fmla="*/ 1621236 w 2311926"/>
                <a:gd name="connsiteY1" fmla="*/ 514817 h 2376599"/>
                <a:gd name="connsiteX2" fmla="*/ 1435485 w 2311926"/>
                <a:gd name="connsiteY2" fmla="*/ 1270449 h 2376599"/>
                <a:gd name="connsiteX3" fmla="*/ 1227501 w 2311926"/>
                <a:gd name="connsiteY3" fmla="*/ 1537325 h 2376599"/>
                <a:gd name="connsiteX4" fmla="*/ 2070485 w 2311926"/>
                <a:gd name="connsiteY4" fmla="*/ 1727649 h 2376599"/>
                <a:gd name="connsiteX5" fmla="*/ 2019685 w 2311926"/>
                <a:gd name="connsiteY5" fmla="*/ 1270449 h 2376599"/>
                <a:gd name="connsiteX6" fmla="*/ 2248426 w 2311926"/>
                <a:gd name="connsiteY6" fmla="*/ 589363 h 2376599"/>
                <a:gd name="connsiteX7" fmla="*/ 2311926 w 2311926"/>
                <a:gd name="connsiteY7" fmla="*/ 735466 h 2376599"/>
                <a:gd name="connsiteX8" fmla="*/ 2248285 w 2311926"/>
                <a:gd name="connsiteY8" fmla="*/ 800549 h 2376599"/>
                <a:gd name="connsiteX9" fmla="*/ 2184785 w 2311926"/>
                <a:gd name="connsiteY9" fmla="*/ 1359349 h 2376599"/>
                <a:gd name="connsiteX10" fmla="*/ 2222885 w 2311926"/>
                <a:gd name="connsiteY10" fmla="*/ 1740349 h 2376599"/>
                <a:gd name="connsiteX11" fmla="*/ 2095885 w 2311926"/>
                <a:gd name="connsiteY11" fmla="*/ 2070549 h 2376599"/>
                <a:gd name="connsiteX12" fmla="*/ 1841885 w 2311926"/>
                <a:gd name="connsiteY12" fmla="*/ 2235649 h 2376599"/>
                <a:gd name="connsiteX13" fmla="*/ 1270385 w 2311926"/>
                <a:gd name="connsiteY13" fmla="*/ 2146749 h 2376599"/>
                <a:gd name="connsiteX14" fmla="*/ 1105285 w 2311926"/>
                <a:gd name="connsiteY14" fmla="*/ 1765749 h 2376599"/>
                <a:gd name="connsiteX15" fmla="*/ 1073482 w 2311926"/>
                <a:gd name="connsiteY15" fmla="*/ 1570430 h 2376599"/>
                <a:gd name="connsiteX16" fmla="*/ 902085 w 2311926"/>
                <a:gd name="connsiteY16" fmla="*/ 1537149 h 2376599"/>
                <a:gd name="connsiteX17" fmla="*/ 119505 w 2311926"/>
                <a:gd name="connsiteY17" fmla="*/ 930821 h 2376599"/>
                <a:gd name="connsiteX18" fmla="*/ 330902 w 2311926"/>
                <a:gd name="connsiteY18" fmla="*/ 352847 h 2376599"/>
                <a:gd name="connsiteX19" fmla="*/ 470285 w 2311926"/>
                <a:gd name="connsiteY19" fmla="*/ 457649 h 2376599"/>
                <a:gd name="connsiteX20" fmla="*/ 395175 w 2311926"/>
                <a:gd name="connsiteY20" fmla="*/ 489628 h 2376599"/>
                <a:gd name="connsiteX21" fmla="*/ 285063 w 2311926"/>
                <a:gd name="connsiteY21" fmla="*/ 878932 h 2376599"/>
                <a:gd name="connsiteX22" fmla="*/ 925867 w 2311926"/>
                <a:gd name="connsiteY22" fmla="*/ 1362586 h 2376599"/>
                <a:gd name="connsiteX23" fmla="*/ 1283332 w 2311926"/>
                <a:gd name="connsiteY23" fmla="*/ 1224958 h 2376599"/>
                <a:gd name="connsiteX24" fmla="*/ 1472108 w 2311926"/>
                <a:gd name="connsiteY24" fmla="*/ 463840 h 2376599"/>
                <a:gd name="connsiteX25" fmla="*/ 1168785 w 2311926"/>
                <a:gd name="connsiteY25" fmla="*/ 216349 h 2376599"/>
                <a:gd name="connsiteX26" fmla="*/ 1130720 w 2311926"/>
                <a:gd name="connsiteY26" fmla="*/ 52762 h 2376599"/>
                <a:gd name="connsiteX0" fmla="*/ 1130720 w 2311926"/>
                <a:gd name="connsiteY0" fmla="*/ 52762 h 2376599"/>
                <a:gd name="connsiteX1" fmla="*/ 1621236 w 2311926"/>
                <a:gd name="connsiteY1" fmla="*/ 514817 h 2376599"/>
                <a:gd name="connsiteX2" fmla="*/ 1435485 w 2311926"/>
                <a:gd name="connsiteY2" fmla="*/ 1270449 h 2376599"/>
                <a:gd name="connsiteX3" fmla="*/ 1227501 w 2311926"/>
                <a:gd name="connsiteY3" fmla="*/ 1537325 h 2376599"/>
                <a:gd name="connsiteX4" fmla="*/ 2070485 w 2311926"/>
                <a:gd name="connsiteY4" fmla="*/ 1727649 h 2376599"/>
                <a:gd name="connsiteX5" fmla="*/ 2019685 w 2311926"/>
                <a:gd name="connsiteY5" fmla="*/ 1270449 h 2376599"/>
                <a:gd name="connsiteX6" fmla="*/ 2248426 w 2311926"/>
                <a:gd name="connsiteY6" fmla="*/ 589363 h 2376599"/>
                <a:gd name="connsiteX7" fmla="*/ 2311926 w 2311926"/>
                <a:gd name="connsiteY7" fmla="*/ 735466 h 2376599"/>
                <a:gd name="connsiteX8" fmla="*/ 2184785 w 2311926"/>
                <a:gd name="connsiteY8" fmla="*/ 1359349 h 2376599"/>
                <a:gd name="connsiteX9" fmla="*/ 2222885 w 2311926"/>
                <a:gd name="connsiteY9" fmla="*/ 1740349 h 2376599"/>
                <a:gd name="connsiteX10" fmla="*/ 2095885 w 2311926"/>
                <a:gd name="connsiteY10" fmla="*/ 2070549 h 2376599"/>
                <a:gd name="connsiteX11" fmla="*/ 1841885 w 2311926"/>
                <a:gd name="connsiteY11" fmla="*/ 2235649 h 2376599"/>
                <a:gd name="connsiteX12" fmla="*/ 1270385 w 2311926"/>
                <a:gd name="connsiteY12" fmla="*/ 2146749 h 2376599"/>
                <a:gd name="connsiteX13" fmla="*/ 1105285 w 2311926"/>
                <a:gd name="connsiteY13" fmla="*/ 1765749 h 2376599"/>
                <a:gd name="connsiteX14" fmla="*/ 1073482 w 2311926"/>
                <a:gd name="connsiteY14" fmla="*/ 1570430 h 2376599"/>
                <a:gd name="connsiteX15" fmla="*/ 902085 w 2311926"/>
                <a:gd name="connsiteY15" fmla="*/ 1537149 h 2376599"/>
                <a:gd name="connsiteX16" fmla="*/ 119505 w 2311926"/>
                <a:gd name="connsiteY16" fmla="*/ 930821 h 2376599"/>
                <a:gd name="connsiteX17" fmla="*/ 330902 w 2311926"/>
                <a:gd name="connsiteY17" fmla="*/ 352847 h 2376599"/>
                <a:gd name="connsiteX18" fmla="*/ 470285 w 2311926"/>
                <a:gd name="connsiteY18" fmla="*/ 457649 h 2376599"/>
                <a:gd name="connsiteX19" fmla="*/ 395175 w 2311926"/>
                <a:gd name="connsiteY19" fmla="*/ 489628 h 2376599"/>
                <a:gd name="connsiteX20" fmla="*/ 285063 w 2311926"/>
                <a:gd name="connsiteY20" fmla="*/ 878932 h 2376599"/>
                <a:gd name="connsiteX21" fmla="*/ 925867 w 2311926"/>
                <a:gd name="connsiteY21" fmla="*/ 1362586 h 2376599"/>
                <a:gd name="connsiteX22" fmla="*/ 1283332 w 2311926"/>
                <a:gd name="connsiteY22" fmla="*/ 1224958 h 2376599"/>
                <a:gd name="connsiteX23" fmla="*/ 1472108 w 2311926"/>
                <a:gd name="connsiteY23" fmla="*/ 463840 h 2376599"/>
                <a:gd name="connsiteX24" fmla="*/ 1168785 w 2311926"/>
                <a:gd name="connsiteY24" fmla="*/ 216349 h 2376599"/>
                <a:gd name="connsiteX25" fmla="*/ 1130720 w 2311926"/>
                <a:gd name="connsiteY25" fmla="*/ 52762 h 2376599"/>
                <a:gd name="connsiteX0" fmla="*/ 1130720 w 2311926"/>
                <a:gd name="connsiteY0" fmla="*/ 52762 h 2376599"/>
                <a:gd name="connsiteX1" fmla="*/ 1621236 w 2311926"/>
                <a:gd name="connsiteY1" fmla="*/ 514817 h 2376599"/>
                <a:gd name="connsiteX2" fmla="*/ 1435485 w 2311926"/>
                <a:gd name="connsiteY2" fmla="*/ 1270449 h 2376599"/>
                <a:gd name="connsiteX3" fmla="*/ 1227501 w 2311926"/>
                <a:gd name="connsiteY3" fmla="*/ 1537325 h 2376599"/>
                <a:gd name="connsiteX4" fmla="*/ 2070485 w 2311926"/>
                <a:gd name="connsiteY4" fmla="*/ 1727649 h 2376599"/>
                <a:gd name="connsiteX5" fmla="*/ 2019685 w 2311926"/>
                <a:gd name="connsiteY5" fmla="*/ 1270449 h 2376599"/>
                <a:gd name="connsiteX6" fmla="*/ 2248426 w 2311926"/>
                <a:gd name="connsiteY6" fmla="*/ 589363 h 2376599"/>
                <a:gd name="connsiteX7" fmla="*/ 2311926 w 2311926"/>
                <a:gd name="connsiteY7" fmla="*/ 735466 h 2376599"/>
                <a:gd name="connsiteX8" fmla="*/ 2184785 w 2311926"/>
                <a:gd name="connsiteY8" fmla="*/ 1359349 h 2376599"/>
                <a:gd name="connsiteX9" fmla="*/ 2222885 w 2311926"/>
                <a:gd name="connsiteY9" fmla="*/ 1740349 h 2376599"/>
                <a:gd name="connsiteX10" fmla="*/ 2095885 w 2311926"/>
                <a:gd name="connsiteY10" fmla="*/ 2070549 h 2376599"/>
                <a:gd name="connsiteX11" fmla="*/ 1841885 w 2311926"/>
                <a:gd name="connsiteY11" fmla="*/ 2235649 h 2376599"/>
                <a:gd name="connsiteX12" fmla="*/ 1270385 w 2311926"/>
                <a:gd name="connsiteY12" fmla="*/ 2146749 h 2376599"/>
                <a:gd name="connsiteX13" fmla="*/ 1105285 w 2311926"/>
                <a:gd name="connsiteY13" fmla="*/ 1765749 h 2376599"/>
                <a:gd name="connsiteX14" fmla="*/ 1073482 w 2311926"/>
                <a:gd name="connsiteY14" fmla="*/ 1570430 h 2376599"/>
                <a:gd name="connsiteX15" fmla="*/ 902085 w 2311926"/>
                <a:gd name="connsiteY15" fmla="*/ 1537149 h 2376599"/>
                <a:gd name="connsiteX16" fmla="*/ 119505 w 2311926"/>
                <a:gd name="connsiteY16" fmla="*/ 930821 h 2376599"/>
                <a:gd name="connsiteX17" fmla="*/ 330902 w 2311926"/>
                <a:gd name="connsiteY17" fmla="*/ 352847 h 2376599"/>
                <a:gd name="connsiteX18" fmla="*/ 470285 w 2311926"/>
                <a:gd name="connsiteY18" fmla="*/ 457649 h 2376599"/>
                <a:gd name="connsiteX19" fmla="*/ 395175 w 2311926"/>
                <a:gd name="connsiteY19" fmla="*/ 489628 h 2376599"/>
                <a:gd name="connsiteX20" fmla="*/ 285063 w 2311926"/>
                <a:gd name="connsiteY20" fmla="*/ 878932 h 2376599"/>
                <a:gd name="connsiteX21" fmla="*/ 925867 w 2311926"/>
                <a:gd name="connsiteY21" fmla="*/ 1362586 h 2376599"/>
                <a:gd name="connsiteX22" fmla="*/ 1283332 w 2311926"/>
                <a:gd name="connsiteY22" fmla="*/ 1224958 h 2376599"/>
                <a:gd name="connsiteX23" fmla="*/ 1472108 w 2311926"/>
                <a:gd name="connsiteY23" fmla="*/ 463840 h 2376599"/>
                <a:gd name="connsiteX24" fmla="*/ 1168785 w 2311926"/>
                <a:gd name="connsiteY24" fmla="*/ 216349 h 2376599"/>
                <a:gd name="connsiteX25" fmla="*/ 1130720 w 2311926"/>
                <a:gd name="connsiteY25" fmla="*/ 52762 h 2376599"/>
                <a:gd name="connsiteX0" fmla="*/ 1130720 w 2311926"/>
                <a:gd name="connsiteY0" fmla="*/ 52762 h 2376599"/>
                <a:gd name="connsiteX1" fmla="*/ 1621236 w 2311926"/>
                <a:gd name="connsiteY1" fmla="*/ 514817 h 2376599"/>
                <a:gd name="connsiteX2" fmla="*/ 1435485 w 2311926"/>
                <a:gd name="connsiteY2" fmla="*/ 1270449 h 2376599"/>
                <a:gd name="connsiteX3" fmla="*/ 1227501 w 2311926"/>
                <a:gd name="connsiteY3" fmla="*/ 1537325 h 2376599"/>
                <a:gd name="connsiteX4" fmla="*/ 2070485 w 2311926"/>
                <a:gd name="connsiteY4" fmla="*/ 1727649 h 2376599"/>
                <a:gd name="connsiteX5" fmla="*/ 2019685 w 2311926"/>
                <a:gd name="connsiteY5" fmla="*/ 1270449 h 2376599"/>
                <a:gd name="connsiteX6" fmla="*/ 2248426 w 2311926"/>
                <a:gd name="connsiteY6" fmla="*/ 589363 h 2376599"/>
                <a:gd name="connsiteX7" fmla="*/ 2311926 w 2311926"/>
                <a:gd name="connsiteY7" fmla="*/ 735466 h 2376599"/>
                <a:gd name="connsiteX8" fmla="*/ 2170538 w 2311926"/>
                <a:gd name="connsiteY8" fmla="*/ 1245367 h 2376599"/>
                <a:gd name="connsiteX9" fmla="*/ 2222885 w 2311926"/>
                <a:gd name="connsiteY9" fmla="*/ 1740349 h 2376599"/>
                <a:gd name="connsiteX10" fmla="*/ 2095885 w 2311926"/>
                <a:gd name="connsiteY10" fmla="*/ 2070549 h 2376599"/>
                <a:gd name="connsiteX11" fmla="*/ 1841885 w 2311926"/>
                <a:gd name="connsiteY11" fmla="*/ 2235649 h 2376599"/>
                <a:gd name="connsiteX12" fmla="*/ 1270385 w 2311926"/>
                <a:gd name="connsiteY12" fmla="*/ 2146749 h 2376599"/>
                <a:gd name="connsiteX13" fmla="*/ 1105285 w 2311926"/>
                <a:gd name="connsiteY13" fmla="*/ 1765749 h 2376599"/>
                <a:gd name="connsiteX14" fmla="*/ 1073482 w 2311926"/>
                <a:gd name="connsiteY14" fmla="*/ 1570430 h 2376599"/>
                <a:gd name="connsiteX15" fmla="*/ 902085 w 2311926"/>
                <a:gd name="connsiteY15" fmla="*/ 1537149 h 2376599"/>
                <a:gd name="connsiteX16" fmla="*/ 119505 w 2311926"/>
                <a:gd name="connsiteY16" fmla="*/ 930821 h 2376599"/>
                <a:gd name="connsiteX17" fmla="*/ 330902 w 2311926"/>
                <a:gd name="connsiteY17" fmla="*/ 352847 h 2376599"/>
                <a:gd name="connsiteX18" fmla="*/ 470285 w 2311926"/>
                <a:gd name="connsiteY18" fmla="*/ 457649 h 2376599"/>
                <a:gd name="connsiteX19" fmla="*/ 395175 w 2311926"/>
                <a:gd name="connsiteY19" fmla="*/ 489628 h 2376599"/>
                <a:gd name="connsiteX20" fmla="*/ 285063 w 2311926"/>
                <a:gd name="connsiteY20" fmla="*/ 878932 h 2376599"/>
                <a:gd name="connsiteX21" fmla="*/ 925867 w 2311926"/>
                <a:gd name="connsiteY21" fmla="*/ 1362586 h 2376599"/>
                <a:gd name="connsiteX22" fmla="*/ 1283332 w 2311926"/>
                <a:gd name="connsiteY22" fmla="*/ 1224958 h 2376599"/>
                <a:gd name="connsiteX23" fmla="*/ 1472108 w 2311926"/>
                <a:gd name="connsiteY23" fmla="*/ 463840 h 2376599"/>
                <a:gd name="connsiteX24" fmla="*/ 1168785 w 2311926"/>
                <a:gd name="connsiteY24" fmla="*/ 216349 h 2376599"/>
                <a:gd name="connsiteX25" fmla="*/ 1130720 w 2311926"/>
                <a:gd name="connsiteY25" fmla="*/ 52762 h 2376599"/>
                <a:gd name="connsiteX0" fmla="*/ 1130720 w 2311926"/>
                <a:gd name="connsiteY0" fmla="*/ 52762 h 2376599"/>
                <a:gd name="connsiteX1" fmla="*/ 1621236 w 2311926"/>
                <a:gd name="connsiteY1" fmla="*/ 514817 h 2376599"/>
                <a:gd name="connsiteX2" fmla="*/ 1435485 w 2311926"/>
                <a:gd name="connsiteY2" fmla="*/ 1270449 h 2376599"/>
                <a:gd name="connsiteX3" fmla="*/ 1227501 w 2311926"/>
                <a:gd name="connsiteY3" fmla="*/ 1537325 h 2376599"/>
                <a:gd name="connsiteX4" fmla="*/ 2070485 w 2311926"/>
                <a:gd name="connsiteY4" fmla="*/ 1727649 h 2376599"/>
                <a:gd name="connsiteX5" fmla="*/ 2019685 w 2311926"/>
                <a:gd name="connsiteY5" fmla="*/ 1270449 h 2376599"/>
                <a:gd name="connsiteX6" fmla="*/ 2248426 w 2311926"/>
                <a:gd name="connsiteY6" fmla="*/ 589363 h 2376599"/>
                <a:gd name="connsiteX7" fmla="*/ 2311926 w 2311926"/>
                <a:gd name="connsiteY7" fmla="*/ 735466 h 2376599"/>
                <a:gd name="connsiteX8" fmla="*/ 2170538 w 2311926"/>
                <a:gd name="connsiteY8" fmla="*/ 1245367 h 2376599"/>
                <a:gd name="connsiteX9" fmla="*/ 2222885 w 2311926"/>
                <a:gd name="connsiteY9" fmla="*/ 1740349 h 2376599"/>
                <a:gd name="connsiteX10" fmla="*/ 2095885 w 2311926"/>
                <a:gd name="connsiteY10" fmla="*/ 2070549 h 2376599"/>
                <a:gd name="connsiteX11" fmla="*/ 1841885 w 2311926"/>
                <a:gd name="connsiteY11" fmla="*/ 2235649 h 2376599"/>
                <a:gd name="connsiteX12" fmla="*/ 1270385 w 2311926"/>
                <a:gd name="connsiteY12" fmla="*/ 2146749 h 2376599"/>
                <a:gd name="connsiteX13" fmla="*/ 1105285 w 2311926"/>
                <a:gd name="connsiteY13" fmla="*/ 1765749 h 2376599"/>
                <a:gd name="connsiteX14" fmla="*/ 1073482 w 2311926"/>
                <a:gd name="connsiteY14" fmla="*/ 1570430 h 2376599"/>
                <a:gd name="connsiteX15" fmla="*/ 902085 w 2311926"/>
                <a:gd name="connsiteY15" fmla="*/ 1537149 h 2376599"/>
                <a:gd name="connsiteX16" fmla="*/ 119505 w 2311926"/>
                <a:gd name="connsiteY16" fmla="*/ 930821 h 2376599"/>
                <a:gd name="connsiteX17" fmla="*/ 330902 w 2311926"/>
                <a:gd name="connsiteY17" fmla="*/ 352847 h 2376599"/>
                <a:gd name="connsiteX18" fmla="*/ 470285 w 2311926"/>
                <a:gd name="connsiteY18" fmla="*/ 457649 h 2376599"/>
                <a:gd name="connsiteX19" fmla="*/ 395175 w 2311926"/>
                <a:gd name="connsiteY19" fmla="*/ 489628 h 2376599"/>
                <a:gd name="connsiteX20" fmla="*/ 285063 w 2311926"/>
                <a:gd name="connsiteY20" fmla="*/ 878932 h 2376599"/>
                <a:gd name="connsiteX21" fmla="*/ 925867 w 2311926"/>
                <a:gd name="connsiteY21" fmla="*/ 1362586 h 2376599"/>
                <a:gd name="connsiteX22" fmla="*/ 1283332 w 2311926"/>
                <a:gd name="connsiteY22" fmla="*/ 1224958 h 2376599"/>
                <a:gd name="connsiteX23" fmla="*/ 1472108 w 2311926"/>
                <a:gd name="connsiteY23" fmla="*/ 463840 h 2376599"/>
                <a:gd name="connsiteX24" fmla="*/ 1168785 w 2311926"/>
                <a:gd name="connsiteY24" fmla="*/ 216349 h 2376599"/>
                <a:gd name="connsiteX25" fmla="*/ 1130720 w 2311926"/>
                <a:gd name="connsiteY25" fmla="*/ 52762 h 2376599"/>
                <a:gd name="connsiteX0" fmla="*/ 1130720 w 2311926"/>
                <a:gd name="connsiteY0" fmla="*/ 52762 h 2376599"/>
                <a:gd name="connsiteX1" fmla="*/ 1621236 w 2311926"/>
                <a:gd name="connsiteY1" fmla="*/ 514817 h 2376599"/>
                <a:gd name="connsiteX2" fmla="*/ 1435485 w 2311926"/>
                <a:gd name="connsiteY2" fmla="*/ 1270449 h 2376599"/>
                <a:gd name="connsiteX3" fmla="*/ 1227501 w 2311926"/>
                <a:gd name="connsiteY3" fmla="*/ 1537325 h 2376599"/>
                <a:gd name="connsiteX4" fmla="*/ 2070485 w 2311926"/>
                <a:gd name="connsiteY4" fmla="*/ 1727649 h 2376599"/>
                <a:gd name="connsiteX5" fmla="*/ 2019685 w 2311926"/>
                <a:gd name="connsiteY5" fmla="*/ 1270449 h 2376599"/>
                <a:gd name="connsiteX6" fmla="*/ 2248426 w 2311926"/>
                <a:gd name="connsiteY6" fmla="*/ 589363 h 2376599"/>
                <a:gd name="connsiteX7" fmla="*/ 2311926 w 2311926"/>
                <a:gd name="connsiteY7" fmla="*/ 735466 h 2376599"/>
                <a:gd name="connsiteX8" fmla="*/ 2170538 w 2311926"/>
                <a:gd name="connsiteY8" fmla="*/ 1245367 h 2376599"/>
                <a:gd name="connsiteX9" fmla="*/ 2222885 w 2311926"/>
                <a:gd name="connsiteY9" fmla="*/ 1740349 h 2376599"/>
                <a:gd name="connsiteX10" fmla="*/ 2095885 w 2311926"/>
                <a:gd name="connsiteY10" fmla="*/ 2070549 h 2376599"/>
                <a:gd name="connsiteX11" fmla="*/ 1841885 w 2311926"/>
                <a:gd name="connsiteY11" fmla="*/ 2235649 h 2376599"/>
                <a:gd name="connsiteX12" fmla="*/ 1270385 w 2311926"/>
                <a:gd name="connsiteY12" fmla="*/ 2146749 h 2376599"/>
                <a:gd name="connsiteX13" fmla="*/ 1105285 w 2311926"/>
                <a:gd name="connsiteY13" fmla="*/ 1765749 h 2376599"/>
                <a:gd name="connsiteX14" fmla="*/ 1073482 w 2311926"/>
                <a:gd name="connsiteY14" fmla="*/ 1570430 h 2376599"/>
                <a:gd name="connsiteX15" fmla="*/ 902085 w 2311926"/>
                <a:gd name="connsiteY15" fmla="*/ 1537149 h 2376599"/>
                <a:gd name="connsiteX16" fmla="*/ 119505 w 2311926"/>
                <a:gd name="connsiteY16" fmla="*/ 930821 h 2376599"/>
                <a:gd name="connsiteX17" fmla="*/ 330902 w 2311926"/>
                <a:gd name="connsiteY17" fmla="*/ 352847 h 2376599"/>
                <a:gd name="connsiteX18" fmla="*/ 470285 w 2311926"/>
                <a:gd name="connsiteY18" fmla="*/ 457649 h 2376599"/>
                <a:gd name="connsiteX19" fmla="*/ 395175 w 2311926"/>
                <a:gd name="connsiteY19" fmla="*/ 489628 h 2376599"/>
                <a:gd name="connsiteX20" fmla="*/ 285063 w 2311926"/>
                <a:gd name="connsiteY20" fmla="*/ 878932 h 2376599"/>
                <a:gd name="connsiteX21" fmla="*/ 925867 w 2311926"/>
                <a:gd name="connsiteY21" fmla="*/ 1362586 h 2376599"/>
                <a:gd name="connsiteX22" fmla="*/ 1283332 w 2311926"/>
                <a:gd name="connsiteY22" fmla="*/ 1224958 h 2376599"/>
                <a:gd name="connsiteX23" fmla="*/ 1472108 w 2311926"/>
                <a:gd name="connsiteY23" fmla="*/ 463840 h 2376599"/>
                <a:gd name="connsiteX24" fmla="*/ 1168785 w 2311926"/>
                <a:gd name="connsiteY24" fmla="*/ 216349 h 2376599"/>
                <a:gd name="connsiteX25" fmla="*/ 1130720 w 2311926"/>
                <a:gd name="connsiteY25" fmla="*/ 52762 h 2376599"/>
                <a:gd name="connsiteX0" fmla="*/ 1130720 w 2311926"/>
                <a:gd name="connsiteY0" fmla="*/ 52762 h 2376599"/>
                <a:gd name="connsiteX1" fmla="*/ 1621236 w 2311926"/>
                <a:gd name="connsiteY1" fmla="*/ 514817 h 2376599"/>
                <a:gd name="connsiteX2" fmla="*/ 1435485 w 2311926"/>
                <a:gd name="connsiteY2" fmla="*/ 1270449 h 2376599"/>
                <a:gd name="connsiteX3" fmla="*/ 1227501 w 2311926"/>
                <a:gd name="connsiteY3" fmla="*/ 1537325 h 2376599"/>
                <a:gd name="connsiteX4" fmla="*/ 2070485 w 2311926"/>
                <a:gd name="connsiteY4" fmla="*/ 1727649 h 2376599"/>
                <a:gd name="connsiteX5" fmla="*/ 2019685 w 2311926"/>
                <a:gd name="connsiteY5" fmla="*/ 1270449 h 2376599"/>
                <a:gd name="connsiteX6" fmla="*/ 2248426 w 2311926"/>
                <a:gd name="connsiteY6" fmla="*/ 589363 h 2376599"/>
                <a:gd name="connsiteX7" fmla="*/ 2311926 w 2311926"/>
                <a:gd name="connsiteY7" fmla="*/ 735466 h 2376599"/>
                <a:gd name="connsiteX8" fmla="*/ 2170538 w 2311926"/>
                <a:gd name="connsiteY8" fmla="*/ 1245367 h 2376599"/>
                <a:gd name="connsiteX9" fmla="*/ 2222885 w 2311926"/>
                <a:gd name="connsiteY9" fmla="*/ 1740349 h 2376599"/>
                <a:gd name="connsiteX10" fmla="*/ 2095885 w 2311926"/>
                <a:gd name="connsiteY10" fmla="*/ 2070549 h 2376599"/>
                <a:gd name="connsiteX11" fmla="*/ 1841885 w 2311926"/>
                <a:gd name="connsiteY11" fmla="*/ 2235649 h 2376599"/>
                <a:gd name="connsiteX12" fmla="*/ 1270385 w 2311926"/>
                <a:gd name="connsiteY12" fmla="*/ 2146749 h 2376599"/>
                <a:gd name="connsiteX13" fmla="*/ 1105285 w 2311926"/>
                <a:gd name="connsiteY13" fmla="*/ 1765749 h 2376599"/>
                <a:gd name="connsiteX14" fmla="*/ 1073482 w 2311926"/>
                <a:gd name="connsiteY14" fmla="*/ 1570430 h 2376599"/>
                <a:gd name="connsiteX15" fmla="*/ 902085 w 2311926"/>
                <a:gd name="connsiteY15" fmla="*/ 1537149 h 2376599"/>
                <a:gd name="connsiteX16" fmla="*/ 119505 w 2311926"/>
                <a:gd name="connsiteY16" fmla="*/ 930821 h 2376599"/>
                <a:gd name="connsiteX17" fmla="*/ 330902 w 2311926"/>
                <a:gd name="connsiteY17" fmla="*/ 352847 h 2376599"/>
                <a:gd name="connsiteX18" fmla="*/ 470285 w 2311926"/>
                <a:gd name="connsiteY18" fmla="*/ 457649 h 2376599"/>
                <a:gd name="connsiteX19" fmla="*/ 395175 w 2311926"/>
                <a:gd name="connsiteY19" fmla="*/ 489628 h 2376599"/>
                <a:gd name="connsiteX20" fmla="*/ 285063 w 2311926"/>
                <a:gd name="connsiteY20" fmla="*/ 878932 h 2376599"/>
                <a:gd name="connsiteX21" fmla="*/ 925867 w 2311926"/>
                <a:gd name="connsiteY21" fmla="*/ 1362586 h 2376599"/>
                <a:gd name="connsiteX22" fmla="*/ 1283332 w 2311926"/>
                <a:gd name="connsiteY22" fmla="*/ 1224958 h 2376599"/>
                <a:gd name="connsiteX23" fmla="*/ 1472108 w 2311926"/>
                <a:gd name="connsiteY23" fmla="*/ 463840 h 2376599"/>
                <a:gd name="connsiteX24" fmla="*/ 1168785 w 2311926"/>
                <a:gd name="connsiteY24" fmla="*/ 216349 h 2376599"/>
                <a:gd name="connsiteX25" fmla="*/ 1130720 w 2311926"/>
                <a:gd name="connsiteY25" fmla="*/ 52762 h 2376599"/>
                <a:gd name="connsiteX0" fmla="*/ 1130720 w 2311926"/>
                <a:gd name="connsiteY0" fmla="*/ 52762 h 2376599"/>
                <a:gd name="connsiteX1" fmla="*/ 1621236 w 2311926"/>
                <a:gd name="connsiteY1" fmla="*/ 514817 h 2376599"/>
                <a:gd name="connsiteX2" fmla="*/ 1435485 w 2311926"/>
                <a:gd name="connsiteY2" fmla="*/ 1270449 h 2376599"/>
                <a:gd name="connsiteX3" fmla="*/ 1227501 w 2311926"/>
                <a:gd name="connsiteY3" fmla="*/ 1537325 h 2376599"/>
                <a:gd name="connsiteX4" fmla="*/ 2070485 w 2311926"/>
                <a:gd name="connsiteY4" fmla="*/ 1727649 h 2376599"/>
                <a:gd name="connsiteX5" fmla="*/ 2019685 w 2311926"/>
                <a:gd name="connsiteY5" fmla="*/ 1270449 h 2376599"/>
                <a:gd name="connsiteX6" fmla="*/ 2248426 w 2311926"/>
                <a:gd name="connsiteY6" fmla="*/ 589363 h 2376599"/>
                <a:gd name="connsiteX7" fmla="*/ 2311926 w 2311926"/>
                <a:gd name="connsiteY7" fmla="*/ 735466 h 2376599"/>
                <a:gd name="connsiteX8" fmla="*/ 2170538 w 2311926"/>
                <a:gd name="connsiteY8" fmla="*/ 1245367 h 2376599"/>
                <a:gd name="connsiteX9" fmla="*/ 2222885 w 2311926"/>
                <a:gd name="connsiteY9" fmla="*/ 1740349 h 2376599"/>
                <a:gd name="connsiteX10" fmla="*/ 2095885 w 2311926"/>
                <a:gd name="connsiteY10" fmla="*/ 2070549 h 2376599"/>
                <a:gd name="connsiteX11" fmla="*/ 1841885 w 2311926"/>
                <a:gd name="connsiteY11" fmla="*/ 2235649 h 2376599"/>
                <a:gd name="connsiteX12" fmla="*/ 1270385 w 2311926"/>
                <a:gd name="connsiteY12" fmla="*/ 2146749 h 2376599"/>
                <a:gd name="connsiteX13" fmla="*/ 1105285 w 2311926"/>
                <a:gd name="connsiteY13" fmla="*/ 1765749 h 2376599"/>
                <a:gd name="connsiteX14" fmla="*/ 1073482 w 2311926"/>
                <a:gd name="connsiteY14" fmla="*/ 1570430 h 2376599"/>
                <a:gd name="connsiteX15" fmla="*/ 902085 w 2311926"/>
                <a:gd name="connsiteY15" fmla="*/ 1537149 h 2376599"/>
                <a:gd name="connsiteX16" fmla="*/ 119505 w 2311926"/>
                <a:gd name="connsiteY16" fmla="*/ 930821 h 2376599"/>
                <a:gd name="connsiteX17" fmla="*/ 330902 w 2311926"/>
                <a:gd name="connsiteY17" fmla="*/ 352847 h 2376599"/>
                <a:gd name="connsiteX18" fmla="*/ 470285 w 2311926"/>
                <a:gd name="connsiteY18" fmla="*/ 457649 h 2376599"/>
                <a:gd name="connsiteX19" fmla="*/ 395175 w 2311926"/>
                <a:gd name="connsiteY19" fmla="*/ 489628 h 2376599"/>
                <a:gd name="connsiteX20" fmla="*/ 285063 w 2311926"/>
                <a:gd name="connsiteY20" fmla="*/ 878932 h 2376599"/>
                <a:gd name="connsiteX21" fmla="*/ 925867 w 2311926"/>
                <a:gd name="connsiteY21" fmla="*/ 1362586 h 2376599"/>
                <a:gd name="connsiteX22" fmla="*/ 1283332 w 2311926"/>
                <a:gd name="connsiteY22" fmla="*/ 1224958 h 2376599"/>
                <a:gd name="connsiteX23" fmla="*/ 1472108 w 2311926"/>
                <a:gd name="connsiteY23" fmla="*/ 463840 h 2376599"/>
                <a:gd name="connsiteX24" fmla="*/ 1168785 w 2311926"/>
                <a:gd name="connsiteY24" fmla="*/ 216349 h 2376599"/>
                <a:gd name="connsiteX25" fmla="*/ 1130720 w 2311926"/>
                <a:gd name="connsiteY25" fmla="*/ 52762 h 2376599"/>
                <a:gd name="connsiteX0" fmla="*/ 1130720 w 2311926"/>
                <a:gd name="connsiteY0" fmla="*/ 52762 h 2376599"/>
                <a:gd name="connsiteX1" fmla="*/ 1621236 w 2311926"/>
                <a:gd name="connsiteY1" fmla="*/ 514817 h 2376599"/>
                <a:gd name="connsiteX2" fmla="*/ 1435485 w 2311926"/>
                <a:gd name="connsiteY2" fmla="*/ 1270449 h 2376599"/>
                <a:gd name="connsiteX3" fmla="*/ 1227501 w 2311926"/>
                <a:gd name="connsiteY3" fmla="*/ 1537325 h 2376599"/>
                <a:gd name="connsiteX4" fmla="*/ 2070485 w 2311926"/>
                <a:gd name="connsiteY4" fmla="*/ 1727649 h 2376599"/>
                <a:gd name="connsiteX5" fmla="*/ 2019685 w 2311926"/>
                <a:gd name="connsiteY5" fmla="*/ 1270449 h 2376599"/>
                <a:gd name="connsiteX6" fmla="*/ 2248426 w 2311926"/>
                <a:gd name="connsiteY6" fmla="*/ 589363 h 2376599"/>
                <a:gd name="connsiteX7" fmla="*/ 2311926 w 2311926"/>
                <a:gd name="connsiteY7" fmla="*/ 735466 h 2376599"/>
                <a:gd name="connsiteX8" fmla="*/ 2170538 w 2311926"/>
                <a:gd name="connsiteY8" fmla="*/ 1245367 h 2376599"/>
                <a:gd name="connsiteX9" fmla="*/ 2222885 w 2311926"/>
                <a:gd name="connsiteY9" fmla="*/ 1740349 h 2376599"/>
                <a:gd name="connsiteX10" fmla="*/ 2095885 w 2311926"/>
                <a:gd name="connsiteY10" fmla="*/ 2070549 h 2376599"/>
                <a:gd name="connsiteX11" fmla="*/ 1841885 w 2311926"/>
                <a:gd name="connsiteY11" fmla="*/ 2235649 h 2376599"/>
                <a:gd name="connsiteX12" fmla="*/ 1270385 w 2311926"/>
                <a:gd name="connsiteY12" fmla="*/ 2146749 h 2376599"/>
                <a:gd name="connsiteX13" fmla="*/ 1105285 w 2311926"/>
                <a:gd name="connsiteY13" fmla="*/ 1765749 h 2376599"/>
                <a:gd name="connsiteX14" fmla="*/ 1073482 w 2311926"/>
                <a:gd name="connsiteY14" fmla="*/ 1570430 h 2376599"/>
                <a:gd name="connsiteX15" fmla="*/ 902085 w 2311926"/>
                <a:gd name="connsiteY15" fmla="*/ 1537149 h 2376599"/>
                <a:gd name="connsiteX16" fmla="*/ 119505 w 2311926"/>
                <a:gd name="connsiteY16" fmla="*/ 930821 h 2376599"/>
                <a:gd name="connsiteX17" fmla="*/ 330902 w 2311926"/>
                <a:gd name="connsiteY17" fmla="*/ 352847 h 2376599"/>
                <a:gd name="connsiteX18" fmla="*/ 470285 w 2311926"/>
                <a:gd name="connsiteY18" fmla="*/ 457649 h 2376599"/>
                <a:gd name="connsiteX19" fmla="*/ 395175 w 2311926"/>
                <a:gd name="connsiteY19" fmla="*/ 489628 h 2376599"/>
                <a:gd name="connsiteX20" fmla="*/ 285063 w 2311926"/>
                <a:gd name="connsiteY20" fmla="*/ 878932 h 2376599"/>
                <a:gd name="connsiteX21" fmla="*/ 925867 w 2311926"/>
                <a:gd name="connsiteY21" fmla="*/ 1362586 h 2376599"/>
                <a:gd name="connsiteX22" fmla="*/ 1283332 w 2311926"/>
                <a:gd name="connsiteY22" fmla="*/ 1224958 h 2376599"/>
                <a:gd name="connsiteX23" fmla="*/ 1472108 w 2311926"/>
                <a:gd name="connsiteY23" fmla="*/ 463840 h 2376599"/>
                <a:gd name="connsiteX24" fmla="*/ 1168785 w 2311926"/>
                <a:gd name="connsiteY24" fmla="*/ 216349 h 2376599"/>
                <a:gd name="connsiteX25" fmla="*/ 1130720 w 2311926"/>
                <a:gd name="connsiteY25" fmla="*/ 52762 h 2376599"/>
                <a:gd name="connsiteX0" fmla="*/ 1130720 w 2311926"/>
                <a:gd name="connsiteY0" fmla="*/ 52762 h 2329106"/>
                <a:gd name="connsiteX1" fmla="*/ 1621236 w 2311926"/>
                <a:gd name="connsiteY1" fmla="*/ 514817 h 2329106"/>
                <a:gd name="connsiteX2" fmla="*/ 1435485 w 2311926"/>
                <a:gd name="connsiteY2" fmla="*/ 1270449 h 2329106"/>
                <a:gd name="connsiteX3" fmla="*/ 1227501 w 2311926"/>
                <a:gd name="connsiteY3" fmla="*/ 1537325 h 2329106"/>
                <a:gd name="connsiteX4" fmla="*/ 2070485 w 2311926"/>
                <a:gd name="connsiteY4" fmla="*/ 1727649 h 2329106"/>
                <a:gd name="connsiteX5" fmla="*/ 2019685 w 2311926"/>
                <a:gd name="connsiteY5" fmla="*/ 1270449 h 2329106"/>
                <a:gd name="connsiteX6" fmla="*/ 2248426 w 2311926"/>
                <a:gd name="connsiteY6" fmla="*/ 589363 h 2329106"/>
                <a:gd name="connsiteX7" fmla="*/ 2311926 w 2311926"/>
                <a:gd name="connsiteY7" fmla="*/ 735466 h 2329106"/>
                <a:gd name="connsiteX8" fmla="*/ 2170538 w 2311926"/>
                <a:gd name="connsiteY8" fmla="*/ 1245367 h 2329106"/>
                <a:gd name="connsiteX9" fmla="*/ 2222885 w 2311926"/>
                <a:gd name="connsiteY9" fmla="*/ 1740349 h 2329106"/>
                <a:gd name="connsiteX10" fmla="*/ 2095885 w 2311926"/>
                <a:gd name="connsiteY10" fmla="*/ 2070549 h 2329106"/>
                <a:gd name="connsiteX11" fmla="*/ 1841885 w 2311926"/>
                <a:gd name="connsiteY11" fmla="*/ 2235649 h 2329106"/>
                <a:gd name="connsiteX12" fmla="*/ 1270385 w 2311926"/>
                <a:gd name="connsiteY12" fmla="*/ 2146749 h 2329106"/>
                <a:gd name="connsiteX13" fmla="*/ 1105285 w 2311926"/>
                <a:gd name="connsiteY13" fmla="*/ 1765749 h 2329106"/>
                <a:gd name="connsiteX14" fmla="*/ 1073482 w 2311926"/>
                <a:gd name="connsiteY14" fmla="*/ 1570430 h 2329106"/>
                <a:gd name="connsiteX15" fmla="*/ 902085 w 2311926"/>
                <a:gd name="connsiteY15" fmla="*/ 1537149 h 2329106"/>
                <a:gd name="connsiteX16" fmla="*/ 119505 w 2311926"/>
                <a:gd name="connsiteY16" fmla="*/ 930821 h 2329106"/>
                <a:gd name="connsiteX17" fmla="*/ 330902 w 2311926"/>
                <a:gd name="connsiteY17" fmla="*/ 352847 h 2329106"/>
                <a:gd name="connsiteX18" fmla="*/ 470285 w 2311926"/>
                <a:gd name="connsiteY18" fmla="*/ 457649 h 2329106"/>
                <a:gd name="connsiteX19" fmla="*/ 395175 w 2311926"/>
                <a:gd name="connsiteY19" fmla="*/ 489628 h 2329106"/>
                <a:gd name="connsiteX20" fmla="*/ 285063 w 2311926"/>
                <a:gd name="connsiteY20" fmla="*/ 878932 h 2329106"/>
                <a:gd name="connsiteX21" fmla="*/ 925867 w 2311926"/>
                <a:gd name="connsiteY21" fmla="*/ 1362586 h 2329106"/>
                <a:gd name="connsiteX22" fmla="*/ 1283332 w 2311926"/>
                <a:gd name="connsiteY22" fmla="*/ 1224958 h 2329106"/>
                <a:gd name="connsiteX23" fmla="*/ 1472108 w 2311926"/>
                <a:gd name="connsiteY23" fmla="*/ 463840 h 2329106"/>
                <a:gd name="connsiteX24" fmla="*/ 1168785 w 2311926"/>
                <a:gd name="connsiteY24" fmla="*/ 216349 h 2329106"/>
                <a:gd name="connsiteX25" fmla="*/ 1130720 w 2311926"/>
                <a:gd name="connsiteY25" fmla="*/ 52762 h 2329106"/>
                <a:gd name="connsiteX0" fmla="*/ 1130720 w 2311926"/>
                <a:gd name="connsiteY0" fmla="*/ 52762 h 2281613"/>
                <a:gd name="connsiteX1" fmla="*/ 1621236 w 2311926"/>
                <a:gd name="connsiteY1" fmla="*/ 514817 h 2281613"/>
                <a:gd name="connsiteX2" fmla="*/ 1435485 w 2311926"/>
                <a:gd name="connsiteY2" fmla="*/ 1270449 h 2281613"/>
                <a:gd name="connsiteX3" fmla="*/ 1227501 w 2311926"/>
                <a:gd name="connsiteY3" fmla="*/ 1537325 h 2281613"/>
                <a:gd name="connsiteX4" fmla="*/ 2070485 w 2311926"/>
                <a:gd name="connsiteY4" fmla="*/ 1727649 h 2281613"/>
                <a:gd name="connsiteX5" fmla="*/ 2019685 w 2311926"/>
                <a:gd name="connsiteY5" fmla="*/ 1270449 h 2281613"/>
                <a:gd name="connsiteX6" fmla="*/ 2248426 w 2311926"/>
                <a:gd name="connsiteY6" fmla="*/ 589363 h 2281613"/>
                <a:gd name="connsiteX7" fmla="*/ 2311926 w 2311926"/>
                <a:gd name="connsiteY7" fmla="*/ 735466 h 2281613"/>
                <a:gd name="connsiteX8" fmla="*/ 2170538 w 2311926"/>
                <a:gd name="connsiteY8" fmla="*/ 1245367 h 2281613"/>
                <a:gd name="connsiteX9" fmla="*/ 2222885 w 2311926"/>
                <a:gd name="connsiteY9" fmla="*/ 1740349 h 2281613"/>
                <a:gd name="connsiteX10" fmla="*/ 2095885 w 2311926"/>
                <a:gd name="connsiteY10" fmla="*/ 2070549 h 2281613"/>
                <a:gd name="connsiteX11" fmla="*/ 1841885 w 2311926"/>
                <a:gd name="connsiteY11" fmla="*/ 2235649 h 2281613"/>
                <a:gd name="connsiteX12" fmla="*/ 1270385 w 2311926"/>
                <a:gd name="connsiteY12" fmla="*/ 2146749 h 2281613"/>
                <a:gd name="connsiteX13" fmla="*/ 1105285 w 2311926"/>
                <a:gd name="connsiteY13" fmla="*/ 1765749 h 2281613"/>
                <a:gd name="connsiteX14" fmla="*/ 1073482 w 2311926"/>
                <a:gd name="connsiteY14" fmla="*/ 1570430 h 2281613"/>
                <a:gd name="connsiteX15" fmla="*/ 902085 w 2311926"/>
                <a:gd name="connsiteY15" fmla="*/ 1537149 h 2281613"/>
                <a:gd name="connsiteX16" fmla="*/ 119505 w 2311926"/>
                <a:gd name="connsiteY16" fmla="*/ 930821 h 2281613"/>
                <a:gd name="connsiteX17" fmla="*/ 330902 w 2311926"/>
                <a:gd name="connsiteY17" fmla="*/ 352847 h 2281613"/>
                <a:gd name="connsiteX18" fmla="*/ 470285 w 2311926"/>
                <a:gd name="connsiteY18" fmla="*/ 457649 h 2281613"/>
                <a:gd name="connsiteX19" fmla="*/ 395175 w 2311926"/>
                <a:gd name="connsiteY19" fmla="*/ 489628 h 2281613"/>
                <a:gd name="connsiteX20" fmla="*/ 285063 w 2311926"/>
                <a:gd name="connsiteY20" fmla="*/ 878932 h 2281613"/>
                <a:gd name="connsiteX21" fmla="*/ 925867 w 2311926"/>
                <a:gd name="connsiteY21" fmla="*/ 1362586 h 2281613"/>
                <a:gd name="connsiteX22" fmla="*/ 1283332 w 2311926"/>
                <a:gd name="connsiteY22" fmla="*/ 1224958 h 2281613"/>
                <a:gd name="connsiteX23" fmla="*/ 1472108 w 2311926"/>
                <a:gd name="connsiteY23" fmla="*/ 463840 h 2281613"/>
                <a:gd name="connsiteX24" fmla="*/ 1168785 w 2311926"/>
                <a:gd name="connsiteY24" fmla="*/ 216349 h 2281613"/>
                <a:gd name="connsiteX25" fmla="*/ 1130720 w 2311926"/>
                <a:gd name="connsiteY25" fmla="*/ 52762 h 2281613"/>
                <a:gd name="connsiteX0" fmla="*/ 1130720 w 2311926"/>
                <a:gd name="connsiteY0" fmla="*/ 52762 h 2281613"/>
                <a:gd name="connsiteX1" fmla="*/ 1621236 w 2311926"/>
                <a:gd name="connsiteY1" fmla="*/ 514817 h 2281613"/>
                <a:gd name="connsiteX2" fmla="*/ 1435485 w 2311926"/>
                <a:gd name="connsiteY2" fmla="*/ 1270449 h 2281613"/>
                <a:gd name="connsiteX3" fmla="*/ 1227501 w 2311926"/>
                <a:gd name="connsiteY3" fmla="*/ 1537325 h 2281613"/>
                <a:gd name="connsiteX4" fmla="*/ 2070485 w 2311926"/>
                <a:gd name="connsiteY4" fmla="*/ 1727649 h 2281613"/>
                <a:gd name="connsiteX5" fmla="*/ 2019685 w 2311926"/>
                <a:gd name="connsiteY5" fmla="*/ 1270449 h 2281613"/>
                <a:gd name="connsiteX6" fmla="*/ 2248426 w 2311926"/>
                <a:gd name="connsiteY6" fmla="*/ 589363 h 2281613"/>
                <a:gd name="connsiteX7" fmla="*/ 2311926 w 2311926"/>
                <a:gd name="connsiteY7" fmla="*/ 735466 h 2281613"/>
                <a:gd name="connsiteX8" fmla="*/ 2170538 w 2311926"/>
                <a:gd name="connsiteY8" fmla="*/ 1245367 h 2281613"/>
                <a:gd name="connsiteX9" fmla="*/ 2222885 w 2311926"/>
                <a:gd name="connsiteY9" fmla="*/ 1740349 h 2281613"/>
                <a:gd name="connsiteX10" fmla="*/ 2095885 w 2311926"/>
                <a:gd name="connsiteY10" fmla="*/ 2070549 h 2281613"/>
                <a:gd name="connsiteX11" fmla="*/ 1841885 w 2311926"/>
                <a:gd name="connsiteY11" fmla="*/ 2235649 h 2281613"/>
                <a:gd name="connsiteX12" fmla="*/ 1270385 w 2311926"/>
                <a:gd name="connsiteY12" fmla="*/ 2146749 h 2281613"/>
                <a:gd name="connsiteX13" fmla="*/ 1105285 w 2311926"/>
                <a:gd name="connsiteY13" fmla="*/ 1765749 h 2281613"/>
                <a:gd name="connsiteX14" fmla="*/ 1073482 w 2311926"/>
                <a:gd name="connsiteY14" fmla="*/ 1570430 h 2281613"/>
                <a:gd name="connsiteX15" fmla="*/ 902085 w 2311926"/>
                <a:gd name="connsiteY15" fmla="*/ 1537149 h 2281613"/>
                <a:gd name="connsiteX16" fmla="*/ 119505 w 2311926"/>
                <a:gd name="connsiteY16" fmla="*/ 930821 h 2281613"/>
                <a:gd name="connsiteX17" fmla="*/ 330902 w 2311926"/>
                <a:gd name="connsiteY17" fmla="*/ 352847 h 2281613"/>
                <a:gd name="connsiteX18" fmla="*/ 470285 w 2311926"/>
                <a:gd name="connsiteY18" fmla="*/ 457649 h 2281613"/>
                <a:gd name="connsiteX19" fmla="*/ 395175 w 2311926"/>
                <a:gd name="connsiteY19" fmla="*/ 489628 h 2281613"/>
                <a:gd name="connsiteX20" fmla="*/ 285063 w 2311926"/>
                <a:gd name="connsiteY20" fmla="*/ 878932 h 2281613"/>
                <a:gd name="connsiteX21" fmla="*/ 925867 w 2311926"/>
                <a:gd name="connsiteY21" fmla="*/ 1362586 h 2281613"/>
                <a:gd name="connsiteX22" fmla="*/ 1283332 w 2311926"/>
                <a:gd name="connsiteY22" fmla="*/ 1224958 h 2281613"/>
                <a:gd name="connsiteX23" fmla="*/ 1472108 w 2311926"/>
                <a:gd name="connsiteY23" fmla="*/ 463840 h 2281613"/>
                <a:gd name="connsiteX24" fmla="*/ 1168785 w 2311926"/>
                <a:gd name="connsiteY24" fmla="*/ 216349 h 2281613"/>
                <a:gd name="connsiteX25" fmla="*/ 1130720 w 2311926"/>
                <a:gd name="connsiteY25" fmla="*/ 52762 h 2281613"/>
                <a:gd name="connsiteX0" fmla="*/ 1130720 w 2311926"/>
                <a:gd name="connsiteY0" fmla="*/ 52762 h 2281613"/>
                <a:gd name="connsiteX1" fmla="*/ 1621236 w 2311926"/>
                <a:gd name="connsiteY1" fmla="*/ 514817 h 2281613"/>
                <a:gd name="connsiteX2" fmla="*/ 1435485 w 2311926"/>
                <a:gd name="connsiteY2" fmla="*/ 1270449 h 2281613"/>
                <a:gd name="connsiteX3" fmla="*/ 1227501 w 2311926"/>
                <a:gd name="connsiteY3" fmla="*/ 1537325 h 2281613"/>
                <a:gd name="connsiteX4" fmla="*/ 2070485 w 2311926"/>
                <a:gd name="connsiteY4" fmla="*/ 1727649 h 2281613"/>
                <a:gd name="connsiteX5" fmla="*/ 2019685 w 2311926"/>
                <a:gd name="connsiteY5" fmla="*/ 1270449 h 2281613"/>
                <a:gd name="connsiteX6" fmla="*/ 2248426 w 2311926"/>
                <a:gd name="connsiteY6" fmla="*/ 589363 h 2281613"/>
                <a:gd name="connsiteX7" fmla="*/ 2311926 w 2311926"/>
                <a:gd name="connsiteY7" fmla="*/ 735466 h 2281613"/>
                <a:gd name="connsiteX8" fmla="*/ 2170538 w 2311926"/>
                <a:gd name="connsiteY8" fmla="*/ 1245367 h 2281613"/>
                <a:gd name="connsiteX9" fmla="*/ 2222885 w 2311926"/>
                <a:gd name="connsiteY9" fmla="*/ 1740349 h 2281613"/>
                <a:gd name="connsiteX10" fmla="*/ 2095885 w 2311926"/>
                <a:gd name="connsiteY10" fmla="*/ 2070549 h 2281613"/>
                <a:gd name="connsiteX11" fmla="*/ 1841885 w 2311926"/>
                <a:gd name="connsiteY11" fmla="*/ 2235649 h 2281613"/>
                <a:gd name="connsiteX12" fmla="*/ 1270385 w 2311926"/>
                <a:gd name="connsiteY12" fmla="*/ 2146749 h 2281613"/>
                <a:gd name="connsiteX13" fmla="*/ 1105285 w 2311926"/>
                <a:gd name="connsiteY13" fmla="*/ 1765749 h 2281613"/>
                <a:gd name="connsiteX14" fmla="*/ 1073482 w 2311926"/>
                <a:gd name="connsiteY14" fmla="*/ 1570430 h 2281613"/>
                <a:gd name="connsiteX15" fmla="*/ 902085 w 2311926"/>
                <a:gd name="connsiteY15" fmla="*/ 1537149 h 2281613"/>
                <a:gd name="connsiteX16" fmla="*/ 119505 w 2311926"/>
                <a:gd name="connsiteY16" fmla="*/ 930821 h 2281613"/>
                <a:gd name="connsiteX17" fmla="*/ 330902 w 2311926"/>
                <a:gd name="connsiteY17" fmla="*/ 352847 h 2281613"/>
                <a:gd name="connsiteX18" fmla="*/ 470285 w 2311926"/>
                <a:gd name="connsiteY18" fmla="*/ 457649 h 2281613"/>
                <a:gd name="connsiteX19" fmla="*/ 395175 w 2311926"/>
                <a:gd name="connsiteY19" fmla="*/ 489628 h 2281613"/>
                <a:gd name="connsiteX20" fmla="*/ 285063 w 2311926"/>
                <a:gd name="connsiteY20" fmla="*/ 878932 h 2281613"/>
                <a:gd name="connsiteX21" fmla="*/ 925867 w 2311926"/>
                <a:gd name="connsiteY21" fmla="*/ 1362586 h 2281613"/>
                <a:gd name="connsiteX22" fmla="*/ 1283332 w 2311926"/>
                <a:gd name="connsiteY22" fmla="*/ 1224958 h 2281613"/>
                <a:gd name="connsiteX23" fmla="*/ 1472108 w 2311926"/>
                <a:gd name="connsiteY23" fmla="*/ 463840 h 2281613"/>
                <a:gd name="connsiteX24" fmla="*/ 1168785 w 2311926"/>
                <a:gd name="connsiteY24" fmla="*/ 216349 h 2281613"/>
                <a:gd name="connsiteX25" fmla="*/ 1130720 w 2311926"/>
                <a:gd name="connsiteY25" fmla="*/ 52762 h 2281613"/>
                <a:gd name="connsiteX0" fmla="*/ 1130720 w 2311926"/>
                <a:gd name="connsiteY0" fmla="*/ 52762 h 2281613"/>
                <a:gd name="connsiteX1" fmla="*/ 1621236 w 2311926"/>
                <a:gd name="connsiteY1" fmla="*/ 514817 h 2281613"/>
                <a:gd name="connsiteX2" fmla="*/ 1435485 w 2311926"/>
                <a:gd name="connsiteY2" fmla="*/ 1270449 h 2281613"/>
                <a:gd name="connsiteX3" fmla="*/ 1227501 w 2311926"/>
                <a:gd name="connsiteY3" fmla="*/ 1537325 h 2281613"/>
                <a:gd name="connsiteX4" fmla="*/ 2070485 w 2311926"/>
                <a:gd name="connsiteY4" fmla="*/ 1727649 h 2281613"/>
                <a:gd name="connsiteX5" fmla="*/ 2019685 w 2311926"/>
                <a:gd name="connsiteY5" fmla="*/ 1270449 h 2281613"/>
                <a:gd name="connsiteX6" fmla="*/ 2248426 w 2311926"/>
                <a:gd name="connsiteY6" fmla="*/ 589363 h 2281613"/>
                <a:gd name="connsiteX7" fmla="*/ 2311926 w 2311926"/>
                <a:gd name="connsiteY7" fmla="*/ 735466 h 2281613"/>
                <a:gd name="connsiteX8" fmla="*/ 2170538 w 2311926"/>
                <a:gd name="connsiteY8" fmla="*/ 1245367 h 2281613"/>
                <a:gd name="connsiteX9" fmla="*/ 2222885 w 2311926"/>
                <a:gd name="connsiteY9" fmla="*/ 1740349 h 2281613"/>
                <a:gd name="connsiteX10" fmla="*/ 2095885 w 2311926"/>
                <a:gd name="connsiteY10" fmla="*/ 2070549 h 2281613"/>
                <a:gd name="connsiteX11" fmla="*/ 1841885 w 2311926"/>
                <a:gd name="connsiteY11" fmla="*/ 2235649 h 2281613"/>
                <a:gd name="connsiteX12" fmla="*/ 1270385 w 2311926"/>
                <a:gd name="connsiteY12" fmla="*/ 2146749 h 2281613"/>
                <a:gd name="connsiteX13" fmla="*/ 1105285 w 2311926"/>
                <a:gd name="connsiteY13" fmla="*/ 1765749 h 2281613"/>
                <a:gd name="connsiteX14" fmla="*/ 1073482 w 2311926"/>
                <a:gd name="connsiteY14" fmla="*/ 1570430 h 2281613"/>
                <a:gd name="connsiteX15" fmla="*/ 902085 w 2311926"/>
                <a:gd name="connsiteY15" fmla="*/ 1537149 h 2281613"/>
                <a:gd name="connsiteX16" fmla="*/ 119505 w 2311926"/>
                <a:gd name="connsiteY16" fmla="*/ 930821 h 2281613"/>
                <a:gd name="connsiteX17" fmla="*/ 330902 w 2311926"/>
                <a:gd name="connsiteY17" fmla="*/ 352847 h 2281613"/>
                <a:gd name="connsiteX18" fmla="*/ 470285 w 2311926"/>
                <a:gd name="connsiteY18" fmla="*/ 457649 h 2281613"/>
                <a:gd name="connsiteX19" fmla="*/ 395175 w 2311926"/>
                <a:gd name="connsiteY19" fmla="*/ 489628 h 2281613"/>
                <a:gd name="connsiteX20" fmla="*/ 285063 w 2311926"/>
                <a:gd name="connsiteY20" fmla="*/ 878932 h 2281613"/>
                <a:gd name="connsiteX21" fmla="*/ 925867 w 2311926"/>
                <a:gd name="connsiteY21" fmla="*/ 1362586 h 2281613"/>
                <a:gd name="connsiteX22" fmla="*/ 1283332 w 2311926"/>
                <a:gd name="connsiteY22" fmla="*/ 1224958 h 2281613"/>
                <a:gd name="connsiteX23" fmla="*/ 1472108 w 2311926"/>
                <a:gd name="connsiteY23" fmla="*/ 463840 h 2281613"/>
                <a:gd name="connsiteX24" fmla="*/ 1168785 w 2311926"/>
                <a:gd name="connsiteY24" fmla="*/ 216349 h 2281613"/>
                <a:gd name="connsiteX25" fmla="*/ 1130720 w 2311926"/>
                <a:gd name="connsiteY25" fmla="*/ 52762 h 2281613"/>
                <a:gd name="connsiteX0" fmla="*/ 1130720 w 2311926"/>
                <a:gd name="connsiteY0" fmla="*/ 52762 h 2281613"/>
                <a:gd name="connsiteX1" fmla="*/ 1621236 w 2311926"/>
                <a:gd name="connsiteY1" fmla="*/ 514817 h 2281613"/>
                <a:gd name="connsiteX2" fmla="*/ 1435485 w 2311926"/>
                <a:gd name="connsiteY2" fmla="*/ 1270449 h 2281613"/>
                <a:gd name="connsiteX3" fmla="*/ 1227501 w 2311926"/>
                <a:gd name="connsiteY3" fmla="*/ 1537325 h 2281613"/>
                <a:gd name="connsiteX4" fmla="*/ 2070485 w 2311926"/>
                <a:gd name="connsiteY4" fmla="*/ 1727649 h 2281613"/>
                <a:gd name="connsiteX5" fmla="*/ 2019685 w 2311926"/>
                <a:gd name="connsiteY5" fmla="*/ 1270449 h 2281613"/>
                <a:gd name="connsiteX6" fmla="*/ 2248426 w 2311926"/>
                <a:gd name="connsiteY6" fmla="*/ 589363 h 2281613"/>
                <a:gd name="connsiteX7" fmla="*/ 2311926 w 2311926"/>
                <a:gd name="connsiteY7" fmla="*/ 735466 h 2281613"/>
                <a:gd name="connsiteX8" fmla="*/ 2170538 w 2311926"/>
                <a:gd name="connsiteY8" fmla="*/ 1245367 h 2281613"/>
                <a:gd name="connsiteX9" fmla="*/ 2222885 w 2311926"/>
                <a:gd name="connsiteY9" fmla="*/ 1740349 h 2281613"/>
                <a:gd name="connsiteX10" fmla="*/ 2095885 w 2311926"/>
                <a:gd name="connsiteY10" fmla="*/ 2070549 h 2281613"/>
                <a:gd name="connsiteX11" fmla="*/ 1841885 w 2311926"/>
                <a:gd name="connsiteY11" fmla="*/ 2235649 h 2281613"/>
                <a:gd name="connsiteX12" fmla="*/ 1270385 w 2311926"/>
                <a:gd name="connsiteY12" fmla="*/ 2146749 h 2281613"/>
                <a:gd name="connsiteX13" fmla="*/ 1105285 w 2311926"/>
                <a:gd name="connsiteY13" fmla="*/ 1765749 h 2281613"/>
                <a:gd name="connsiteX14" fmla="*/ 1073482 w 2311926"/>
                <a:gd name="connsiteY14" fmla="*/ 1570430 h 2281613"/>
                <a:gd name="connsiteX15" fmla="*/ 902085 w 2311926"/>
                <a:gd name="connsiteY15" fmla="*/ 1537149 h 2281613"/>
                <a:gd name="connsiteX16" fmla="*/ 119505 w 2311926"/>
                <a:gd name="connsiteY16" fmla="*/ 930821 h 2281613"/>
                <a:gd name="connsiteX17" fmla="*/ 330902 w 2311926"/>
                <a:gd name="connsiteY17" fmla="*/ 352847 h 2281613"/>
                <a:gd name="connsiteX18" fmla="*/ 470285 w 2311926"/>
                <a:gd name="connsiteY18" fmla="*/ 457649 h 2281613"/>
                <a:gd name="connsiteX19" fmla="*/ 395175 w 2311926"/>
                <a:gd name="connsiteY19" fmla="*/ 489628 h 2281613"/>
                <a:gd name="connsiteX20" fmla="*/ 285063 w 2311926"/>
                <a:gd name="connsiteY20" fmla="*/ 878932 h 2281613"/>
                <a:gd name="connsiteX21" fmla="*/ 925867 w 2311926"/>
                <a:gd name="connsiteY21" fmla="*/ 1362586 h 2281613"/>
                <a:gd name="connsiteX22" fmla="*/ 1283332 w 2311926"/>
                <a:gd name="connsiteY22" fmla="*/ 1224958 h 2281613"/>
                <a:gd name="connsiteX23" fmla="*/ 1472108 w 2311926"/>
                <a:gd name="connsiteY23" fmla="*/ 463840 h 2281613"/>
                <a:gd name="connsiteX24" fmla="*/ 1168785 w 2311926"/>
                <a:gd name="connsiteY24" fmla="*/ 216349 h 2281613"/>
                <a:gd name="connsiteX25" fmla="*/ 1130720 w 2311926"/>
                <a:gd name="connsiteY25" fmla="*/ 52762 h 2281613"/>
                <a:gd name="connsiteX0" fmla="*/ 1130720 w 2311926"/>
                <a:gd name="connsiteY0" fmla="*/ 52762 h 2281613"/>
                <a:gd name="connsiteX1" fmla="*/ 1621236 w 2311926"/>
                <a:gd name="connsiteY1" fmla="*/ 514817 h 2281613"/>
                <a:gd name="connsiteX2" fmla="*/ 1435485 w 2311926"/>
                <a:gd name="connsiteY2" fmla="*/ 1270449 h 2281613"/>
                <a:gd name="connsiteX3" fmla="*/ 1227501 w 2311926"/>
                <a:gd name="connsiteY3" fmla="*/ 1537325 h 2281613"/>
                <a:gd name="connsiteX4" fmla="*/ 2070485 w 2311926"/>
                <a:gd name="connsiteY4" fmla="*/ 1727649 h 2281613"/>
                <a:gd name="connsiteX5" fmla="*/ 2019685 w 2311926"/>
                <a:gd name="connsiteY5" fmla="*/ 1270449 h 2281613"/>
                <a:gd name="connsiteX6" fmla="*/ 2248426 w 2311926"/>
                <a:gd name="connsiteY6" fmla="*/ 589363 h 2281613"/>
                <a:gd name="connsiteX7" fmla="*/ 2311926 w 2311926"/>
                <a:gd name="connsiteY7" fmla="*/ 735466 h 2281613"/>
                <a:gd name="connsiteX8" fmla="*/ 2170538 w 2311926"/>
                <a:gd name="connsiteY8" fmla="*/ 1245367 h 2281613"/>
                <a:gd name="connsiteX9" fmla="*/ 2222885 w 2311926"/>
                <a:gd name="connsiteY9" fmla="*/ 1740349 h 2281613"/>
                <a:gd name="connsiteX10" fmla="*/ 2095885 w 2311926"/>
                <a:gd name="connsiteY10" fmla="*/ 2070549 h 2281613"/>
                <a:gd name="connsiteX11" fmla="*/ 1841885 w 2311926"/>
                <a:gd name="connsiteY11" fmla="*/ 2235649 h 2281613"/>
                <a:gd name="connsiteX12" fmla="*/ 1270385 w 2311926"/>
                <a:gd name="connsiteY12" fmla="*/ 2146749 h 2281613"/>
                <a:gd name="connsiteX13" fmla="*/ 1105285 w 2311926"/>
                <a:gd name="connsiteY13" fmla="*/ 1765749 h 2281613"/>
                <a:gd name="connsiteX14" fmla="*/ 1073482 w 2311926"/>
                <a:gd name="connsiteY14" fmla="*/ 1570430 h 2281613"/>
                <a:gd name="connsiteX15" fmla="*/ 902085 w 2311926"/>
                <a:gd name="connsiteY15" fmla="*/ 1537149 h 2281613"/>
                <a:gd name="connsiteX16" fmla="*/ 119505 w 2311926"/>
                <a:gd name="connsiteY16" fmla="*/ 930821 h 2281613"/>
                <a:gd name="connsiteX17" fmla="*/ 330902 w 2311926"/>
                <a:gd name="connsiteY17" fmla="*/ 352847 h 2281613"/>
                <a:gd name="connsiteX18" fmla="*/ 470285 w 2311926"/>
                <a:gd name="connsiteY18" fmla="*/ 457649 h 2281613"/>
                <a:gd name="connsiteX19" fmla="*/ 395175 w 2311926"/>
                <a:gd name="connsiteY19" fmla="*/ 489628 h 2281613"/>
                <a:gd name="connsiteX20" fmla="*/ 285063 w 2311926"/>
                <a:gd name="connsiteY20" fmla="*/ 878932 h 2281613"/>
                <a:gd name="connsiteX21" fmla="*/ 925867 w 2311926"/>
                <a:gd name="connsiteY21" fmla="*/ 1362586 h 2281613"/>
                <a:gd name="connsiteX22" fmla="*/ 1283332 w 2311926"/>
                <a:gd name="connsiteY22" fmla="*/ 1224958 h 2281613"/>
                <a:gd name="connsiteX23" fmla="*/ 1472108 w 2311926"/>
                <a:gd name="connsiteY23" fmla="*/ 463840 h 2281613"/>
                <a:gd name="connsiteX24" fmla="*/ 1168785 w 2311926"/>
                <a:gd name="connsiteY24" fmla="*/ 216349 h 2281613"/>
                <a:gd name="connsiteX25" fmla="*/ 1130720 w 2311926"/>
                <a:gd name="connsiteY25" fmla="*/ 52762 h 2281613"/>
                <a:gd name="connsiteX0" fmla="*/ 1130720 w 2311926"/>
                <a:gd name="connsiteY0" fmla="*/ 52762 h 2281613"/>
                <a:gd name="connsiteX1" fmla="*/ 1621236 w 2311926"/>
                <a:gd name="connsiteY1" fmla="*/ 514817 h 2281613"/>
                <a:gd name="connsiteX2" fmla="*/ 1435485 w 2311926"/>
                <a:gd name="connsiteY2" fmla="*/ 1270449 h 2281613"/>
                <a:gd name="connsiteX3" fmla="*/ 1227501 w 2311926"/>
                <a:gd name="connsiteY3" fmla="*/ 1537325 h 2281613"/>
                <a:gd name="connsiteX4" fmla="*/ 2070485 w 2311926"/>
                <a:gd name="connsiteY4" fmla="*/ 1727649 h 2281613"/>
                <a:gd name="connsiteX5" fmla="*/ 2019685 w 2311926"/>
                <a:gd name="connsiteY5" fmla="*/ 1270449 h 2281613"/>
                <a:gd name="connsiteX6" fmla="*/ 2248426 w 2311926"/>
                <a:gd name="connsiteY6" fmla="*/ 589363 h 2281613"/>
                <a:gd name="connsiteX7" fmla="*/ 2311926 w 2311926"/>
                <a:gd name="connsiteY7" fmla="*/ 735466 h 2281613"/>
                <a:gd name="connsiteX8" fmla="*/ 2170538 w 2311926"/>
                <a:gd name="connsiteY8" fmla="*/ 1245367 h 2281613"/>
                <a:gd name="connsiteX9" fmla="*/ 2222885 w 2311926"/>
                <a:gd name="connsiteY9" fmla="*/ 1740349 h 2281613"/>
                <a:gd name="connsiteX10" fmla="*/ 1841885 w 2311926"/>
                <a:gd name="connsiteY10" fmla="*/ 2235649 h 2281613"/>
                <a:gd name="connsiteX11" fmla="*/ 1270385 w 2311926"/>
                <a:gd name="connsiteY11" fmla="*/ 2146749 h 2281613"/>
                <a:gd name="connsiteX12" fmla="*/ 1105285 w 2311926"/>
                <a:gd name="connsiteY12" fmla="*/ 1765749 h 2281613"/>
                <a:gd name="connsiteX13" fmla="*/ 1073482 w 2311926"/>
                <a:gd name="connsiteY13" fmla="*/ 1570430 h 2281613"/>
                <a:gd name="connsiteX14" fmla="*/ 902085 w 2311926"/>
                <a:gd name="connsiteY14" fmla="*/ 1537149 h 2281613"/>
                <a:gd name="connsiteX15" fmla="*/ 119505 w 2311926"/>
                <a:gd name="connsiteY15" fmla="*/ 930821 h 2281613"/>
                <a:gd name="connsiteX16" fmla="*/ 330902 w 2311926"/>
                <a:gd name="connsiteY16" fmla="*/ 352847 h 2281613"/>
                <a:gd name="connsiteX17" fmla="*/ 470285 w 2311926"/>
                <a:gd name="connsiteY17" fmla="*/ 457649 h 2281613"/>
                <a:gd name="connsiteX18" fmla="*/ 395175 w 2311926"/>
                <a:gd name="connsiteY18" fmla="*/ 489628 h 2281613"/>
                <a:gd name="connsiteX19" fmla="*/ 285063 w 2311926"/>
                <a:gd name="connsiteY19" fmla="*/ 878932 h 2281613"/>
                <a:gd name="connsiteX20" fmla="*/ 925867 w 2311926"/>
                <a:gd name="connsiteY20" fmla="*/ 1362586 h 2281613"/>
                <a:gd name="connsiteX21" fmla="*/ 1283332 w 2311926"/>
                <a:gd name="connsiteY21" fmla="*/ 1224958 h 2281613"/>
                <a:gd name="connsiteX22" fmla="*/ 1472108 w 2311926"/>
                <a:gd name="connsiteY22" fmla="*/ 463840 h 2281613"/>
                <a:gd name="connsiteX23" fmla="*/ 1168785 w 2311926"/>
                <a:gd name="connsiteY23" fmla="*/ 216349 h 2281613"/>
                <a:gd name="connsiteX24" fmla="*/ 1130720 w 2311926"/>
                <a:gd name="connsiteY24" fmla="*/ 52762 h 2281613"/>
                <a:gd name="connsiteX0" fmla="*/ 1130720 w 2311926"/>
                <a:gd name="connsiteY0" fmla="*/ 52762 h 2281613"/>
                <a:gd name="connsiteX1" fmla="*/ 1621236 w 2311926"/>
                <a:gd name="connsiteY1" fmla="*/ 514817 h 2281613"/>
                <a:gd name="connsiteX2" fmla="*/ 1435485 w 2311926"/>
                <a:gd name="connsiteY2" fmla="*/ 1270449 h 2281613"/>
                <a:gd name="connsiteX3" fmla="*/ 1227501 w 2311926"/>
                <a:gd name="connsiteY3" fmla="*/ 1537325 h 2281613"/>
                <a:gd name="connsiteX4" fmla="*/ 2070485 w 2311926"/>
                <a:gd name="connsiteY4" fmla="*/ 1727649 h 2281613"/>
                <a:gd name="connsiteX5" fmla="*/ 2019685 w 2311926"/>
                <a:gd name="connsiteY5" fmla="*/ 1270449 h 2281613"/>
                <a:gd name="connsiteX6" fmla="*/ 2248426 w 2311926"/>
                <a:gd name="connsiteY6" fmla="*/ 589363 h 2281613"/>
                <a:gd name="connsiteX7" fmla="*/ 2311926 w 2311926"/>
                <a:gd name="connsiteY7" fmla="*/ 735466 h 2281613"/>
                <a:gd name="connsiteX8" fmla="*/ 2170538 w 2311926"/>
                <a:gd name="connsiteY8" fmla="*/ 1245367 h 2281613"/>
                <a:gd name="connsiteX9" fmla="*/ 2222885 w 2311926"/>
                <a:gd name="connsiteY9" fmla="*/ 1740349 h 2281613"/>
                <a:gd name="connsiteX10" fmla="*/ 1639249 w 2311926"/>
                <a:gd name="connsiteY10" fmla="*/ 2267400 h 2281613"/>
                <a:gd name="connsiteX11" fmla="*/ 1270385 w 2311926"/>
                <a:gd name="connsiteY11" fmla="*/ 2146749 h 2281613"/>
                <a:gd name="connsiteX12" fmla="*/ 1105285 w 2311926"/>
                <a:gd name="connsiteY12" fmla="*/ 1765749 h 2281613"/>
                <a:gd name="connsiteX13" fmla="*/ 1073482 w 2311926"/>
                <a:gd name="connsiteY13" fmla="*/ 1570430 h 2281613"/>
                <a:gd name="connsiteX14" fmla="*/ 902085 w 2311926"/>
                <a:gd name="connsiteY14" fmla="*/ 1537149 h 2281613"/>
                <a:gd name="connsiteX15" fmla="*/ 119505 w 2311926"/>
                <a:gd name="connsiteY15" fmla="*/ 930821 h 2281613"/>
                <a:gd name="connsiteX16" fmla="*/ 330902 w 2311926"/>
                <a:gd name="connsiteY16" fmla="*/ 352847 h 2281613"/>
                <a:gd name="connsiteX17" fmla="*/ 470285 w 2311926"/>
                <a:gd name="connsiteY17" fmla="*/ 457649 h 2281613"/>
                <a:gd name="connsiteX18" fmla="*/ 395175 w 2311926"/>
                <a:gd name="connsiteY18" fmla="*/ 489628 h 2281613"/>
                <a:gd name="connsiteX19" fmla="*/ 285063 w 2311926"/>
                <a:gd name="connsiteY19" fmla="*/ 878932 h 2281613"/>
                <a:gd name="connsiteX20" fmla="*/ 925867 w 2311926"/>
                <a:gd name="connsiteY20" fmla="*/ 1362586 h 2281613"/>
                <a:gd name="connsiteX21" fmla="*/ 1283332 w 2311926"/>
                <a:gd name="connsiteY21" fmla="*/ 1224958 h 2281613"/>
                <a:gd name="connsiteX22" fmla="*/ 1472108 w 2311926"/>
                <a:gd name="connsiteY22" fmla="*/ 463840 h 2281613"/>
                <a:gd name="connsiteX23" fmla="*/ 1168785 w 2311926"/>
                <a:gd name="connsiteY23" fmla="*/ 216349 h 2281613"/>
                <a:gd name="connsiteX24" fmla="*/ 1130720 w 2311926"/>
                <a:gd name="connsiteY24" fmla="*/ 52762 h 2281613"/>
                <a:gd name="connsiteX0" fmla="*/ 1130720 w 2311926"/>
                <a:gd name="connsiteY0" fmla="*/ 52762 h 2281613"/>
                <a:gd name="connsiteX1" fmla="*/ 1621236 w 2311926"/>
                <a:gd name="connsiteY1" fmla="*/ 514817 h 2281613"/>
                <a:gd name="connsiteX2" fmla="*/ 1435485 w 2311926"/>
                <a:gd name="connsiteY2" fmla="*/ 1270449 h 2281613"/>
                <a:gd name="connsiteX3" fmla="*/ 1227501 w 2311926"/>
                <a:gd name="connsiteY3" fmla="*/ 1537325 h 2281613"/>
                <a:gd name="connsiteX4" fmla="*/ 2070485 w 2311926"/>
                <a:gd name="connsiteY4" fmla="*/ 1727649 h 2281613"/>
                <a:gd name="connsiteX5" fmla="*/ 2019685 w 2311926"/>
                <a:gd name="connsiteY5" fmla="*/ 1270449 h 2281613"/>
                <a:gd name="connsiteX6" fmla="*/ 2248426 w 2311926"/>
                <a:gd name="connsiteY6" fmla="*/ 589363 h 2281613"/>
                <a:gd name="connsiteX7" fmla="*/ 2311926 w 2311926"/>
                <a:gd name="connsiteY7" fmla="*/ 735466 h 2281613"/>
                <a:gd name="connsiteX8" fmla="*/ 2170538 w 2311926"/>
                <a:gd name="connsiteY8" fmla="*/ 1245367 h 2281613"/>
                <a:gd name="connsiteX9" fmla="*/ 2222885 w 2311926"/>
                <a:gd name="connsiteY9" fmla="*/ 1740349 h 2281613"/>
                <a:gd name="connsiteX10" fmla="*/ 1639249 w 2311926"/>
                <a:gd name="connsiteY10" fmla="*/ 2267400 h 2281613"/>
                <a:gd name="connsiteX11" fmla="*/ 1270385 w 2311926"/>
                <a:gd name="connsiteY11" fmla="*/ 2146749 h 2281613"/>
                <a:gd name="connsiteX12" fmla="*/ 1105285 w 2311926"/>
                <a:gd name="connsiteY12" fmla="*/ 1765749 h 2281613"/>
                <a:gd name="connsiteX13" fmla="*/ 1073482 w 2311926"/>
                <a:gd name="connsiteY13" fmla="*/ 1570430 h 2281613"/>
                <a:gd name="connsiteX14" fmla="*/ 902085 w 2311926"/>
                <a:gd name="connsiteY14" fmla="*/ 1537149 h 2281613"/>
                <a:gd name="connsiteX15" fmla="*/ 119505 w 2311926"/>
                <a:gd name="connsiteY15" fmla="*/ 930821 h 2281613"/>
                <a:gd name="connsiteX16" fmla="*/ 330902 w 2311926"/>
                <a:gd name="connsiteY16" fmla="*/ 352847 h 2281613"/>
                <a:gd name="connsiteX17" fmla="*/ 470285 w 2311926"/>
                <a:gd name="connsiteY17" fmla="*/ 457649 h 2281613"/>
                <a:gd name="connsiteX18" fmla="*/ 395175 w 2311926"/>
                <a:gd name="connsiteY18" fmla="*/ 489628 h 2281613"/>
                <a:gd name="connsiteX19" fmla="*/ 285063 w 2311926"/>
                <a:gd name="connsiteY19" fmla="*/ 878932 h 2281613"/>
                <a:gd name="connsiteX20" fmla="*/ 925867 w 2311926"/>
                <a:gd name="connsiteY20" fmla="*/ 1362586 h 2281613"/>
                <a:gd name="connsiteX21" fmla="*/ 1283332 w 2311926"/>
                <a:gd name="connsiteY21" fmla="*/ 1224958 h 2281613"/>
                <a:gd name="connsiteX22" fmla="*/ 1472108 w 2311926"/>
                <a:gd name="connsiteY22" fmla="*/ 463840 h 2281613"/>
                <a:gd name="connsiteX23" fmla="*/ 1168785 w 2311926"/>
                <a:gd name="connsiteY23" fmla="*/ 216349 h 2281613"/>
                <a:gd name="connsiteX24" fmla="*/ 1130720 w 2311926"/>
                <a:gd name="connsiteY24" fmla="*/ 52762 h 2281613"/>
                <a:gd name="connsiteX0" fmla="*/ 1130720 w 2311926"/>
                <a:gd name="connsiteY0" fmla="*/ 52762 h 2281613"/>
                <a:gd name="connsiteX1" fmla="*/ 1621236 w 2311926"/>
                <a:gd name="connsiteY1" fmla="*/ 514817 h 2281613"/>
                <a:gd name="connsiteX2" fmla="*/ 1435485 w 2311926"/>
                <a:gd name="connsiteY2" fmla="*/ 1270449 h 2281613"/>
                <a:gd name="connsiteX3" fmla="*/ 1227501 w 2311926"/>
                <a:gd name="connsiteY3" fmla="*/ 1537325 h 2281613"/>
                <a:gd name="connsiteX4" fmla="*/ 2070485 w 2311926"/>
                <a:gd name="connsiteY4" fmla="*/ 1727649 h 2281613"/>
                <a:gd name="connsiteX5" fmla="*/ 2019685 w 2311926"/>
                <a:gd name="connsiteY5" fmla="*/ 1270449 h 2281613"/>
                <a:gd name="connsiteX6" fmla="*/ 2248426 w 2311926"/>
                <a:gd name="connsiteY6" fmla="*/ 589363 h 2281613"/>
                <a:gd name="connsiteX7" fmla="*/ 2311926 w 2311926"/>
                <a:gd name="connsiteY7" fmla="*/ 735466 h 2281613"/>
                <a:gd name="connsiteX8" fmla="*/ 2170538 w 2311926"/>
                <a:gd name="connsiteY8" fmla="*/ 1245367 h 2281613"/>
                <a:gd name="connsiteX9" fmla="*/ 2222885 w 2311926"/>
                <a:gd name="connsiteY9" fmla="*/ 1740349 h 2281613"/>
                <a:gd name="connsiteX10" fmla="*/ 1639249 w 2311926"/>
                <a:gd name="connsiteY10" fmla="*/ 2267400 h 2281613"/>
                <a:gd name="connsiteX11" fmla="*/ 1270385 w 2311926"/>
                <a:gd name="connsiteY11" fmla="*/ 2146749 h 2281613"/>
                <a:gd name="connsiteX12" fmla="*/ 1105285 w 2311926"/>
                <a:gd name="connsiteY12" fmla="*/ 1765749 h 2281613"/>
                <a:gd name="connsiteX13" fmla="*/ 1073482 w 2311926"/>
                <a:gd name="connsiteY13" fmla="*/ 1570430 h 2281613"/>
                <a:gd name="connsiteX14" fmla="*/ 902085 w 2311926"/>
                <a:gd name="connsiteY14" fmla="*/ 1537149 h 2281613"/>
                <a:gd name="connsiteX15" fmla="*/ 119505 w 2311926"/>
                <a:gd name="connsiteY15" fmla="*/ 930821 h 2281613"/>
                <a:gd name="connsiteX16" fmla="*/ 330902 w 2311926"/>
                <a:gd name="connsiteY16" fmla="*/ 352847 h 2281613"/>
                <a:gd name="connsiteX17" fmla="*/ 470285 w 2311926"/>
                <a:gd name="connsiteY17" fmla="*/ 457649 h 2281613"/>
                <a:gd name="connsiteX18" fmla="*/ 395175 w 2311926"/>
                <a:gd name="connsiteY18" fmla="*/ 489628 h 2281613"/>
                <a:gd name="connsiteX19" fmla="*/ 285063 w 2311926"/>
                <a:gd name="connsiteY19" fmla="*/ 878932 h 2281613"/>
                <a:gd name="connsiteX20" fmla="*/ 925867 w 2311926"/>
                <a:gd name="connsiteY20" fmla="*/ 1362586 h 2281613"/>
                <a:gd name="connsiteX21" fmla="*/ 1283332 w 2311926"/>
                <a:gd name="connsiteY21" fmla="*/ 1224958 h 2281613"/>
                <a:gd name="connsiteX22" fmla="*/ 1472108 w 2311926"/>
                <a:gd name="connsiteY22" fmla="*/ 463840 h 2281613"/>
                <a:gd name="connsiteX23" fmla="*/ 1168785 w 2311926"/>
                <a:gd name="connsiteY23" fmla="*/ 216349 h 2281613"/>
                <a:gd name="connsiteX24" fmla="*/ 1130720 w 2311926"/>
                <a:gd name="connsiteY24" fmla="*/ 52762 h 2281613"/>
                <a:gd name="connsiteX0" fmla="*/ 1130720 w 2311926"/>
                <a:gd name="connsiteY0" fmla="*/ 52762 h 2281613"/>
                <a:gd name="connsiteX1" fmla="*/ 1621236 w 2311926"/>
                <a:gd name="connsiteY1" fmla="*/ 514817 h 2281613"/>
                <a:gd name="connsiteX2" fmla="*/ 1435485 w 2311926"/>
                <a:gd name="connsiteY2" fmla="*/ 1270449 h 2281613"/>
                <a:gd name="connsiteX3" fmla="*/ 1227501 w 2311926"/>
                <a:gd name="connsiteY3" fmla="*/ 1537325 h 2281613"/>
                <a:gd name="connsiteX4" fmla="*/ 2070485 w 2311926"/>
                <a:gd name="connsiteY4" fmla="*/ 1727649 h 2281613"/>
                <a:gd name="connsiteX5" fmla="*/ 2019685 w 2311926"/>
                <a:gd name="connsiteY5" fmla="*/ 1270449 h 2281613"/>
                <a:gd name="connsiteX6" fmla="*/ 2248426 w 2311926"/>
                <a:gd name="connsiteY6" fmla="*/ 589363 h 2281613"/>
                <a:gd name="connsiteX7" fmla="*/ 2311926 w 2311926"/>
                <a:gd name="connsiteY7" fmla="*/ 735466 h 2281613"/>
                <a:gd name="connsiteX8" fmla="*/ 2170538 w 2311926"/>
                <a:gd name="connsiteY8" fmla="*/ 1245367 h 2281613"/>
                <a:gd name="connsiteX9" fmla="*/ 2222885 w 2311926"/>
                <a:gd name="connsiteY9" fmla="*/ 1740349 h 2281613"/>
                <a:gd name="connsiteX10" fmla="*/ 1639249 w 2311926"/>
                <a:gd name="connsiteY10" fmla="*/ 2267400 h 2281613"/>
                <a:gd name="connsiteX11" fmla="*/ 1270385 w 2311926"/>
                <a:gd name="connsiteY11" fmla="*/ 2146749 h 2281613"/>
                <a:gd name="connsiteX12" fmla="*/ 1105285 w 2311926"/>
                <a:gd name="connsiteY12" fmla="*/ 1765749 h 2281613"/>
                <a:gd name="connsiteX13" fmla="*/ 1073482 w 2311926"/>
                <a:gd name="connsiteY13" fmla="*/ 1570430 h 2281613"/>
                <a:gd name="connsiteX14" fmla="*/ 902085 w 2311926"/>
                <a:gd name="connsiteY14" fmla="*/ 1537149 h 2281613"/>
                <a:gd name="connsiteX15" fmla="*/ 119505 w 2311926"/>
                <a:gd name="connsiteY15" fmla="*/ 930821 h 2281613"/>
                <a:gd name="connsiteX16" fmla="*/ 330902 w 2311926"/>
                <a:gd name="connsiteY16" fmla="*/ 352847 h 2281613"/>
                <a:gd name="connsiteX17" fmla="*/ 470285 w 2311926"/>
                <a:gd name="connsiteY17" fmla="*/ 457649 h 2281613"/>
                <a:gd name="connsiteX18" fmla="*/ 395175 w 2311926"/>
                <a:gd name="connsiteY18" fmla="*/ 489628 h 2281613"/>
                <a:gd name="connsiteX19" fmla="*/ 285063 w 2311926"/>
                <a:gd name="connsiteY19" fmla="*/ 878932 h 2281613"/>
                <a:gd name="connsiteX20" fmla="*/ 925867 w 2311926"/>
                <a:gd name="connsiteY20" fmla="*/ 1362586 h 2281613"/>
                <a:gd name="connsiteX21" fmla="*/ 1283332 w 2311926"/>
                <a:gd name="connsiteY21" fmla="*/ 1224958 h 2281613"/>
                <a:gd name="connsiteX22" fmla="*/ 1472108 w 2311926"/>
                <a:gd name="connsiteY22" fmla="*/ 463840 h 2281613"/>
                <a:gd name="connsiteX23" fmla="*/ 1168785 w 2311926"/>
                <a:gd name="connsiteY23" fmla="*/ 216349 h 2281613"/>
                <a:gd name="connsiteX24" fmla="*/ 1130720 w 2311926"/>
                <a:gd name="connsiteY24" fmla="*/ 52762 h 2281613"/>
                <a:gd name="connsiteX0" fmla="*/ 1130720 w 2311926"/>
                <a:gd name="connsiteY0" fmla="*/ 52762 h 2281613"/>
                <a:gd name="connsiteX1" fmla="*/ 1621236 w 2311926"/>
                <a:gd name="connsiteY1" fmla="*/ 514817 h 2281613"/>
                <a:gd name="connsiteX2" fmla="*/ 1435485 w 2311926"/>
                <a:gd name="connsiteY2" fmla="*/ 1270449 h 2281613"/>
                <a:gd name="connsiteX3" fmla="*/ 1227501 w 2311926"/>
                <a:gd name="connsiteY3" fmla="*/ 1537325 h 2281613"/>
                <a:gd name="connsiteX4" fmla="*/ 2070485 w 2311926"/>
                <a:gd name="connsiteY4" fmla="*/ 1727649 h 2281613"/>
                <a:gd name="connsiteX5" fmla="*/ 2019685 w 2311926"/>
                <a:gd name="connsiteY5" fmla="*/ 1270449 h 2281613"/>
                <a:gd name="connsiteX6" fmla="*/ 2248426 w 2311926"/>
                <a:gd name="connsiteY6" fmla="*/ 589363 h 2281613"/>
                <a:gd name="connsiteX7" fmla="*/ 2311926 w 2311926"/>
                <a:gd name="connsiteY7" fmla="*/ 735466 h 2281613"/>
                <a:gd name="connsiteX8" fmla="*/ 2170538 w 2311926"/>
                <a:gd name="connsiteY8" fmla="*/ 1245367 h 2281613"/>
                <a:gd name="connsiteX9" fmla="*/ 2222885 w 2311926"/>
                <a:gd name="connsiteY9" fmla="*/ 1740349 h 2281613"/>
                <a:gd name="connsiteX10" fmla="*/ 1639249 w 2311926"/>
                <a:gd name="connsiteY10" fmla="*/ 2267400 h 2281613"/>
                <a:gd name="connsiteX11" fmla="*/ 1105285 w 2311926"/>
                <a:gd name="connsiteY11" fmla="*/ 1765749 h 2281613"/>
                <a:gd name="connsiteX12" fmla="*/ 1073482 w 2311926"/>
                <a:gd name="connsiteY12" fmla="*/ 1570430 h 2281613"/>
                <a:gd name="connsiteX13" fmla="*/ 902085 w 2311926"/>
                <a:gd name="connsiteY13" fmla="*/ 1537149 h 2281613"/>
                <a:gd name="connsiteX14" fmla="*/ 119505 w 2311926"/>
                <a:gd name="connsiteY14" fmla="*/ 930821 h 2281613"/>
                <a:gd name="connsiteX15" fmla="*/ 330902 w 2311926"/>
                <a:gd name="connsiteY15" fmla="*/ 352847 h 2281613"/>
                <a:gd name="connsiteX16" fmla="*/ 470285 w 2311926"/>
                <a:gd name="connsiteY16" fmla="*/ 457649 h 2281613"/>
                <a:gd name="connsiteX17" fmla="*/ 395175 w 2311926"/>
                <a:gd name="connsiteY17" fmla="*/ 489628 h 2281613"/>
                <a:gd name="connsiteX18" fmla="*/ 285063 w 2311926"/>
                <a:gd name="connsiteY18" fmla="*/ 878932 h 2281613"/>
                <a:gd name="connsiteX19" fmla="*/ 925867 w 2311926"/>
                <a:gd name="connsiteY19" fmla="*/ 1362586 h 2281613"/>
                <a:gd name="connsiteX20" fmla="*/ 1283332 w 2311926"/>
                <a:gd name="connsiteY20" fmla="*/ 1224958 h 2281613"/>
                <a:gd name="connsiteX21" fmla="*/ 1472108 w 2311926"/>
                <a:gd name="connsiteY21" fmla="*/ 463840 h 2281613"/>
                <a:gd name="connsiteX22" fmla="*/ 1168785 w 2311926"/>
                <a:gd name="connsiteY22" fmla="*/ 216349 h 2281613"/>
                <a:gd name="connsiteX23" fmla="*/ 1130720 w 2311926"/>
                <a:gd name="connsiteY23" fmla="*/ 52762 h 2281613"/>
                <a:gd name="connsiteX0" fmla="*/ 1130720 w 2311926"/>
                <a:gd name="connsiteY0" fmla="*/ 52762 h 2281613"/>
                <a:gd name="connsiteX1" fmla="*/ 1621236 w 2311926"/>
                <a:gd name="connsiteY1" fmla="*/ 514817 h 2281613"/>
                <a:gd name="connsiteX2" fmla="*/ 1435485 w 2311926"/>
                <a:gd name="connsiteY2" fmla="*/ 1270449 h 2281613"/>
                <a:gd name="connsiteX3" fmla="*/ 1227501 w 2311926"/>
                <a:gd name="connsiteY3" fmla="*/ 1537325 h 2281613"/>
                <a:gd name="connsiteX4" fmla="*/ 2070485 w 2311926"/>
                <a:gd name="connsiteY4" fmla="*/ 1727649 h 2281613"/>
                <a:gd name="connsiteX5" fmla="*/ 2019685 w 2311926"/>
                <a:gd name="connsiteY5" fmla="*/ 1270449 h 2281613"/>
                <a:gd name="connsiteX6" fmla="*/ 2248426 w 2311926"/>
                <a:gd name="connsiteY6" fmla="*/ 589363 h 2281613"/>
                <a:gd name="connsiteX7" fmla="*/ 2311926 w 2311926"/>
                <a:gd name="connsiteY7" fmla="*/ 735466 h 2281613"/>
                <a:gd name="connsiteX8" fmla="*/ 2170538 w 2311926"/>
                <a:gd name="connsiteY8" fmla="*/ 1245367 h 2281613"/>
                <a:gd name="connsiteX9" fmla="*/ 2222885 w 2311926"/>
                <a:gd name="connsiteY9" fmla="*/ 1740349 h 2281613"/>
                <a:gd name="connsiteX10" fmla="*/ 1639249 w 2311926"/>
                <a:gd name="connsiteY10" fmla="*/ 2267400 h 2281613"/>
                <a:gd name="connsiteX11" fmla="*/ 1085022 w 2311926"/>
                <a:gd name="connsiteY11" fmla="*/ 1813875 h 2281613"/>
                <a:gd name="connsiteX12" fmla="*/ 1073482 w 2311926"/>
                <a:gd name="connsiteY12" fmla="*/ 1570430 h 2281613"/>
                <a:gd name="connsiteX13" fmla="*/ 902085 w 2311926"/>
                <a:gd name="connsiteY13" fmla="*/ 1537149 h 2281613"/>
                <a:gd name="connsiteX14" fmla="*/ 119505 w 2311926"/>
                <a:gd name="connsiteY14" fmla="*/ 930821 h 2281613"/>
                <a:gd name="connsiteX15" fmla="*/ 330902 w 2311926"/>
                <a:gd name="connsiteY15" fmla="*/ 352847 h 2281613"/>
                <a:gd name="connsiteX16" fmla="*/ 470285 w 2311926"/>
                <a:gd name="connsiteY16" fmla="*/ 457649 h 2281613"/>
                <a:gd name="connsiteX17" fmla="*/ 395175 w 2311926"/>
                <a:gd name="connsiteY17" fmla="*/ 489628 h 2281613"/>
                <a:gd name="connsiteX18" fmla="*/ 285063 w 2311926"/>
                <a:gd name="connsiteY18" fmla="*/ 878932 h 2281613"/>
                <a:gd name="connsiteX19" fmla="*/ 925867 w 2311926"/>
                <a:gd name="connsiteY19" fmla="*/ 1362586 h 2281613"/>
                <a:gd name="connsiteX20" fmla="*/ 1283332 w 2311926"/>
                <a:gd name="connsiteY20" fmla="*/ 1224958 h 2281613"/>
                <a:gd name="connsiteX21" fmla="*/ 1472108 w 2311926"/>
                <a:gd name="connsiteY21" fmla="*/ 463840 h 2281613"/>
                <a:gd name="connsiteX22" fmla="*/ 1168785 w 2311926"/>
                <a:gd name="connsiteY22" fmla="*/ 216349 h 2281613"/>
                <a:gd name="connsiteX23" fmla="*/ 1130720 w 2311926"/>
                <a:gd name="connsiteY23" fmla="*/ 52762 h 2281613"/>
                <a:gd name="connsiteX0" fmla="*/ 1130720 w 2311926"/>
                <a:gd name="connsiteY0" fmla="*/ 52762 h 2281613"/>
                <a:gd name="connsiteX1" fmla="*/ 1621236 w 2311926"/>
                <a:gd name="connsiteY1" fmla="*/ 514817 h 2281613"/>
                <a:gd name="connsiteX2" fmla="*/ 1435485 w 2311926"/>
                <a:gd name="connsiteY2" fmla="*/ 1270449 h 2281613"/>
                <a:gd name="connsiteX3" fmla="*/ 1227501 w 2311926"/>
                <a:gd name="connsiteY3" fmla="*/ 1537325 h 2281613"/>
                <a:gd name="connsiteX4" fmla="*/ 2070485 w 2311926"/>
                <a:gd name="connsiteY4" fmla="*/ 1727649 h 2281613"/>
                <a:gd name="connsiteX5" fmla="*/ 2019685 w 2311926"/>
                <a:gd name="connsiteY5" fmla="*/ 1270449 h 2281613"/>
                <a:gd name="connsiteX6" fmla="*/ 2248426 w 2311926"/>
                <a:gd name="connsiteY6" fmla="*/ 589363 h 2281613"/>
                <a:gd name="connsiteX7" fmla="*/ 2311926 w 2311926"/>
                <a:gd name="connsiteY7" fmla="*/ 735466 h 2281613"/>
                <a:gd name="connsiteX8" fmla="*/ 2170538 w 2311926"/>
                <a:gd name="connsiteY8" fmla="*/ 1245367 h 2281613"/>
                <a:gd name="connsiteX9" fmla="*/ 2222885 w 2311926"/>
                <a:gd name="connsiteY9" fmla="*/ 1740349 h 2281613"/>
                <a:gd name="connsiteX10" fmla="*/ 1639249 w 2311926"/>
                <a:gd name="connsiteY10" fmla="*/ 2267400 h 2281613"/>
                <a:gd name="connsiteX11" fmla="*/ 1073482 w 2311926"/>
                <a:gd name="connsiteY11" fmla="*/ 1570430 h 2281613"/>
                <a:gd name="connsiteX12" fmla="*/ 902085 w 2311926"/>
                <a:gd name="connsiteY12" fmla="*/ 1537149 h 2281613"/>
                <a:gd name="connsiteX13" fmla="*/ 119505 w 2311926"/>
                <a:gd name="connsiteY13" fmla="*/ 930821 h 2281613"/>
                <a:gd name="connsiteX14" fmla="*/ 330902 w 2311926"/>
                <a:gd name="connsiteY14" fmla="*/ 352847 h 2281613"/>
                <a:gd name="connsiteX15" fmla="*/ 470285 w 2311926"/>
                <a:gd name="connsiteY15" fmla="*/ 457649 h 2281613"/>
                <a:gd name="connsiteX16" fmla="*/ 395175 w 2311926"/>
                <a:gd name="connsiteY16" fmla="*/ 489628 h 2281613"/>
                <a:gd name="connsiteX17" fmla="*/ 285063 w 2311926"/>
                <a:gd name="connsiteY17" fmla="*/ 878932 h 2281613"/>
                <a:gd name="connsiteX18" fmla="*/ 925867 w 2311926"/>
                <a:gd name="connsiteY18" fmla="*/ 1362586 h 2281613"/>
                <a:gd name="connsiteX19" fmla="*/ 1283332 w 2311926"/>
                <a:gd name="connsiteY19" fmla="*/ 1224958 h 2281613"/>
                <a:gd name="connsiteX20" fmla="*/ 1472108 w 2311926"/>
                <a:gd name="connsiteY20" fmla="*/ 463840 h 2281613"/>
                <a:gd name="connsiteX21" fmla="*/ 1168785 w 2311926"/>
                <a:gd name="connsiteY21" fmla="*/ 216349 h 2281613"/>
                <a:gd name="connsiteX22" fmla="*/ 1130720 w 2311926"/>
                <a:gd name="connsiteY22" fmla="*/ 52762 h 2281613"/>
                <a:gd name="connsiteX0" fmla="*/ 1130720 w 2311926"/>
                <a:gd name="connsiteY0" fmla="*/ 52762 h 2281613"/>
                <a:gd name="connsiteX1" fmla="*/ 1621236 w 2311926"/>
                <a:gd name="connsiteY1" fmla="*/ 514817 h 2281613"/>
                <a:gd name="connsiteX2" fmla="*/ 1435485 w 2311926"/>
                <a:gd name="connsiteY2" fmla="*/ 1270449 h 2281613"/>
                <a:gd name="connsiteX3" fmla="*/ 1227501 w 2311926"/>
                <a:gd name="connsiteY3" fmla="*/ 1537325 h 2281613"/>
                <a:gd name="connsiteX4" fmla="*/ 2070485 w 2311926"/>
                <a:gd name="connsiteY4" fmla="*/ 1727649 h 2281613"/>
                <a:gd name="connsiteX5" fmla="*/ 2019685 w 2311926"/>
                <a:gd name="connsiteY5" fmla="*/ 1270449 h 2281613"/>
                <a:gd name="connsiteX6" fmla="*/ 2248426 w 2311926"/>
                <a:gd name="connsiteY6" fmla="*/ 589363 h 2281613"/>
                <a:gd name="connsiteX7" fmla="*/ 2311926 w 2311926"/>
                <a:gd name="connsiteY7" fmla="*/ 735466 h 2281613"/>
                <a:gd name="connsiteX8" fmla="*/ 2170538 w 2311926"/>
                <a:gd name="connsiteY8" fmla="*/ 1245367 h 2281613"/>
                <a:gd name="connsiteX9" fmla="*/ 2222885 w 2311926"/>
                <a:gd name="connsiteY9" fmla="*/ 1740349 h 2281613"/>
                <a:gd name="connsiteX10" fmla="*/ 1639249 w 2311926"/>
                <a:gd name="connsiteY10" fmla="*/ 2267400 h 2281613"/>
                <a:gd name="connsiteX11" fmla="*/ 1073482 w 2311926"/>
                <a:gd name="connsiteY11" fmla="*/ 1570430 h 2281613"/>
                <a:gd name="connsiteX12" fmla="*/ 902085 w 2311926"/>
                <a:gd name="connsiteY12" fmla="*/ 1537149 h 2281613"/>
                <a:gd name="connsiteX13" fmla="*/ 119505 w 2311926"/>
                <a:gd name="connsiteY13" fmla="*/ 930821 h 2281613"/>
                <a:gd name="connsiteX14" fmla="*/ 330902 w 2311926"/>
                <a:gd name="connsiteY14" fmla="*/ 352847 h 2281613"/>
                <a:gd name="connsiteX15" fmla="*/ 470285 w 2311926"/>
                <a:gd name="connsiteY15" fmla="*/ 457649 h 2281613"/>
                <a:gd name="connsiteX16" fmla="*/ 395175 w 2311926"/>
                <a:gd name="connsiteY16" fmla="*/ 489628 h 2281613"/>
                <a:gd name="connsiteX17" fmla="*/ 285063 w 2311926"/>
                <a:gd name="connsiteY17" fmla="*/ 878932 h 2281613"/>
                <a:gd name="connsiteX18" fmla="*/ 925867 w 2311926"/>
                <a:gd name="connsiteY18" fmla="*/ 1362586 h 2281613"/>
                <a:gd name="connsiteX19" fmla="*/ 1283332 w 2311926"/>
                <a:gd name="connsiteY19" fmla="*/ 1224958 h 2281613"/>
                <a:gd name="connsiteX20" fmla="*/ 1472108 w 2311926"/>
                <a:gd name="connsiteY20" fmla="*/ 463840 h 2281613"/>
                <a:gd name="connsiteX21" fmla="*/ 1168785 w 2311926"/>
                <a:gd name="connsiteY21" fmla="*/ 216349 h 2281613"/>
                <a:gd name="connsiteX22" fmla="*/ 1130720 w 2311926"/>
                <a:gd name="connsiteY22" fmla="*/ 52762 h 2281613"/>
                <a:gd name="connsiteX0" fmla="*/ 1130720 w 2311926"/>
                <a:gd name="connsiteY0" fmla="*/ 52762 h 2281613"/>
                <a:gd name="connsiteX1" fmla="*/ 1621236 w 2311926"/>
                <a:gd name="connsiteY1" fmla="*/ 514817 h 2281613"/>
                <a:gd name="connsiteX2" fmla="*/ 1435485 w 2311926"/>
                <a:gd name="connsiteY2" fmla="*/ 1270449 h 2281613"/>
                <a:gd name="connsiteX3" fmla="*/ 1227501 w 2311926"/>
                <a:gd name="connsiteY3" fmla="*/ 1537325 h 2281613"/>
                <a:gd name="connsiteX4" fmla="*/ 2070485 w 2311926"/>
                <a:gd name="connsiteY4" fmla="*/ 1727649 h 2281613"/>
                <a:gd name="connsiteX5" fmla="*/ 2019685 w 2311926"/>
                <a:gd name="connsiteY5" fmla="*/ 1270449 h 2281613"/>
                <a:gd name="connsiteX6" fmla="*/ 2248426 w 2311926"/>
                <a:gd name="connsiteY6" fmla="*/ 589363 h 2281613"/>
                <a:gd name="connsiteX7" fmla="*/ 2311926 w 2311926"/>
                <a:gd name="connsiteY7" fmla="*/ 735466 h 2281613"/>
                <a:gd name="connsiteX8" fmla="*/ 2170538 w 2311926"/>
                <a:gd name="connsiteY8" fmla="*/ 1245367 h 2281613"/>
                <a:gd name="connsiteX9" fmla="*/ 2222885 w 2311926"/>
                <a:gd name="connsiteY9" fmla="*/ 1740349 h 2281613"/>
                <a:gd name="connsiteX10" fmla="*/ 1651914 w 2311926"/>
                <a:gd name="connsiteY10" fmla="*/ 2267400 h 2281613"/>
                <a:gd name="connsiteX11" fmla="*/ 1073482 w 2311926"/>
                <a:gd name="connsiteY11" fmla="*/ 1570430 h 2281613"/>
                <a:gd name="connsiteX12" fmla="*/ 902085 w 2311926"/>
                <a:gd name="connsiteY12" fmla="*/ 1537149 h 2281613"/>
                <a:gd name="connsiteX13" fmla="*/ 119505 w 2311926"/>
                <a:gd name="connsiteY13" fmla="*/ 930821 h 2281613"/>
                <a:gd name="connsiteX14" fmla="*/ 330902 w 2311926"/>
                <a:gd name="connsiteY14" fmla="*/ 352847 h 2281613"/>
                <a:gd name="connsiteX15" fmla="*/ 470285 w 2311926"/>
                <a:gd name="connsiteY15" fmla="*/ 457649 h 2281613"/>
                <a:gd name="connsiteX16" fmla="*/ 395175 w 2311926"/>
                <a:gd name="connsiteY16" fmla="*/ 489628 h 2281613"/>
                <a:gd name="connsiteX17" fmla="*/ 285063 w 2311926"/>
                <a:gd name="connsiteY17" fmla="*/ 878932 h 2281613"/>
                <a:gd name="connsiteX18" fmla="*/ 925867 w 2311926"/>
                <a:gd name="connsiteY18" fmla="*/ 1362586 h 2281613"/>
                <a:gd name="connsiteX19" fmla="*/ 1283332 w 2311926"/>
                <a:gd name="connsiteY19" fmla="*/ 1224958 h 2281613"/>
                <a:gd name="connsiteX20" fmla="*/ 1472108 w 2311926"/>
                <a:gd name="connsiteY20" fmla="*/ 463840 h 2281613"/>
                <a:gd name="connsiteX21" fmla="*/ 1168785 w 2311926"/>
                <a:gd name="connsiteY21" fmla="*/ 216349 h 2281613"/>
                <a:gd name="connsiteX22" fmla="*/ 1130720 w 2311926"/>
                <a:gd name="connsiteY22" fmla="*/ 52762 h 2281613"/>
                <a:gd name="connsiteX0" fmla="*/ 1130720 w 2311926"/>
                <a:gd name="connsiteY0" fmla="*/ 52762 h 2281613"/>
                <a:gd name="connsiteX1" fmla="*/ 1621236 w 2311926"/>
                <a:gd name="connsiteY1" fmla="*/ 514817 h 2281613"/>
                <a:gd name="connsiteX2" fmla="*/ 1435485 w 2311926"/>
                <a:gd name="connsiteY2" fmla="*/ 1270449 h 2281613"/>
                <a:gd name="connsiteX3" fmla="*/ 1227501 w 2311926"/>
                <a:gd name="connsiteY3" fmla="*/ 1537325 h 2281613"/>
                <a:gd name="connsiteX4" fmla="*/ 2070485 w 2311926"/>
                <a:gd name="connsiteY4" fmla="*/ 1727649 h 2281613"/>
                <a:gd name="connsiteX5" fmla="*/ 2019685 w 2311926"/>
                <a:gd name="connsiteY5" fmla="*/ 1270449 h 2281613"/>
                <a:gd name="connsiteX6" fmla="*/ 2248426 w 2311926"/>
                <a:gd name="connsiteY6" fmla="*/ 589363 h 2281613"/>
                <a:gd name="connsiteX7" fmla="*/ 2311926 w 2311926"/>
                <a:gd name="connsiteY7" fmla="*/ 735466 h 2281613"/>
                <a:gd name="connsiteX8" fmla="*/ 2170538 w 2311926"/>
                <a:gd name="connsiteY8" fmla="*/ 1245367 h 2281613"/>
                <a:gd name="connsiteX9" fmla="*/ 2222885 w 2311926"/>
                <a:gd name="connsiteY9" fmla="*/ 1740349 h 2281613"/>
                <a:gd name="connsiteX10" fmla="*/ 1651914 w 2311926"/>
                <a:gd name="connsiteY10" fmla="*/ 2267400 h 2281613"/>
                <a:gd name="connsiteX11" fmla="*/ 1073482 w 2311926"/>
                <a:gd name="connsiteY11" fmla="*/ 1570430 h 2281613"/>
                <a:gd name="connsiteX12" fmla="*/ 902085 w 2311926"/>
                <a:gd name="connsiteY12" fmla="*/ 1537149 h 2281613"/>
                <a:gd name="connsiteX13" fmla="*/ 119505 w 2311926"/>
                <a:gd name="connsiteY13" fmla="*/ 930821 h 2281613"/>
                <a:gd name="connsiteX14" fmla="*/ 330902 w 2311926"/>
                <a:gd name="connsiteY14" fmla="*/ 352847 h 2281613"/>
                <a:gd name="connsiteX15" fmla="*/ 470285 w 2311926"/>
                <a:gd name="connsiteY15" fmla="*/ 457649 h 2281613"/>
                <a:gd name="connsiteX16" fmla="*/ 395175 w 2311926"/>
                <a:gd name="connsiteY16" fmla="*/ 489628 h 2281613"/>
                <a:gd name="connsiteX17" fmla="*/ 285063 w 2311926"/>
                <a:gd name="connsiteY17" fmla="*/ 878932 h 2281613"/>
                <a:gd name="connsiteX18" fmla="*/ 925867 w 2311926"/>
                <a:gd name="connsiteY18" fmla="*/ 1362586 h 2281613"/>
                <a:gd name="connsiteX19" fmla="*/ 1283332 w 2311926"/>
                <a:gd name="connsiteY19" fmla="*/ 1224958 h 2281613"/>
                <a:gd name="connsiteX20" fmla="*/ 1472108 w 2311926"/>
                <a:gd name="connsiteY20" fmla="*/ 463840 h 2281613"/>
                <a:gd name="connsiteX21" fmla="*/ 1168785 w 2311926"/>
                <a:gd name="connsiteY21" fmla="*/ 216349 h 2281613"/>
                <a:gd name="connsiteX22" fmla="*/ 1130720 w 2311926"/>
                <a:gd name="connsiteY22" fmla="*/ 52762 h 2281613"/>
                <a:gd name="connsiteX0" fmla="*/ 1130720 w 2311926"/>
                <a:gd name="connsiteY0" fmla="*/ 52762 h 2281613"/>
                <a:gd name="connsiteX1" fmla="*/ 1621236 w 2311926"/>
                <a:gd name="connsiteY1" fmla="*/ 514817 h 2281613"/>
                <a:gd name="connsiteX2" fmla="*/ 1435485 w 2311926"/>
                <a:gd name="connsiteY2" fmla="*/ 1270449 h 2281613"/>
                <a:gd name="connsiteX3" fmla="*/ 1227501 w 2311926"/>
                <a:gd name="connsiteY3" fmla="*/ 1537325 h 2281613"/>
                <a:gd name="connsiteX4" fmla="*/ 2070485 w 2311926"/>
                <a:gd name="connsiteY4" fmla="*/ 1727649 h 2281613"/>
                <a:gd name="connsiteX5" fmla="*/ 2019685 w 2311926"/>
                <a:gd name="connsiteY5" fmla="*/ 1270449 h 2281613"/>
                <a:gd name="connsiteX6" fmla="*/ 2248426 w 2311926"/>
                <a:gd name="connsiteY6" fmla="*/ 589363 h 2281613"/>
                <a:gd name="connsiteX7" fmla="*/ 2311926 w 2311926"/>
                <a:gd name="connsiteY7" fmla="*/ 735466 h 2281613"/>
                <a:gd name="connsiteX8" fmla="*/ 2170538 w 2311926"/>
                <a:gd name="connsiteY8" fmla="*/ 1245367 h 2281613"/>
                <a:gd name="connsiteX9" fmla="*/ 2222885 w 2311926"/>
                <a:gd name="connsiteY9" fmla="*/ 1740349 h 2281613"/>
                <a:gd name="connsiteX10" fmla="*/ 1651914 w 2311926"/>
                <a:gd name="connsiteY10" fmla="*/ 2267400 h 2281613"/>
                <a:gd name="connsiteX11" fmla="*/ 1073482 w 2311926"/>
                <a:gd name="connsiteY11" fmla="*/ 1570430 h 2281613"/>
                <a:gd name="connsiteX12" fmla="*/ 902085 w 2311926"/>
                <a:gd name="connsiteY12" fmla="*/ 1537149 h 2281613"/>
                <a:gd name="connsiteX13" fmla="*/ 119505 w 2311926"/>
                <a:gd name="connsiteY13" fmla="*/ 930821 h 2281613"/>
                <a:gd name="connsiteX14" fmla="*/ 330902 w 2311926"/>
                <a:gd name="connsiteY14" fmla="*/ 352847 h 2281613"/>
                <a:gd name="connsiteX15" fmla="*/ 470285 w 2311926"/>
                <a:gd name="connsiteY15" fmla="*/ 457649 h 2281613"/>
                <a:gd name="connsiteX16" fmla="*/ 395175 w 2311926"/>
                <a:gd name="connsiteY16" fmla="*/ 489628 h 2281613"/>
                <a:gd name="connsiteX17" fmla="*/ 285063 w 2311926"/>
                <a:gd name="connsiteY17" fmla="*/ 878932 h 2281613"/>
                <a:gd name="connsiteX18" fmla="*/ 925867 w 2311926"/>
                <a:gd name="connsiteY18" fmla="*/ 1362586 h 2281613"/>
                <a:gd name="connsiteX19" fmla="*/ 1283332 w 2311926"/>
                <a:gd name="connsiteY19" fmla="*/ 1224958 h 2281613"/>
                <a:gd name="connsiteX20" fmla="*/ 1472108 w 2311926"/>
                <a:gd name="connsiteY20" fmla="*/ 463840 h 2281613"/>
                <a:gd name="connsiteX21" fmla="*/ 1168785 w 2311926"/>
                <a:gd name="connsiteY21" fmla="*/ 216349 h 2281613"/>
                <a:gd name="connsiteX22" fmla="*/ 1130720 w 2311926"/>
                <a:gd name="connsiteY22" fmla="*/ 52762 h 2281613"/>
                <a:gd name="connsiteX0" fmla="*/ 1130720 w 2311926"/>
                <a:gd name="connsiteY0" fmla="*/ 52762 h 2281613"/>
                <a:gd name="connsiteX1" fmla="*/ 1621236 w 2311926"/>
                <a:gd name="connsiteY1" fmla="*/ 514817 h 2281613"/>
                <a:gd name="connsiteX2" fmla="*/ 1435485 w 2311926"/>
                <a:gd name="connsiteY2" fmla="*/ 1270449 h 2281613"/>
                <a:gd name="connsiteX3" fmla="*/ 1227501 w 2311926"/>
                <a:gd name="connsiteY3" fmla="*/ 1537325 h 2281613"/>
                <a:gd name="connsiteX4" fmla="*/ 2070485 w 2311926"/>
                <a:gd name="connsiteY4" fmla="*/ 1727649 h 2281613"/>
                <a:gd name="connsiteX5" fmla="*/ 2019685 w 2311926"/>
                <a:gd name="connsiteY5" fmla="*/ 1270449 h 2281613"/>
                <a:gd name="connsiteX6" fmla="*/ 2248426 w 2311926"/>
                <a:gd name="connsiteY6" fmla="*/ 589363 h 2281613"/>
                <a:gd name="connsiteX7" fmla="*/ 2311926 w 2311926"/>
                <a:gd name="connsiteY7" fmla="*/ 735466 h 2281613"/>
                <a:gd name="connsiteX8" fmla="*/ 2170538 w 2311926"/>
                <a:gd name="connsiteY8" fmla="*/ 1245367 h 2281613"/>
                <a:gd name="connsiteX9" fmla="*/ 2222885 w 2311926"/>
                <a:gd name="connsiteY9" fmla="*/ 1740349 h 2281613"/>
                <a:gd name="connsiteX10" fmla="*/ 1651914 w 2311926"/>
                <a:gd name="connsiteY10" fmla="*/ 2267400 h 2281613"/>
                <a:gd name="connsiteX11" fmla="*/ 1073482 w 2311926"/>
                <a:gd name="connsiteY11" fmla="*/ 1570430 h 2281613"/>
                <a:gd name="connsiteX12" fmla="*/ 902085 w 2311926"/>
                <a:gd name="connsiteY12" fmla="*/ 1537149 h 2281613"/>
                <a:gd name="connsiteX13" fmla="*/ 119505 w 2311926"/>
                <a:gd name="connsiteY13" fmla="*/ 930821 h 2281613"/>
                <a:gd name="connsiteX14" fmla="*/ 330902 w 2311926"/>
                <a:gd name="connsiteY14" fmla="*/ 352847 h 2281613"/>
                <a:gd name="connsiteX15" fmla="*/ 470285 w 2311926"/>
                <a:gd name="connsiteY15" fmla="*/ 457649 h 2281613"/>
                <a:gd name="connsiteX16" fmla="*/ 395175 w 2311926"/>
                <a:gd name="connsiteY16" fmla="*/ 489628 h 2281613"/>
                <a:gd name="connsiteX17" fmla="*/ 285063 w 2311926"/>
                <a:gd name="connsiteY17" fmla="*/ 878932 h 2281613"/>
                <a:gd name="connsiteX18" fmla="*/ 925867 w 2311926"/>
                <a:gd name="connsiteY18" fmla="*/ 1362586 h 2281613"/>
                <a:gd name="connsiteX19" fmla="*/ 1283332 w 2311926"/>
                <a:gd name="connsiteY19" fmla="*/ 1224958 h 2281613"/>
                <a:gd name="connsiteX20" fmla="*/ 1472108 w 2311926"/>
                <a:gd name="connsiteY20" fmla="*/ 463840 h 2281613"/>
                <a:gd name="connsiteX21" fmla="*/ 1168785 w 2311926"/>
                <a:gd name="connsiteY21" fmla="*/ 216349 h 2281613"/>
                <a:gd name="connsiteX22" fmla="*/ 1130720 w 2311926"/>
                <a:gd name="connsiteY22" fmla="*/ 52762 h 228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311926" h="2281613">
                  <a:moveTo>
                    <a:pt x="1130720" y="52762"/>
                  </a:moveTo>
                  <a:cubicBezTo>
                    <a:pt x="1216419" y="25991"/>
                    <a:pt x="1693923" y="0"/>
                    <a:pt x="1621236" y="514817"/>
                  </a:cubicBezTo>
                  <a:lnTo>
                    <a:pt x="1435485" y="1270449"/>
                  </a:lnTo>
                  <a:cubicBezTo>
                    <a:pt x="1389904" y="1422732"/>
                    <a:pt x="1326908" y="1527520"/>
                    <a:pt x="1227501" y="1537325"/>
                  </a:cubicBezTo>
                  <a:cubicBezTo>
                    <a:pt x="1176047" y="2213422"/>
                    <a:pt x="1976295" y="2281613"/>
                    <a:pt x="2070485" y="1727649"/>
                  </a:cubicBezTo>
                  <a:cubicBezTo>
                    <a:pt x="2085214" y="1590025"/>
                    <a:pt x="2049283" y="1452400"/>
                    <a:pt x="2019685" y="1270449"/>
                  </a:cubicBezTo>
                  <a:cubicBezTo>
                    <a:pt x="2005696" y="1108327"/>
                    <a:pt x="1926800" y="814809"/>
                    <a:pt x="2248426" y="589363"/>
                  </a:cubicBezTo>
                  <a:lnTo>
                    <a:pt x="2311926" y="735466"/>
                  </a:lnTo>
                  <a:cubicBezTo>
                    <a:pt x="2114403" y="897518"/>
                    <a:pt x="2162259" y="1145056"/>
                    <a:pt x="2170538" y="1245367"/>
                  </a:cubicBezTo>
                  <a:cubicBezTo>
                    <a:pt x="2238646" y="1569937"/>
                    <a:pt x="2228232" y="1580421"/>
                    <a:pt x="2222885" y="1740349"/>
                  </a:cubicBezTo>
                  <a:cubicBezTo>
                    <a:pt x="2190061" y="1815899"/>
                    <a:pt x="2215935" y="2192068"/>
                    <a:pt x="1651914" y="2267400"/>
                  </a:cubicBezTo>
                  <a:cubicBezTo>
                    <a:pt x="1402089" y="2234014"/>
                    <a:pt x="1079827" y="2143002"/>
                    <a:pt x="1073482" y="1570430"/>
                  </a:cubicBezTo>
                  <a:cubicBezTo>
                    <a:pt x="976773" y="1572001"/>
                    <a:pt x="959217" y="1568823"/>
                    <a:pt x="902085" y="1537149"/>
                  </a:cubicBezTo>
                  <a:cubicBezTo>
                    <a:pt x="641225" y="1335040"/>
                    <a:pt x="377199" y="1145595"/>
                    <a:pt x="119505" y="930821"/>
                  </a:cubicBezTo>
                  <a:cubicBezTo>
                    <a:pt x="0" y="744495"/>
                    <a:pt x="22972" y="455269"/>
                    <a:pt x="330902" y="352847"/>
                  </a:cubicBezTo>
                  <a:lnTo>
                    <a:pt x="470285" y="457649"/>
                  </a:lnTo>
                  <a:lnTo>
                    <a:pt x="395175" y="489628"/>
                  </a:lnTo>
                  <a:cubicBezTo>
                    <a:pt x="168500" y="575069"/>
                    <a:pt x="141295" y="747581"/>
                    <a:pt x="285063" y="878932"/>
                  </a:cubicBezTo>
                  <a:lnTo>
                    <a:pt x="925867" y="1362586"/>
                  </a:lnTo>
                  <a:cubicBezTo>
                    <a:pt x="1092515" y="1527261"/>
                    <a:pt x="1284492" y="1337324"/>
                    <a:pt x="1283332" y="1224958"/>
                  </a:cubicBezTo>
                  <a:lnTo>
                    <a:pt x="1472108" y="463840"/>
                  </a:lnTo>
                  <a:cubicBezTo>
                    <a:pt x="1500813" y="325935"/>
                    <a:pt x="1407622" y="123123"/>
                    <a:pt x="1168785" y="216349"/>
                  </a:cubicBezTo>
                  <a:lnTo>
                    <a:pt x="1130720" y="52762"/>
                  </a:lnTo>
                  <a:close/>
                </a:path>
              </a:pathLst>
            </a:cu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nvGrpSpPr>
          <p:cNvPr id="298" name="Group 297"/>
          <p:cNvGrpSpPr/>
          <p:nvPr/>
        </p:nvGrpSpPr>
        <p:grpSpPr>
          <a:xfrm>
            <a:off x="3528981" y="5285531"/>
            <a:ext cx="179419" cy="205868"/>
            <a:chOff x="1628789" y="887953"/>
            <a:chExt cx="4103271" cy="4708152"/>
          </a:xfrm>
        </p:grpSpPr>
        <p:sp>
          <p:nvSpPr>
            <p:cNvPr id="299" name="Rounded Rectangle 298"/>
            <p:cNvSpPr/>
            <p:nvPr/>
          </p:nvSpPr>
          <p:spPr>
            <a:xfrm>
              <a:off x="4476463" y="1274906"/>
              <a:ext cx="1255597" cy="4274080"/>
            </a:xfrm>
            <a:prstGeom prst="roundRect">
              <a:avLst>
                <a:gd name="adj" fmla="val 25363"/>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0" name="Rounded Rectangle 299"/>
            <p:cNvSpPr/>
            <p:nvPr/>
          </p:nvSpPr>
          <p:spPr>
            <a:xfrm>
              <a:off x="3319226" y="3062904"/>
              <a:ext cx="611329" cy="621992"/>
            </a:xfrm>
            <a:prstGeom prst="roundRect">
              <a:avLst>
                <a:gd name="adj" fmla="val 25363"/>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1" name="Rounded Rectangle 300"/>
            <p:cNvSpPr/>
            <p:nvPr/>
          </p:nvSpPr>
          <p:spPr>
            <a:xfrm rot="1045580">
              <a:off x="2946583" y="4146035"/>
              <a:ext cx="252917" cy="1450070"/>
            </a:xfrm>
            <a:prstGeom prst="roundRect">
              <a:avLst>
                <a:gd name="adj"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2" name="Rounded Rectangle 301"/>
            <p:cNvSpPr/>
            <p:nvPr/>
          </p:nvSpPr>
          <p:spPr>
            <a:xfrm rot="3154033">
              <a:off x="2298258" y="3763142"/>
              <a:ext cx="252917" cy="981005"/>
            </a:xfrm>
            <a:prstGeom prst="roundRect">
              <a:avLst>
                <a:gd name="adj"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3" name="Rounded Rectangle 302"/>
            <p:cNvSpPr/>
            <p:nvPr/>
          </p:nvSpPr>
          <p:spPr>
            <a:xfrm rot="7691775">
              <a:off x="2297632" y="1827674"/>
              <a:ext cx="252917" cy="981005"/>
            </a:xfrm>
            <a:prstGeom prst="roundRect">
              <a:avLst>
                <a:gd name="adj"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4" name="Rounded Rectangle 303"/>
            <p:cNvSpPr/>
            <p:nvPr/>
          </p:nvSpPr>
          <p:spPr>
            <a:xfrm rot="9862734">
              <a:off x="2914264" y="887953"/>
              <a:ext cx="252917" cy="1490083"/>
            </a:xfrm>
            <a:prstGeom prst="roundRect">
              <a:avLst>
                <a:gd name="adj"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5" name="Rounded Rectangle 304"/>
            <p:cNvSpPr/>
            <p:nvPr/>
          </p:nvSpPr>
          <p:spPr>
            <a:xfrm rot="5400000">
              <a:off x="1992833" y="2780175"/>
              <a:ext cx="252917" cy="981005"/>
            </a:xfrm>
            <a:prstGeom prst="roundRect">
              <a:avLst>
                <a:gd name="adj"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6" name="Freeform 305"/>
            <p:cNvSpPr/>
            <p:nvPr/>
          </p:nvSpPr>
          <p:spPr>
            <a:xfrm>
              <a:off x="3735387" y="1895476"/>
              <a:ext cx="960438" cy="2921528"/>
            </a:xfrm>
            <a:custGeom>
              <a:avLst/>
              <a:gdLst>
                <a:gd name="connsiteX0" fmla="*/ 847725 w 971550"/>
                <a:gd name="connsiteY0" fmla="*/ 0 h 2905125"/>
                <a:gd name="connsiteX1" fmla="*/ 428625 w 971550"/>
                <a:gd name="connsiteY1" fmla="*/ 19050 h 2905125"/>
                <a:gd name="connsiteX2" fmla="*/ 28575 w 971550"/>
                <a:gd name="connsiteY2" fmla="*/ 371475 h 2905125"/>
                <a:gd name="connsiteX3" fmla="*/ 0 w 971550"/>
                <a:gd name="connsiteY3" fmla="*/ 2400300 h 2905125"/>
                <a:gd name="connsiteX4" fmla="*/ 314325 w 971550"/>
                <a:gd name="connsiteY4" fmla="*/ 2905125 h 2905125"/>
                <a:gd name="connsiteX5" fmla="*/ 971550 w 971550"/>
                <a:gd name="connsiteY5" fmla="*/ 2895600 h 2905125"/>
                <a:gd name="connsiteX6" fmla="*/ 895350 w 971550"/>
                <a:gd name="connsiteY6" fmla="*/ 2686050 h 2905125"/>
                <a:gd name="connsiteX7" fmla="*/ 419100 w 971550"/>
                <a:gd name="connsiteY7" fmla="*/ 2714625 h 2905125"/>
                <a:gd name="connsiteX8" fmla="*/ 219075 w 971550"/>
                <a:gd name="connsiteY8" fmla="*/ 2466975 h 2905125"/>
                <a:gd name="connsiteX9" fmla="*/ 219075 w 971550"/>
                <a:gd name="connsiteY9" fmla="*/ 466725 h 2905125"/>
                <a:gd name="connsiteX10" fmla="*/ 409575 w 971550"/>
                <a:gd name="connsiteY10" fmla="*/ 276225 h 2905125"/>
                <a:gd name="connsiteX11" fmla="*/ 923925 w 971550"/>
                <a:gd name="connsiteY11" fmla="*/ 285750 h 2905125"/>
                <a:gd name="connsiteX12" fmla="*/ 847725 w 971550"/>
                <a:gd name="connsiteY12" fmla="*/ 0 h 2905125"/>
                <a:gd name="connsiteX0" fmla="*/ 847725 w 971550"/>
                <a:gd name="connsiteY0" fmla="*/ 0 h 2905125"/>
                <a:gd name="connsiteX1" fmla="*/ 250825 w 971550"/>
                <a:gd name="connsiteY1" fmla="*/ 30163 h 2905125"/>
                <a:gd name="connsiteX2" fmla="*/ 28575 w 971550"/>
                <a:gd name="connsiteY2" fmla="*/ 371475 h 2905125"/>
                <a:gd name="connsiteX3" fmla="*/ 0 w 971550"/>
                <a:gd name="connsiteY3" fmla="*/ 2400300 h 2905125"/>
                <a:gd name="connsiteX4" fmla="*/ 314325 w 971550"/>
                <a:gd name="connsiteY4" fmla="*/ 2905125 h 2905125"/>
                <a:gd name="connsiteX5" fmla="*/ 971550 w 971550"/>
                <a:gd name="connsiteY5" fmla="*/ 2895600 h 2905125"/>
                <a:gd name="connsiteX6" fmla="*/ 895350 w 971550"/>
                <a:gd name="connsiteY6" fmla="*/ 2686050 h 2905125"/>
                <a:gd name="connsiteX7" fmla="*/ 419100 w 971550"/>
                <a:gd name="connsiteY7" fmla="*/ 2714625 h 2905125"/>
                <a:gd name="connsiteX8" fmla="*/ 219075 w 971550"/>
                <a:gd name="connsiteY8" fmla="*/ 2466975 h 2905125"/>
                <a:gd name="connsiteX9" fmla="*/ 219075 w 971550"/>
                <a:gd name="connsiteY9" fmla="*/ 466725 h 2905125"/>
                <a:gd name="connsiteX10" fmla="*/ 409575 w 971550"/>
                <a:gd name="connsiteY10" fmla="*/ 276225 h 2905125"/>
                <a:gd name="connsiteX11" fmla="*/ 923925 w 971550"/>
                <a:gd name="connsiteY11" fmla="*/ 285750 h 2905125"/>
                <a:gd name="connsiteX12" fmla="*/ 847725 w 971550"/>
                <a:gd name="connsiteY12" fmla="*/ 0 h 2905125"/>
                <a:gd name="connsiteX0" fmla="*/ 847725 w 971550"/>
                <a:gd name="connsiteY0" fmla="*/ 0 h 2905125"/>
                <a:gd name="connsiteX1" fmla="*/ 250825 w 971550"/>
                <a:gd name="connsiteY1" fmla="*/ 30163 h 2905125"/>
                <a:gd name="connsiteX2" fmla="*/ 17463 w 971550"/>
                <a:gd name="connsiteY2" fmla="*/ 392113 h 2905125"/>
                <a:gd name="connsiteX3" fmla="*/ 0 w 971550"/>
                <a:gd name="connsiteY3" fmla="*/ 2400300 h 2905125"/>
                <a:gd name="connsiteX4" fmla="*/ 314325 w 971550"/>
                <a:gd name="connsiteY4" fmla="*/ 2905125 h 2905125"/>
                <a:gd name="connsiteX5" fmla="*/ 971550 w 971550"/>
                <a:gd name="connsiteY5" fmla="*/ 2895600 h 2905125"/>
                <a:gd name="connsiteX6" fmla="*/ 895350 w 971550"/>
                <a:gd name="connsiteY6" fmla="*/ 2686050 h 2905125"/>
                <a:gd name="connsiteX7" fmla="*/ 419100 w 971550"/>
                <a:gd name="connsiteY7" fmla="*/ 2714625 h 2905125"/>
                <a:gd name="connsiteX8" fmla="*/ 219075 w 971550"/>
                <a:gd name="connsiteY8" fmla="*/ 2466975 h 2905125"/>
                <a:gd name="connsiteX9" fmla="*/ 219075 w 971550"/>
                <a:gd name="connsiteY9" fmla="*/ 466725 h 2905125"/>
                <a:gd name="connsiteX10" fmla="*/ 409575 w 971550"/>
                <a:gd name="connsiteY10" fmla="*/ 276225 h 2905125"/>
                <a:gd name="connsiteX11" fmla="*/ 923925 w 971550"/>
                <a:gd name="connsiteY11" fmla="*/ 285750 h 2905125"/>
                <a:gd name="connsiteX12" fmla="*/ 847725 w 971550"/>
                <a:gd name="connsiteY12" fmla="*/ 0 h 2905125"/>
                <a:gd name="connsiteX0" fmla="*/ 830262 w 954087"/>
                <a:gd name="connsiteY0" fmla="*/ 0 h 2905125"/>
                <a:gd name="connsiteX1" fmla="*/ 233362 w 954087"/>
                <a:gd name="connsiteY1" fmla="*/ 30163 h 2905125"/>
                <a:gd name="connsiteX2" fmla="*/ 0 w 954087"/>
                <a:gd name="connsiteY2" fmla="*/ 392113 h 2905125"/>
                <a:gd name="connsiteX3" fmla="*/ 0 w 954087"/>
                <a:gd name="connsiteY3" fmla="*/ 2497138 h 2905125"/>
                <a:gd name="connsiteX4" fmla="*/ 296862 w 954087"/>
                <a:gd name="connsiteY4" fmla="*/ 2905125 h 2905125"/>
                <a:gd name="connsiteX5" fmla="*/ 954087 w 954087"/>
                <a:gd name="connsiteY5" fmla="*/ 2895600 h 2905125"/>
                <a:gd name="connsiteX6" fmla="*/ 877887 w 954087"/>
                <a:gd name="connsiteY6" fmla="*/ 2686050 h 2905125"/>
                <a:gd name="connsiteX7" fmla="*/ 401637 w 954087"/>
                <a:gd name="connsiteY7" fmla="*/ 2714625 h 2905125"/>
                <a:gd name="connsiteX8" fmla="*/ 201612 w 954087"/>
                <a:gd name="connsiteY8" fmla="*/ 2466975 h 2905125"/>
                <a:gd name="connsiteX9" fmla="*/ 201612 w 954087"/>
                <a:gd name="connsiteY9" fmla="*/ 466725 h 2905125"/>
                <a:gd name="connsiteX10" fmla="*/ 392112 w 954087"/>
                <a:gd name="connsiteY10" fmla="*/ 276225 h 2905125"/>
                <a:gd name="connsiteX11" fmla="*/ 906462 w 954087"/>
                <a:gd name="connsiteY11" fmla="*/ 285750 h 2905125"/>
                <a:gd name="connsiteX12" fmla="*/ 830262 w 954087"/>
                <a:gd name="connsiteY12" fmla="*/ 0 h 2905125"/>
                <a:gd name="connsiteX0" fmla="*/ 830262 w 954087"/>
                <a:gd name="connsiteY0" fmla="*/ 0 h 2905125"/>
                <a:gd name="connsiteX1" fmla="*/ 233362 w 954087"/>
                <a:gd name="connsiteY1" fmla="*/ 30163 h 2905125"/>
                <a:gd name="connsiteX2" fmla="*/ 0 w 954087"/>
                <a:gd name="connsiteY2" fmla="*/ 392113 h 2905125"/>
                <a:gd name="connsiteX3" fmla="*/ 0 w 954087"/>
                <a:gd name="connsiteY3" fmla="*/ 2497138 h 2905125"/>
                <a:gd name="connsiteX4" fmla="*/ 296862 w 954087"/>
                <a:gd name="connsiteY4" fmla="*/ 2905125 h 2905125"/>
                <a:gd name="connsiteX5" fmla="*/ 954087 w 954087"/>
                <a:gd name="connsiteY5" fmla="*/ 2895600 h 2905125"/>
                <a:gd name="connsiteX6" fmla="*/ 877887 w 954087"/>
                <a:gd name="connsiteY6" fmla="*/ 2686050 h 2905125"/>
                <a:gd name="connsiteX7" fmla="*/ 401637 w 954087"/>
                <a:gd name="connsiteY7" fmla="*/ 2714625 h 2905125"/>
                <a:gd name="connsiteX8" fmla="*/ 233362 w 954087"/>
                <a:gd name="connsiteY8" fmla="*/ 2497138 h 2905125"/>
                <a:gd name="connsiteX9" fmla="*/ 201612 w 954087"/>
                <a:gd name="connsiteY9" fmla="*/ 466725 h 2905125"/>
                <a:gd name="connsiteX10" fmla="*/ 392112 w 954087"/>
                <a:gd name="connsiteY10" fmla="*/ 276225 h 2905125"/>
                <a:gd name="connsiteX11" fmla="*/ 906462 w 954087"/>
                <a:gd name="connsiteY11" fmla="*/ 285750 h 2905125"/>
                <a:gd name="connsiteX12" fmla="*/ 830262 w 954087"/>
                <a:gd name="connsiteY12" fmla="*/ 0 h 2905125"/>
                <a:gd name="connsiteX0" fmla="*/ 830262 w 954087"/>
                <a:gd name="connsiteY0" fmla="*/ 0 h 2914650"/>
                <a:gd name="connsiteX1" fmla="*/ 233362 w 954087"/>
                <a:gd name="connsiteY1" fmla="*/ 30163 h 2914650"/>
                <a:gd name="connsiteX2" fmla="*/ 0 w 954087"/>
                <a:gd name="connsiteY2" fmla="*/ 392113 h 2914650"/>
                <a:gd name="connsiteX3" fmla="*/ 0 w 954087"/>
                <a:gd name="connsiteY3" fmla="*/ 2497138 h 2914650"/>
                <a:gd name="connsiteX4" fmla="*/ 233362 w 954087"/>
                <a:gd name="connsiteY4" fmla="*/ 2914650 h 2914650"/>
                <a:gd name="connsiteX5" fmla="*/ 954087 w 954087"/>
                <a:gd name="connsiteY5" fmla="*/ 2895600 h 2914650"/>
                <a:gd name="connsiteX6" fmla="*/ 877887 w 954087"/>
                <a:gd name="connsiteY6" fmla="*/ 2686050 h 2914650"/>
                <a:gd name="connsiteX7" fmla="*/ 401637 w 954087"/>
                <a:gd name="connsiteY7" fmla="*/ 2714625 h 2914650"/>
                <a:gd name="connsiteX8" fmla="*/ 233362 w 954087"/>
                <a:gd name="connsiteY8" fmla="*/ 2497138 h 2914650"/>
                <a:gd name="connsiteX9" fmla="*/ 201612 w 954087"/>
                <a:gd name="connsiteY9" fmla="*/ 466725 h 2914650"/>
                <a:gd name="connsiteX10" fmla="*/ 392112 w 954087"/>
                <a:gd name="connsiteY10" fmla="*/ 276225 h 2914650"/>
                <a:gd name="connsiteX11" fmla="*/ 906462 w 954087"/>
                <a:gd name="connsiteY11" fmla="*/ 285750 h 2914650"/>
                <a:gd name="connsiteX12" fmla="*/ 830262 w 954087"/>
                <a:gd name="connsiteY12" fmla="*/ 0 h 2914650"/>
                <a:gd name="connsiteX0" fmla="*/ 830262 w 954087"/>
                <a:gd name="connsiteY0" fmla="*/ 0 h 2914650"/>
                <a:gd name="connsiteX1" fmla="*/ 233362 w 954087"/>
                <a:gd name="connsiteY1" fmla="*/ 30163 h 2914650"/>
                <a:gd name="connsiteX2" fmla="*/ 0 w 954087"/>
                <a:gd name="connsiteY2" fmla="*/ 392113 h 2914650"/>
                <a:gd name="connsiteX3" fmla="*/ 0 w 954087"/>
                <a:gd name="connsiteY3" fmla="*/ 2497138 h 2914650"/>
                <a:gd name="connsiteX4" fmla="*/ 233362 w 954087"/>
                <a:gd name="connsiteY4" fmla="*/ 2914650 h 2914650"/>
                <a:gd name="connsiteX5" fmla="*/ 954087 w 954087"/>
                <a:gd name="connsiteY5" fmla="*/ 2895600 h 2914650"/>
                <a:gd name="connsiteX6" fmla="*/ 944562 w 954087"/>
                <a:gd name="connsiteY6" fmla="*/ 2697162 h 2914650"/>
                <a:gd name="connsiteX7" fmla="*/ 401637 w 954087"/>
                <a:gd name="connsiteY7" fmla="*/ 2714625 h 2914650"/>
                <a:gd name="connsiteX8" fmla="*/ 233362 w 954087"/>
                <a:gd name="connsiteY8" fmla="*/ 2497138 h 2914650"/>
                <a:gd name="connsiteX9" fmla="*/ 201612 w 954087"/>
                <a:gd name="connsiteY9" fmla="*/ 466725 h 2914650"/>
                <a:gd name="connsiteX10" fmla="*/ 392112 w 954087"/>
                <a:gd name="connsiteY10" fmla="*/ 276225 h 2914650"/>
                <a:gd name="connsiteX11" fmla="*/ 906462 w 954087"/>
                <a:gd name="connsiteY11" fmla="*/ 285750 h 2914650"/>
                <a:gd name="connsiteX12" fmla="*/ 830262 w 954087"/>
                <a:gd name="connsiteY12" fmla="*/ 0 h 2914650"/>
                <a:gd name="connsiteX0" fmla="*/ 830262 w 954087"/>
                <a:gd name="connsiteY0" fmla="*/ 0 h 2914650"/>
                <a:gd name="connsiteX1" fmla="*/ 233362 w 954087"/>
                <a:gd name="connsiteY1" fmla="*/ 30163 h 2914650"/>
                <a:gd name="connsiteX2" fmla="*/ 0 w 954087"/>
                <a:gd name="connsiteY2" fmla="*/ 392113 h 2914650"/>
                <a:gd name="connsiteX3" fmla="*/ 0 w 954087"/>
                <a:gd name="connsiteY3" fmla="*/ 2497138 h 2914650"/>
                <a:gd name="connsiteX4" fmla="*/ 233362 w 954087"/>
                <a:gd name="connsiteY4" fmla="*/ 2914650 h 2914650"/>
                <a:gd name="connsiteX5" fmla="*/ 954087 w 954087"/>
                <a:gd name="connsiteY5" fmla="*/ 2895600 h 2914650"/>
                <a:gd name="connsiteX6" fmla="*/ 944562 w 954087"/>
                <a:gd name="connsiteY6" fmla="*/ 2697162 h 2914650"/>
                <a:gd name="connsiteX7" fmla="*/ 439737 w 954087"/>
                <a:gd name="connsiteY7" fmla="*/ 2697162 h 2914650"/>
                <a:gd name="connsiteX8" fmla="*/ 233362 w 954087"/>
                <a:gd name="connsiteY8" fmla="*/ 2497138 h 2914650"/>
                <a:gd name="connsiteX9" fmla="*/ 201612 w 954087"/>
                <a:gd name="connsiteY9" fmla="*/ 466725 h 2914650"/>
                <a:gd name="connsiteX10" fmla="*/ 392112 w 954087"/>
                <a:gd name="connsiteY10" fmla="*/ 276225 h 2914650"/>
                <a:gd name="connsiteX11" fmla="*/ 906462 w 954087"/>
                <a:gd name="connsiteY11" fmla="*/ 285750 h 2914650"/>
                <a:gd name="connsiteX12" fmla="*/ 830262 w 954087"/>
                <a:gd name="connsiteY12" fmla="*/ 0 h 2914650"/>
                <a:gd name="connsiteX0" fmla="*/ 830262 w 954087"/>
                <a:gd name="connsiteY0" fmla="*/ 0 h 2914650"/>
                <a:gd name="connsiteX1" fmla="*/ 233362 w 954087"/>
                <a:gd name="connsiteY1" fmla="*/ 30163 h 2914650"/>
                <a:gd name="connsiteX2" fmla="*/ 0 w 954087"/>
                <a:gd name="connsiteY2" fmla="*/ 392113 h 2914650"/>
                <a:gd name="connsiteX3" fmla="*/ 0 w 954087"/>
                <a:gd name="connsiteY3" fmla="*/ 2497138 h 2914650"/>
                <a:gd name="connsiteX4" fmla="*/ 233362 w 954087"/>
                <a:gd name="connsiteY4" fmla="*/ 2914650 h 2914650"/>
                <a:gd name="connsiteX5" fmla="*/ 954087 w 954087"/>
                <a:gd name="connsiteY5" fmla="*/ 2895600 h 2914650"/>
                <a:gd name="connsiteX6" fmla="*/ 944562 w 954087"/>
                <a:gd name="connsiteY6" fmla="*/ 2697162 h 2914650"/>
                <a:gd name="connsiteX7" fmla="*/ 439737 w 954087"/>
                <a:gd name="connsiteY7" fmla="*/ 2697162 h 2914650"/>
                <a:gd name="connsiteX8" fmla="*/ 233362 w 954087"/>
                <a:gd name="connsiteY8" fmla="*/ 2497138 h 2914650"/>
                <a:gd name="connsiteX9" fmla="*/ 201612 w 954087"/>
                <a:gd name="connsiteY9" fmla="*/ 466725 h 2914650"/>
                <a:gd name="connsiteX10" fmla="*/ 392112 w 954087"/>
                <a:gd name="connsiteY10" fmla="*/ 276225 h 2914650"/>
                <a:gd name="connsiteX11" fmla="*/ 906462 w 954087"/>
                <a:gd name="connsiteY11" fmla="*/ 285750 h 2914650"/>
                <a:gd name="connsiteX12" fmla="*/ 830262 w 954087"/>
                <a:gd name="connsiteY12" fmla="*/ 0 h 2914650"/>
                <a:gd name="connsiteX0" fmla="*/ 830262 w 954087"/>
                <a:gd name="connsiteY0" fmla="*/ 0 h 2914650"/>
                <a:gd name="connsiteX1" fmla="*/ 233362 w 954087"/>
                <a:gd name="connsiteY1" fmla="*/ 30163 h 2914650"/>
                <a:gd name="connsiteX2" fmla="*/ 0 w 954087"/>
                <a:gd name="connsiteY2" fmla="*/ 392113 h 2914650"/>
                <a:gd name="connsiteX3" fmla="*/ 0 w 954087"/>
                <a:gd name="connsiteY3" fmla="*/ 2497138 h 2914650"/>
                <a:gd name="connsiteX4" fmla="*/ 233362 w 954087"/>
                <a:gd name="connsiteY4" fmla="*/ 2914650 h 2914650"/>
                <a:gd name="connsiteX5" fmla="*/ 954087 w 954087"/>
                <a:gd name="connsiteY5" fmla="*/ 2895600 h 2914650"/>
                <a:gd name="connsiteX6" fmla="*/ 944562 w 954087"/>
                <a:gd name="connsiteY6" fmla="*/ 2697162 h 2914650"/>
                <a:gd name="connsiteX7" fmla="*/ 439737 w 954087"/>
                <a:gd name="connsiteY7" fmla="*/ 2697162 h 2914650"/>
                <a:gd name="connsiteX8" fmla="*/ 233362 w 954087"/>
                <a:gd name="connsiteY8" fmla="*/ 2497138 h 2914650"/>
                <a:gd name="connsiteX9" fmla="*/ 201612 w 954087"/>
                <a:gd name="connsiteY9" fmla="*/ 466725 h 2914650"/>
                <a:gd name="connsiteX10" fmla="*/ 392112 w 954087"/>
                <a:gd name="connsiteY10" fmla="*/ 276225 h 2914650"/>
                <a:gd name="connsiteX11" fmla="*/ 906462 w 954087"/>
                <a:gd name="connsiteY11" fmla="*/ 285750 h 2914650"/>
                <a:gd name="connsiteX12" fmla="*/ 830262 w 954087"/>
                <a:gd name="connsiteY12" fmla="*/ 0 h 2914650"/>
                <a:gd name="connsiteX0" fmla="*/ 830262 w 954087"/>
                <a:gd name="connsiteY0" fmla="*/ 0 h 2914650"/>
                <a:gd name="connsiteX1" fmla="*/ 233362 w 954087"/>
                <a:gd name="connsiteY1" fmla="*/ 30163 h 2914650"/>
                <a:gd name="connsiteX2" fmla="*/ 0 w 954087"/>
                <a:gd name="connsiteY2" fmla="*/ 392113 h 2914650"/>
                <a:gd name="connsiteX3" fmla="*/ 0 w 954087"/>
                <a:gd name="connsiteY3" fmla="*/ 2497138 h 2914650"/>
                <a:gd name="connsiteX4" fmla="*/ 233362 w 954087"/>
                <a:gd name="connsiteY4" fmla="*/ 2914650 h 2914650"/>
                <a:gd name="connsiteX5" fmla="*/ 954087 w 954087"/>
                <a:gd name="connsiteY5" fmla="*/ 2895600 h 2914650"/>
                <a:gd name="connsiteX6" fmla="*/ 944562 w 954087"/>
                <a:gd name="connsiteY6" fmla="*/ 2697162 h 2914650"/>
                <a:gd name="connsiteX7" fmla="*/ 439737 w 954087"/>
                <a:gd name="connsiteY7" fmla="*/ 2697162 h 2914650"/>
                <a:gd name="connsiteX8" fmla="*/ 233362 w 954087"/>
                <a:gd name="connsiteY8" fmla="*/ 2497138 h 2914650"/>
                <a:gd name="connsiteX9" fmla="*/ 201612 w 954087"/>
                <a:gd name="connsiteY9" fmla="*/ 466725 h 2914650"/>
                <a:gd name="connsiteX10" fmla="*/ 392112 w 954087"/>
                <a:gd name="connsiteY10" fmla="*/ 276225 h 2914650"/>
                <a:gd name="connsiteX11" fmla="*/ 906462 w 954087"/>
                <a:gd name="connsiteY11" fmla="*/ 285750 h 2914650"/>
                <a:gd name="connsiteX12" fmla="*/ 830262 w 954087"/>
                <a:gd name="connsiteY12" fmla="*/ 0 h 2914650"/>
                <a:gd name="connsiteX0" fmla="*/ 830262 w 954087"/>
                <a:gd name="connsiteY0" fmla="*/ 0 h 2914650"/>
                <a:gd name="connsiteX1" fmla="*/ 233362 w 954087"/>
                <a:gd name="connsiteY1" fmla="*/ 30163 h 2914650"/>
                <a:gd name="connsiteX2" fmla="*/ 0 w 954087"/>
                <a:gd name="connsiteY2" fmla="*/ 392113 h 2914650"/>
                <a:gd name="connsiteX3" fmla="*/ 0 w 954087"/>
                <a:gd name="connsiteY3" fmla="*/ 2497138 h 2914650"/>
                <a:gd name="connsiteX4" fmla="*/ 233362 w 954087"/>
                <a:gd name="connsiteY4" fmla="*/ 2914650 h 2914650"/>
                <a:gd name="connsiteX5" fmla="*/ 954087 w 954087"/>
                <a:gd name="connsiteY5" fmla="*/ 2895600 h 2914650"/>
                <a:gd name="connsiteX6" fmla="*/ 944562 w 954087"/>
                <a:gd name="connsiteY6" fmla="*/ 2697162 h 2914650"/>
                <a:gd name="connsiteX7" fmla="*/ 439737 w 954087"/>
                <a:gd name="connsiteY7" fmla="*/ 2697162 h 2914650"/>
                <a:gd name="connsiteX8" fmla="*/ 233362 w 954087"/>
                <a:gd name="connsiteY8" fmla="*/ 2497138 h 2914650"/>
                <a:gd name="connsiteX9" fmla="*/ 201612 w 954087"/>
                <a:gd name="connsiteY9" fmla="*/ 466725 h 2914650"/>
                <a:gd name="connsiteX10" fmla="*/ 392112 w 954087"/>
                <a:gd name="connsiteY10" fmla="*/ 276225 h 2914650"/>
                <a:gd name="connsiteX11" fmla="*/ 906462 w 954087"/>
                <a:gd name="connsiteY11" fmla="*/ 285750 h 2914650"/>
                <a:gd name="connsiteX12" fmla="*/ 830262 w 954087"/>
                <a:gd name="connsiteY12" fmla="*/ 0 h 2914650"/>
                <a:gd name="connsiteX0" fmla="*/ 835026 w 958851"/>
                <a:gd name="connsiteY0" fmla="*/ 0 h 2914650"/>
                <a:gd name="connsiteX1" fmla="*/ 238126 w 958851"/>
                <a:gd name="connsiteY1" fmla="*/ 30163 h 2914650"/>
                <a:gd name="connsiteX2" fmla="*/ 4764 w 958851"/>
                <a:gd name="connsiteY2" fmla="*/ 392113 h 2914650"/>
                <a:gd name="connsiteX3" fmla="*/ 4764 w 958851"/>
                <a:gd name="connsiteY3" fmla="*/ 2497138 h 2914650"/>
                <a:gd name="connsiteX4" fmla="*/ 238126 w 958851"/>
                <a:gd name="connsiteY4" fmla="*/ 2914650 h 2914650"/>
                <a:gd name="connsiteX5" fmla="*/ 958851 w 958851"/>
                <a:gd name="connsiteY5" fmla="*/ 2895600 h 2914650"/>
                <a:gd name="connsiteX6" fmla="*/ 949326 w 958851"/>
                <a:gd name="connsiteY6" fmla="*/ 2697162 h 2914650"/>
                <a:gd name="connsiteX7" fmla="*/ 444501 w 958851"/>
                <a:gd name="connsiteY7" fmla="*/ 2697162 h 2914650"/>
                <a:gd name="connsiteX8" fmla="*/ 238126 w 958851"/>
                <a:gd name="connsiteY8" fmla="*/ 2497138 h 2914650"/>
                <a:gd name="connsiteX9" fmla="*/ 206376 w 958851"/>
                <a:gd name="connsiteY9" fmla="*/ 466725 h 2914650"/>
                <a:gd name="connsiteX10" fmla="*/ 396876 w 958851"/>
                <a:gd name="connsiteY10" fmla="*/ 276225 h 2914650"/>
                <a:gd name="connsiteX11" fmla="*/ 911226 w 958851"/>
                <a:gd name="connsiteY11" fmla="*/ 285750 h 2914650"/>
                <a:gd name="connsiteX12" fmla="*/ 835026 w 958851"/>
                <a:gd name="connsiteY12" fmla="*/ 0 h 2914650"/>
                <a:gd name="connsiteX0" fmla="*/ 836613 w 960438"/>
                <a:gd name="connsiteY0" fmla="*/ 0 h 2914650"/>
                <a:gd name="connsiteX1" fmla="*/ 239713 w 960438"/>
                <a:gd name="connsiteY1" fmla="*/ 30163 h 2914650"/>
                <a:gd name="connsiteX2" fmla="*/ 6351 w 960438"/>
                <a:gd name="connsiteY2" fmla="*/ 392113 h 2914650"/>
                <a:gd name="connsiteX3" fmla="*/ 6351 w 960438"/>
                <a:gd name="connsiteY3" fmla="*/ 2497138 h 2914650"/>
                <a:gd name="connsiteX4" fmla="*/ 239713 w 960438"/>
                <a:gd name="connsiteY4" fmla="*/ 2914650 h 2914650"/>
                <a:gd name="connsiteX5" fmla="*/ 960438 w 960438"/>
                <a:gd name="connsiteY5" fmla="*/ 2895600 h 2914650"/>
                <a:gd name="connsiteX6" fmla="*/ 950913 w 960438"/>
                <a:gd name="connsiteY6" fmla="*/ 2697162 h 2914650"/>
                <a:gd name="connsiteX7" fmla="*/ 446088 w 960438"/>
                <a:gd name="connsiteY7" fmla="*/ 2697162 h 2914650"/>
                <a:gd name="connsiteX8" fmla="*/ 239713 w 960438"/>
                <a:gd name="connsiteY8" fmla="*/ 2497138 h 2914650"/>
                <a:gd name="connsiteX9" fmla="*/ 207963 w 960438"/>
                <a:gd name="connsiteY9" fmla="*/ 466725 h 2914650"/>
                <a:gd name="connsiteX10" fmla="*/ 398463 w 960438"/>
                <a:gd name="connsiteY10" fmla="*/ 276225 h 2914650"/>
                <a:gd name="connsiteX11" fmla="*/ 912813 w 960438"/>
                <a:gd name="connsiteY11" fmla="*/ 285750 h 2914650"/>
                <a:gd name="connsiteX12" fmla="*/ 836613 w 960438"/>
                <a:gd name="connsiteY12" fmla="*/ 0 h 2914650"/>
                <a:gd name="connsiteX0" fmla="*/ 836613 w 960438"/>
                <a:gd name="connsiteY0" fmla="*/ 0 h 2914650"/>
                <a:gd name="connsiteX1" fmla="*/ 239713 w 960438"/>
                <a:gd name="connsiteY1" fmla="*/ 30163 h 2914650"/>
                <a:gd name="connsiteX2" fmla="*/ 6351 w 960438"/>
                <a:gd name="connsiteY2" fmla="*/ 392113 h 2914650"/>
                <a:gd name="connsiteX3" fmla="*/ 6351 w 960438"/>
                <a:gd name="connsiteY3" fmla="*/ 2497138 h 2914650"/>
                <a:gd name="connsiteX4" fmla="*/ 239713 w 960438"/>
                <a:gd name="connsiteY4" fmla="*/ 2914650 h 2914650"/>
                <a:gd name="connsiteX5" fmla="*/ 960438 w 960438"/>
                <a:gd name="connsiteY5" fmla="*/ 2895600 h 2914650"/>
                <a:gd name="connsiteX6" fmla="*/ 950913 w 960438"/>
                <a:gd name="connsiteY6" fmla="*/ 2697162 h 2914650"/>
                <a:gd name="connsiteX7" fmla="*/ 446088 w 960438"/>
                <a:gd name="connsiteY7" fmla="*/ 2697162 h 2914650"/>
                <a:gd name="connsiteX8" fmla="*/ 239713 w 960438"/>
                <a:gd name="connsiteY8" fmla="*/ 2497138 h 2914650"/>
                <a:gd name="connsiteX9" fmla="*/ 207963 w 960438"/>
                <a:gd name="connsiteY9" fmla="*/ 466725 h 2914650"/>
                <a:gd name="connsiteX10" fmla="*/ 398463 w 960438"/>
                <a:gd name="connsiteY10" fmla="*/ 276225 h 2914650"/>
                <a:gd name="connsiteX11" fmla="*/ 912813 w 960438"/>
                <a:gd name="connsiteY11" fmla="*/ 285750 h 2914650"/>
                <a:gd name="connsiteX12" fmla="*/ 836613 w 960438"/>
                <a:gd name="connsiteY12" fmla="*/ 0 h 2914650"/>
                <a:gd name="connsiteX0" fmla="*/ 836613 w 960438"/>
                <a:gd name="connsiteY0" fmla="*/ 0 h 2914650"/>
                <a:gd name="connsiteX1" fmla="*/ 239713 w 960438"/>
                <a:gd name="connsiteY1" fmla="*/ 30163 h 2914650"/>
                <a:gd name="connsiteX2" fmla="*/ 6351 w 960438"/>
                <a:gd name="connsiteY2" fmla="*/ 392113 h 2914650"/>
                <a:gd name="connsiteX3" fmla="*/ 6351 w 960438"/>
                <a:gd name="connsiteY3" fmla="*/ 2497138 h 2914650"/>
                <a:gd name="connsiteX4" fmla="*/ 239713 w 960438"/>
                <a:gd name="connsiteY4" fmla="*/ 2914650 h 2914650"/>
                <a:gd name="connsiteX5" fmla="*/ 960438 w 960438"/>
                <a:gd name="connsiteY5" fmla="*/ 2895600 h 2914650"/>
                <a:gd name="connsiteX6" fmla="*/ 950913 w 960438"/>
                <a:gd name="connsiteY6" fmla="*/ 2697162 h 2914650"/>
                <a:gd name="connsiteX7" fmla="*/ 446088 w 960438"/>
                <a:gd name="connsiteY7" fmla="*/ 2697162 h 2914650"/>
                <a:gd name="connsiteX8" fmla="*/ 239713 w 960438"/>
                <a:gd name="connsiteY8" fmla="*/ 2497138 h 2914650"/>
                <a:gd name="connsiteX9" fmla="*/ 207963 w 960438"/>
                <a:gd name="connsiteY9" fmla="*/ 466725 h 2914650"/>
                <a:gd name="connsiteX10" fmla="*/ 398463 w 960438"/>
                <a:gd name="connsiteY10" fmla="*/ 276225 h 2914650"/>
                <a:gd name="connsiteX11" fmla="*/ 912813 w 960438"/>
                <a:gd name="connsiteY11" fmla="*/ 285750 h 2914650"/>
                <a:gd name="connsiteX12" fmla="*/ 836613 w 960438"/>
                <a:gd name="connsiteY12" fmla="*/ 0 h 2914650"/>
                <a:gd name="connsiteX0" fmla="*/ 836613 w 960438"/>
                <a:gd name="connsiteY0" fmla="*/ 0 h 2914650"/>
                <a:gd name="connsiteX1" fmla="*/ 239713 w 960438"/>
                <a:gd name="connsiteY1" fmla="*/ 30163 h 2914650"/>
                <a:gd name="connsiteX2" fmla="*/ 6351 w 960438"/>
                <a:gd name="connsiteY2" fmla="*/ 392113 h 2914650"/>
                <a:gd name="connsiteX3" fmla="*/ 6351 w 960438"/>
                <a:gd name="connsiteY3" fmla="*/ 2497138 h 2914650"/>
                <a:gd name="connsiteX4" fmla="*/ 239713 w 960438"/>
                <a:gd name="connsiteY4" fmla="*/ 2914650 h 2914650"/>
                <a:gd name="connsiteX5" fmla="*/ 960438 w 960438"/>
                <a:gd name="connsiteY5" fmla="*/ 2895600 h 2914650"/>
                <a:gd name="connsiteX6" fmla="*/ 950913 w 960438"/>
                <a:gd name="connsiteY6" fmla="*/ 2697162 h 2914650"/>
                <a:gd name="connsiteX7" fmla="*/ 446088 w 960438"/>
                <a:gd name="connsiteY7" fmla="*/ 2697162 h 2914650"/>
                <a:gd name="connsiteX8" fmla="*/ 239713 w 960438"/>
                <a:gd name="connsiteY8" fmla="*/ 2497138 h 2914650"/>
                <a:gd name="connsiteX9" fmla="*/ 207963 w 960438"/>
                <a:gd name="connsiteY9" fmla="*/ 466725 h 2914650"/>
                <a:gd name="connsiteX10" fmla="*/ 398463 w 960438"/>
                <a:gd name="connsiteY10" fmla="*/ 276225 h 2914650"/>
                <a:gd name="connsiteX11" fmla="*/ 912813 w 960438"/>
                <a:gd name="connsiteY11" fmla="*/ 285750 h 2914650"/>
                <a:gd name="connsiteX12" fmla="*/ 836613 w 960438"/>
                <a:gd name="connsiteY12" fmla="*/ 0 h 2914650"/>
                <a:gd name="connsiteX0" fmla="*/ 836613 w 960438"/>
                <a:gd name="connsiteY0" fmla="*/ 0 h 2914650"/>
                <a:gd name="connsiteX1" fmla="*/ 239713 w 960438"/>
                <a:gd name="connsiteY1" fmla="*/ 30163 h 2914650"/>
                <a:gd name="connsiteX2" fmla="*/ 6351 w 960438"/>
                <a:gd name="connsiteY2" fmla="*/ 392113 h 2914650"/>
                <a:gd name="connsiteX3" fmla="*/ 6351 w 960438"/>
                <a:gd name="connsiteY3" fmla="*/ 2497138 h 2914650"/>
                <a:gd name="connsiteX4" fmla="*/ 360363 w 960438"/>
                <a:gd name="connsiteY4" fmla="*/ 2914650 h 2914650"/>
                <a:gd name="connsiteX5" fmla="*/ 960438 w 960438"/>
                <a:gd name="connsiteY5" fmla="*/ 2895600 h 2914650"/>
                <a:gd name="connsiteX6" fmla="*/ 950913 w 960438"/>
                <a:gd name="connsiteY6" fmla="*/ 2697162 h 2914650"/>
                <a:gd name="connsiteX7" fmla="*/ 446088 w 960438"/>
                <a:gd name="connsiteY7" fmla="*/ 2697162 h 2914650"/>
                <a:gd name="connsiteX8" fmla="*/ 239713 w 960438"/>
                <a:gd name="connsiteY8" fmla="*/ 2497138 h 2914650"/>
                <a:gd name="connsiteX9" fmla="*/ 207963 w 960438"/>
                <a:gd name="connsiteY9" fmla="*/ 466725 h 2914650"/>
                <a:gd name="connsiteX10" fmla="*/ 398463 w 960438"/>
                <a:gd name="connsiteY10" fmla="*/ 276225 h 2914650"/>
                <a:gd name="connsiteX11" fmla="*/ 912813 w 960438"/>
                <a:gd name="connsiteY11" fmla="*/ 285750 h 2914650"/>
                <a:gd name="connsiteX12" fmla="*/ 836613 w 960438"/>
                <a:gd name="connsiteY12" fmla="*/ 0 h 2914650"/>
                <a:gd name="connsiteX0" fmla="*/ 836613 w 960438"/>
                <a:gd name="connsiteY0" fmla="*/ 0 h 2921528"/>
                <a:gd name="connsiteX1" fmla="*/ 239713 w 960438"/>
                <a:gd name="connsiteY1" fmla="*/ 30163 h 2921528"/>
                <a:gd name="connsiteX2" fmla="*/ 6351 w 960438"/>
                <a:gd name="connsiteY2" fmla="*/ 392113 h 2921528"/>
                <a:gd name="connsiteX3" fmla="*/ 6351 w 960438"/>
                <a:gd name="connsiteY3" fmla="*/ 2497138 h 2921528"/>
                <a:gd name="connsiteX4" fmla="*/ 360363 w 960438"/>
                <a:gd name="connsiteY4" fmla="*/ 2914650 h 2921528"/>
                <a:gd name="connsiteX5" fmla="*/ 960438 w 960438"/>
                <a:gd name="connsiteY5" fmla="*/ 2895600 h 2921528"/>
                <a:gd name="connsiteX6" fmla="*/ 950913 w 960438"/>
                <a:gd name="connsiteY6" fmla="*/ 2697162 h 2921528"/>
                <a:gd name="connsiteX7" fmla="*/ 446088 w 960438"/>
                <a:gd name="connsiteY7" fmla="*/ 2697162 h 2921528"/>
                <a:gd name="connsiteX8" fmla="*/ 239713 w 960438"/>
                <a:gd name="connsiteY8" fmla="*/ 2497138 h 2921528"/>
                <a:gd name="connsiteX9" fmla="*/ 207963 w 960438"/>
                <a:gd name="connsiteY9" fmla="*/ 466725 h 2921528"/>
                <a:gd name="connsiteX10" fmla="*/ 398463 w 960438"/>
                <a:gd name="connsiteY10" fmla="*/ 276225 h 2921528"/>
                <a:gd name="connsiteX11" fmla="*/ 912813 w 960438"/>
                <a:gd name="connsiteY11" fmla="*/ 285750 h 2921528"/>
                <a:gd name="connsiteX12" fmla="*/ 836613 w 960438"/>
                <a:gd name="connsiteY12" fmla="*/ 0 h 2921528"/>
                <a:gd name="connsiteX0" fmla="*/ 836613 w 960438"/>
                <a:gd name="connsiteY0" fmla="*/ 0 h 2921528"/>
                <a:gd name="connsiteX1" fmla="*/ 239713 w 960438"/>
                <a:gd name="connsiteY1" fmla="*/ 30163 h 2921528"/>
                <a:gd name="connsiteX2" fmla="*/ 6351 w 960438"/>
                <a:gd name="connsiteY2" fmla="*/ 392113 h 2921528"/>
                <a:gd name="connsiteX3" fmla="*/ 6351 w 960438"/>
                <a:gd name="connsiteY3" fmla="*/ 2497138 h 2921528"/>
                <a:gd name="connsiteX4" fmla="*/ 360363 w 960438"/>
                <a:gd name="connsiteY4" fmla="*/ 2914650 h 2921528"/>
                <a:gd name="connsiteX5" fmla="*/ 960438 w 960438"/>
                <a:gd name="connsiteY5" fmla="*/ 2895600 h 2921528"/>
                <a:gd name="connsiteX6" fmla="*/ 950913 w 960438"/>
                <a:gd name="connsiteY6" fmla="*/ 2697162 h 2921528"/>
                <a:gd name="connsiteX7" fmla="*/ 579438 w 960438"/>
                <a:gd name="connsiteY7" fmla="*/ 2697162 h 2921528"/>
                <a:gd name="connsiteX8" fmla="*/ 239713 w 960438"/>
                <a:gd name="connsiteY8" fmla="*/ 2497138 h 2921528"/>
                <a:gd name="connsiteX9" fmla="*/ 207963 w 960438"/>
                <a:gd name="connsiteY9" fmla="*/ 466725 h 2921528"/>
                <a:gd name="connsiteX10" fmla="*/ 398463 w 960438"/>
                <a:gd name="connsiteY10" fmla="*/ 276225 h 2921528"/>
                <a:gd name="connsiteX11" fmla="*/ 912813 w 960438"/>
                <a:gd name="connsiteY11" fmla="*/ 285750 h 2921528"/>
                <a:gd name="connsiteX12" fmla="*/ 836613 w 960438"/>
                <a:gd name="connsiteY12" fmla="*/ 0 h 2921528"/>
                <a:gd name="connsiteX0" fmla="*/ 836613 w 960438"/>
                <a:gd name="connsiteY0" fmla="*/ 0 h 2921528"/>
                <a:gd name="connsiteX1" fmla="*/ 239713 w 960438"/>
                <a:gd name="connsiteY1" fmla="*/ 30163 h 2921528"/>
                <a:gd name="connsiteX2" fmla="*/ 6351 w 960438"/>
                <a:gd name="connsiteY2" fmla="*/ 392113 h 2921528"/>
                <a:gd name="connsiteX3" fmla="*/ 6351 w 960438"/>
                <a:gd name="connsiteY3" fmla="*/ 2497138 h 2921528"/>
                <a:gd name="connsiteX4" fmla="*/ 360363 w 960438"/>
                <a:gd name="connsiteY4" fmla="*/ 2914650 h 2921528"/>
                <a:gd name="connsiteX5" fmla="*/ 960438 w 960438"/>
                <a:gd name="connsiteY5" fmla="*/ 2895600 h 2921528"/>
                <a:gd name="connsiteX6" fmla="*/ 950913 w 960438"/>
                <a:gd name="connsiteY6" fmla="*/ 2697162 h 2921528"/>
                <a:gd name="connsiteX7" fmla="*/ 579438 w 960438"/>
                <a:gd name="connsiteY7" fmla="*/ 2697162 h 2921528"/>
                <a:gd name="connsiteX8" fmla="*/ 239713 w 960438"/>
                <a:gd name="connsiteY8" fmla="*/ 2497138 h 2921528"/>
                <a:gd name="connsiteX9" fmla="*/ 207963 w 960438"/>
                <a:gd name="connsiteY9" fmla="*/ 466725 h 2921528"/>
                <a:gd name="connsiteX10" fmla="*/ 398463 w 960438"/>
                <a:gd name="connsiteY10" fmla="*/ 276225 h 2921528"/>
                <a:gd name="connsiteX11" fmla="*/ 912813 w 960438"/>
                <a:gd name="connsiteY11" fmla="*/ 285750 h 2921528"/>
                <a:gd name="connsiteX12" fmla="*/ 836613 w 960438"/>
                <a:gd name="connsiteY12" fmla="*/ 0 h 2921528"/>
                <a:gd name="connsiteX0" fmla="*/ 836613 w 960438"/>
                <a:gd name="connsiteY0" fmla="*/ 0 h 2921528"/>
                <a:gd name="connsiteX1" fmla="*/ 379413 w 960438"/>
                <a:gd name="connsiteY1" fmla="*/ 30162 h 2921528"/>
                <a:gd name="connsiteX2" fmla="*/ 6351 w 960438"/>
                <a:gd name="connsiteY2" fmla="*/ 392113 h 2921528"/>
                <a:gd name="connsiteX3" fmla="*/ 6351 w 960438"/>
                <a:gd name="connsiteY3" fmla="*/ 2497138 h 2921528"/>
                <a:gd name="connsiteX4" fmla="*/ 360363 w 960438"/>
                <a:gd name="connsiteY4" fmla="*/ 2914650 h 2921528"/>
                <a:gd name="connsiteX5" fmla="*/ 960438 w 960438"/>
                <a:gd name="connsiteY5" fmla="*/ 2895600 h 2921528"/>
                <a:gd name="connsiteX6" fmla="*/ 950913 w 960438"/>
                <a:gd name="connsiteY6" fmla="*/ 2697162 h 2921528"/>
                <a:gd name="connsiteX7" fmla="*/ 579438 w 960438"/>
                <a:gd name="connsiteY7" fmla="*/ 2697162 h 2921528"/>
                <a:gd name="connsiteX8" fmla="*/ 239713 w 960438"/>
                <a:gd name="connsiteY8" fmla="*/ 2497138 h 2921528"/>
                <a:gd name="connsiteX9" fmla="*/ 207963 w 960438"/>
                <a:gd name="connsiteY9" fmla="*/ 466725 h 2921528"/>
                <a:gd name="connsiteX10" fmla="*/ 398463 w 960438"/>
                <a:gd name="connsiteY10" fmla="*/ 276225 h 2921528"/>
                <a:gd name="connsiteX11" fmla="*/ 912813 w 960438"/>
                <a:gd name="connsiteY11" fmla="*/ 285750 h 2921528"/>
                <a:gd name="connsiteX12" fmla="*/ 836613 w 960438"/>
                <a:gd name="connsiteY12" fmla="*/ 0 h 2921528"/>
                <a:gd name="connsiteX0" fmla="*/ 836613 w 960438"/>
                <a:gd name="connsiteY0" fmla="*/ 0 h 2921528"/>
                <a:gd name="connsiteX1" fmla="*/ 379413 w 960438"/>
                <a:gd name="connsiteY1" fmla="*/ 30162 h 2921528"/>
                <a:gd name="connsiteX2" fmla="*/ 6351 w 960438"/>
                <a:gd name="connsiteY2" fmla="*/ 392113 h 2921528"/>
                <a:gd name="connsiteX3" fmla="*/ 6351 w 960438"/>
                <a:gd name="connsiteY3" fmla="*/ 2497138 h 2921528"/>
                <a:gd name="connsiteX4" fmla="*/ 360363 w 960438"/>
                <a:gd name="connsiteY4" fmla="*/ 2914650 h 2921528"/>
                <a:gd name="connsiteX5" fmla="*/ 960438 w 960438"/>
                <a:gd name="connsiteY5" fmla="*/ 2895600 h 2921528"/>
                <a:gd name="connsiteX6" fmla="*/ 950913 w 960438"/>
                <a:gd name="connsiteY6" fmla="*/ 2697162 h 2921528"/>
                <a:gd name="connsiteX7" fmla="*/ 579438 w 960438"/>
                <a:gd name="connsiteY7" fmla="*/ 2697162 h 2921528"/>
                <a:gd name="connsiteX8" fmla="*/ 239713 w 960438"/>
                <a:gd name="connsiteY8" fmla="*/ 2497138 h 2921528"/>
                <a:gd name="connsiteX9" fmla="*/ 207963 w 960438"/>
                <a:gd name="connsiteY9" fmla="*/ 466725 h 2921528"/>
                <a:gd name="connsiteX10" fmla="*/ 608013 w 960438"/>
                <a:gd name="connsiteY10" fmla="*/ 258762 h 2921528"/>
                <a:gd name="connsiteX11" fmla="*/ 912813 w 960438"/>
                <a:gd name="connsiteY11" fmla="*/ 285750 h 2921528"/>
                <a:gd name="connsiteX12" fmla="*/ 836613 w 960438"/>
                <a:gd name="connsiteY12" fmla="*/ 0 h 2921528"/>
                <a:gd name="connsiteX0" fmla="*/ 836613 w 960438"/>
                <a:gd name="connsiteY0" fmla="*/ 0 h 2921528"/>
                <a:gd name="connsiteX1" fmla="*/ 379413 w 960438"/>
                <a:gd name="connsiteY1" fmla="*/ 30162 h 2921528"/>
                <a:gd name="connsiteX2" fmla="*/ 6351 w 960438"/>
                <a:gd name="connsiteY2" fmla="*/ 392113 h 2921528"/>
                <a:gd name="connsiteX3" fmla="*/ 6351 w 960438"/>
                <a:gd name="connsiteY3" fmla="*/ 2497138 h 2921528"/>
                <a:gd name="connsiteX4" fmla="*/ 360363 w 960438"/>
                <a:gd name="connsiteY4" fmla="*/ 2914650 h 2921528"/>
                <a:gd name="connsiteX5" fmla="*/ 960438 w 960438"/>
                <a:gd name="connsiteY5" fmla="*/ 2895600 h 2921528"/>
                <a:gd name="connsiteX6" fmla="*/ 950913 w 960438"/>
                <a:gd name="connsiteY6" fmla="*/ 2697162 h 2921528"/>
                <a:gd name="connsiteX7" fmla="*/ 579438 w 960438"/>
                <a:gd name="connsiteY7" fmla="*/ 2697162 h 2921528"/>
                <a:gd name="connsiteX8" fmla="*/ 239713 w 960438"/>
                <a:gd name="connsiteY8" fmla="*/ 2497138 h 2921528"/>
                <a:gd name="connsiteX9" fmla="*/ 207963 w 960438"/>
                <a:gd name="connsiteY9" fmla="*/ 466725 h 2921528"/>
                <a:gd name="connsiteX10" fmla="*/ 608013 w 960438"/>
                <a:gd name="connsiteY10" fmla="*/ 258762 h 2921528"/>
                <a:gd name="connsiteX11" fmla="*/ 912813 w 960438"/>
                <a:gd name="connsiteY11" fmla="*/ 285750 h 2921528"/>
                <a:gd name="connsiteX12" fmla="*/ 836613 w 960438"/>
                <a:gd name="connsiteY12" fmla="*/ 0 h 2921528"/>
                <a:gd name="connsiteX0" fmla="*/ 836613 w 960438"/>
                <a:gd name="connsiteY0" fmla="*/ 0 h 2921528"/>
                <a:gd name="connsiteX1" fmla="*/ 379413 w 960438"/>
                <a:gd name="connsiteY1" fmla="*/ 30162 h 2921528"/>
                <a:gd name="connsiteX2" fmla="*/ 6351 w 960438"/>
                <a:gd name="connsiteY2" fmla="*/ 392113 h 2921528"/>
                <a:gd name="connsiteX3" fmla="*/ 6351 w 960438"/>
                <a:gd name="connsiteY3" fmla="*/ 2497138 h 2921528"/>
                <a:gd name="connsiteX4" fmla="*/ 360363 w 960438"/>
                <a:gd name="connsiteY4" fmla="*/ 2914650 h 2921528"/>
                <a:gd name="connsiteX5" fmla="*/ 960438 w 960438"/>
                <a:gd name="connsiteY5" fmla="*/ 2895600 h 2921528"/>
                <a:gd name="connsiteX6" fmla="*/ 950913 w 960438"/>
                <a:gd name="connsiteY6" fmla="*/ 2697162 h 2921528"/>
                <a:gd name="connsiteX7" fmla="*/ 579438 w 960438"/>
                <a:gd name="connsiteY7" fmla="*/ 2697162 h 2921528"/>
                <a:gd name="connsiteX8" fmla="*/ 239713 w 960438"/>
                <a:gd name="connsiteY8" fmla="*/ 2497138 h 2921528"/>
                <a:gd name="connsiteX9" fmla="*/ 207963 w 960438"/>
                <a:gd name="connsiteY9" fmla="*/ 466725 h 2921528"/>
                <a:gd name="connsiteX10" fmla="*/ 608013 w 960438"/>
                <a:gd name="connsiteY10" fmla="*/ 258762 h 2921528"/>
                <a:gd name="connsiteX11" fmla="*/ 836613 w 960438"/>
                <a:gd name="connsiteY11" fmla="*/ 0 h 2921528"/>
                <a:gd name="connsiteX0" fmla="*/ 836613 w 960438"/>
                <a:gd name="connsiteY0" fmla="*/ 0 h 2921528"/>
                <a:gd name="connsiteX1" fmla="*/ 379413 w 960438"/>
                <a:gd name="connsiteY1" fmla="*/ 30162 h 2921528"/>
                <a:gd name="connsiteX2" fmla="*/ 6351 w 960438"/>
                <a:gd name="connsiteY2" fmla="*/ 392113 h 2921528"/>
                <a:gd name="connsiteX3" fmla="*/ 6351 w 960438"/>
                <a:gd name="connsiteY3" fmla="*/ 2497138 h 2921528"/>
                <a:gd name="connsiteX4" fmla="*/ 360363 w 960438"/>
                <a:gd name="connsiteY4" fmla="*/ 2914650 h 2921528"/>
                <a:gd name="connsiteX5" fmla="*/ 960438 w 960438"/>
                <a:gd name="connsiteY5" fmla="*/ 2895600 h 2921528"/>
                <a:gd name="connsiteX6" fmla="*/ 950913 w 960438"/>
                <a:gd name="connsiteY6" fmla="*/ 2697162 h 2921528"/>
                <a:gd name="connsiteX7" fmla="*/ 579438 w 960438"/>
                <a:gd name="connsiteY7" fmla="*/ 2697162 h 2921528"/>
                <a:gd name="connsiteX8" fmla="*/ 239713 w 960438"/>
                <a:gd name="connsiteY8" fmla="*/ 2497138 h 2921528"/>
                <a:gd name="connsiteX9" fmla="*/ 207963 w 960438"/>
                <a:gd name="connsiteY9" fmla="*/ 466725 h 2921528"/>
                <a:gd name="connsiteX10" fmla="*/ 827088 w 960438"/>
                <a:gd name="connsiteY10" fmla="*/ 258762 h 2921528"/>
                <a:gd name="connsiteX11" fmla="*/ 836613 w 960438"/>
                <a:gd name="connsiteY11" fmla="*/ 0 h 2921528"/>
                <a:gd name="connsiteX0" fmla="*/ 836613 w 960438"/>
                <a:gd name="connsiteY0" fmla="*/ 0 h 2921528"/>
                <a:gd name="connsiteX1" fmla="*/ 379413 w 960438"/>
                <a:gd name="connsiteY1" fmla="*/ 30162 h 2921528"/>
                <a:gd name="connsiteX2" fmla="*/ 6351 w 960438"/>
                <a:gd name="connsiteY2" fmla="*/ 392113 h 2921528"/>
                <a:gd name="connsiteX3" fmla="*/ 6351 w 960438"/>
                <a:gd name="connsiteY3" fmla="*/ 2497138 h 2921528"/>
                <a:gd name="connsiteX4" fmla="*/ 360363 w 960438"/>
                <a:gd name="connsiteY4" fmla="*/ 2914650 h 2921528"/>
                <a:gd name="connsiteX5" fmla="*/ 960438 w 960438"/>
                <a:gd name="connsiteY5" fmla="*/ 2895600 h 2921528"/>
                <a:gd name="connsiteX6" fmla="*/ 950913 w 960438"/>
                <a:gd name="connsiteY6" fmla="*/ 2697162 h 2921528"/>
                <a:gd name="connsiteX7" fmla="*/ 579438 w 960438"/>
                <a:gd name="connsiteY7" fmla="*/ 2697162 h 2921528"/>
                <a:gd name="connsiteX8" fmla="*/ 239713 w 960438"/>
                <a:gd name="connsiteY8" fmla="*/ 2497138 h 2921528"/>
                <a:gd name="connsiteX9" fmla="*/ 207963 w 960438"/>
                <a:gd name="connsiteY9" fmla="*/ 466725 h 2921528"/>
                <a:gd name="connsiteX10" fmla="*/ 550863 w 960438"/>
                <a:gd name="connsiteY10" fmla="*/ 258762 h 2921528"/>
                <a:gd name="connsiteX11" fmla="*/ 827088 w 960438"/>
                <a:gd name="connsiteY11" fmla="*/ 258762 h 2921528"/>
                <a:gd name="connsiteX12" fmla="*/ 836613 w 960438"/>
                <a:gd name="connsiteY12" fmla="*/ 0 h 2921528"/>
                <a:gd name="connsiteX0" fmla="*/ 836613 w 960438"/>
                <a:gd name="connsiteY0" fmla="*/ 0 h 2921528"/>
                <a:gd name="connsiteX1" fmla="*/ 379413 w 960438"/>
                <a:gd name="connsiteY1" fmla="*/ 30162 h 2921528"/>
                <a:gd name="connsiteX2" fmla="*/ 6351 w 960438"/>
                <a:gd name="connsiteY2" fmla="*/ 392113 h 2921528"/>
                <a:gd name="connsiteX3" fmla="*/ 6351 w 960438"/>
                <a:gd name="connsiteY3" fmla="*/ 2497138 h 2921528"/>
                <a:gd name="connsiteX4" fmla="*/ 360363 w 960438"/>
                <a:gd name="connsiteY4" fmla="*/ 2914650 h 2921528"/>
                <a:gd name="connsiteX5" fmla="*/ 960438 w 960438"/>
                <a:gd name="connsiteY5" fmla="*/ 2895600 h 2921528"/>
                <a:gd name="connsiteX6" fmla="*/ 950913 w 960438"/>
                <a:gd name="connsiteY6" fmla="*/ 2697162 h 2921528"/>
                <a:gd name="connsiteX7" fmla="*/ 579438 w 960438"/>
                <a:gd name="connsiteY7" fmla="*/ 2697162 h 2921528"/>
                <a:gd name="connsiteX8" fmla="*/ 239713 w 960438"/>
                <a:gd name="connsiteY8" fmla="*/ 2497138 h 2921528"/>
                <a:gd name="connsiteX9" fmla="*/ 207963 w 960438"/>
                <a:gd name="connsiteY9" fmla="*/ 466725 h 2921528"/>
                <a:gd name="connsiteX10" fmla="*/ 550863 w 960438"/>
                <a:gd name="connsiteY10" fmla="*/ 258762 h 2921528"/>
                <a:gd name="connsiteX11" fmla="*/ 827088 w 960438"/>
                <a:gd name="connsiteY11" fmla="*/ 258762 h 2921528"/>
                <a:gd name="connsiteX12" fmla="*/ 836613 w 960438"/>
                <a:gd name="connsiteY12" fmla="*/ 0 h 2921528"/>
                <a:gd name="connsiteX0" fmla="*/ 836613 w 960438"/>
                <a:gd name="connsiteY0" fmla="*/ 0 h 2921528"/>
                <a:gd name="connsiteX1" fmla="*/ 379413 w 960438"/>
                <a:gd name="connsiteY1" fmla="*/ 30162 h 2921528"/>
                <a:gd name="connsiteX2" fmla="*/ 6351 w 960438"/>
                <a:gd name="connsiteY2" fmla="*/ 392113 h 2921528"/>
                <a:gd name="connsiteX3" fmla="*/ 6351 w 960438"/>
                <a:gd name="connsiteY3" fmla="*/ 2497138 h 2921528"/>
                <a:gd name="connsiteX4" fmla="*/ 360363 w 960438"/>
                <a:gd name="connsiteY4" fmla="*/ 2914650 h 2921528"/>
                <a:gd name="connsiteX5" fmla="*/ 960438 w 960438"/>
                <a:gd name="connsiteY5" fmla="*/ 2895600 h 2921528"/>
                <a:gd name="connsiteX6" fmla="*/ 950913 w 960438"/>
                <a:gd name="connsiteY6" fmla="*/ 2697162 h 2921528"/>
                <a:gd name="connsiteX7" fmla="*/ 579438 w 960438"/>
                <a:gd name="connsiteY7" fmla="*/ 2697162 h 2921528"/>
                <a:gd name="connsiteX8" fmla="*/ 239713 w 960438"/>
                <a:gd name="connsiteY8" fmla="*/ 2497138 h 2921528"/>
                <a:gd name="connsiteX9" fmla="*/ 207963 w 960438"/>
                <a:gd name="connsiteY9" fmla="*/ 466725 h 2921528"/>
                <a:gd name="connsiteX10" fmla="*/ 550863 w 960438"/>
                <a:gd name="connsiteY10" fmla="*/ 258762 h 2921528"/>
                <a:gd name="connsiteX11" fmla="*/ 827088 w 960438"/>
                <a:gd name="connsiteY11" fmla="*/ 258762 h 2921528"/>
                <a:gd name="connsiteX12" fmla="*/ 836613 w 960438"/>
                <a:gd name="connsiteY12" fmla="*/ 0 h 2921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60438" h="2921528">
                  <a:moveTo>
                    <a:pt x="836613" y="0"/>
                  </a:moveTo>
                  <a:lnTo>
                    <a:pt x="379413" y="30162"/>
                  </a:lnTo>
                  <a:cubicBezTo>
                    <a:pt x="250826" y="25399"/>
                    <a:pt x="0" y="107950"/>
                    <a:pt x="6351" y="392113"/>
                  </a:cubicBezTo>
                  <a:lnTo>
                    <a:pt x="6351" y="2497138"/>
                  </a:lnTo>
                  <a:cubicBezTo>
                    <a:pt x="1587" y="2826808"/>
                    <a:pt x="152401" y="2921528"/>
                    <a:pt x="360363" y="2914650"/>
                  </a:cubicBezTo>
                  <a:lnTo>
                    <a:pt x="960438" y="2895600"/>
                  </a:lnTo>
                  <a:lnTo>
                    <a:pt x="950913" y="2697162"/>
                  </a:lnTo>
                  <a:lnTo>
                    <a:pt x="579438" y="2697162"/>
                  </a:lnTo>
                  <a:cubicBezTo>
                    <a:pt x="383646" y="2684461"/>
                    <a:pt x="295805" y="2705100"/>
                    <a:pt x="239713" y="2497138"/>
                  </a:cubicBezTo>
                  <a:lnTo>
                    <a:pt x="207963" y="466725"/>
                  </a:lnTo>
                  <a:cubicBezTo>
                    <a:pt x="253471" y="190235"/>
                    <a:pt x="457201" y="282309"/>
                    <a:pt x="550863" y="258762"/>
                  </a:cubicBezTo>
                  <a:cubicBezTo>
                    <a:pt x="654050" y="224102"/>
                    <a:pt x="795338" y="295274"/>
                    <a:pt x="827088" y="258762"/>
                  </a:cubicBezTo>
                  <a:cubicBezTo>
                    <a:pt x="931863" y="180975"/>
                    <a:pt x="874713" y="38100"/>
                    <a:pt x="836613" y="0"/>
                  </a:cubicBezTo>
                  <a:close/>
                </a:path>
              </a:pathLst>
            </a:custGeom>
            <a:solidFill>
              <a:schemeClr val="tx2">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90" name="Freeform 389"/>
          <p:cNvSpPr/>
          <p:nvPr/>
        </p:nvSpPr>
        <p:spPr>
          <a:xfrm>
            <a:off x="3781669" y="5495925"/>
            <a:ext cx="202958" cy="193886"/>
          </a:xfrm>
          <a:custGeom>
            <a:avLst/>
            <a:gdLst>
              <a:gd name="connsiteX0" fmla="*/ 0 w 4202207"/>
              <a:gd name="connsiteY0" fmla="*/ 2101104 h 4202207"/>
              <a:gd name="connsiteX1" fmla="*/ 615401 w 4202207"/>
              <a:gd name="connsiteY1" fmla="*/ 615399 h 4202207"/>
              <a:gd name="connsiteX2" fmla="*/ 2101107 w 4202207"/>
              <a:gd name="connsiteY2" fmla="*/ 2 h 4202207"/>
              <a:gd name="connsiteX3" fmla="*/ 3586812 w 4202207"/>
              <a:gd name="connsiteY3" fmla="*/ 615403 h 4202207"/>
              <a:gd name="connsiteX4" fmla="*/ 4202209 w 4202207"/>
              <a:gd name="connsiteY4" fmla="*/ 2101109 h 4202207"/>
              <a:gd name="connsiteX5" fmla="*/ 3586809 w 4202207"/>
              <a:gd name="connsiteY5" fmla="*/ 3586814 h 4202207"/>
              <a:gd name="connsiteX6" fmla="*/ 2101103 w 4202207"/>
              <a:gd name="connsiteY6" fmla="*/ 4202213 h 4202207"/>
              <a:gd name="connsiteX7" fmla="*/ 615398 w 4202207"/>
              <a:gd name="connsiteY7" fmla="*/ 3586813 h 4202207"/>
              <a:gd name="connsiteX8" fmla="*/ 0 w 4202207"/>
              <a:gd name="connsiteY8" fmla="*/ 2101107 h 4202207"/>
              <a:gd name="connsiteX9" fmla="*/ 0 w 4202207"/>
              <a:gd name="connsiteY9" fmla="*/ 2101104 h 4202207"/>
              <a:gd name="connsiteX10" fmla="*/ 1050552 w 4202207"/>
              <a:gd name="connsiteY10" fmla="*/ 2101104 h 4202207"/>
              <a:gd name="connsiteX11" fmla="*/ 2101103 w 4202207"/>
              <a:gd name="connsiteY11" fmla="*/ 3151657 h 4202207"/>
              <a:gd name="connsiteX12" fmla="*/ 3151656 w 4202207"/>
              <a:gd name="connsiteY12" fmla="*/ 2101106 h 4202207"/>
              <a:gd name="connsiteX13" fmla="*/ 2101104 w 4202207"/>
              <a:gd name="connsiteY13" fmla="*/ 1050554 h 4202207"/>
              <a:gd name="connsiteX14" fmla="*/ 1050551 w 4202207"/>
              <a:gd name="connsiteY14" fmla="*/ 2101105 h 4202207"/>
              <a:gd name="connsiteX15" fmla="*/ 1050552 w 4202207"/>
              <a:gd name="connsiteY15" fmla="*/ 2101104 h 4202207"/>
              <a:gd name="connsiteX0" fmla="*/ 0 w 4202210"/>
              <a:gd name="connsiteY0" fmla="*/ 2266537 h 4367646"/>
              <a:gd name="connsiteX1" fmla="*/ 1093073 w 4202210"/>
              <a:gd name="connsiteY1" fmla="*/ 394033 h 4367646"/>
              <a:gd name="connsiteX2" fmla="*/ 2101107 w 4202210"/>
              <a:gd name="connsiteY2" fmla="*/ 165435 h 4367646"/>
              <a:gd name="connsiteX3" fmla="*/ 3586812 w 4202210"/>
              <a:gd name="connsiteY3" fmla="*/ 780836 h 4367646"/>
              <a:gd name="connsiteX4" fmla="*/ 4202209 w 4202210"/>
              <a:gd name="connsiteY4" fmla="*/ 2266542 h 4367646"/>
              <a:gd name="connsiteX5" fmla="*/ 3586809 w 4202210"/>
              <a:gd name="connsiteY5" fmla="*/ 3752247 h 4367646"/>
              <a:gd name="connsiteX6" fmla="*/ 2101103 w 4202210"/>
              <a:gd name="connsiteY6" fmla="*/ 4367646 h 4367646"/>
              <a:gd name="connsiteX7" fmla="*/ 615398 w 4202210"/>
              <a:gd name="connsiteY7" fmla="*/ 3752246 h 4367646"/>
              <a:gd name="connsiteX8" fmla="*/ 0 w 4202210"/>
              <a:gd name="connsiteY8" fmla="*/ 2266540 h 4367646"/>
              <a:gd name="connsiteX9" fmla="*/ 0 w 4202210"/>
              <a:gd name="connsiteY9" fmla="*/ 2266537 h 4367646"/>
              <a:gd name="connsiteX10" fmla="*/ 1050552 w 4202210"/>
              <a:gd name="connsiteY10" fmla="*/ 2266537 h 4367646"/>
              <a:gd name="connsiteX11" fmla="*/ 2101103 w 4202210"/>
              <a:gd name="connsiteY11" fmla="*/ 3317090 h 4367646"/>
              <a:gd name="connsiteX12" fmla="*/ 3151656 w 4202210"/>
              <a:gd name="connsiteY12" fmla="*/ 2266539 h 4367646"/>
              <a:gd name="connsiteX13" fmla="*/ 2101104 w 4202210"/>
              <a:gd name="connsiteY13" fmla="*/ 1215987 h 4367646"/>
              <a:gd name="connsiteX14" fmla="*/ 1050551 w 4202210"/>
              <a:gd name="connsiteY14" fmla="*/ 2266538 h 4367646"/>
              <a:gd name="connsiteX15" fmla="*/ 1050552 w 4202210"/>
              <a:gd name="connsiteY15" fmla="*/ 2266537 h 4367646"/>
              <a:gd name="connsiteX0" fmla="*/ 0 w 4202210"/>
              <a:gd name="connsiteY0" fmla="*/ 2045484 h 4146593"/>
              <a:gd name="connsiteX1" fmla="*/ 1093073 w 4202210"/>
              <a:gd name="connsiteY1" fmla="*/ 172980 h 4146593"/>
              <a:gd name="connsiteX2" fmla="*/ 1391423 w 4202210"/>
              <a:gd name="connsiteY2" fmla="*/ 1007604 h 4146593"/>
              <a:gd name="connsiteX3" fmla="*/ 3586812 w 4202210"/>
              <a:gd name="connsiteY3" fmla="*/ 559783 h 4146593"/>
              <a:gd name="connsiteX4" fmla="*/ 4202209 w 4202210"/>
              <a:gd name="connsiteY4" fmla="*/ 2045489 h 4146593"/>
              <a:gd name="connsiteX5" fmla="*/ 3586809 w 4202210"/>
              <a:gd name="connsiteY5" fmla="*/ 3531194 h 4146593"/>
              <a:gd name="connsiteX6" fmla="*/ 2101103 w 4202210"/>
              <a:gd name="connsiteY6" fmla="*/ 4146593 h 4146593"/>
              <a:gd name="connsiteX7" fmla="*/ 615398 w 4202210"/>
              <a:gd name="connsiteY7" fmla="*/ 3531193 h 4146593"/>
              <a:gd name="connsiteX8" fmla="*/ 0 w 4202210"/>
              <a:gd name="connsiteY8" fmla="*/ 2045487 h 4146593"/>
              <a:gd name="connsiteX9" fmla="*/ 0 w 4202210"/>
              <a:gd name="connsiteY9" fmla="*/ 2045484 h 4146593"/>
              <a:gd name="connsiteX10" fmla="*/ 1050552 w 4202210"/>
              <a:gd name="connsiteY10" fmla="*/ 2045484 h 4146593"/>
              <a:gd name="connsiteX11" fmla="*/ 2101103 w 4202210"/>
              <a:gd name="connsiteY11" fmla="*/ 3096037 h 4146593"/>
              <a:gd name="connsiteX12" fmla="*/ 3151656 w 4202210"/>
              <a:gd name="connsiteY12" fmla="*/ 2045486 h 4146593"/>
              <a:gd name="connsiteX13" fmla="*/ 2101104 w 4202210"/>
              <a:gd name="connsiteY13" fmla="*/ 994934 h 4146593"/>
              <a:gd name="connsiteX14" fmla="*/ 1050551 w 4202210"/>
              <a:gd name="connsiteY14" fmla="*/ 2045485 h 4146593"/>
              <a:gd name="connsiteX15" fmla="*/ 1050552 w 4202210"/>
              <a:gd name="connsiteY15" fmla="*/ 2045484 h 4146593"/>
              <a:gd name="connsiteX0" fmla="*/ 0 w 4202210"/>
              <a:gd name="connsiteY0" fmla="*/ 3378048 h 5479157"/>
              <a:gd name="connsiteX1" fmla="*/ 1093073 w 4202210"/>
              <a:gd name="connsiteY1" fmla="*/ 1505544 h 5479157"/>
              <a:gd name="connsiteX2" fmla="*/ 1391423 w 4202210"/>
              <a:gd name="connsiteY2" fmla="*/ 2340168 h 5479157"/>
              <a:gd name="connsiteX3" fmla="*/ 1963025 w 4202210"/>
              <a:gd name="connsiteY3" fmla="*/ 74637 h 5479157"/>
              <a:gd name="connsiteX4" fmla="*/ 3586812 w 4202210"/>
              <a:gd name="connsiteY4" fmla="*/ 1892347 h 5479157"/>
              <a:gd name="connsiteX5" fmla="*/ 4202209 w 4202210"/>
              <a:gd name="connsiteY5" fmla="*/ 3378053 h 5479157"/>
              <a:gd name="connsiteX6" fmla="*/ 3586809 w 4202210"/>
              <a:gd name="connsiteY6" fmla="*/ 4863758 h 5479157"/>
              <a:gd name="connsiteX7" fmla="*/ 2101103 w 4202210"/>
              <a:gd name="connsiteY7" fmla="*/ 5479157 h 5479157"/>
              <a:gd name="connsiteX8" fmla="*/ 615398 w 4202210"/>
              <a:gd name="connsiteY8" fmla="*/ 4863757 h 5479157"/>
              <a:gd name="connsiteX9" fmla="*/ 0 w 4202210"/>
              <a:gd name="connsiteY9" fmla="*/ 3378051 h 5479157"/>
              <a:gd name="connsiteX10" fmla="*/ 0 w 4202210"/>
              <a:gd name="connsiteY10" fmla="*/ 3378048 h 5479157"/>
              <a:gd name="connsiteX11" fmla="*/ 1050552 w 4202210"/>
              <a:gd name="connsiteY11" fmla="*/ 3378048 h 5479157"/>
              <a:gd name="connsiteX12" fmla="*/ 2101103 w 4202210"/>
              <a:gd name="connsiteY12" fmla="*/ 4428601 h 5479157"/>
              <a:gd name="connsiteX13" fmla="*/ 3151656 w 4202210"/>
              <a:gd name="connsiteY13" fmla="*/ 3378050 h 5479157"/>
              <a:gd name="connsiteX14" fmla="*/ 2101104 w 4202210"/>
              <a:gd name="connsiteY14" fmla="*/ 2327498 h 5479157"/>
              <a:gd name="connsiteX15" fmla="*/ 1050551 w 4202210"/>
              <a:gd name="connsiteY15" fmla="*/ 3378049 h 5479157"/>
              <a:gd name="connsiteX16" fmla="*/ 1050552 w 4202210"/>
              <a:gd name="connsiteY16" fmla="*/ 3378048 h 5479157"/>
              <a:gd name="connsiteX0" fmla="*/ 0 w 4202210"/>
              <a:gd name="connsiteY0" fmla="*/ 3335038 h 5436147"/>
              <a:gd name="connsiteX1" fmla="*/ 1093073 w 4202210"/>
              <a:gd name="connsiteY1" fmla="*/ 1462534 h 5436147"/>
              <a:gd name="connsiteX2" fmla="*/ 1391423 w 4202210"/>
              <a:gd name="connsiteY2" fmla="*/ 2297158 h 5436147"/>
              <a:gd name="connsiteX3" fmla="*/ 1963025 w 4202210"/>
              <a:gd name="connsiteY3" fmla="*/ 31627 h 5436147"/>
              <a:gd name="connsiteX4" fmla="*/ 2664914 w 4202210"/>
              <a:gd name="connsiteY4" fmla="*/ 2486921 h 5436147"/>
              <a:gd name="connsiteX5" fmla="*/ 3586812 w 4202210"/>
              <a:gd name="connsiteY5" fmla="*/ 1849337 h 5436147"/>
              <a:gd name="connsiteX6" fmla="*/ 4202209 w 4202210"/>
              <a:gd name="connsiteY6" fmla="*/ 3335043 h 5436147"/>
              <a:gd name="connsiteX7" fmla="*/ 3586809 w 4202210"/>
              <a:gd name="connsiteY7" fmla="*/ 4820748 h 5436147"/>
              <a:gd name="connsiteX8" fmla="*/ 2101103 w 4202210"/>
              <a:gd name="connsiteY8" fmla="*/ 5436147 h 5436147"/>
              <a:gd name="connsiteX9" fmla="*/ 615398 w 4202210"/>
              <a:gd name="connsiteY9" fmla="*/ 4820747 h 5436147"/>
              <a:gd name="connsiteX10" fmla="*/ 0 w 4202210"/>
              <a:gd name="connsiteY10" fmla="*/ 3335041 h 5436147"/>
              <a:gd name="connsiteX11" fmla="*/ 0 w 4202210"/>
              <a:gd name="connsiteY11" fmla="*/ 3335038 h 5436147"/>
              <a:gd name="connsiteX12" fmla="*/ 1050552 w 4202210"/>
              <a:gd name="connsiteY12" fmla="*/ 3335038 h 5436147"/>
              <a:gd name="connsiteX13" fmla="*/ 2101103 w 4202210"/>
              <a:gd name="connsiteY13" fmla="*/ 4385591 h 5436147"/>
              <a:gd name="connsiteX14" fmla="*/ 3151656 w 4202210"/>
              <a:gd name="connsiteY14" fmla="*/ 3335040 h 5436147"/>
              <a:gd name="connsiteX15" fmla="*/ 2101104 w 4202210"/>
              <a:gd name="connsiteY15" fmla="*/ 2284488 h 5436147"/>
              <a:gd name="connsiteX16" fmla="*/ 1050551 w 4202210"/>
              <a:gd name="connsiteY16" fmla="*/ 3335039 h 5436147"/>
              <a:gd name="connsiteX17" fmla="*/ 1050552 w 4202210"/>
              <a:gd name="connsiteY17" fmla="*/ 3335038 h 5436147"/>
              <a:gd name="connsiteX0" fmla="*/ 0 w 4202210"/>
              <a:gd name="connsiteY0" fmla="*/ 3335038 h 5436147"/>
              <a:gd name="connsiteX1" fmla="*/ 1093073 w 4202210"/>
              <a:gd name="connsiteY1" fmla="*/ 1462534 h 5436147"/>
              <a:gd name="connsiteX2" fmla="*/ 1391423 w 4202210"/>
              <a:gd name="connsiteY2" fmla="*/ 2297158 h 5436147"/>
              <a:gd name="connsiteX3" fmla="*/ 1963025 w 4202210"/>
              <a:gd name="connsiteY3" fmla="*/ 31627 h 5436147"/>
              <a:gd name="connsiteX4" fmla="*/ 2664914 w 4202210"/>
              <a:gd name="connsiteY4" fmla="*/ 2486921 h 5436147"/>
              <a:gd name="connsiteX5" fmla="*/ 2890776 w 4202210"/>
              <a:gd name="connsiteY5" fmla="*/ 1233934 h 5436147"/>
              <a:gd name="connsiteX6" fmla="*/ 4202209 w 4202210"/>
              <a:gd name="connsiteY6" fmla="*/ 3335043 h 5436147"/>
              <a:gd name="connsiteX7" fmla="*/ 3586809 w 4202210"/>
              <a:gd name="connsiteY7" fmla="*/ 4820748 h 5436147"/>
              <a:gd name="connsiteX8" fmla="*/ 2101103 w 4202210"/>
              <a:gd name="connsiteY8" fmla="*/ 5436147 h 5436147"/>
              <a:gd name="connsiteX9" fmla="*/ 615398 w 4202210"/>
              <a:gd name="connsiteY9" fmla="*/ 4820747 h 5436147"/>
              <a:gd name="connsiteX10" fmla="*/ 0 w 4202210"/>
              <a:gd name="connsiteY10" fmla="*/ 3335041 h 5436147"/>
              <a:gd name="connsiteX11" fmla="*/ 0 w 4202210"/>
              <a:gd name="connsiteY11" fmla="*/ 3335038 h 5436147"/>
              <a:gd name="connsiteX12" fmla="*/ 1050552 w 4202210"/>
              <a:gd name="connsiteY12" fmla="*/ 3335038 h 5436147"/>
              <a:gd name="connsiteX13" fmla="*/ 2101103 w 4202210"/>
              <a:gd name="connsiteY13" fmla="*/ 4385591 h 5436147"/>
              <a:gd name="connsiteX14" fmla="*/ 3151656 w 4202210"/>
              <a:gd name="connsiteY14" fmla="*/ 3335040 h 5436147"/>
              <a:gd name="connsiteX15" fmla="*/ 2101104 w 4202210"/>
              <a:gd name="connsiteY15" fmla="*/ 2284488 h 5436147"/>
              <a:gd name="connsiteX16" fmla="*/ 1050551 w 4202210"/>
              <a:gd name="connsiteY16" fmla="*/ 3335039 h 5436147"/>
              <a:gd name="connsiteX17" fmla="*/ 1050552 w 4202210"/>
              <a:gd name="connsiteY17" fmla="*/ 3335038 h 5436147"/>
              <a:gd name="connsiteX0" fmla="*/ 0 w 4202210"/>
              <a:gd name="connsiteY0" fmla="*/ 3335038 h 5683764"/>
              <a:gd name="connsiteX1" fmla="*/ 1093073 w 4202210"/>
              <a:gd name="connsiteY1" fmla="*/ 1462534 h 5683764"/>
              <a:gd name="connsiteX2" fmla="*/ 1391423 w 4202210"/>
              <a:gd name="connsiteY2" fmla="*/ 2297158 h 5683764"/>
              <a:gd name="connsiteX3" fmla="*/ 1963025 w 4202210"/>
              <a:gd name="connsiteY3" fmla="*/ 31627 h 5683764"/>
              <a:gd name="connsiteX4" fmla="*/ 2664914 w 4202210"/>
              <a:gd name="connsiteY4" fmla="*/ 2486921 h 5683764"/>
              <a:gd name="connsiteX5" fmla="*/ 2890776 w 4202210"/>
              <a:gd name="connsiteY5" fmla="*/ 1233934 h 5683764"/>
              <a:gd name="connsiteX6" fmla="*/ 4202209 w 4202210"/>
              <a:gd name="connsiteY6" fmla="*/ 3335043 h 5683764"/>
              <a:gd name="connsiteX7" fmla="*/ 2101103 w 4202210"/>
              <a:gd name="connsiteY7" fmla="*/ 5436147 h 5683764"/>
              <a:gd name="connsiteX8" fmla="*/ 615398 w 4202210"/>
              <a:gd name="connsiteY8" fmla="*/ 4820747 h 5683764"/>
              <a:gd name="connsiteX9" fmla="*/ 0 w 4202210"/>
              <a:gd name="connsiteY9" fmla="*/ 3335041 h 5683764"/>
              <a:gd name="connsiteX10" fmla="*/ 0 w 4202210"/>
              <a:gd name="connsiteY10" fmla="*/ 3335038 h 5683764"/>
              <a:gd name="connsiteX11" fmla="*/ 1050552 w 4202210"/>
              <a:gd name="connsiteY11" fmla="*/ 3335038 h 5683764"/>
              <a:gd name="connsiteX12" fmla="*/ 2101103 w 4202210"/>
              <a:gd name="connsiteY12" fmla="*/ 4385591 h 5683764"/>
              <a:gd name="connsiteX13" fmla="*/ 3151656 w 4202210"/>
              <a:gd name="connsiteY13" fmla="*/ 3335040 h 5683764"/>
              <a:gd name="connsiteX14" fmla="*/ 2101104 w 4202210"/>
              <a:gd name="connsiteY14" fmla="*/ 2284488 h 5683764"/>
              <a:gd name="connsiteX15" fmla="*/ 1050551 w 4202210"/>
              <a:gd name="connsiteY15" fmla="*/ 3335039 h 5683764"/>
              <a:gd name="connsiteX16" fmla="*/ 1050552 w 4202210"/>
              <a:gd name="connsiteY16" fmla="*/ 3335038 h 5683764"/>
              <a:gd name="connsiteX0" fmla="*/ 0 w 4202210"/>
              <a:gd name="connsiteY0" fmla="*/ 3335038 h 5436147"/>
              <a:gd name="connsiteX1" fmla="*/ 1093073 w 4202210"/>
              <a:gd name="connsiteY1" fmla="*/ 1462534 h 5436147"/>
              <a:gd name="connsiteX2" fmla="*/ 1391423 w 4202210"/>
              <a:gd name="connsiteY2" fmla="*/ 2297158 h 5436147"/>
              <a:gd name="connsiteX3" fmla="*/ 1963025 w 4202210"/>
              <a:gd name="connsiteY3" fmla="*/ 31627 h 5436147"/>
              <a:gd name="connsiteX4" fmla="*/ 2664914 w 4202210"/>
              <a:gd name="connsiteY4" fmla="*/ 2486921 h 5436147"/>
              <a:gd name="connsiteX5" fmla="*/ 2890776 w 4202210"/>
              <a:gd name="connsiteY5" fmla="*/ 1233934 h 5436147"/>
              <a:gd name="connsiteX6" fmla="*/ 4202209 w 4202210"/>
              <a:gd name="connsiteY6" fmla="*/ 3335043 h 5436147"/>
              <a:gd name="connsiteX7" fmla="*/ 2101103 w 4202210"/>
              <a:gd name="connsiteY7" fmla="*/ 5436147 h 5436147"/>
              <a:gd name="connsiteX8" fmla="*/ 0 w 4202210"/>
              <a:gd name="connsiteY8" fmla="*/ 3335041 h 5436147"/>
              <a:gd name="connsiteX9" fmla="*/ 0 w 4202210"/>
              <a:gd name="connsiteY9" fmla="*/ 3335038 h 5436147"/>
              <a:gd name="connsiteX10" fmla="*/ 1050552 w 4202210"/>
              <a:gd name="connsiteY10" fmla="*/ 3335038 h 5436147"/>
              <a:gd name="connsiteX11" fmla="*/ 2101103 w 4202210"/>
              <a:gd name="connsiteY11" fmla="*/ 4385591 h 5436147"/>
              <a:gd name="connsiteX12" fmla="*/ 3151656 w 4202210"/>
              <a:gd name="connsiteY12" fmla="*/ 3335040 h 5436147"/>
              <a:gd name="connsiteX13" fmla="*/ 2101104 w 4202210"/>
              <a:gd name="connsiteY13" fmla="*/ 2284488 h 5436147"/>
              <a:gd name="connsiteX14" fmla="*/ 1050551 w 4202210"/>
              <a:gd name="connsiteY14" fmla="*/ 3335039 h 5436147"/>
              <a:gd name="connsiteX15" fmla="*/ 1050552 w 4202210"/>
              <a:gd name="connsiteY15" fmla="*/ 3335038 h 5436147"/>
              <a:gd name="connsiteX0" fmla="*/ 0 w 4202210"/>
              <a:gd name="connsiteY0" fmla="*/ 3335041 h 5436147"/>
              <a:gd name="connsiteX1" fmla="*/ 1093073 w 4202210"/>
              <a:gd name="connsiteY1" fmla="*/ 1462534 h 5436147"/>
              <a:gd name="connsiteX2" fmla="*/ 1391423 w 4202210"/>
              <a:gd name="connsiteY2" fmla="*/ 2297158 h 5436147"/>
              <a:gd name="connsiteX3" fmla="*/ 1963025 w 4202210"/>
              <a:gd name="connsiteY3" fmla="*/ 31627 h 5436147"/>
              <a:gd name="connsiteX4" fmla="*/ 2664914 w 4202210"/>
              <a:gd name="connsiteY4" fmla="*/ 2486921 h 5436147"/>
              <a:gd name="connsiteX5" fmla="*/ 2890776 w 4202210"/>
              <a:gd name="connsiteY5" fmla="*/ 1233934 h 5436147"/>
              <a:gd name="connsiteX6" fmla="*/ 4202209 w 4202210"/>
              <a:gd name="connsiteY6" fmla="*/ 3335043 h 5436147"/>
              <a:gd name="connsiteX7" fmla="*/ 2101103 w 4202210"/>
              <a:gd name="connsiteY7" fmla="*/ 5436147 h 5436147"/>
              <a:gd name="connsiteX8" fmla="*/ 0 w 4202210"/>
              <a:gd name="connsiteY8" fmla="*/ 3335041 h 5436147"/>
              <a:gd name="connsiteX9" fmla="*/ 1050552 w 4202210"/>
              <a:gd name="connsiteY9" fmla="*/ 3335038 h 5436147"/>
              <a:gd name="connsiteX10" fmla="*/ 2101103 w 4202210"/>
              <a:gd name="connsiteY10" fmla="*/ 4385591 h 5436147"/>
              <a:gd name="connsiteX11" fmla="*/ 3151656 w 4202210"/>
              <a:gd name="connsiteY11" fmla="*/ 3335040 h 5436147"/>
              <a:gd name="connsiteX12" fmla="*/ 2101104 w 4202210"/>
              <a:gd name="connsiteY12" fmla="*/ 2284488 h 5436147"/>
              <a:gd name="connsiteX13" fmla="*/ 1050551 w 4202210"/>
              <a:gd name="connsiteY13" fmla="*/ 3335039 h 5436147"/>
              <a:gd name="connsiteX14" fmla="*/ 1050552 w 4202210"/>
              <a:gd name="connsiteY14" fmla="*/ 3335038 h 5436147"/>
              <a:gd name="connsiteX0" fmla="*/ 0 w 3151656"/>
              <a:gd name="connsiteY0" fmla="*/ 3335041 h 5436147"/>
              <a:gd name="connsiteX1" fmla="*/ 1093073 w 3151656"/>
              <a:gd name="connsiteY1" fmla="*/ 1462534 h 5436147"/>
              <a:gd name="connsiteX2" fmla="*/ 1391423 w 3151656"/>
              <a:gd name="connsiteY2" fmla="*/ 2297158 h 5436147"/>
              <a:gd name="connsiteX3" fmla="*/ 1963025 w 3151656"/>
              <a:gd name="connsiteY3" fmla="*/ 31627 h 5436147"/>
              <a:gd name="connsiteX4" fmla="*/ 2664914 w 3151656"/>
              <a:gd name="connsiteY4" fmla="*/ 2486921 h 5436147"/>
              <a:gd name="connsiteX5" fmla="*/ 2890776 w 3151656"/>
              <a:gd name="connsiteY5" fmla="*/ 1233934 h 5436147"/>
              <a:gd name="connsiteX6" fmla="*/ 2101103 w 3151656"/>
              <a:gd name="connsiteY6" fmla="*/ 5436147 h 5436147"/>
              <a:gd name="connsiteX7" fmla="*/ 0 w 3151656"/>
              <a:gd name="connsiteY7" fmla="*/ 3335041 h 5436147"/>
              <a:gd name="connsiteX8" fmla="*/ 1050552 w 3151656"/>
              <a:gd name="connsiteY8" fmla="*/ 3335038 h 5436147"/>
              <a:gd name="connsiteX9" fmla="*/ 2101103 w 3151656"/>
              <a:gd name="connsiteY9" fmla="*/ 4385591 h 5436147"/>
              <a:gd name="connsiteX10" fmla="*/ 3151656 w 3151656"/>
              <a:gd name="connsiteY10" fmla="*/ 3335040 h 5436147"/>
              <a:gd name="connsiteX11" fmla="*/ 2101104 w 3151656"/>
              <a:gd name="connsiteY11" fmla="*/ 2284488 h 5436147"/>
              <a:gd name="connsiteX12" fmla="*/ 1050551 w 3151656"/>
              <a:gd name="connsiteY12" fmla="*/ 3335039 h 5436147"/>
              <a:gd name="connsiteX13" fmla="*/ 1050552 w 3151656"/>
              <a:gd name="connsiteY13" fmla="*/ 3335038 h 5436147"/>
              <a:gd name="connsiteX0" fmla="*/ 0 w 4935905"/>
              <a:gd name="connsiteY0" fmla="*/ 3335041 h 5436147"/>
              <a:gd name="connsiteX1" fmla="*/ 1093073 w 4935905"/>
              <a:gd name="connsiteY1" fmla="*/ 1462534 h 5436147"/>
              <a:gd name="connsiteX2" fmla="*/ 1391423 w 4935905"/>
              <a:gd name="connsiteY2" fmla="*/ 2297158 h 5436147"/>
              <a:gd name="connsiteX3" fmla="*/ 1963025 w 4935905"/>
              <a:gd name="connsiteY3" fmla="*/ 31627 h 5436147"/>
              <a:gd name="connsiteX4" fmla="*/ 2664914 w 4935905"/>
              <a:gd name="connsiteY4" fmla="*/ 2486921 h 5436147"/>
              <a:gd name="connsiteX5" fmla="*/ 2890776 w 4935905"/>
              <a:gd name="connsiteY5" fmla="*/ 1233934 h 5436147"/>
              <a:gd name="connsiteX6" fmla="*/ 2101103 w 4935905"/>
              <a:gd name="connsiteY6" fmla="*/ 5436147 h 5436147"/>
              <a:gd name="connsiteX7" fmla="*/ 0 w 4935905"/>
              <a:gd name="connsiteY7" fmla="*/ 3335041 h 5436147"/>
              <a:gd name="connsiteX8" fmla="*/ 1050552 w 4935905"/>
              <a:gd name="connsiteY8" fmla="*/ 3335038 h 5436147"/>
              <a:gd name="connsiteX9" fmla="*/ 2101103 w 4935905"/>
              <a:gd name="connsiteY9" fmla="*/ 4385591 h 5436147"/>
              <a:gd name="connsiteX10" fmla="*/ 3151656 w 4935905"/>
              <a:gd name="connsiteY10" fmla="*/ 3335040 h 5436147"/>
              <a:gd name="connsiteX11" fmla="*/ 2101104 w 4935905"/>
              <a:gd name="connsiteY11" fmla="*/ 2284488 h 5436147"/>
              <a:gd name="connsiteX12" fmla="*/ 1050551 w 4935905"/>
              <a:gd name="connsiteY12" fmla="*/ 3335039 h 5436147"/>
              <a:gd name="connsiteX13" fmla="*/ 1050552 w 4935905"/>
              <a:gd name="connsiteY13" fmla="*/ 3335038 h 5436147"/>
              <a:gd name="connsiteX0" fmla="*/ 0 w 4935905"/>
              <a:gd name="connsiteY0" fmla="*/ 3335041 h 5313317"/>
              <a:gd name="connsiteX1" fmla="*/ 1093073 w 4935905"/>
              <a:gd name="connsiteY1" fmla="*/ 1462534 h 5313317"/>
              <a:gd name="connsiteX2" fmla="*/ 1391423 w 4935905"/>
              <a:gd name="connsiteY2" fmla="*/ 2297158 h 5313317"/>
              <a:gd name="connsiteX3" fmla="*/ 1963025 w 4935905"/>
              <a:gd name="connsiteY3" fmla="*/ 31627 h 5313317"/>
              <a:gd name="connsiteX4" fmla="*/ 2664914 w 4935905"/>
              <a:gd name="connsiteY4" fmla="*/ 2486921 h 5313317"/>
              <a:gd name="connsiteX5" fmla="*/ 2890776 w 4935905"/>
              <a:gd name="connsiteY5" fmla="*/ 1233934 h 5313317"/>
              <a:gd name="connsiteX6" fmla="*/ 2073808 w 4935905"/>
              <a:gd name="connsiteY6" fmla="*/ 5313317 h 5313317"/>
              <a:gd name="connsiteX7" fmla="*/ 0 w 4935905"/>
              <a:gd name="connsiteY7" fmla="*/ 3335041 h 5313317"/>
              <a:gd name="connsiteX8" fmla="*/ 1050552 w 4935905"/>
              <a:gd name="connsiteY8" fmla="*/ 3335038 h 5313317"/>
              <a:gd name="connsiteX9" fmla="*/ 2101103 w 4935905"/>
              <a:gd name="connsiteY9" fmla="*/ 4385591 h 5313317"/>
              <a:gd name="connsiteX10" fmla="*/ 3151656 w 4935905"/>
              <a:gd name="connsiteY10" fmla="*/ 3335040 h 5313317"/>
              <a:gd name="connsiteX11" fmla="*/ 2101104 w 4935905"/>
              <a:gd name="connsiteY11" fmla="*/ 2284488 h 5313317"/>
              <a:gd name="connsiteX12" fmla="*/ 1050551 w 4935905"/>
              <a:gd name="connsiteY12" fmla="*/ 3335039 h 5313317"/>
              <a:gd name="connsiteX13" fmla="*/ 1050552 w 4935905"/>
              <a:gd name="connsiteY13" fmla="*/ 3335038 h 5313317"/>
              <a:gd name="connsiteX0" fmla="*/ 0 w 4935905"/>
              <a:gd name="connsiteY0" fmla="*/ 3335041 h 5339465"/>
              <a:gd name="connsiteX1" fmla="*/ 1093073 w 4935905"/>
              <a:gd name="connsiteY1" fmla="*/ 1462534 h 5339465"/>
              <a:gd name="connsiteX2" fmla="*/ 1391423 w 4935905"/>
              <a:gd name="connsiteY2" fmla="*/ 2297158 h 5339465"/>
              <a:gd name="connsiteX3" fmla="*/ 1963025 w 4935905"/>
              <a:gd name="connsiteY3" fmla="*/ 31627 h 5339465"/>
              <a:gd name="connsiteX4" fmla="*/ 2664914 w 4935905"/>
              <a:gd name="connsiteY4" fmla="*/ 2486921 h 5339465"/>
              <a:gd name="connsiteX5" fmla="*/ 2890776 w 4935905"/>
              <a:gd name="connsiteY5" fmla="*/ 1233934 h 5339465"/>
              <a:gd name="connsiteX6" fmla="*/ 2073808 w 4935905"/>
              <a:gd name="connsiteY6" fmla="*/ 5313317 h 5339465"/>
              <a:gd name="connsiteX7" fmla="*/ 0 w 4935905"/>
              <a:gd name="connsiteY7" fmla="*/ 3335041 h 5339465"/>
              <a:gd name="connsiteX8" fmla="*/ 1050552 w 4935905"/>
              <a:gd name="connsiteY8" fmla="*/ 3335038 h 5339465"/>
              <a:gd name="connsiteX9" fmla="*/ 2101103 w 4935905"/>
              <a:gd name="connsiteY9" fmla="*/ 4385591 h 5339465"/>
              <a:gd name="connsiteX10" fmla="*/ 3151656 w 4935905"/>
              <a:gd name="connsiteY10" fmla="*/ 3335040 h 5339465"/>
              <a:gd name="connsiteX11" fmla="*/ 2101104 w 4935905"/>
              <a:gd name="connsiteY11" fmla="*/ 2284488 h 5339465"/>
              <a:gd name="connsiteX12" fmla="*/ 1050551 w 4935905"/>
              <a:gd name="connsiteY12" fmla="*/ 3335039 h 5339465"/>
              <a:gd name="connsiteX13" fmla="*/ 1050552 w 4935905"/>
              <a:gd name="connsiteY13" fmla="*/ 3335038 h 5339465"/>
              <a:gd name="connsiteX0" fmla="*/ 0 w 4376347"/>
              <a:gd name="connsiteY0" fmla="*/ 2038504 h 5339465"/>
              <a:gd name="connsiteX1" fmla="*/ 533515 w 4376347"/>
              <a:gd name="connsiteY1" fmla="*/ 1462534 h 5339465"/>
              <a:gd name="connsiteX2" fmla="*/ 831865 w 4376347"/>
              <a:gd name="connsiteY2" fmla="*/ 2297158 h 5339465"/>
              <a:gd name="connsiteX3" fmla="*/ 1403467 w 4376347"/>
              <a:gd name="connsiteY3" fmla="*/ 31627 h 5339465"/>
              <a:gd name="connsiteX4" fmla="*/ 2105356 w 4376347"/>
              <a:gd name="connsiteY4" fmla="*/ 2486921 h 5339465"/>
              <a:gd name="connsiteX5" fmla="*/ 2331218 w 4376347"/>
              <a:gd name="connsiteY5" fmla="*/ 1233934 h 5339465"/>
              <a:gd name="connsiteX6" fmla="*/ 1514250 w 4376347"/>
              <a:gd name="connsiteY6" fmla="*/ 5313317 h 5339465"/>
              <a:gd name="connsiteX7" fmla="*/ 0 w 4376347"/>
              <a:gd name="connsiteY7" fmla="*/ 2038504 h 5339465"/>
              <a:gd name="connsiteX8" fmla="*/ 490994 w 4376347"/>
              <a:gd name="connsiteY8" fmla="*/ 3335038 h 5339465"/>
              <a:gd name="connsiteX9" fmla="*/ 1541545 w 4376347"/>
              <a:gd name="connsiteY9" fmla="*/ 4385591 h 5339465"/>
              <a:gd name="connsiteX10" fmla="*/ 2592098 w 4376347"/>
              <a:gd name="connsiteY10" fmla="*/ 3335040 h 5339465"/>
              <a:gd name="connsiteX11" fmla="*/ 1541546 w 4376347"/>
              <a:gd name="connsiteY11" fmla="*/ 2284488 h 5339465"/>
              <a:gd name="connsiteX12" fmla="*/ 490993 w 4376347"/>
              <a:gd name="connsiteY12" fmla="*/ 3335039 h 5339465"/>
              <a:gd name="connsiteX13" fmla="*/ 490994 w 4376347"/>
              <a:gd name="connsiteY13" fmla="*/ 3335038 h 5339465"/>
              <a:gd name="connsiteX0" fmla="*/ 0 w 4376347"/>
              <a:gd name="connsiteY0" fmla="*/ 2038504 h 5339465"/>
              <a:gd name="connsiteX1" fmla="*/ 831865 w 4376347"/>
              <a:gd name="connsiteY1" fmla="*/ 2297158 h 5339465"/>
              <a:gd name="connsiteX2" fmla="*/ 1403467 w 4376347"/>
              <a:gd name="connsiteY2" fmla="*/ 31627 h 5339465"/>
              <a:gd name="connsiteX3" fmla="*/ 2105356 w 4376347"/>
              <a:gd name="connsiteY3" fmla="*/ 2486921 h 5339465"/>
              <a:gd name="connsiteX4" fmla="*/ 2331218 w 4376347"/>
              <a:gd name="connsiteY4" fmla="*/ 1233934 h 5339465"/>
              <a:gd name="connsiteX5" fmla="*/ 1514250 w 4376347"/>
              <a:gd name="connsiteY5" fmla="*/ 5313317 h 5339465"/>
              <a:gd name="connsiteX6" fmla="*/ 0 w 4376347"/>
              <a:gd name="connsiteY6" fmla="*/ 2038504 h 5339465"/>
              <a:gd name="connsiteX7" fmla="*/ 490994 w 4376347"/>
              <a:gd name="connsiteY7" fmla="*/ 3335038 h 5339465"/>
              <a:gd name="connsiteX8" fmla="*/ 1541545 w 4376347"/>
              <a:gd name="connsiteY8" fmla="*/ 4385591 h 5339465"/>
              <a:gd name="connsiteX9" fmla="*/ 2592098 w 4376347"/>
              <a:gd name="connsiteY9" fmla="*/ 3335040 h 5339465"/>
              <a:gd name="connsiteX10" fmla="*/ 1541546 w 4376347"/>
              <a:gd name="connsiteY10" fmla="*/ 2284488 h 5339465"/>
              <a:gd name="connsiteX11" fmla="*/ 490993 w 4376347"/>
              <a:gd name="connsiteY11" fmla="*/ 3335039 h 5339465"/>
              <a:gd name="connsiteX12" fmla="*/ 490994 w 4376347"/>
              <a:gd name="connsiteY12" fmla="*/ 3335038 h 5339465"/>
              <a:gd name="connsiteX0" fmla="*/ 123156 w 3885354"/>
              <a:gd name="connsiteY0" fmla="*/ 1462534 h 5339465"/>
              <a:gd name="connsiteX1" fmla="*/ 340872 w 3885354"/>
              <a:gd name="connsiteY1" fmla="*/ 2297158 h 5339465"/>
              <a:gd name="connsiteX2" fmla="*/ 912474 w 3885354"/>
              <a:gd name="connsiteY2" fmla="*/ 31627 h 5339465"/>
              <a:gd name="connsiteX3" fmla="*/ 1614363 w 3885354"/>
              <a:gd name="connsiteY3" fmla="*/ 2486921 h 5339465"/>
              <a:gd name="connsiteX4" fmla="*/ 1840225 w 3885354"/>
              <a:gd name="connsiteY4" fmla="*/ 1233934 h 5339465"/>
              <a:gd name="connsiteX5" fmla="*/ 1023257 w 3885354"/>
              <a:gd name="connsiteY5" fmla="*/ 5313317 h 5339465"/>
              <a:gd name="connsiteX6" fmla="*/ 123156 w 3885354"/>
              <a:gd name="connsiteY6" fmla="*/ 1462534 h 5339465"/>
              <a:gd name="connsiteX7" fmla="*/ 1 w 3885354"/>
              <a:gd name="connsiteY7" fmla="*/ 3335038 h 5339465"/>
              <a:gd name="connsiteX8" fmla="*/ 1050552 w 3885354"/>
              <a:gd name="connsiteY8" fmla="*/ 4385591 h 5339465"/>
              <a:gd name="connsiteX9" fmla="*/ 2101105 w 3885354"/>
              <a:gd name="connsiteY9" fmla="*/ 3335040 h 5339465"/>
              <a:gd name="connsiteX10" fmla="*/ 1050553 w 3885354"/>
              <a:gd name="connsiteY10" fmla="*/ 2284488 h 5339465"/>
              <a:gd name="connsiteX11" fmla="*/ 0 w 3885354"/>
              <a:gd name="connsiteY11" fmla="*/ 3335039 h 5339465"/>
              <a:gd name="connsiteX12" fmla="*/ 1 w 3885354"/>
              <a:gd name="connsiteY12" fmla="*/ 3335038 h 5339465"/>
              <a:gd name="connsiteX0" fmla="*/ 1956288 w 5718486"/>
              <a:gd name="connsiteY0" fmla="*/ 1462534 h 5339465"/>
              <a:gd name="connsiteX1" fmla="*/ 2174004 w 5718486"/>
              <a:gd name="connsiteY1" fmla="*/ 2297158 h 5339465"/>
              <a:gd name="connsiteX2" fmla="*/ 2745606 w 5718486"/>
              <a:gd name="connsiteY2" fmla="*/ 31627 h 5339465"/>
              <a:gd name="connsiteX3" fmla="*/ 3447495 w 5718486"/>
              <a:gd name="connsiteY3" fmla="*/ 2486921 h 5339465"/>
              <a:gd name="connsiteX4" fmla="*/ 3673357 w 5718486"/>
              <a:gd name="connsiteY4" fmla="*/ 1233934 h 5339465"/>
              <a:gd name="connsiteX5" fmla="*/ 2856389 w 5718486"/>
              <a:gd name="connsiteY5" fmla="*/ 5313317 h 5339465"/>
              <a:gd name="connsiteX6" fmla="*/ 1956288 w 5718486"/>
              <a:gd name="connsiteY6" fmla="*/ 1462534 h 5339465"/>
              <a:gd name="connsiteX7" fmla="*/ 1833133 w 5718486"/>
              <a:gd name="connsiteY7" fmla="*/ 3335038 h 5339465"/>
              <a:gd name="connsiteX8" fmla="*/ 2883684 w 5718486"/>
              <a:gd name="connsiteY8" fmla="*/ 4385591 h 5339465"/>
              <a:gd name="connsiteX9" fmla="*/ 3934237 w 5718486"/>
              <a:gd name="connsiteY9" fmla="*/ 3335040 h 5339465"/>
              <a:gd name="connsiteX10" fmla="*/ 2883685 w 5718486"/>
              <a:gd name="connsiteY10" fmla="*/ 2284488 h 5339465"/>
              <a:gd name="connsiteX11" fmla="*/ 1833132 w 5718486"/>
              <a:gd name="connsiteY11" fmla="*/ 3335039 h 5339465"/>
              <a:gd name="connsiteX12" fmla="*/ 1833133 w 5718486"/>
              <a:gd name="connsiteY12" fmla="*/ 3335038 h 5339465"/>
              <a:gd name="connsiteX0" fmla="*/ 2079118 w 5841316"/>
              <a:gd name="connsiteY0" fmla="*/ 1462534 h 5339465"/>
              <a:gd name="connsiteX1" fmla="*/ 2296834 w 5841316"/>
              <a:gd name="connsiteY1" fmla="*/ 2297158 h 5339465"/>
              <a:gd name="connsiteX2" fmla="*/ 2868436 w 5841316"/>
              <a:gd name="connsiteY2" fmla="*/ 31627 h 5339465"/>
              <a:gd name="connsiteX3" fmla="*/ 3570325 w 5841316"/>
              <a:gd name="connsiteY3" fmla="*/ 2486921 h 5339465"/>
              <a:gd name="connsiteX4" fmla="*/ 3796187 w 5841316"/>
              <a:gd name="connsiteY4" fmla="*/ 1233934 h 5339465"/>
              <a:gd name="connsiteX5" fmla="*/ 2979219 w 5841316"/>
              <a:gd name="connsiteY5" fmla="*/ 5313317 h 5339465"/>
              <a:gd name="connsiteX6" fmla="*/ 2079118 w 5841316"/>
              <a:gd name="connsiteY6" fmla="*/ 1462534 h 5339465"/>
              <a:gd name="connsiteX7" fmla="*/ 1955963 w 5841316"/>
              <a:gd name="connsiteY7" fmla="*/ 3335038 h 5339465"/>
              <a:gd name="connsiteX8" fmla="*/ 3006514 w 5841316"/>
              <a:gd name="connsiteY8" fmla="*/ 4385591 h 5339465"/>
              <a:gd name="connsiteX9" fmla="*/ 4057067 w 5841316"/>
              <a:gd name="connsiteY9" fmla="*/ 3335040 h 5339465"/>
              <a:gd name="connsiteX10" fmla="*/ 3006515 w 5841316"/>
              <a:gd name="connsiteY10" fmla="*/ 2284488 h 5339465"/>
              <a:gd name="connsiteX11" fmla="*/ 1955962 w 5841316"/>
              <a:gd name="connsiteY11" fmla="*/ 3335039 h 5339465"/>
              <a:gd name="connsiteX12" fmla="*/ 1955963 w 5841316"/>
              <a:gd name="connsiteY12" fmla="*/ 3335038 h 5339465"/>
              <a:gd name="connsiteX0" fmla="*/ 2079118 w 5841316"/>
              <a:gd name="connsiteY0" fmla="*/ 1430907 h 5307838"/>
              <a:gd name="connsiteX1" fmla="*/ 2296834 w 5841316"/>
              <a:gd name="connsiteY1" fmla="*/ 2265531 h 5307838"/>
              <a:gd name="connsiteX2" fmla="*/ 2868436 w 5841316"/>
              <a:gd name="connsiteY2" fmla="*/ 0 h 5307838"/>
              <a:gd name="connsiteX3" fmla="*/ 3570325 w 5841316"/>
              <a:gd name="connsiteY3" fmla="*/ 2455294 h 5307838"/>
              <a:gd name="connsiteX4" fmla="*/ 3796187 w 5841316"/>
              <a:gd name="connsiteY4" fmla="*/ 1202307 h 5307838"/>
              <a:gd name="connsiteX5" fmla="*/ 2979219 w 5841316"/>
              <a:gd name="connsiteY5" fmla="*/ 5281690 h 5307838"/>
              <a:gd name="connsiteX6" fmla="*/ 2079118 w 5841316"/>
              <a:gd name="connsiteY6" fmla="*/ 1430907 h 5307838"/>
              <a:gd name="connsiteX7" fmla="*/ 1955963 w 5841316"/>
              <a:gd name="connsiteY7" fmla="*/ 3303411 h 5307838"/>
              <a:gd name="connsiteX8" fmla="*/ 3006514 w 5841316"/>
              <a:gd name="connsiteY8" fmla="*/ 4353964 h 5307838"/>
              <a:gd name="connsiteX9" fmla="*/ 4057067 w 5841316"/>
              <a:gd name="connsiteY9" fmla="*/ 3303413 h 5307838"/>
              <a:gd name="connsiteX10" fmla="*/ 3006515 w 5841316"/>
              <a:gd name="connsiteY10" fmla="*/ 2252861 h 5307838"/>
              <a:gd name="connsiteX11" fmla="*/ 1955962 w 5841316"/>
              <a:gd name="connsiteY11" fmla="*/ 3303412 h 5307838"/>
              <a:gd name="connsiteX12" fmla="*/ 1955963 w 5841316"/>
              <a:gd name="connsiteY12" fmla="*/ 3303411 h 5307838"/>
              <a:gd name="connsiteX0" fmla="*/ 2079118 w 5841316"/>
              <a:gd name="connsiteY0" fmla="*/ 1430907 h 5307838"/>
              <a:gd name="connsiteX1" fmla="*/ 2296834 w 5841316"/>
              <a:gd name="connsiteY1" fmla="*/ 2265531 h 5307838"/>
              <a:gd name="connsiteX2" fmla="*/ 2868436 w 5841316"/>
              <a:gd name="connsiteY2" fmla="*/ 0 h 5307838"/>
              <a:gd name="connsiteX3" fmla="*/ 3570325 w 5841316"/>
              <a:gd name="connsiteY3" fmla="*/ 2455294 h 5307838"/>
              <a:gd name="connsiteX4" fmla="*/ 3796187 w 5841316"/>
              <a:gd name="connsiteY4" fmla="*/ 1202307 h 5307838"/>
              <a:gd name="connsiteX5" fmla="*/ 2979219 w 5841316"/>
              <a:gd name="connsiteY5" fmla="*/ 5281690 h 5307838"/>
              <a:gd name="connsiteX6" fmla="*/ 2079118 w 5841316"/>
              <a:gd name="connsiteY6" fmla="*/ 1430907 h 5307838"/>
              <a:gd name="connsiteX7" fmla="*/ 1955963 w 5841316"/>
              <a:gd name="connsiteY7" fmla="*/ 3303411 h 5307838"/>
              <a:gd name="connsiteX8" fmla="*/ 3006514 w 5841316"/>
              <a:gd name="connsiteY8" fmla="*/ 4353964 h 5307838"/>
              <a:gd name="connsiteX9" fmla="*/ 4057067 w 5841316"/>
              <a:gd name="connsiteY9" fmla="*/ 3303413 h 5307838"/>
              <a:gd name="connsiteX10" fmla="*/ 3006515 w 5841316"/>
              <a:gd name="connsiteY10" fmla="*/ 2252861 h 5307838"/>
              <a:gd name="connsiteX11" fmla="*/ 1955962 w 5841316"/>
              <a:gd name="connsiteY11" fmla="*/ 3303412 h 5307838"/>
              <a:gd name="connsiteX12" fmla="*/ 1955963 w 5841316"/>
              <a:gd name="connsiteY12" fmla="*/ 3303411 h 5307838"/>
              <a:gd name="connsiteX0" fmla="*/ 2079118 w 5841316"/>
              <a:gd name="connsiteY0" fmla="*/ 1430907 h 5307838"/>
              <a:gd name="connsiteX1" fmla="*/ 2296834 w 5841316"/>
              <a:gd name="connsiteY1" fmla="*/ 2265531 h 5307838"/>
              <a:gd name="connsiteX2" fmla="*/ 2868436 w 5841316"/>
              <a:gd name="connsiteY2" fmla="*/ 0 h 5307838"/>
              <a:gd name="connsiteX3" fmla="*/ 3570325 w 5841316"/>
              <a:gd name="connsiteY3" fmla="*/ 2455294 h 5307838"/>
              <a:gd name="connsiteX4" fmla="*/ 3796187 w 5841316"/>
              <a:gd name="connsiteY4" fmla="*/ 1202307 h 5307838"/>
              <a:gd name="connsiteX5" fmla="*/ 2979219 w 5841316"/>
              <a:gd name="connsiteY5" fmla="*/ 5281690 h 5307838"/>
              <a:gd name="connsiteX6" fmla="*/ 2079118 w 5841316"/>
              <a:gd name="connsiteY6" fmla="*/ 1430907 h 5307838"/>
              <a:gd name="connsiteX7" fmla="*/ 1955963 w 5841316"/>
              <a:gd name="connsiteY7" fmla="*/ 3303411 h 5307838"/>
              <a:gd name="connsiteX8" fmla="*/ 3006514 w 5841316"/>
              <a:gd name="connsiteY8" fmla="*/ 4353964 h 5307838"/>
              <a:gd name="connsiteX9" fmla="*/ 4057067 w 5841316"/>
              <a:gd name="connsiteY9" fmla="*/ 3303413 h 5307838"/>
              <a:gd name="connsiteX10" fmla="*/ 3006515 w 5841316"/>
              <a:gd name="connsiteY10" fmla="*/ 2252861 h 5307838"/>
              <a:gd name="connsiteX11" fmla="*/ 1955962 w 5841316"/>
              <a:gd name="connsiteY11" fmla="*/ 3303412 h 5307838"/>
              <a:gd name="connsiteX12" fmla="*/ 1955963 w 5841316"/>
              <a:gd name="connsiteY12" fmla="*/ 3303411 h 5307838"/>
              <a:gd name="connsiteX0" fmla="*/ 2079118 w 5841316"/>
              <a:gd name="connsiteY0" fmla="*/ 1430907 h 5307838"/>
              <a:gd name="connsiteX1" fmla="*/ 2296834 w 5841316"/>
              <a:gd name="connsiteY1" fmla="*/ 2265531 h 5307838"/>
              <a:gd name="connsiteX2" fmla="*/ 2868436 w 5841316"/>
              <a:gd name="connsiteY2" fmla="*/ 0 h 5307838"/>
              <a:gd name="connsiteX3" fmla="*/ 3570324 w 5841316"/>
              <a:gd name="connsiteY3" fmla="*/ 2523533 h 5307838"/>
              <a:gd name="connsiteX4" fmla="*/ 3796187 w 5841316"/>
              <a:gd name="connsiteY4" fmla="*/ 1202307 h 5307838"/>
              <a:gd name="connsiteX5" fmla="*/ 2979219 w 5841316"/>
              <a:gd name="connsiteY5" fmla="*/ 5281690 h 5307838"/>
              <a:gd name="connsiteX6" fmla="*/ 2079118 w 5841316"/>
              <a:gd name="connsiteY6" fmla="*/ 1430907 h 5307838"/>
              <a:gd name="connsiteX7" fmla="*/ 1955963 w 5841316"/>
              <a:gd name="connsiteY7" fmla="*/ 3303411 h 5307838"/>
              <a:gd name="connsiteX8" fmla="*/ 3006514 w 5841316"/>
              <a:gd name="connsiteY8" fmla="*/ 4353964 h 5307838"/>
              <a:gd name="connsiteX9" fmla="*/ 4057067 w 5841316"/>
              <a:gd name="connsiteY9" fmla="*/ 3303413 h 5307838"/>
              <a:gd name="connsiteX10" fmla="*/ 3006515 w 5841316"/>
              <a:gd name="connsiteY10" fmla="*/ 2252861 h 5307838"/>
              <a:gd name="connsiteX11" fmla="*/ 1955962 w 5841316"/>
              <a:gd name="connsiteY11" fmla="*/ 3303412 h 5307838"/>
              <a:gd name="connsiteX12" fmla="*/ 1955963 w 5841316"/>
              <a:gd name="connsiteY12" fmla="*/ 3303411 h 5307838"/>
              <a:gd name="connsiteX0" fmla="*/ 2079118 w 5841316"/>
              <a:gd name="connsiteY0" fmla="*/ 1430907 h 5307838"/>
              <a:gd name="connsiteX1" fmla="*/ 2296834 w 5841316"/>
              <a:gd name="connsiteY1" fmla="*/ 2265531 h 5307838"/>
              <a:gd name="connsiteX2" fmla="*/ 2868436 w 5841316"/>
              <a:gd name="connsiteY2" fmla="*/ 0 h 5307838"/>
              <a:gd name="connsiteX3" fmla="*/ 3570324 w 5841316"/>
              <a:gd name="connsiteY3" fmla="*/ 2523533 h 5307838"/>
              <a:gd name="connsiteX4" fmla="*/ 3796187 w 5841316"/>
              <a:gd name="connsiteY4" fmla="*/ 1202307 h 5307838"/>
              <a:gd name="connsiteX5" fmla="*/ 2979219 w 5841316"/>
              <a:gd name="connsiteY5" fmla="*/ 5281690 h 5307838"/>
              <a:gd name="connsiteX6" fmla="*/ 2079118 w 5841316"/>
              <a:gd name="connsiteY6" fmla="*/ 1430907 h 5307838"/>
              <a:gd name="connsiteX7" fmla="*/ 2529169 w 5841316"/>
              <a:gd name="connsiteY7" fmla="*/ 3221524 h 5307838"/>
              <a:gd name="connsiteX8" fmla="*/ 3006514 w 5841316"/>
              <a:gd name="connsiteY8" fmla="*/ 4353964 h 5307838"/>
              <a:gd name="connsiteX9" fmla="*/ 4057067 w 5841316"/>
              <a:gd name="connsiteY9" fmla="*/ 3303413 h 5307838"/>
              <a:gd name="connsiteX10" fmla="*/ 3006515 w 5841316"/>
              <a:gd name="connsiteY10" fmla="*/ 2252861 h 5307838"/>
              <a:gd name="connsiteX11" fmla="*/ 1955962 w 5841316"/>
              <a:gd name="connsiteY11" fmla="*/ 3303412 h 5307838"/>
              <a:gd name="connsiteX12" fmla="*/ 2529169 w 5841316"/>
              <a:gd name="connsiteY12" fmla="*/ 3221524 h 5307838"/>
              <a:gd name="connsiteX0" fmla="*/ 2079118 w 5841316"/>
              <a:gd name="connsiteY0" fmla="*/ 1430907 h 5307838"/>
              <a:gd name="connsiteX1" fmla="*/ 2296834 w 5841316"/>
              <a:gd name="connsiteY1" fmla="*/ 2265531 h 5307838"/>
              <a:gd name="connsiteX2" fmla="*/ 2868436 w 5841316"/>
              <a:gd name="connsiteY2" fmla="*/ 0 h 5307838"/>
              <a:gd name="connsiteX3" fmla="*/ 3570324 w 5841316"/>
              <a:gd name="connsiteY3" fmla="*/ 2523533 h 5307838"/>
              <a:gd name="connsiteX4" fmla="*/ 3796187 w 5841316"/>
              <a:gd name="connsiteY4" fmla="*/ 1202307 h 5307838"/>
              <a:gd name="connsiteX5" fmla="*/ 2979219 w 5841316"/>
              <a:gd name="connsiteY5" fmla="*/ 5281690 h 5307838"/>
              <a:gd name="connsiteX6" fmla="*/ 2079118 w 5841316"/>
              <a:gd name="connsiteY6" fmla="*/ 1430907 h 5307838"/>
              <a:gd name="connsiteX7" fmla="*/ 2529169 w 5841316"/>
              <a:gd name="connsiteY7" fmla="*/ 3221524 h 5307838"/>
              <a:gd name="connsiteX8" fmla="*/ 2924627 w 5841316"/>
              <a:gd name="connsiteY8" fmla="*/ 4858931 h 5307838"/>
              <a:gd name="connsiteX9" fmla="*/ 4057067 w 5841316"/>
              <a:gd name="connsiteY9" fmla="*/ 3303413 h 5307838"/>
              <a:gd name="connsiteX10" fmla="*/ 3006515 w 5841316"/>
              <a:gd name="connsiteY10" fmla="*/ 2252861 h 5307838"/>
              <a:gd name="connsiteX11" fmla="*/ 1955962 w 5841316"/>
              <a:gd name="connsiteY11" fmla="*/ 3303412 h 5307838"/>
              <a:gd name="connsiteX12" fmla="*/ 2529169 w 5841316"/>
              <a:gd name="connsiteY12" fmla="*/ 3221524 h 5307838"/>
              <a:gd name="connsiteX0" fmla="*/ 2079118 w 5841316"/>
              <a:gd name="connsiteY0" fmla="*/ 1430907 h 5307838"/>
              <a:gd name="connsiteX1" fmla="*/ 2296834 w 5841316"/>
              <a:gd name="connsiteY1" fmla="*/ 2265531 h 5307838"/>
              <a:gd name="connsiteX2" fmla="*/ 2868436 w 5841316"/>
              <a:gd name="connsiteY2" fmla="*/ 0 h 5307838"/>
              <a:gd name="connsiteX3" fmla="*/ 3570324 w 5841316"/>
              <a:gd name="connsiteY3" fmla="*/ 2523533 h 5307838"/>
              <a:gd name="connsiteX4" fmla="*/ 3796187 w 5841316"/>
              <a:gd name="connsiteY4" fmla="*/ 1202307 h 5307838"/>
              <a:gd name="connsiteX5" fmla="*/ 2979219 w 5841316"/>
              <a:gd name="connsiteY5" fmla="*/ 5281690 h 5307838"/>
              <a:gd name="connsiteX6" fmla="*/ 2079118 w 5841316"/>
              <a:gd name="connsiteY6" fmla="*/ 1430907 h 5307838"/>
              <a:gd name="connsiteX7" fmla="*/ 2529169 w 5841316"/>
              <a:gd name="connsiteY7" fmla="*/ 3221524 h 5307838"/>
              <a:gd name="connsiteX8" fmla="*/ 2924627 w 5841316"/>
              <a:gd name="connsiteY8" fmla="*/ 4858931 h 5307838"/>
              <a:gd name="connsiteX9" fmla="*/ 4057067 w 5841316"/>
              <a:gd name="connsiteY9" fmla="*/ 3303413 h 5307838"/>
              <a:gd name="connsiteX10" fmla="*/ 2678969 w 5841316"/>
              <a:gd name="connsiteY10" fmla="*/ 3481160 h 5307838"/>
              <a:gd name="connsiteX11" fmla="*/ 1955962 w 5841316"/>
              <a:gd name="connsiteY11" fmla="*/ 3303412 h 5307838"/>
              <a:gd name="connsiteX12" fmla="*/ 2529169 w 5841316"/>
              <a:gd name="connsiteY12" fmla="*/ 3221524 h 5307838"/>
              <a:gd name="connsiteX0" fmla="*/ 2079118 w 5841316"/>
              <a:gd name="connsiteY0" fmla="*/ 1430907 h 5307838"/>
              <a:gd name="connsiteX1" fmla="*/ 2296834 w 5841316"/>
              <a:gd name="connsiteY1" fmla="*/ 2265531 h 5307838"/>
              <a:gd name="connsiteX2" fmla="*/ 2868436 w 5841316"/>
              <a:gd name="connsiteY2" fmla="*/ 0 h 5307838"/>
              <a:gd name="connsiteX3" fmla="*/ 3570324 w 5841316"/>
              <a:gd name="connsiteY3" fmla="*/ 2523533 h 5307838"/>
              <a:gd name="connsiteX4" fmla="*/ 3796187 w 5841316"/>
              <a:gd name="connsiteY4" fmla="*/ 1202307 h 5307838"/>
              <a:gd name="connsiteX5" fmla="*/ 2979219 w 5841316"/>
              <a:gd name="connsiteY5" fmla="*/ 5281690 h 5307838"/>
              <a:gd name="connsiteX6" fmla="*/ 2079118 w 5841316"/>
              <a:gd name="connsiteY6" fmla="*/ 1430907 h 5307838"/>
              <a:gd name="connsiteX7" fmla="*/ 2529169 w 5841316"/>
              <a:gd name="connsiteY7" fmla="*/ 3221524 h 5307838"/>
              <a:gd name="connsiteX8" fmla="*/ 2924627 w 5841316"/>
              <a:gd name="connsiteY8" fmla="*/ 4858931 h 5307838"/>
              <a:gd name="connsiteX9" fmla="*/ 3388326 w 5841316"/>
              <a:gd name="connsiteY9" fmla="*/ 3398948 h 5307838"/>
              <a:gd name="connsiteX10" fmla="*/ 2678969 w 5841316"/>
              <a:gd name="connsiteY10" fmla="*/ 3481160 h 5307838"/>
              <a:gd name="connsiteX11" fmla="*/ 1955962 w 5841316"/>
              <a:gd name="connsiteY11" fmla="*/ 3303412 h 5307838"/>
              <a:gd name="connsiteX12" fmla="*/ 2529169 w 5841316"/>
              <a:gd name="connsiteY12" fmla="*/ 3221524 h 5307838"/>
              <a:gd name="connsiteX0" fmla="*/ 2079118 w 5841316"/>
              <a:gd name="connsiteY0" fmla="*/ 1430907 h 5307838"/>
              <a:gd name="connsiteX1" fmla="*/ 2296834 w 5841316"/>
              <a:gd name="connsiteY1" fmla="*/ 2265531 h 5307838"/>
              <a:gd name="connsiteX2" fmla="*/ 2868436 w 5841316"/>
              <a:gd name="connsiteY2" fmla="*/ 0 h 5307838"/>
              <a:gd name="connsiteX3" fmla="*/ 3570324 w 5841316"/>
              <a:gd name="connsiteY3" fmla="*/ 2523533 h 5307838"/>
              <a:gd name="connsiteX4" fmla="*/ 3796187 w 5841316"/>
              <a:gd name="connsiteY4" fmla="*/ 1202307 h 5307838"/>
              <a:gd name="connsiteX5" fmla="*/ 2979219 w 5841316"/>
              <a:gd name="connsiteY5" fmla="*/ 5281690 h 5307838"/>
              <a:gd name="connsiteX6" fmla="*/ 2079118 w 5841316"/>
              <a:gd name="connsiteY6" fmla="*/ 1430907 h 5307838"/>
              <a:gd name="connsiteX7" fmla="*/ 2529169 w 5841316"/>
              <a:gd name="connsiteY7" fmla="*/ 3221524 h 5307838"/>
              <a:gd name="connsiteX8" fmla="*/ 2924627 w 5841316"/>
              <a:gd name="connsiteY8" fmla="*/ 4858931 h 5307838"/>
              <a:gd name="connsiteX9" fmla="*/ 3388326 w 5841316"/>
              <a:gd name="connsiteY9" fmla="*/ 3398948 h 5307838"/>
              <a:gd name="connsiteX10" fmla="*/ 3184585 w 5841316"/>
              <a:gd name="connsiteY10" fmla="*/ 3589361 h 5307838"/>
              <a:gd name="connsiteX11" fmla="*/ 2678969 w 5841316"/>
              <a:gd name="connsiteY11" fmla="*/ 3481160 h 5307838"/>
              <a:gd name="connsiteX12" fmla="*/ 1955962 w 5841316"/>
              <a:gd name="connsiteY12" fmla="*/ 3303412 h 5307838"/>
              <a:gd name="connsiteX13" fmla="*/ 2529169 w 5841316"/>
              <a:gd name="connsiteY13" fmla="*/ 3221524 h 5307838"/>
              <a:gd name="connsiteX0" fmla="*/ 2079118 w 5841316"/>
              <a:gd name="connsiteY0" fmla="*/ 1430907 h 5307838"/>
              <a:gd name="connsiteX1" fmla="*/ 2296834 w 5841316"/>
              <a:gd name="connsiteY1" fmla="*/ 2265531 h 5307838"/>
              <a:gd name="connsiteX2" fmla="*/ 2868436 w 5841316"/>
              <a:gd name="connsiteY2" fmla="*/ 0 h 5307838"/>
              <a:gd name="connsiteX3" fmla="*/ 3570324 w 5841316"/>
              <a:gd name="connsiteY3" fmla="*/ 2523533 h 5307838"/>
              <a:gd name="connsiteX4" fmla="*/ 3796187 w 5841316"/>
              <a:gd name="connsiteY4" fmla="*/ 1202307 h 5307838"/>
              <a:gd name="connsiteX5" fmla="*/ 2979219 w 5841316"/>
              <a:gd name="connsiteY5" fmla="*/ 5281690 h 5307838"/>
              <a:gd name="connsiteX6" fmla="*/ 2079118 w 5841316"/>
              <a:gd name="connsiteY6" fmla="*/ 1430907 h 5307838"/>
              <a:gd name="connsiteX7" fmla="*/ 2529169 w 5841316"/>
              <a:gd name="connsiteY7" fmla="*/ 3221524 h 5307838"/>
              <a:gd name="connsiteX8" fmla="*/ 2924627 w 5841316"/>
              <a:gd name="connsiteY8" fmla="*/ 4858931 h 5307838"/>
              <a:gd name="connsiteX9" fmla="*/ 3388326 w 5841316"/>
              <a:gd name="connsiteY9" fmla="*/ 3398948 h 5307838"/>
              <a:gd name="connsiteX10" fmla="*/ 3184585 w 5841316"/>
              <a:gd name="connsiteY10" fmla="*/ 3589361 h 5307838"/>
              <a:gd name="connsiteX11" fmla="*/ 2925278 w 5841316"/>
              <a:gd name="connsiteY11" fmla="*/ 2606722 h 5307838"/>
              <a:gd name="connsiteX12" fmla="*/ 2678969 w 5841316"/>
              <a:gd name="connsiteY12" fmla="*/ 3481160 h 5307838"/>
              <a:gd name="connsiteX13" fmla="*/ 1955962 w 5841316"/>
              <a:gd name="connsiteY13" fmla="*/ 3303412 h 5307838"/>
              <a:gd name="connsiteX14" fmla="*/ 2529169 w 5841316"/>
              <a:gd name="connsiteY14" fmla="*/ 3221524 h 5307838"/>
              <a:gd name="connsiteX0" fmla="*/ 2079118 w 5841316"/>
              <a:gd name="connsiteY0" fmla="*/ 1430907 h 5307838"/>
              <a:gd name="connsiteX1" fmla="*/ 2296834 w 5841316"/>
              <a:gd name="connsiteY1" fmla="*/ 2265531 h 5307838"/>
              <a:gd name="connsiteX2" fmla="*/ 2868436 w 5841316"/>
              <a:gd name="connsiteY2" fmla="*/ 0 h 5307838"/>
              <a:gd name="connsiteX3" fmla="*/ 3570324 w 5841316"/>
              <a:gd name="connsiteY3" fmla="*/ 2523533 h 5307838"/>
              <a:gd name="connsiteX4" fmla="*/ 3796187 w 5841316"/>
              <a:gd name="connsiteY4" fmla="*/ 1202307 h 5307838"/>
              <a:gd name="connsiteX5" fmla="*/ 2979219 w 5841316"/>
              <a:gd name="connsiteY5" fmla="*/ 5281690 h 5307838"/>
              <a:gd name="connsiteX6" fmla="*/ 2079118 w 5841316"/>
              <a:gd name="connsiteY6" fmla="*/ 1430907 h 5307838"/>
              <a:gd name="connsiteX7" fmla="*/ 2529169 w 5841316"/>
              <a:gd name="connsiteY7" fmla="*/ 3221524 h 5307838"/>
              <a:gd name="connsiteX8" fmla="*/ 2924627 w 5841316"/>
              <a:gd name="connsiteY8" fmla="*/ 4858931 h 5307838"/>
              <a:gd name="connsiteX9" fmla="*/ 3388326 w 5841316"/>
              <a:gd name="connsiteY9" fmla="*/ 3398948 h 5307838"/>
              <a:gd name="connsiteX10" fmla="*/ 3184585 w 5841316"/>
              <a:gd name="connsiteY10" fmla="*/ 3589361 h 5307838"/>
              <a:gd name="connsiteX11" fmla="*/ 2925278 w 5841316"/>
              <a:gd name="connsiteY11" fmla="*/ 2606722 h 5307838"/>
              <a:gd name="connsiteX12" fmla="*/ 2678969 w 5841316"/>
              <a:gd name="connsiteY12" fmla="*/ 3481160 h 5307838"/>
              <a:gd name="connsiteX13" fmla="*/ 2529169 w 5841316"/>
              <a:gd name="connsiteY13" fmla="*/ 3221524 h 5307838"/>
              <a:gd name="connsiteX0" fmla="*/ 2079118 w 5841316"/>
              <a:gd name="connsiteY0" fmla="*/ 1430907 h 5307838"/>
              <a:gd name="connsiteX1" fmla="*/ 2296834 w 5841316"/>
              <a:gd name="connsiteY1" fmla="*/ 2265531 h 5307838"/>
              <a:gd name="connsiteX2" fmla="*/ 2868436 w 5841316"/>
              <a:gd name="connsiteY2" fmla="*/ 0 h 5307838"/>
              <a:gd name="connsiteX3" fmla="*/ 3570324 w 5841316"/>
              <a:gd name="connsiteY3" fmla="*/ 2523533 h 5307838"/>
              <a:gd name="connsiteX4" fmla="*/ 3796187 w 5841316"/>
              <a:gd name="connsiteY4" fmla="*/ 1202307 h 5307838"/>
              <a:gd name="connsiteX5" fmla="*/ 2979219 w 5841316"/>
              <a:gd name="connsiteY5" fmla="*/ 5281690 h 5307838"/>
              <a:gd name="connsiteX6" fmla="*/ 2079118 w 5841316"/>
              <a:gd name="connsiteY6" fmla="*/ 1430907 h 5307838"/>
              <a:gd name="connsiteX7" fmla="*/ 2529169 w 5841316"/>
              <a:gd name="connsiteY7" fmla="*/ 3221524 h 5307838"/>
              <a:gd name="connsiteX8" fmla="*/ 2924627 w 5841316"/>
              <a:gd name="connsiteY8" fmla="*/ 4858931 h 5307838"/>
              <a:gd name="connsiteX9" fmla="*/ 3388326 w 5841316"/>
              <a:gd name="connsiteY9" fmla="*/ 3398948 h 5307838"/>
              <a:gd name="connsiteX10" fmla="*/ 3184585 w 5841316"/>
              <a:gd name="connsiteY10" fmla="*/ 3589361 h 5307838"/>
              <a:gd name="connsiteX11" fmla="*/ 2925278 w 5841316"/>
              <a:gd name="connsiteY11" fmla="*/ 2606722 h 5307838"/>
              <a:gd name="connsiteX12" fmla="*/ 2678969 w 5841316"/>
              <a:gd name="connsiteY12" fmla="*/ 3481160 h 5307838"/>
              <a:gd name="connsiteX13" fmla="*/ 2529169 w 5841316"/>
              <a:gd name="connsiteY13" fmla="*/ 3221524 h 5307838"/>
              <a:gd name="connsiteX0" fmla="*/ 2079118 w 5841316"/>
              <a:gd name="connsiteY0" fmla="*/ 1430907 h 5307838"/>
              <a:gd name="connsiteX1" fmla="*/ 2296834 w 5841316"/>
              <a:gd name="connsiteY1" fmla="*/ 2265531 h 5307838"/>
              <a:gd name="connsiteX2" fmla="*/ 2868436 w 5841316"/>
              <a:gd name="connsiteY2" fmla="*/ 0 h 5307838"/>
              <a:gd name="connsiteX3" fmla="*/ 3570324 w 5841316"/>
              <a:gd name="connsiteY3" fmla="*/ 2523533 h 5307838"/>
              <a:gd name="connsiteX4" fmla="*/ 3796187 w 5841316"/>
              <a:gd name="connsiteY4" fmla="*/ 1202307 h 5307838"/>
              <a:gd name="connsiteX5" fmla="*/ 2979219 w 5841316"/>
              <a:gd name="connsiteY5" fmla="*/ 5281690 h 5307838"/>
              <a:gd name="connsiteX6" fmla="*/ 2079118 w 5841316"/>
              <a:gd name="connsiteY6" fmla="*/ 1430907 h 5307838"/>
              <a:gd name="connsiteX7" fmla="*/ 2529169 w 5841316"/>
              <a:gd name="connsiteY7" fmla="*/ 3221524 h 5307838"/>
              <a:gd name="connsiteX8" fmla="*/ 2924627 w 5841316"/>
              <a:gd name="connsiteY8" fmla="*/ 4858931 h 5307838"/>
              <a:gd name="connsiteX9" fmla="*/ 3388326 w 5841316"/>
              <a:gd name="connsiteY9" fmla="*/ 3398948 h 5307838"/>
              <a:gd name="connsiteX10" fmla="*/ 3184585 w 5841316"/>
              <a:gd name="connsiteY10" fmla="*/ 3589361 h 5307838"/>
              <a:gd name="connsiteX11" fmla="*/ 2925278 w 5841316"/>
              <a:gd name="connsiteY11" fmla="*/ 2606722 h 5307838"/>
              <a:gd name="connsiteX12" fmla="*/ 2678969 w 5841316"/>
              <a:gd name="connsiteY12" fmla="*/ 3481160 h 5307838"/>
              <a:gd name="connsiteX13" fmla="*/ 2529169 w 5841316"/>
              <a:gd name="connsiteY13" fmla="*/ 3221524 h 5307838"/>
              <a:gd name="connsiteX0" fmla="*/ 2079118 w 5841316"/>
              <a:gd name="connsiteY0" fmla="*/ 1430907 h 5307838"/>
              <a:gd name="connsiteX1" fmla="*/ 2296834 w 5841316"/>
              <a:gd name="connsiteY1" fmla="*/ 2265531 h 5307838"/>
              <a:gd name="connsiteX2" fmla="*/ 2868436 w 5841316"/>
              <a:gd name="connsiteY2" fmla="*/ 0 h 5307838"/>
              <a:gd name="connsiteX3" fmla="*/ 3570324 w 5841316"/>
              <a:gd name="connsiteY3" fmla="*/ 2523533 h 5307838"/>
              <a:gd name="connsiteX4" fmla="*/ 3796187 w 5841316"/>
              <a:gd name="connsiteY4" fmla="*/ 1202307 h 5307838"/>
              <a:gd name="connsiteX5" fmla="*/ 2979219 w 5841316"/>
              <a:gd name="connsiteY5" fmla="*/ 5281690 h 5307838"/>
              <a:gd name="connsiteX6" fmla="*/ 2079118 w 5841316"/>
              <a:gd name="connsiteY6" fmla="*/ 1430907 h 5307838"/>
              <a:gd name="connsiteX7" fmla="*/ 2529169 w 5841316"/>
              <a:gd name="connsiteY7" fmla="*/ 3221524 h 5307838"/>
              <a:gd name="connsiteX8" fmla="*/ 2924627 w 5841316"/>
              <a:gd name="connsiteY8" fmla="*/ 4858931 h 5307838"/>
              <a:gd name="connsiteX9" fmla="*/ 3388326 w 5841316"/>
              <a:gd name="connsiteY9" fmla="*/ 3398948 h 5307838"/>
              <a:gd name="connsiteX10" fmla="*/ 3184585 w 5841316"/>
              <a:gd name="connsiteY10" fmla="*/ 3589361 h 5307838"/>
              <a:gd name="connsiteX11" fmla="*/ 2925278 w 5841316"/>
              <a:gd name="connsiteY11" fmla="*/ 2606722 h 5307838"/>
              <a:gd name="connsiteX12" fmla="*/ 2678969 w 5841316"/>
              <a:gd name="connsiteY12" fmla="*/ 3481160 h 5307838"/>
              <a:gd name="connsiteX13" fmla="*/ 2529169 w 5841316"/>
              <a:gd name="connsiteY13" fmla="*/ 3221524 h 5307838"/>
              <a:gd name="connsiteX0" fmla="*/ 2079118 w 5841316"/>
              <a:gd name="connsiteY0" fmla="*/ 1430907 h 5307838"/>
              <a:gd name="connsiteX1" fmla="*/ 2296834 w 5841316"/>
              <a:gd name="connsiteY1" fmla="*/ 2265531 h 5307838"/>
              <a:gd name="connsiteX2" fmla="*/ 2868436 w 5841316"/>
              <a:gd name="connsiteY2" fmla="*/ 0 h 5307838"/>
              <a:gd name="connsiteX3" fmla="*/ 3570324 w 5841316"/>
              <a:gd name="connsiteY3" fmla="*/ 2523533 h 5307838"/>
              <a:gd name="connsiteX4" fmla="*/ 3796187 w 5841316"/>
              <a:gd name="connsiteY4" fmla="*/ 1202307 h 5307838"/>
              <a:gd name="connsiteX5" fmla="*/ 2979219 w 5841316"/>
              <a:gd name="connsiteY5" fmla="*/ 5281690 h 5307838"/>
              <a:gd name="connsiteX6" fmla="*/ 2079118 w 5841316"/>
              <a:gd name="connsiteY6" fmla="*/ 1430907 h 5307838"/>
              <a:gd name="connsiteX7" fmla="*/ 2529169 w 5841316"/>
              <a:gd name="connsiteY7" fmla="*/ 3221524 h 5307838"/>
              <a:gd name="connsiteX8" fmla="*/ 2924627 w 5841316"/>
              <a:gd name="connsiteY8" fmla="*/ 4858931 h 5307838"/>
              <a:gd name="connsiteX9" fmla="*/ 3484836 w 5841316"/>
              <a:gd name="connsiteY9" fmla="*/ 4476465 h 5307838"/>
              <a:gd name="connsiteX10" fmla="*/ 3388326 w 5841316"/>
              <a:gd name="connsiteY10" fmla="*/ 3398948 h 5307838"/>
              <a:gd name="connsiteX11" fmla="*/ 3184585 w 5841316"/>
              <a:gd name="connsiteY11" fmla="*/ 3589361 h 5307838"/>
              <a:gd name="connsiteX12" fmla="*/ 2925278 w 5841316"/>
              <a:gd name="connsiteY12" fmla="*/ 2606722 h 5307838"/>
              <a:gd name="connsiteX13" fmla="*/ 2678969 w 5841316"/>
              <a:gd name="connsiteY13" fmla="*/ 3481160 h 5307838"/>
              <a:gd name="connsiteX14" fmla="*/ 2529169 w 5841316"/>
              <a:gd name="connsiteY14" fmla="*/ 3221524 h 5307838"/>
              <a:gd name="connsiteX0" fmla="*/ 2079118 w 5841316"/>
              <a:gd name="connsiteY0" fmla="*/ 1430907 h 5307838"/>
              <a:gd name="connsiteX1" fmla="*/ 2296834 w 5841316"/>
              <a:gd name="connsiteY1" fmla="*/ 2265531 h 5307838"/>
              <a:gd name="connsiteX2" fmla="*/ 2868436 w 5841316"/>
              <a:gd name="connsiteY2" fmla="*/ 0 h 5307838"/>
              <a:gd name="connsiteX3" fmla="*/ 3570324 w 5841316"/>
              <a:gd name="connsiteY3" fmla="*/ 2523533 h 5307838"/>
              <a:gd name="connsiteX4" fmla="*/ 3796187 w 5841316"/>
              <a:gd name="connsiteY4" fmla="*/ 1202307 h 5307838"/>
              <a:gd name="connsiteX5" fmla="*/ 2979219 w 5841316"/>
              <a:gd name="connsiteY5" fmla="*/ 5281690 h 5307838"/>
              <a:gd name="connsiteX6" fmla="*/ 2079118 w 5841316"/>
              <a:gd name="connsiteY6" fmla="*/ 1430907 h 5307838"/>
              <a:gd name="connsiteX7" fmla="*/ 2529169 w 5841316"/>
              <a:gd name="connsiteY7" fmla="*/ 3221524 h 5307838"/>
              <a:gd name="connsiteX8" fmla="*/ 2924627 w 5841316"/>
              <a:gd name="connsiteY8" fmla="*/ 4858931 h 5307838"/>
              <a:gd name="connsiteX9" fmla="*/ 3484836 w 5841316"/>
              <a:gd name="connsiteY9" fmla="*/ 4476465 h 5307838"/>
              <a:gd name="connsiteX10" fmla="*/ 3388326 w 5841316"/>
              <a:gd name="connsiteY10" fmla="*/ 3398948 h 5307838"/>
              <a:gd name="connsiteX11" fmla="*/ 3184585 w 5841316"/>
              <a:gd name="connsiteY11" fmla="*/ 3589361 h 5307838"/>
              <a:gd name="connsiteX12" fmla="*/ 2925278 w 5841316"/>
              <a:gd name="connsiteY12" fmla="*/ 2606722 h 5307838"/>
              <a:gd name="connsiteX13" fmla="*/ 2678969 w 5841316"/>
              <a:gd name="connsiteY13" fmla="*/ 3481160 h 5307838"/>
              <a:gd name="connsiteX14" fmla="*/ 2529169 w 5841316"/>
              <a:gd name="connsiteY14" fmla="*/ 3221524 h 5307838"/>
              <a:gd name="connsiteX0" fmla="*/ 2079118 w 5841316"/>
              <a:gd name="connsiteY0" fmla="*/ 1430907 h 5307838"/>
              <a:gd name="connsiteX1" fmla="*/ 2296834 w 5841316"/>
              <a:gd name="connsiteY1" fmla="*/ 2265531 h 5307838"/>
              <a:gd name="connsiteX2" fmla="*/ 2868436 w 5841316"/>
              <a:gd name="connsiteY2" fmla="*/ 0 h 5307838"/>
              <a:gd name="connsiteX3" fmla="*/ 3570324 w 5841316"/>
              <a:gd name="connsiteY3" fmla="*/ 2523533 h 5307838"/>
              <a:gd name="connsiteX4" fmla="*/ 3796187 w 5841316"/>
              <a:gd name="connsiteY4" fmla="*/ 1202307 h 5307838"/>
              <a:gd name="connsiteX5" fmla="*/ 2979219 w 5841316"/>
              <a:gd name="connsiteY5" fmla="*/ 5281690 h 5307838"/>
              <a:gd name="connsiteX6" fmla="*/ 2079118 w 5841316"/>
              <a:gd name="connsiteY6" fmla="*/ 1430907 h 5307838"/>
              <a:gd name="connsiteX7" fmla="*/ 2529169 w 5841316"/>
              <a:gd name="connsiteY7" fmla="*/ 3221524 h 5307838"/>
              <a:gd name="connsiteX8" fmla="*/ 2924627 w 5841316"/>
              <a:gd name="connsiteY8" fmla="*/ 4858931 h 5307838"/>
              <a:gd name="connsiteX9" fmla="*/ 3484836 w 5841316"/>
              <a:gd name="connsiteY9" fmla="*/ 4476465 h 5307838"/>
              <a:gd name="connsiteX10" fmla="*/ 3388326 w 5841316"/>
              <a:gd name="connsiteY10" fmla="*/ 3398948 h 5307838"/>
              <a:gd name="connsiteX11" fmla="*/ 3184585 w 5841316"/>
              <a:gd name="connsiteY11" fmla="*/ 3589361 h 5307838"/>
              <a:gd name="connsiteX12" fmla="*/ 2925278 w 5841316"/>
              <a:gd name="connsiteY12" fmla="*/ 2606722 h 5307838"/>
              <a:gd name="connsiteX13" fmla="*/ 2678969 w 5841316"/>
              <a:gd name="connsiteY13" fmla="*/ 3481160 h 5307838"/>
              <a:gd name="connsiteX14" fmla="*/ 2529169 w 5841316"/>
              <a:gd name="connsiteY14" fmla="*/ 3221524 h 5307838"/>
              <a:gd name="connsiteX0" fmla="*/ 2079118 w 5841316"/>
              <a:gd name="connsiteY0" fmla="*/ 1430907 h 5307838"/>
              <a:gd name="connsiteX1" fmla="*/ 2296834 w 5841316"/>
              <a:gd name="connsiteY1" fmla="*/ 2265531 h 5307838"/>
              <a:gd name="connsiteX2" fmla="*/ 2868436 w 5841316"/>
              <a:gd name="connsiteY2" fmla="*/ 0 h 5307838"/>
              <a:gd name="connsiteX3" fmla="*/ 3570324 w 5841316"/>
              <a:gd name="connsiteY3" fmla="*/ 2523533 h 5307838"/>
              <a:gd name="connsiteX4" fmla="*/ 3796187 w 5841316"/>
              <a:gd name="connsiteY4" fmla="*/ 1202307 h 5307838"/>
              <a:gd name="connsiteX5" fmla="*/ 2979219 w 5841316"/>
              <a:gd name="connsiteY5" fmla="*/ 5281690 h 5307838"/>
              <a:gd name="connsiteX6" fmla="*/ 2079118 w 5841316"/>
              <a:gd name="connsiteY6" fmla="*/ 1430907 h 5307838"/>
              <a:gd name="connsiteX7" fmla="*/ 2529169 w 5841316"/>
              <a:gd name="connsiteY7" fmla="*/ 3221524 h 5307838"/>
              <a:gd name="connsiteX8" fmla="*/ 2924627 w 5841316"/>
              <a:gd name="connsiteY8" fmla="*/ 4858931 h 5307838"/>
              <a:gd name="connsiteX9" fmla="*/ 3484836 w 5841316"/>
              <a:gd name="connsiteY9" fmla="*/ 4476465 h 5307838"/>
              <a:gd name="connsiteX10" fmla="*/ 3333735 w 5841316"/>
              <a:gd name="connsiteY10" fmla="*/ 3153288 h 5307838"/>
              <a:gd name="connsiteX11" fmla="*/ 3184585 w 5841316"/>
              <a:gd name="connsiteY11" fmla="*/ 3589361 h 5307838"/>
              <a:gd name="connsiteX12" fmla="*/ 2925278 w 5841316"/>
              <a:gd name="connsiteY12" fmla="*/ 2606722 h 5307838"/>
              <a:gd name="connsiteX13" fmla="*/ 2678969 w 5841316"/>
              <a:gd name="connsiteY13" fmla="*/ 3481160 h 5307838"/>
              <a:gd name="connsiteX14" fmla="*/ 2529169 w 5841316"/>
              <a:gd name="connsiteY14" fmla="*/ 3221524 h 5307838"/>
              <a:gd name="connsiteX0" fmla="*/ 2079118 w 5841316"/>
              <a:gd name="connsiteY0" fmla="*/ 1430907 h 5307838"/>
              <a:gd name="connsiteX1" fmla="*/ 2296834 w 5841316"/>
              <a:gd name="connsiteY1" fmla="*/ 2265531 h 5307838"/>
              <a:gd name="connsiteX2" fmla="*/ 2868436 w 5841316"/>
              <a:gd name="connsiteY2" fmla="*/ 0 h 5307838"/>
              <a:gd name="connsiteX3" fmla="*/ 3679506 w 5841316"/>
              <a:gd name="connsiteY3" fmla="*/ 2523533 h 5307838"/>
              <a:gd name="connsiteX4" fmla="*/ 3796187 w 5841316"/>
              <a:gd name="connsiteY4" fmla="*/ 1202307 h 5307838"/>
              <a:gd name="connsiteX5" fmla="*/ 2979219 w 5841316"/>
              <a:gd name="connsiteY5" fmla="*/ 5281690 h 5307838"/>
              <a:gd name="connsiteX6" fmla="*/ 2079118 w 5841316"/>
              <a:gd name="connsiteY6" fmla="*/ 1430907 h 5307838"/>
              <a:gd name="connsiteX7" fmla="*/ 2529169 w 5841316"/>
              <a:gd name="connsiteY7" fmla="*/ 3221524 h 5307838"/>
              <a:gd name="connsiteX8" fmla="*/ 2924627 w 5841316"/>
              <a:gd name="connsiteY8" fmla="*/ 4858931 h 5307838"/>
              <a:gd name="connsiteX9" fmla="*/ 3484836 w 5841316"/>
              <a:gd name="connsiteY9" fmla="*/ 4476465 h 5307838"/>
              <a:gd name="connsiteX10" fmla="*/ 3333735 w 5841316"/>
              <a:gd name="connsiteY10" fmla="*/ 3153288 h 5307838"/>
              <a:gd name="connsiteX11" fmla="*/ 3184585 w 5841316"/>
              <a:gd name="connsiteY11" fmla="*/ 3589361 h 5307838"/>
              <a:gd name="connsiteX12" fmla="*/ 2925278 w 5841316"/>
              <a:gd name="connsiteY12" fmla="*/ 2606722 h 5307838"/>
              <a:gd name="connsiteX13" fmla="*/ 2678969 w 5841316"/>
              <a:gd name="connsiteY13" fmla="*/ 3481160 h 5307838"/>
              <a:gd name="connsiteX14" fmla="*/ 2529169 w 5841316"/>
              <a:gd name="connsiteY14" fmla="*/ 3221524 h 5307838"/>
              <a:gd name="connsiteX0" fmla="*/ 2079118 w 5786725"/>
              <a:gd name="connsiteY0" fmla="*/ 1430907 h 5307838"/>
              <a:gd name="connsiteX1" fmla="*/ 2296834 w 5786725"/>
              <a:gd name="connsiteY1" fmla="*/ 2265531 h 5307838"/>
              <a:gd name="connsiteX2" fmla="*/ 2868436 w 5786725"/>
              <a:gd name="connsiteY2" fmla="*/ 0 h 5307838"/>
              <a:gd name="connsiteX3" fmla="*/ 3679506 w 5786725"/>
              <a:gd name="connsiteY3" fmla="*/ 2523533 h 5307838"/>
              <a:gd name="connsiteX4" fmla="*/ 3741596 w 5786725"/>
              <a:gd name="connsiteY4" fmla="*/ 1147716 h 5307838"/>
              <a:gd name="connsiteX5" fmla="*/ 2979219 w 5786725"/>
              <a:gd name="connsiteY5" fmla="*/ 5281690 h 5307838"/>
              <a:gd name="connsiteX6" fmla="*/ 2079118 w 5786725"/>
              <a:gd name="connsiteY6" fmla="*/ 1430907 h 5307838"/>
              <a:gd name="connsiteX7" fmla="*/ 2529169 w 5786725"/>
              <a:gd name="connsiteY7" fmla="*/ 3221524 h 5307838"/>
              <a:gd name="connsiteX8" fmla="*/ 2924627 w 5786725"/>
              <a:gd name="connsiteY8" fmla="*/ 4858931 h 5307838"/>
              <a:gd name="connsiteX9" fmla="*/ 3484836 w 5786725"/>
              <a:gd name="connsiteY9" fmla="*/ 4476465 h 5307838"/>
              <a:gd name="connsiteX10" fmla="*/ 3333735 w 5786725"/>
              <a:gd name="connsiteY10" fmla="*/ 3153288 h 5307838"/>
              <a:gd name="connsiteX11" fmla="*/ 3184585 w 5786725"/>
              <a:gd name="connsiteY11" fmla="*/ 3589361 h 5307838"/>
              <a:gd name="connsiteX12" fmla="*/ 2925278 w 5786725"/>
              <a:gd name="connsiteY12" fmla="*/ 2606722 h 5307838"/>
              <a:gd name="connsiteX13" fmla="*/ 2678969 w 5786725"/>
              <a:gd name="connsiteY13" fmla="*/ 3481160 h 5307838"/>
              <a:gd name="connsiteX14" fmla="*/ 2529169 w 5786725"/>
              <a:gd name="connsiteY14" fmla="*/ 3221524 h 5307838"/>
              <a:gd name="connsiteX0" fmla="*/ 2079118 w 5786725"/>
              <a:gd name="connsiteY0" fmla="*/ 1308077 h 5307838"/>
              <a:gd name="connsiteX1" fmla="*/ 2296834 w 5786725"/>
              <a:gd name="connsiteY1" fmla="*/ 2265531 h 5307838"/>
              <a:gd name="connsiteX2" fmla="*/ 2868436 w 5786725"/>
              <a:gd name="connsiteY2" fmla="*/ 0 h 5307838"/>
              <a:gd name="connsiteX3" fmla="*/ 3679506 w 5786725"/>
              <a:gd name="connsiteY3" fmla="*/ 2523533 h 5307838"/>
              <a:gd name="connsiteX4" fmla="*/ 3741596 w 5786725"/>
              <a:gd name="connsiteY4" fmla="*/ 1147716 h 5307838"/>
              <a:gd name="connsiteX5" fmla="*/ 2979219 w 5786725"/>
              <a:gd name="connsiteY5" fmla="*/ 5281690 h 5307838"/>
              <a:gd name="connsiteX6" fmla="*/ 2079118 w 5786725"/>
              <a:gd name="connsiteY6" fmla="*/ 1308077 h 5307838"/>
              <a:gd name="connsiteX7" fmla="*/ 2529169 w 5786725"/>
              <a:gd name="connsiteY7" fmla="*/ 3221524 h 5307838"/>
              <a:gd name="connsiteX8" fmla="*/ 2924627 w 5786725"/>
              <a:gd name="connsiteY8" fmla="*/ 4858931 h 5307838"/>
              <a:gd name="connsiteX9" fmla="*/ 3484836 w 5786725"/>
              <a:gd name="connsiteY9" fmla="*/ 4476465 h 5307838"/>
              <a:gd name="connsiteX10" fmla="*/ 3333735 w 5786725"/>
              <a:gd name="connsiteY10" fmla="*/ 3153288 h 5307838"/>
              <a:gd name="connsiteX11" fmla="*/ 3184585 w 5786725"/>
              <a:gd name="connsiteY11" fmla="*/ 3589361 h 5307838"/>
              <a:gd name="connsiteX12" fmla="*/ 2925278 w 5786725"/>
              <a:gd name="connsiteY12" fmla="*/ 2606722 h 5307838"/>
              <a:gd name="connsiteX13" fmla="*/ 2678969 w 5786725"/>
              <a:gd name="connsiteY13" fmla="*/ 3481160 h 5307838"/>
              <a:gd name="connsiteX14" fmla="*/ 2529169 w 5786725"/>
              <a:gd name="connsiteY14" fmla="*/ 3221524 h 5307838"/>
              <a:gd name="connsiteX0" fmla="*/ 2079118 w 5786725"/>
              <a:gd name="connsiteY0" fmla="*/ 1417259 h 5417020"/>
              <a:gd name="connsiteX1" fmla="*/ 2296834 w 5786725"/>
              <a:gd name="connsiteY1" fmla="*/ 2374713 h 5417020"/>
              <a:gd name="connsiteX2" fmla="*/ 2882084 w 5786725"/>
              <a:gd name="connsiteY2" fmla="*/ 0 h 5417020"/>
              <a:gd name="connsiteX3" fmla="*/ 3679506 w 5786725"/>
              <a:gd name="connsiteY3" fmla="*/ 2632715 h 5417020"/>
              <a:gd name="connsiteX4" fmla="*/ 3741596 w 5786725"/>
              <a:gd name="connsiteY4" fmla="*/ 1256898 h 5417020"/>
              <a:gd name="connsiteX5" fmla="*/ 2979219 w 5786725"/>
              <a:gd name="connsiteY5" fmla="*/ 5390872 h 5417020"/>
              <a:gd name="connsiteX6" fmla="*/ 2079118 w 5786725"/>
              <a:gd name="connsiteY6" fmla="*/ 1417259 h 5417020"/>
              <a:gd name="connsiteX7" fmla="*/ 2529169 w 5786725"/>
              <a:gd name="connsiteY7" fmla="*/ 3330706 h 5417020"/>
              <a:gd name="connsiteX8" fmla="*/ 2924627 w 5786725"/>
              <a:gd name="connsiteY8" fmla="*/ 4968113 h 5417020"/>
              <a:gd name="connsiteX9" fmla="*/ 3484836 w 5786725"/>
              <a:gd name="connsiteY9" fmla="*/ 4585647 h 5417020"/>
              <a:gd name="connsiteX10" fmla="*/ 3333735 w 5786725"/>
              <a:gd name="connsiteY10" fmla="*/ 3262470 h 5417020"/>
              <a:gd name="connsiteX11" fmla="*/ 3184585 w 5786725"/>
              <a:gd name="connsiteY11" fmla="*/ 3698543 h 5417020"/>
              <a:gd name="connsiteX12" fmla="*/ 2925278 w 5786725"/>
              <a:gd name="connsiteY12" fmla="*/ 2715904 h 5417020"/>
              <a:gd name="connsiteX13" fmla="*/ 2678969 w 5786725"/>
              <a:gd name="connsiteY13" fmla="*/ 3590342 h 5417020"/>
              <a:gd name="connsiteX14" fmla="*/ 2529169 w 5786725"/>
              <a:gd name="connsiteY14" fmla="*/ 3330706 h 5417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86725" h="5417020">
                <a:moveTo>
                  <a:pt x="2079118" y="1417259"/>
                </a:moveTo>
                <a:lnTo>
                  <a:pt x="2296834" y="2374713"/>
                </a:lnTo>
                <a:lnTo>
                  <a:pt x="2882084" y="0"/>
                </a:lnTo>
                <a:lnTo>
                  <a:pt x="3679506" y="2632715"/>
                </a:lnTo>
                <a:lnTo>
                  <a:pt x="3741596" y="1256898"/>
                </a:lnTo>
                <a:cubicBezTo>
                  <a:pt x="5786725" y="4865361"/>
                  <a:pt x="3662130" y="5417020"/>
                  <a:pt x="2979219" y="5390872"/>
                </a:cubicBezTo>
                <a:cubicBezTo>
                  <a:pt x="2278851" y="5390872"/>
                  <a:pt x="0" y="4822717"/>
                  <a:pt x="2079118" y="1417259"/>
                </a:cubicBezTo>
                <a:close/>
                <a:moveTo>
                  <a:pt x="2529169" y="3330706"/>
                </a:moveTo>
                <a:cubicBezTo>
                  <a:pt x="2119736" y="4952407"/>
                  <a:pt x="2767786" y="5006781"/>
                  <a:pt x="2924627" y="4968113"/>
                </a:cubicBezTo>
                <a:cubicBezTo>
                  <a:pt x="3063433" y="5049891"/>
                  <a:pt x="3416651" y="4869921"/>
                  <a:pt x="3484836" y="4585647"/>
                </a:cubicBezTo>
                <a:cubicBezTo>
                  <a:pt x="3553021" y="4301373"/>
                  <a:pt x="3383777" y="3410321"/>
                  <a:pt x="3333735" y="3262470"/>
                </a:cubicBezTo>
                <a:cubicBezTo>
                  <a:pt x="3283693" y="3114619"/>
                  <a:pt x="3261760" y="3830581"/>
                  <a:pt x="3184585" y="3698543"/>
                </a:cubicBezTo>
                <a:lnTo>
                  <a:pt x="2925278" y="2715904"/>
                </a:lnTo>
                <a:lnTo>
                  <a:pt x="2678969" y="3590342"/>
                </a:lnTo>
                <a:cubicBezTo>
                  <a:pt x="2612951" y="3692809"/>
                  <a:pt x="2488226" y="3101077"/>
                  <a:pt x="2529169" y="3330706"/>
                </a:cubicBezTo>
                <a:close/>
              </a:path>
            </a:pathLst>
          </a:custGeom>
          <a:solidFill>
            <a:schemeClr val="tx2">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91" name="Freeform 390"/>
          <p:cNvSpPr/>
          <p:nvPr/>
        </p:nvSpPr>
        <p:spPr>
          <a:xfrm>
            <a:off x="5418481" y="3925888"/>
            <a:ext cx="310967" cy="173038"/>
          </a:xfrm>
          <a:custGeom>
            <a:avLst/>
            <a:gdLst>
              <a:gd name="connsiteX0" fmla="*/ 110837 w 2286000"/>
              <a:gd name="connsiteY0" fmla="*/ 304800 h 1330037"/>
              <a:gd name="connsiteX1" fmla="*/ 0 w 2286000"/>
              <a:gd name="connsiteY1" fmla="*/ 1330037 h 1330037"/>
              <a:gd name="connsiteX2" fmla="*/ 2286000 w 2286000"/>
              <a:gd name="connsiteY2" fmla="*/ 1330037 h 1330037"/>
              <a:gd name="connsiteX3" fmla="*/ 2078182 w 2286000"/>
              <a:gd name="connsiteY3" fmla="*/ 207819 h 1330037"/>
              <a:gd name="connsiteX4" fmla="*/ 1385455 w 2286000"/>
              <a:gd name="connsiteY4" fmla="*/ 0 h 1330037"/>
              <a:gd name="connsiteX5" fmla="*/ 110837 w 2286000"/>
              <a:gd name="connsiteY5" fmla="*/ 304800 h 1330037"/>
              <a:gd name="connsiteX0" fmla="*/ 771237 w 2946400"/>
              <a:gd name="connsiteY0" fmla="*/ 304800 h 1330037"/>
              <a:gd name="connsiteX1" fmla="*/ 660400 w 2946400"/>
              <a:gd name="connsiteY1" fmla="*/ 1330037 h 1330037"/>
              <a:gd name="connsiteX2" fmla="*/ 2946400 w 2946400"/>
              <a:gd name="connsiteY2" fmla="*/ 1330037 h 1330037"/>
              <a:gd name="connsiteX3" fmla="*/ 2738582 w 2946400"/>
              <a:gd name="connsiteY3" fmla="*/ 207819 h 1330037"/>
              <a:gd name="connsiteX4" fmla="*/ 2045855 w 2946400"/>
              <a:gd name="connsiteY4" fmla="*/ 0 h 1330037"/>
              <a:gd name="connsiteX5" fmla="*/ 771237 w 2946400"/>
              <a:gd name="connsiteY5" fmla="*/ 304800 h 1330037"/>
              <a:gd name="connsiteX0" fmla="*/ 771237 w 2946400"/>
              <a:gd name="connsiteY0" fmla="*/ 304800 h 1330037"/>
              <a:gd name="connsiteX1" fmla="*/ 660400 w 2946400"/>
              <a:gd name="connsiteY1" fmla="*/ 1330037 h 1330037"/>
              <a:gd name="connsiteX2" fmla="*/ 2946400 w 2946400"/>
              <a:gd name="connsiteY2" fmla="*/ 1330037 h 1330037"/>
              <a:gd name="connsiteX3" fmla="*/ 2738582 w 2946400"/>
              <a:gd name="connsiteY3" fmla="*/ 207819 h 1330037"/>
              <a:gd name="connsiteX4" fmla="*/ 2045855 w 2946400"/>
              <a:gd name="connsiteY4" fmla="*/ 0 h 1330037"/>
              <a:gd name="connsiteX5" fmla="*/ 771237 w 2946400"/>
              <a:gd name="connsiteY5" fmla="*/ 304800 h 1330037"/>
              <a:gd name="connsiteX0" fmla="*/ 771237 w 2946400"/>
              <a:gd name="connsiteY0" fmla="*/ 304800 h 1330037"/>
              <a:gd name="connsiteX1" fmla="*/ 660400 w 2946400"/>
              <a:gd name="connsiteY1" fmla="*/ 1330037 h 1330037"/>
              <a:gd name="connsiteX2" fmla="*/ 2946400 w 2946400"/>
              <a:gd name="connsiteY2" fmla="*/ 1330037 h 1330037"/>
              <a:gd name="connsiteX3" fmla="*/ 2738582 w 2946400"/>
              <a:gd name="connsiteY3" fmla="*/ 207819 h 1330037"/>
              <a:gd name="connsiteX4" fmla="*/ 2045855 w 2946400"/>
              <a:gd name="connsiteY4" fmla="*/ 0 h 1330037"/>
              <a:gd name="connsiteX5" fmla="*/ 771237 w 2946400"/>
              <a:gd name="connsiteY5" fmla="*/ 304800 h 1330037"/>
              <a:gd name="connsiteX0" fmla="*/ 771237 w 2946400"/>
              <a:gd name="connsiteY0" fmla="*/ 752764 h 1778001"/>
              <a:gd name="connsiteX1" fmla="*/ 660400 w 2946400"/>
              <a:gd name="connsiteY1" fmla="*/ 1778001 h 1778001"/>
              <a:gd name="connsiteX2" fmla="*/ 2946400 w 2946400"/>
              <a:gd name="connsiteY2" fmla="*/ 1778001 h 1778001"/>
              <a:gd name="connsiteX3" fmla="*/ 2738582 w 2946400"/>
              <a:gd name="connsiteY3" fmla="*/ 655783 h 1778001"/>
              <a:gd name="connsiteX4" fmla="*/ 2045855 w 2946400"/>
              <a:gd name="connsiteY4" fmla="*/ 447964 h 1778001"/>
              <a:gd name="connsiteX5" fmla="*/ 771237 w 2946400"/>
              <a:gd name="connsiteY5" fmla="*/ 752764 h 1778001"/>
              <a:gd name="connsiteX0" fmla="*/ 771237 w 2946400"/>
              <a:gd name="connsiteY0" fmla="*/ 812800 h 1838037"/>
              <a:gd name="connsiteX1" fmla="*/ 660400 w 2946400"/>
              <a:gd name="connsiteY1" fmla="*/ 1838037 h 1838037"/>
              <a:gd name="connsiteX2" fmla="*/ 2946400 w 2946400"/>
              <a:gd name="connsiteY2" fmla="*/ 1838037 h 1838037"/>
              <a:gd name="connsiteX3" fmla="*/ 2738582 w 2946400"/>
              <a:gd name="connsiteY3" fmla="*/ 715819 h 1838037"/>
              <a:gd name="connsiteX4" fmla="*/ 2045855 w 2946400"/>
              <a:gd name="connsiteY4" fmla="*/ 508000 h 1838037"/>
              <a:gd name="connsiteX5" fmla="*/ 771237 w 2946400"/>
              <a:gd name="connsiteY5" fmla="*/ 812800 h 1838037"/>
              <a:gd name="connsiteX0" fmla="*/ 771237 w 2946400"/>
              <a:gd name="connsiteY0" fmla="*/ 812800 h 1838037"/>
              <a:gd name="connsiteX1" fmla="*/ 660400 w 2946400"/>
              <a:gd name="connsiteY1" fmla="*/ 1838037 h 1838037"/>
              <a:gd name="connsiteX2" fmla="*/ 2946400 w 2946400"/>
              <a:gd name="connsiteY2" fmla="*/ 1838037 h 1838037"/>
              <a:gd name="connsiteX3" fmla="*/ 2738582 w 2946400"/>
              <a:gd name="connsiteY3" fmla="*/ 715819 h 1838037"/>
              <a:gd name="connsiteX4" fmla="*/ 2045855 w 2946400"/>
              <a:gd name="connsiteY4" fmla="*/ 508000 h 1838037"/>
              <a:gd name="connsiteX5" fmla="*/ 771237 w 2946400"/>
              <a:gd name="connsiteY5" fmla="*/ 812800 h 1838037"/>
              <a:gd name="connsiteX0" fmla="*/ 771237 w 2946400"/>
              <a:gd name="connsiteY0" fmla="*/ 812800 h 1838037"/>
              <a:gd name="connsiteX1" fmla="*/ 660400 w 2946400"/>
              <a:gd name="connsiteY1" fmla="*/ 1838037 h 1838037"/>
              <a:gd name="connsiteX2" fmla="*/ 2946400 w 2946400"/>
              <a:gd name="connsiteY2" fmla="*/ 1838037 h 1838037"/>
              <a:gd name="connsiteX3" fmla="*/ 2738582 w 2946400"/>
              <a:gd name="connsiteY3" fmla="*/ 715819 h 1838037"/>
              <a:gd name="connsiteX4" fmla="*/ 2045855 w 2946400"/>
              <a:gd name="connsiteY4" fmla="*/ 508000 h 1838037"/>
              <a:gd name="connsiteX5" fmla="*/ 771237 w 2946400"/>
              <a:gd name="connsiteY5" fmla="*/ 812800 h 1838037"/>
              <a:gd name="connsiteX0" fmla="*/ 771237 w 3542146"/>
              <a:gd name="connsiteY0" fmla="*/ 812800 h 1838037"/>
              <a:gd name="connsiteX1" fmla="*/ 660400 w 3542146"/>
              <a:gd name="connsiteY1" fmla="*/ 1838037 h 1838037"/>
              <a:gd name="connsiteX2" fmla="*/ 2946400 w 3542146"/>
              <a:gd name="connsiteY2" fmla="*/ 1838037 h 1838037"/>
              <a:gd name="connsiteX3" fmla="*/ 2738582 w 3542146"/>
              <a:gd name="connsiteY3" fmla="*/ 715819 h 1838037"/>
              <a:gd name="connsiteX4" fmla="*/ 2045855 w 3542146"/>
              <a:gd name="connsiteY4" fmla="*/ 508000 h 1838037"/>
              <a:gd name="connsiteX5" fmla="*/ 771237 w 3542146"/>
              <a:gd name="connsiteY5" fmla="*/ 812800 h 1838037"/>
              <a:gd name="connsiteX0" fmla="*/ 771237 w 3694546"/>
              <a:gd name="connsiteY0" fmla="*/ 812800 h 1838037"/>
              <a:gd name="connsiteX1" fmla="*/ 660400 w 3694546"/>
              <a:gd name="connsiteY1" fmla="*/ 1838037 h 1838037"/>
              <a:gd name="connsiteX2" fmla="*/ 2946400 w 3694546"/>
              <a:gd name="connsiteY2" fmla="*/ 1838037 h 1838037"/>
              <a:gd name="connsiteX3" fmla="*/ 2738582 w 3694546"/>
              <a:gd name="connsiteY3" fmla="*/ 715819 h 1838037"/>
              <a:gd name="connsiteX4" fmla="*/ 2045855 w 3694546"/>
              <a:gd name="connsiteY4" fmla="*/ 508000 h 1838037"/>
              <a:gd name="connsiteX5" fmla="*/ 771237 w 3694546"/>
              <a:gd name="connsiteY5" fmla="*/ 812800 h 1838037"/>
              <a:gd name="connsiteX0" fmla="*/ 771237 w 3694546"/>
              <a:gd name="connsiteY0" fmla="*/ 812800 h 1838037"/>
              <a:gd name="connsiteX1" fmla="*/ 660400 w 3694546"/>
              <a:gd name="connsiteY1" fmla="*/ 1838037 h 1838037"/>
              <a:gd name="connsiteX2" fmla="*/ 2946400 w 3694546"/>
              <a:gd name="connsiteY2" fmla="*/ 1838037 h 1838037"/>
              <a:gd name="connsiteX3" fmla="*/ 2738582 w 3694546"/>
              <a:gd name="connsiteY3" fmla="*/ 715819 h 1838037"/>
              <a:gd name="connsiteX4" fmla="*/ 2045855 w 3694546"/>
              <a:gd name="connsiteY4" fmla="*/ 508000 h 1838037"/>
              <a:gd name="connsiteX5" fmla="*/ 771237 w 3694546"/>
              <a:gd name="connsiteY5" fmla="*/ 812800 h 1838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94546" h="1838037">
                <a:moveTo>
                  <a:pt x="771237" y="812800"/>
                </a:moveTo>
                <a:cubicBezTo>
                  <a:pt x="0" y="891309"/>
                  <a:pt x="4619" y="1828800"/>
                  <a:pt x="660400" y="1838037"/>
                </a:cubicBezTo>
                <a:lnTo>
                  <a:pt x="2946400" y="1838037"/>
                </a:lnTo>
                <a:cubicBezTo>
                  <a:pt x="3694546" y="1810328"/>
                  <a:pt x="3542146" y="508001"/>
                  <a:pt x="2738582" y="715819"/>
                </a:cubicBezTo>
                <a:cubicBezTo>
                  <a:pt x="2701637" y="535709"/>
                  <a:pt x="2387600" y="314037"/>
                  <a:pt x="2045855" y="508000"/>
                </a:cubicBezTo>
                <a:cubicBezTo>
                  <a:pt x="1870364" y="0"/>
                  <a:pt x="780474" y="60036"/>
                  <a:pt x="771237" y="812800"/>
                </a:cubicBezTo>
                <a:close/>
              </a:path>
            </a:pathLst>
          </a:custGeom>
          <a:gradFill>
            <a:gsLst>
              <a:gs pos="0">
                <a:schemeClr val="tx2">
                  <a:lumMod val="75000"/>
                </a:schemeClr>
              </a:gs>
              <a:gs pos="100000">
                <a:schemeClr val="tx2">
                  <a:lumMod val="60000"/>
                  <a:lumOff val="40000"/>
                </a:schemeClr>
              </a:gs>
            </a:gsLst>
            <a:lin ang="1560000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4" name="TextBox 393"/>
          <p:cNvSpPr txBox="1"/>
          <p:nvPr/>
        </p:nvSpPr>
        <p:spPr>
          <a:xfrm>
            <a:off x="6991350" y="3305175"/>
            <a:ext cx="2160000" cy="1569660"/>
          </a:xfrm>
          <a:prstGeom prst="rect">
            <a:avLst/>
          </a:prstGeom>
          <a:noFill/>
        </p:spPr>
        <p:txBody>
          <a:bodyPr wrap="square" rtlCol="0">
            <a:spAutoFit/>
          </a:bodyPr>
          <a:lstStyle/>
          <a:p>
            <a:r>
              <a:rPr lang="en-GB" sz="1200" i="1" dirty="0" smtClean="0"/>
              <a:t>Services focused on modernizing public administration through IT and mobile solutions to better allocate  city resources, prioritize investments thanks to an integrated view of the city.</a:t>
            </a:r>
          </a:p>
        </p:txBody>
      </p:sp>
      <p:pic>
        <p:nvPicPr>
          <p:cNvPr id="1026" name="Picture 2"/>
          <p:cNvPicPr>
            <a:picLocks noChangeAspect="1" noChangeArrowheads="1"/>
          </p:cNvPicPr>
          <p:nvPr/>
        </p:nvPicPr>
        <p:blipFill>
          <a:blip r:embed="rId21" cstate="print">
            <a:extLst>
              <a:ext uri="{28A0092B-C50C-407E-A947-70E740481C1C}">
                <a14:useLocalDpi xmlns:a14="http://schemas.microsoft.com/office/drawing/2010/main" xmlns="" val="0"/>
              </a:ext>
            </a:extLst>
          </a:blip>
          <a:srcRect/>
          <a:stretch>
            <a:fillRect/>
          </a:stretch>
        </p:blipFill>
        <p:spPr bwMode="auto">
          <a:xfrm>
            <a:off x="2778537" y="2380206"/>
            <a:ext cx="263847" cy="14834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72" name="TextBox 101"/>
          <p:cNvSpPr txBox="1"/>
          <p:nvPr/>
        </p:nvSpPr>
        <p:spPr>
          <a:xfrm>
            <a:off x="2977533" y="2364966"/>
            <a:ext cx="737535" cy="185177"/>
          </a:xfrm>
          <a:prstGeom prst="rect">
            <a:avLst/>
          </a:prstGeom>
          <a:noFill/>
          <a:ln>
            <a:noFill/>
          </a:ln>
          <a:effectLst/>
        </p:spPr>
        <p:txBody>
          <a:bodyPr wrap="square" rtlCol="0" anchor="ctr">
            <a:noAutofit/>
          </a:bodyPr>
          <a:lstStyle/>
          <a:p>
            <a:pPr>
              <a:lnSpc>
                <a:spcPct val="80000"/>
              </a:lnSpc>
              <a:spcBef>
                <a:spcPct val="20000"/>
              </a:spcBef>
            </a:pPr>
            <a:r>
              <a:rPr lang="en-GB" sz="900" b="1" dirty="0" smtClean="0">
                <a:solidFill>
                  <a:schemeClr val="tx2"/>
                </a:solidFill>
                <a:latin typeface="Telefonica Text" pitchFamily="50" charset="0"/>
                <a:cs typeface="Arial" pitchFamily="34" charset="0"/>
              </a:rPr>
              <a:t>Smart</a:t>
            </a:r>
            <a:r>
              <a:rPr lang="en-GB" sz="900" b="1" dirty="0">
                <a:solidFill>
                  <a:schemeClr val="tx2"/>
                </a:solidFill>
                <a:latin typeface="Telefonica Text" pitchFamily="50" charset="0"/>
                <a:cs typeface="Arial" pitchFamily="34" charset="0"/>
              </a:rPr>
              <a:t> </a:t>
            </a:r>
            <a:r>
              <a:rPr lang="en-GB" sz="900" b="1" dirty="0" smtClean="0">
                <a:solidFill>
                  <a:schemeClr val="tx2"/>
                </a:solidFill>
                <a:latin typeface="Telefonica Text" pitchFamily="50" charset="0"/>
                <a:cs typeface="Arial" pitchFamily="34" charset="0"/>
              </a:rPr>
              <a:t>Taxi</a:t>
            </a:r>
          </a:p>
        </p:txBody>
      </p:sp>
      <p:pic>
        <p:nvPicPr>
          <p:cNvPr id="1027" name="Picture 3"/>
          <p:cNvPicPr>
            <a:picLocks noChangeAspect="1" noChangeArrowheads="1"/>
          </p:cNvPicPr>
          <p:nvPr/>
        </p:nvPicPr>
        <p:blipFill>
          <a:blip r:embed="rId22" cstate="print">
            <a:extLst>
              <a:ext uri="{28A0092B-C50C-407E-A947-70E740481C1C}">
                <a14:useLocalDpi xmlns:a14="http://schemas.microsoft.com/office/drawing/2010/main" xmlns="" val="0"/>
              </a:ext>
            </a:extLst>
          </a:blip>
          <a:srcRect/>
          <a:stretch>
            <a:fillRect/>
          </a:stretch>
        </p:blipFill>
        <p:spPr bwMode="auto">
          <a:xfrm>
            <a:off x="5625398" y="3272666"/>
            <a:ext cx="362570" cy="20379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74" name="TextBox 173"/>
          <p:cNvSpPr txBox="1"/>
          <p:nvPr/>
        </p:nvSpPr>
        <p:spPr>
          <a:xfrm>
            <a:off x="5940881" y="3276224"/>
            <a:ext cx="1619964" cy="230832"/>
          </a:xfrm>
          <a:prstGeom prst="rect">
            <a:avLst/>
          </a:prstGeom>
          <a:noFill/>
        </p:spPr>
        <p:txBody>
          <a:bodyPr wrap="square" rtlCol="0">
            <a:spAutoFit/>
          </a:bodyPr>
          <a:lstStyle/>
          <a:p>
            <a:r>
              <a:rPr lang="en-GB" sz="900" b="1" dirty="0" smtClean="0">
                <a:solidFill>
                  <a:schemeClr val="tx2"/>
                </a:solidFill>
                <a:latin typeface="Telefonica Text" pitchFamily="50" charset="0"/>
              </a:rPr>
              <a:t>SC Op </a:t>
            </a:r>
            <a:r>
              <a:rPr lang="en-GB" sz="900" b="1" dirty="0" err="1" smtClean="0">
                <a:solidFill>
                  <a:schemeClr val="tx2"/>
                </a:solidFill>
                <a:latin typeface="Telefonica Text" pitchFamily="50" charset="0"/>
              </a:rPr>
              <a:t>Center</a:t>
            </a:r>
            <a:endParaRPr lang="en-GB" sz="900" b="1" dirty="0">
              <a:solidFill>
                <a:schemeClr val="tx2"/>
              </a:solidFill>
              <a:latin typeface="Telefonica Text" pitchFamily="50" charset="0"/>
            </a:endParaRPr>
          </a:p>
        </p:txBody>
      </p:sp>
      <p:sp>
        <p:nvSpPr>
          <p:cNvPr id="175" name="Rectangle 48"/>
          <p:cNvSpPr>
            <a:spLocks/>
          </p:cNvSpPr>
          <p:nvPr/>
        </p:nvSpPr>
        <p:spPr bwMode="auto">
          <a:xfrm>
            <a:off x="515241" y="210177"/>
            <a:ext cx="8680530" cy="3864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26788" tIns="26788" rIns="26788" bIns="26788">
            <a:spAutoFit/>
          </a:bodyPr>
          <a:lstStyle/>
          <a:p>
            <a:pPr algn="l" defTabSz="642938" eaLnBrk="1" hangingPunct="1">
              <a:lnSpc>
                <a:spcPct val="90000"/>
              </a:lnSpc>
            </a:pPr>
            <a:r>
              <a:rPr lang="en-GB" sz="2400" b="1" dirty="0" err="1" smtClean="0">
                <a:latin typeface="Arial" pitchFamily="34" charset="0"/>
                <a:ea typeface="Arial Unicode MS" pitchFamily="34" charset="-128"/>
                <a:cs typeface="Arial" pitchFamily="34" charset="0"/>
                <a:sym typeface="Telefonica Headline Light" pitchFamily="2" charset="0"/>
              </a:rPr>
              <a:t>Telefónica</a:t>
            </a:r>
            <a:r>
              <a:rPr lang="en-GB" sz="2400" b="1" dirty="0" smtClean="0">
                <a:latin typeface="Arial" pitchFamily="34" charset="0"/>
                <a:ea typeface="Arial Unicode MS" pitchFamily="34" charset="-128"/>
                <a:cs typeface="Arial" pitchFamily="34" charset="0"/>
                <a:sym typeface="Telefonica Headline Light" pitchFamily="2" charset="0"/>
              </a:rPr>
              <a:t> has an integrated smart city model…</a:t>
            </a:r>
            <a:endParaRPr lang="en-GB" sz="2400" b="1" dirty="0">
              <a:latin typeface="Arial" pitchFamily="34" charset="0"/>
              <a:ea typeface="Arial Unicode MS" pitchFamily="34" charset="-128"/>
              <a:cs typeface="Arial" pitchFamily="34" charset="0"/>
              <a:sym typeface="Telefonica Headline Light" pitchFamily="2" charset="0"/>
            </a:endParaRPr>
          </a:p>
        </p:txBody>
      </p:sp>
      <p:pic>
        <p:nvPicPr>
          <p:cNvPr id="176" name="Picture 1"/>
          <p:cNvPicPr>
            <a:picLocks noChangeAspect="1" noChangeArrowheads="1"/>
          </p:cNvPicPr>
          <p:nvPr/>
        </p:nvPicPr>
        <p:blipFill>
          <a:blip r:embed="rId23" cstate="print">
            <a:extLst>
              <a:ext uri="{28A0092B-C50C-407E-A947-70E740481C1C}">
                <a14:useLocalDpi xmlns:a14="http://schemas.microsoft.com/office/drawing/2010/main" xmlns="" val="0"/>
              </a:ext>
            </a:extLst>
          </a:blip>
          <a:srcRect/>
          <a:stretch>
            <a:fillRect/>
          </a:stretch>
        </p:blipFill>
        <p:spPr bwMode="auto">
          <a:xfrm>
            <a:off x="533286" y="4939564"/>
            <a:ext cx="2465878" cy="10852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Lst>
        </p:spPr>
      </p:pic>
      <p:sp>
        <p:nvSpPr>
          <p:cNvPr id="178" name="Rectangle 1"/>
          <p:cNvSpPr>
            <a:spLocks/>
          </p:cNvSpPr>
          <p:nvPr/>
        </p:nvSpPr>
        <p:spPr bwMode="auto">
          <a:xfrm>
            <a:off x="0" y="0"/>
            <a:ext cx="368300" cy="647700"/>
          </a:xfrm>
          <a:prstGeom prst="rect">
            <a:avLst/>
          </a:prstGeom>
          <a:gradFill rotWithShape="0">
            <a:gsLst>
              <a:gs pos="0">
                <a:srgbClr val="0A1519"/>
              </a:gs>
              <a:gs pos="100000">
                <a:srgbClr val="2A5E77"/>
              </a:gs>
            </a:gsLst>
            <a:lin ang="2700000" scaled="1"/>
          </a:gradFill>
          <a:ln>
            <a:noFill/>
          </a:ln>
          <a:extLst>
            <a:ext uri="{91240B29-F687-4F45-9708-019B960494DF}">
              <a14:hiddenLine xmlns:a14="http://schemas.microsoft.com/office/drawing/2010/main" xmlns="" w="12700">
                <a:solidFill>
                  <a:schemeClr val="tx1"/>
                </a:solidFill>
                <a:miter lim="800000"/>
                <a:headEnd/>
                <a:tailEnd/>
              </a14:hiddenLine>
            </a:ext>
          </a:extLst>
        </p:spPr>
        <p:txBody>
          <a:bodyPr lIns="0" tIns="0" rIns="0" bIns="0"/>
          <a:lstStyle/>
          <a:p>
            <a:endParaRPr lang="es-ES">
              <a:cs typeface="Arial" pitchFamily="34" charset="0"/>
            </a:endParaRPr>
          </a:p>
        </p:txBody>
      </p:sp>
      <p:sp>
        <p:nvSpPr>
          <p:cNvPr id="181" name="Rectangle 9"/>
          <p:cNvSpPr>
            <a:spLocks/>
          </p:cNvSpPr>
          <p:nvPr/>
        </p:nvSpPr>
        <p:spPr bwMode="auto">
          <a:xfrm>
            <a:off x="55563" y="334963"/>
            <a:ext cx="339725" cy="357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chemeClr val="tx1"/>
                </a:solidFill>
                <a:miter lim="800000"/>
                <a:headEnd/>
                <a:tailEnd/>
              </a14:hiddenLine>
            </a:ext>
          </a:extLst>
        </p:spPr>
        <p:txBody>
          <a:bodyPr lIns="38100" tIns="38100" rIns="38100" bIns="38100"/>
          <a:lstStyle/>
          <a:p>
            <a:pPr algn="l"/>
            <a:r>
              <a:rPr lang="en-US" sz="1400" dirty="0" smtClean="0">
                <a:solidFill>
                  <a:srgbClr val="44B5CA"/>
                </a:solidFill>
                <a:ea typeface="MS PGothic" pitchFamily="34" charset="-128"/>
                <a:sym typeface="Telefonica Text Bold"/>
              </a:rPr>
              <a:t>03</a:t>
            </a:r>
            <a:endParaRPr lang="en-US" sz="1400" dirty="0">
              <a:solidFill>
                <a:srgbClr val="44B5CA"/>
              </a:solidFill>
              <a:ea typeface="MS PGothic" pitchFamily="34" charset="-128"/>
              <a:sym typeface="Telefonica Text Bold"/>
            </a:endParaRPr>
          </a:p>
        </p:txBody>
      </p:sp>
    </p:spTree>
    <p:extLst>
      <p:ext uri="{BB962C8B-B14F-4D97-AF65-F5344CB8AC3E}">
        <p14:creationId xmlns:p14="http://schemas.microsoft.com/office/powerpoint/2010/main" xmlns="" val="397534942"/>
      </p:ext>
    </p:extLst>
  </p:cSld>
  <p:clrMapOvr>
    <a:overrideClrMapping bg1="lt1" tx1="dk1" bg2="lt2" tx2="dk2" accent1="accent1" accent2="accent2" accent3="accent3" accent4="accent4" accent5="accent5" accent6="accent6" hlink="hlink" folHlink="folHlink"/>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11" name="AutoShape 2"/>
          <p:cNvSpPr>
            <a:spLocks noChangeArrowheads="1"/>
          </p:cNvSpPr>
          <p:nvPr/>
        </p:nvSpPr>
        <p:spPr bwMode="auto">
          <a:xfrm>
            <a:off x="312739" y="70024"/>
            <a:ext cx="8651874" cy="999838"/>
          </a:xfrm>
          <a:prstGeom prst="roundRect">
            <a:avLst>
              <a:gd name="adj" fmla="val 16667"/>
            </a:avLst>
          </a:prstGeom>
          <a:noFill/>
          <a:ln w="9525" algn="ctr">
            <a:noFill/>
            <a:round/>
            <a:headEnd/>
            <a:tailEnd/>
          </a:ln>
        </p:spPr>
        <p:txBody>
          <a:bodyPr wrap="square" lIns="36000" tIns="36000" rIns="36000" bIns="36000">
            <a:spAutoFit/>
          </a:bodyPr>
          <a:lstStyle/>
          <a:p>
            <a:pPr defTabSz="457200"/>
            <a:r>
              <a:rPr lang="en-GB" b="1" dirty="0" smtClean="0">
                <a:solidFill>
                  <a:schemeClr val="tx2"/>
                </a:solidFill>
                <a:latin typeface="Arial" pitchFamily="34" charset="0"/>
                <a:ea typeface="Arial Unicode MS" pitchFamily="34" charset="-128"/>
                <a:cs typeface="Arial" pitchFamily="34" charset="0"/>
              </a:rPr>
              <a:t>Energy &amp; environment comprises s</a:t>
            </a:r>
            <a:r>
              <a:rPr lang="en-US" b="1" dirty="0" err="1" smtClean="0">
                <a:solidFill>
                  <a:schemeClr val="tx2"/>
                </a:solidFill>
                <a:latin typeface="Arial" pitchFamily="34" charset="0"/>
                <a:ea typeface="Arial Unicode MS" pitchFamily="34" charset="-128"/>
                <a:cs typeface="Arial" pitchFamily="34" charset="0"/>
              </a:rPr>
              <a:t>ervices</a:t>
            </a:r>
            <a:r>
              <a:rPr lang="en-US" b="1" dirty="0" smtClean="0">
                <a:solidFill>
                  <a:schemeClr val="tx2"/>
                </a:solidFill>
                <a:latin typeface="Arial" pitchFamily="34" charset="0"/>
                <a:ea typeface="Arial Unicode MS" pitchFamily="34" charset="-128"/>
                <a:cs typeface="Arial" pitchFamily="34" charset="0"/>
              </a:rPr>
              <a:t> </a:t>
            </a:r>
            <a:r>
              <a:rPr lang="en-US" b="1" dirty="0">
                <a:solidFill>
                  <a:schemeClr val="tx2"/>
                </a:solidFill>
                <a:latin typeface="Arial" pitchFamily="34" charset="0"/>
                <a:ea typeface="Arial Unicode MS" pitchFamily="34" charset="-128"/>
                <a:cs typeface="Arial" pitchFamily="34" charset="0"/>
              </a:rPr>
              <a:t>whose main motivation is to reduce energy consumption (electricity, oil and gas, water, etc.), to better manage waste or to improve environment indicators</a:t>
            </a:r>
            <a:endParaRPr lang="en-GB" b="1" dirty="0">
              <a:solidFill>
                <a:schemeClr val="tx2"/>
              </a:solidFill>
              <a:latin typeface="Arial" pitchFamily="34" charset="0"/>
              <a:ea typeface="Arial Unicode MS" pitchFamily="34" charset="-128"/>
              <a:cs typeface="Arial" pitchFamily="34" charset="0"/>
            </a:endParaRPr>
          </a:p>
        </p:txBody>
      </p:sp>
      <p:pic>
        <p:nvPicPr>
          <p:cNvPr id="90"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9139" y="3071907"/>
            <a:ext cx="6948264" cy="34599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nvGrpSpPr>
          <p:cNvPr id="2" name="1 Grupo"/>
          <p:cNvGrpSpPr/>
          <p:nvPr/>
        </p:nvGrpSpPr>
        <p:grpSpPr>
          <a:xfrm>
            <a:off x="7137574" y="1001315"/>
            <a:ext cx="1604500" cy="4345492"/>
            <a:chOff x="1167300" y="1343665"/>
            <a:chExt cx="1604500" cy="4345492"/>
          </a:xfrm>
        </p:grpSpPr>
        <p:sp>
          <p:nvSpPr>
            <p:cNvPr id="91" name="Rounded Rectangle 36"/>
            <p:cNvSpPr/>
            <p:nvPr/>
          </p:nvSpPr>
          <p:spPr bwMode="auto">
            <a:xfrm>
              <a:off x="1167300" y="1991735"/>
              <a:ext cx="1544226" cy="3697422"/>
            </a:xfrm>
            <a:prstGeom prst="roundRect">
              <a:avLst>
                <a:gd name="adj" fmla="val 0"/>
              </a:avLst>
            </a:prstGeom>
            <a:gradFill flip="none" rotWithShape="1">
              <a:gsLst>
                <a:gs pos="22000">
                  <a:schemeClr val="accent5">
                    <a:lumMod val="40000"/>
                    <a:lumOff val="60000"/>
                  </a:schemeClr>
                </a:gs>
                <a:gs pos="44000">
                  <a:schemeClr val="accent5">
                    <a:lumMod val="20000"/>
                    <a:lumOff val="80000"/>
                  </a:schemeClr>
                </a:gs>
                <a:gs pos="74000">
                  <a:schemeClr val="bg1">
                    <a:alpha val="0"/>
                  </a:schemeClr>
                </a:gs>
              </a:gsLst>
              <a:lin ang="13500000" scaled="1"/>
              <a:tileRect/>
            </a:gradFill>
            <a:ln w="9525"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algn="ctr">
                <a:lnSpc>
                  <a:spcPct val="105000"/>
                </a:lnSpc>
                <a:spcBef>
                  <a:spcPct val="30000"/>
                </a:spcBef>
              </a:pPr>
              <a:endParaRPr lang="en-GB" sz="1300">
                <a:solidFill>
                  <a:schemeClr val="tx1"/>
                </a:solidFill>
                <a:latin typeface="Arial" pitchFamily="34" charset="0"/>
                <a:ea typeface="ＭＳ Ｐゴシック" pitchFamily="34" charset="-128"/>
                <a:cs typeface="Arial" pitchFamily="34" charset="0"/>
              </a:endParaRPr>
            </a:p>
          </p:txBody>
        </p:sp>
        <p:grpSp>
          <p:nvGrpSpPr>
            <p:cNvPr id="92" name="Group 70"/>
            <p:cNvGrpSpPr/>
            <p:nvPr/>
          </p:nvGrpSpPr>
          <p:grpSpPr>
            <a:xfrm>
              <a:off x="1167836" y="1343665"/>
              <a:ext cx="1544226" cy="570272"/>
              <a:chOff x="1691680" y="1916832"/>
              <a:chExt cx="1338697" cy="555682"/>
            </a:xfrm>
            <a:solidFill>
              <a:schemeClr val="tx2">
                <a:lumMod val="50000"/>
              </a:schemeClr>
            </a:solidFill>
          </p:grpSpPr>
          <p:sp>
            <p:nvSpPr>
              <p:cNvPr id="93" name="AutoShape 23"/>
              <p:cNvSpPr>
                <a:spLocks/>
              </p:cNvSpPr>
              <p:nvPr/>
            </p:nvSpPr>
            <p:spPr bwMode="auto">
              <a:xfrm>
                <a:off x="1691680" y="1916832"/>
                <a:ext cx="1338697" cy="555682"/>
              </a:xfrm>
              <a:prstGeom prst="rect">
                <a:avLst/>
              </a:prstGeom>
              <a:grpFill/>
              <a:ln>
                <a:noFill/>
              </a:ln>
              <a:extLst>
                <a:ext uri="{91240B29-F687-4F45-9708-019B960494DF}">
                  <a14:hiddenLine xmlns:a14="http://schemas.microsoft.com/office/drawing/2010/main" xmlns="" w="25400">
                    <a:solidFill>
                      <a:srgbClr val="000000"/>
                    </a:solidFill>
                    <a:miter lim="800000"/>
                    <a:headEnd/>
                    <a:tailEnd/>
                  </a14:hiddenLine>
                </a:ext>
              </a:extLst>
            </p:spPr>
            <p:txBody>
              <a:bodyPr lIns="0" tIns="0" rIns="0" bIns="0"/>
              <a:lstStyle/>
              <a:p>
                <a:endParaRPr lang="en-GB" sz="1000">
                  <a:latin typeface="Arial" pitchFamily="34" charset="0"/>
                  <a:cs typeface="Arial" pitchFamily="34" charset="0"/>
                </a:endParaRPr>
              </a:p>
            </p:txBody>
          </p:sp>
          <p:sp>
            <p:nvSpPr>
              <p:cNvPr id="94" name="Rectangle 24"/>
              <p:cNvSpPr>
                <a:spLocks/>
              </p:cNvSpPr>
              <p:nvPr/>
            </p:nvSpPr>
            <p:spPr bwMode="auto">
              <a:xfrm>
                <a:off x="1761989" y="1978399"/>
                <a:ext cx="1198078" cy="432548"/>
              </a:xfrm>
              <a:prstGeom prst="rect">
                <a:avLst/>
              </a:prstGeom>
              <a:grpFill/>
              <a:ln>
                <a:noFill/>
              </a:ln>
              <a:extLst>
                <a:ext uri="{91240B29-F687-4F45-9708-019B960494DF}">
                  <a14:hiddenLine xmlns:a14="http://schemas.microsoft.com/office/drawing/2010/main" xmlns="" w="12700">
                    <a:solidFill>
                      <a:srgbClr val="000000"/>
                    </a:solidFill>
                    <a:miter lim="800000"/>
                    <a:headEnd/>
                    <a:tailEnd/>
                  </a14:hiddenLine>
                </a:ext>
              </a:extLst>
            </p:spPr>
            <p:txBody>
              <a:bodyPr lIns="0" tIns="0" rIns="5300" bIns="0" anchor="ctr"/>
              <a:lstStyle/>
              <a:p>
                <a:pPr marL="3175" algn="ctr"/>
                <a:r>
                  <a:rPr lang="en-GB" sz="1100" b="1" dirty="0" smtClean="0">
                    <a:solidFill>
                      <a:srgbClr val="FFFFFF"/>
                    </a:solidFill>
                    <a:latin typeface="Arial" pitchFamily="34" charset="0"/>
                    <a:cs typeface="Arial" pitchFamily="34" charset="0"/>
                    <a:sym typeface="Telefonica Text Bold" charset="0"/>
                  </a:rPr>
                  <a:t>Energy &amp; environment</a:t>
                </a:r>
                <a:endParaRPr lang="en-GB" sz="1100" b="1" dirty="0">
                  <a:solidFill>
                    <a:srgbClr val="FFFFFF"/>
                  </a:solidFill>
                  <a:latin typeface="Arial" pitchFamily="34" charset="0"/>
                  <a:cs typeface="Arial" pitchFamily="34" charset="0"/>
                  <a:sym typeface="Telefonica Text Bold" charset="0"/>
                </a:endParaRPr>
              </a:p>
            </p:txBody>
          </p:sp>
        </p:grpSp>
        <p:sp>
          <p:nvSpPr>
            <p:cNvPr id="95" name="TextBox 91"/>
            <p:cNvSpPr txBox="1"/>
            <p:nvPr/>
          </p:nvSpPr>
          <p:spPr>
            <a:xfrm>
              <a:off x="1644642" y="2607409"/>
              <a:ext cx="1009634" cy="338554"/>
            </a:xfrm>
            <a:prstGeom prst="rect">
              <a:avLst/>
            </a:prstGeom>
            <a:noFill/>
          </p:spPr>
          <p:txBody>
            <a:bodyPr wrap="square" rtlCol="0" anchor="ctr">
              <a:spAutoFit/>
            </a:bodyPr>
            <a:lstStyle>
              <a:defPPr>
                <a:defRPr lang="en-US"/>
              </a:defPPr>
              <a:lvl1pPr>
                <a:lnSpc>
                  <a:spcPct val="80000"/>
                </a:lnSpc>
                <a:spcBef>
                  <a:spcPct val="20000"/>
                </a:spcBef>
                <a:defRPr sz="1000">
                  <a:solidFill>
                    <a:srgbClr val="000000"/>
                  </a:solidFill>
                  <a:latin typeface="+mn-lt"/>
                  <a:cs typeface="Arial" pitchFamily="34" charset="0"/>
                </a:defRPr>
              </a:lvl1pPr>
            </a:lstStyle>
            <a:p>
              <a:r>
                <a:rPr lang="en-US" dirty="0">
                  <a:latin typeface="Arial" pitchFamily="34" charset="0"/>
                </a:rPr>
                <a:t>Smart meter </a:t>
              </a:r>
              <a:r>
                <a:rPr lang="en-US" dirty="0" err="1">
                  <a:latin typeface="Arial" pitchFamily="34" charset="0"/>
                </a:rPr>
                <a:t>elec</a:t>
              </a:r>
              <a:r>
                <a:rPr lang="en-US" dirty="0">
                  <a:latin typeface="Arial" pitchFamily="34" charset="0"/>
                </a:rPr>
                <a:t> / grid</a:t>
              </a:r>
            </a:p>
          </p:txBody>
        </p:sp>
        <p:sp>
          <p:nvSpPr>
            <p:cNvPr id="96" name="TextBox 93"/>
            <p:cNvSpPr txBox="1"/>
            <p:nvPr/>
          </p:nvSpPr>
          <p:spPr>
            <a:xfrm>
              <a:off x="1644642" y="2168702"/>
              <a:ext cx="1009634" cy="218521"/>
            </a:xfrm>
            <a:prstGeom prst="rect">
              <a:avLst/>
            </a:prstGeom>
            <a:noFill/>
          </p:spPr>
          <p:txBody>
            <a:bodyPr wrap="square" rtlCol="0" anchor="ctr">
              <a:spAutoFit/>
            </a:bodyPr>
            <a:lstStyle>
              <a:defPPr>
                <a:defRPr lang="en-US"/>
              </a:defPPr>
              <a:lvl1pPr>
                <a:lnSpc>
                  <a:spcPct val="80000"/>
                </a:lnSpc>
                <a:spcBef>
                  <a:spcPct val="20000"/>
                </a:spcBef>
                <a:defRPr sz="1000">
                  <a:solidFill>
                    <a:srgbClr val="000000"/>
                  </a:solidFill>
                  <a:latin typeface="Arial" pitchFamily="34" charset="0"/>
                  <a:cs typeface="Arial" pitchFamily="34" charset="0"/>
                </a:defRPr>
              </a:lvl1pPr>
            </a:lstStyle>
            <a:p>
              <a:r>
                <a:rPr lang="en-GB" dirty="0" smtClean="0"/>
                <a:t>Smart building</a:t>
              </a:r>
              <a:endParaRPr lang="en-GB" dirty="0"/>
            </a:p>
          </p:txBody>
        </p:sp>
        <p:sp>
          <p:nvSpPr>
            <p:cNvPr id="97" name="TextBox 96"/>
            <p:cNvSpPr txBox="1"/>
            <p:nvPr/>
          </p:nvSpPr>
          <p:spPr>
            <a:xfrm>
              <a:off x="1644642" y="3645772"/>
              <a:ext cx="1009634" cy="338554"/>
            </a:xfrm>
            <a:prstGeom prst="rect">
              <a:avLst/>
            </a:prstGeom>
            <a:noFill/>
          </p:spPr>
          <p:txBody>
            <a:bodyPr wrap="square" rtlCol="0" anchor="ctr">
              <a:spAutoFit/>
            </a:bodyPr>
            <a:lstStyle>
              <a:defPPr>
                <a:defRPr lang="en-US"/>
              </a:defPPr>
              <a:lvl1pPr>
                <a:lnSpc>
                  <a:spcPct val="80000"/>
                </a:lnSpc>
                <a:spcBef>
                  <a:spcPct val="20000"/>
                </a:spcBef>
                <a:defRPr sz="1000">
                  <a:solidFill>
                    <a:srgbClr val="000000"/>
                  </a:solidFill>
                  <a:latin typeface="Arial" pitchFamily="34" charset="0"/>
                  <a:cs typeface="Arial" pitchFamily="34" charset="0"/>
                </a:defRPr>
              </a:lvl1pPr>
            </a:lstStyle>
            <a:p>
              <a:r>
                <a:rPr lang="en-GB" smtClean="0"/>
                <a:t>Smart urban lighting</a:t>
              </a:r>
              <a:endParaRPr lang="en-GB"/>
            </a:p>
          </p:txBody>
        </p:sp>
        <p:sp>
          <p:nvSpPr>
            <p:cNvPr id="98" name="TextBox 94"/>
            <p:cNvSpPr txBox="1"/>
            <p:nvPr/>
          </p:nvSpPr>
          <p:spPr>
            <a:xfrm>
              <a:off x="1644642" y="4269657"/>
              <a:ext cx="1009634" cy="338554"/>
            </a:xfrm>
            <a:prstGeom prst="rect">
              <a:avLst/>
            </a:prstGeom>
            <a:noFill/>
          </p:spPr>
          <p:txBody>
            <a:bodyPr wrap="square" rtlCol="0" anchor="ctr">
              <a:spAutoFit/>
            </a:bodyPr>
            <a:lstStyle>
              <a:defPPr>
                <a:defRPr lang="en-US"/>
              </a:defPPr>
              <a:lvl1pPr>
                <a:lnSpc>
                  <a:spcPct val="80000"/>
                </a:lnSpc>
                <a:spcBef>
                  <a:spcPct val="20000"/>
                </a:spcBef>
                <a:defRPr sz="1000">
                  <a:solidFill>
                    <a:srgbClr val="000000"/>
                  </a:solidFill>
                  <a:latin typeface="Arial" pitchFamily="34" charset="0"/>
                  <a:cs typeface="Arial" pitchFamily="34" charset="0"/>
                </a:defRPr>
              </a:lvl1pPr>
            </a:lstStyle>
            <a:p>
              <a:r>
                <a:rPr lang="en-GB" smtClean="0"/>
                <a:t>Waste Management</a:t>
              </a:r>
              <a:endParaRPr lang="en-GB"/>
            </a:p>
          </p:txBody>
        </p:sp>
        <p:sp>
          <p:nvSpPr>
            <p:cNvPr id="99" name="TextBox 94"/>
            <p:cNvSpPr txBox="1"/>
            <p:nvPr/>
          </p:nvSpPr>
          <p:spPr>
            <a:xfrm>
              <a:off x="1644642" y="4814251"/>
              <a:ext cx="1009634" cy="338554"/>
            </a:xfrm>
            <a:prstGeom prst="rect">
              <a:avLst/>
            </a:prstGeom>
            <a:noFill/>
          </p:spPr>
          <p:txBody>
            <a:bodyPr wrap="square" rtlCol="0" anchor="ctr">
              <a:spAutoFit/>
            </a:bodyPr>
            <a:lstStyle>
              <a:defPPr>
                <a:defRPr lang="en-US"/>
              </a:defPPr>
              <a:lvl1pPr>
                <a:lnSpc>
                  <a:spcPct val="80000"/>
                </a:lnSpc>
                <a:spcBef>
                  <a:spcPct val="20000"/>
                </a:spcBef>
                <a:defRPr sz="1000">
                  <a:solidFill>
                    <a:srgbClr val="000000"/>
                  </a:solidFill>
                  <a:latin typeface="Arial" pitchFamily="34" charset="0"/>
                  <a:cs typeface="Arial" pitchFamily="34" charset="0"/>
                </a:defRPr>
              </a:lvl1pPr>
            </a:lstStyle>
            <a:p>
              <a:r>
                <a:rPr lang="en-GB" smtClean="0"/>
                <a:t>Watering management</a:t>
              </a:r>
              <a:endParaRPr lang="en-GB"/>
            </a:p>
          </p:txBody>
        </p:sp>
        <p:sp>
          <p:nvSpPr>
            <p:cNvPr id="100" name="TextBox 91"/>
            <p:cNvSpPr txBox="1"/>
            <p:nvPr/>
          </p:nvSpPr>
          <p:spPr>
            <a:xfrm>
              <a:off x="1644642" y="3097268"/>
              <a:ext cx="959184" cy="338554"/>
            </a:xfrm>
            <a:prstGeom prst="rect">
              <a:avLst/>
            </a:prstGeom>
            <a:noFill/>
          </p:spPr>
          <p:txBody>
            <a:bodyPr wrap="square" rtlCol="0" anchor="ctr">
              <a:spAutoFit/>
            </a:bodyPr>
            <a:lstStyle>
              <a:defPPr>
                <a:defRPr lang="en-US"/>
              </a:defPPr>
              <a:lvl1pPr>
                <a:lnSpc>
                  <a:spcPct val="80000"/>
                </a:lnSpc>
                <a:spcBef>
                  <a:spcPct val="20000"/>
                </a:spcBef>
                <a:defRPr sz="1000">
                  <a:solidFill>
                    <a:srgbClr val="000000"/>
                  </a:solidFill>
                  <a:latin typeface="+mn-lt"/>
                  <a:cs typeface="Arial" pitchFamily="34" charset="0"/>
                </a:defRPr>
              </a:lvl1pPr>
            </a:lstStyle>
            <a:p>
              <a:r>
                <a:rPr lang="en-US" dirty="0">
                  <a:latin typeface="Arial" pitchFamily="34" charset="0"/>
                </a:rPr>
                <a:t>Smart Meter Water</a:t>
              </a:r>
            </a:p>
          </p:txBody>
        </p:sp>
        <p:grpSp>
          <p:nvGrpSpPr>
            <p:cNvPr id="101" name="Group 27"/>
            <p:cNvGrpSpPr/>
            <p:nvPr/>
          </p:nvGrpSpPr>
          <p:grpSpPr>
            <a:xfrm>
              <a:off x="1285611" y="2574642"/>
              <a:ext cx="265246" cy="384903"/>
              <a:chOff x="5367856" y="4158960"/>
              <a:chExt cx="438406" cy="573759"/>
            </a:xfrm>
          </p:grpSpPr>
          <p:grpSp>
            <p:nvGrpSpPr>
              <p:cNvPr id="102" name="Group 48"/>
              <p:cNvGrpSpPr>
                <a:grpSpLocks noChangeAspect="1"/>
              </p:cNvGrpSpPr>
              <p:nvPr/>
            </p:nvGrpSpPr>
            <p:grpSpPr>
              <a:xfrm>
                <a:off x="5367856" y="4158960"/>
                <a:ext cx="239163" cy="423664"/>
                <a:chOff x="762212" y="192617"/>
                <a:chExt cx="3653473" cy="6471920"/>
              </a:xfrm>
              <a:solidFill>
                <a:schemeClr val="tx2">
                  <a:lumMod val="60000"/>
                  <a:lumOff val="40000"/>
                </a:schemeClr>
              </a:solidFill>
            </p:grpSpPr>
            <p:sp>
              <p:nvSpPr>
                <p:cNvPr id="124" name="Freeform 50"/>
                <p:cNvSpPr/>
                <p:nvPr/>
              </p:nvSpPr>
              <p:spPr>
                <a:xfrm>
                  <a:off x="762212" y="192617"/>
                  <a:ext cx="3653473" cy="6471920"/>
                </a:xfrm>
                <a:custGeom>
                  <a:avLst/>
                  <a:gdLst>
                    <a:gd name="connsiteX0" fmla="*/ 1536700 w 3390900"/>
                    <a:gd name="connsiteY0" fmla="*/ 0 h 6261100"/>
                    <a:gd name="connsiteX1" fmla="*/ 1536700 w 3390900"/>
                    <a:gd name="connsiteY1" fmla="*/ 0 h 6261100"/>
                    <a:gd name="connsiteX2" fmla="*/ 1295400 w 3390900"/>
                    <a:gd name="connsiteY2" fmla="*/ 685800 h 6261100"/>
                    <a:gd name="connsiteX3" fmla="*/ 0 w 3390900"/>
                    <a:gd name="connsiteY3" fmla="*/ 1219200 h 6261100"/>
                    <a:gd name="connsiteX4" fmla="*/ 12700 w 3390900"/>
                    <a:gd name="connsiteY4" fmla="*/ 1485900 h 6261100"/>
                    <a:gd name="connsiteX5" fmla="*/ 1282700 w 3390900"/>
                    <a:gd name="connsiteY5" fmla="*/ 1460500 h 6261100"/>
                    <a:gd name="connsiteX6" fmla="*/ 1295400 w 3390900"/>
                    <a:gd name="connsiteY6" fmla="*/ 2400300 h 6261100"/>
                    <a:gd name="connsiteX7" fmla="*/ 279400 w 3390900"/>
                    <a:gd name="connsiteY7" fmla="*/ 6248400 h 6261100"/>
                    <a:gd name="connsiteX8" fmla="*/ 444500 w 3390900"/>
                    <a:gd name="connsiteY8" fmla="*/ 6261100 h 6261100"/>
                    <a:gd name="connsiteX9" fmla="*/ 444500 w 3390900"/>
                    <a:gd name="connsiteY9" fmla="*/ 6096000 h 6261100"/>
                    <a:gd name="connsiteX10" fmla="*/ 1422400 w 3390900"/>
                    <a:gd name="connsiteY10" fmla="*/ 2362200 h 6261100"/>
                    <a:gd name="connsiteX11" fmla="*/ 1358900 w 3390900"/>
                    <a:gd name="connsiteY11" fmla="*/ 1257300 h 6261100"/>
                    <a:gd name="connsiteX12" fmla="*/ 508000 w 3390900"/>
                    <a:gd name="connsiteY12" fmla="*/ 1257300 h 6261100"/>
                    <a:gd name="connsiteX13" fmla="*/ 1371600 w 3390900"/>
                    <a:gd name="connsiteY13" fmla="*/ 800100 h 6261100"/>
                    <a:gd name="connsiteX14" fmla="*/ 1663700 w 3390900"/>
                    <a:gd name="connsiteY14" fmla="*/ 139700 h 6261100"/>
                    <a:gd name="connsiteX15" fmla="*/ 1930400 w 3390900"/>
                    <a:gd name="connsiteY15" fmla="*/ 736600 h 6261100"/>
                    <a:gd name="connsiteX16" fmla="*/ 2946400 w 3390900"/>
                    <a:gd name="connsiteY16" fmla="*/ 1231900 h 6261100"/>
                    <a:gd name="connsiteX17" fmla="*/ 1981200 w 3390900"/>
                    <a:gd name="connsiteY17" fmla="*/ 1219200 h 6261100"/>
                    <a:gd name="connsiteX18" fmla="*/ 1968500 w 3390900"/>
                    <a:gd name="connsiteY18" fmla="*/ 2324100 h 6261100"/>
                    <a:gd name="connsiteX19" fmla="*/ 2984500 w 3390900"/>
                    <a:gd name="connsiteY19" fmla="*/ 6248400 h 6261100"/>
                    <a:gd name="connsiteX20" fmla="*/ 3124200 w 3390900"/>
                    <a:gd name="connsiteY20" fmla="*/ 6172200 h 6261100"/>
                    <a:gd name="connsiteX21" fmla="*/ 2108200 w 3390900"/>
                    <a:gd name="connsiteY21" fmla="*/ 2362200 h 6261100"/>
                    <a:gd name="connsiteX22" fmla="*/ 2120900 w 3390900"/>
                    <a:gd name="connsiteY22" fmla="*/ 1473200 h 6261100"/>
                    <a:gd name="connsiteX23" fmla="*/ 3390900 w 3390900"/>
                    <a:gd name="connsiteY23" fmla="*/ 1460500 h 6261100"/>
                    <a:gd name="connsiteX24" fmla="*/ 3365500 w 3390900"/>
                    <a:gd name="connsiteY24" fmla="*/ 1231900 h 6261100"/>
                    <a:gd name="connsiteX25" fmla="*/ 2082800 w 3390900"/>
                    <a:gd name="connsiteY25" fmla="*/ 596900 h 6261100"/>
                    <a:gd name="connsiteX26" fmla="*/ 1892300 w 3390900"/>
                    <a:gd name="connsiteY26" fmla="*/ 0 h 6261100"/>
                    <a:gd name="connsiteX27" fmla="*/ 1536700 w 3390900"/>
                    <a:gd name="connsiteY27" fmla="*/ 0 h 6261100"/>
                    <a:gd name="connsiteX0" fmla="*/ 1536700 w 3390900"/>
                    <a:gd name="connsiteY0" fmla="*/ 0 h 6261100"/>
                    <a:gd name="connsiteX1" fmla="*/ 1536700 w 3390900"/>
                    <a:gd name="connsiteY1" fmla="*/ 0 h 6261100"/>
                    <a:gd name="connsiteX2" fmla="*/ 1310640 w 3390900"/>
                    <a:gd name="connsiteY2" fmla="*/ 579120 h 6261100"/>
                    <a:gd name="connsiteX3" fmla="*/ 0 w 3390900"/>
                    <a:gd name="connsiteY3" fmla="*/ 1219200 h 6261100"/>
                    <a:gd name="connsiteX4" fmla="*/ 12700 w 3390900"/>
                    <a:gd name="connsiteY4" fmla="*/ 1485900 h 6261100"/>
                    <a:gd name="connsiteX5" fmla="*/ 1282700 w 3390900"/>
                    <a:gd name="connsiteY5" fmla="*/ 1460500 h 6261100"/>
                    <a:gd name="connsiteX6" fmla="*/ 1295400 w 3390900"/>
                    <a:gd name="connsiteY6" fmla="*/ 2400300 h 6261100"/>
                    <a:gd name="connsiteX7" fmla="*/ 279400 w 3390900"/>
                    <a:gd name="connsiteY7" fmla="*/ 6248400 h 6261100"/>
                    <a:gd name="connsiteX8" fmla="*/ 444500 w 3390900"/>
                    <a:gd name="connsiteY8" fmla="*/ 6261100 h 6261100"/>
                    <a:gd name="connsiteX9" fmla="*/ 444500 w 3390900"/>
                    <a:gd name="connsiteY9" fmla="*/ 6096000 h 6261100"/>
                    <a:gd name="connsiteX10" fmla="*/ 1422400 w 3390900"/>
                    <a:gd name="connsiteY10" fmla="*/ 2362200 h 6261100"/>
                    <a:gd name="connsiteX11" fmla="*/ 1358900 w 3390900"/>
                    <a:gd name="connsiteY11" fmla="*/ 1257300 h 6261100"/>
                    <a:gd name="connsiteX12" fmla="*/ 508000 w 3390900"/>
                    <a:gd name="connsiteY12" fmla="*/ 1257300 h 6261100"/>
                    <a:gd name="connsiteX13" fmla="*/ 1371600 w 3390900"/>
                    <a:gd name="connsiteY13" fmla="*/ 800100 h 6261100"/>
                    <a:gd name="connsiteX14" fmla="*/ 1663700 w 3390900"/>
                    <a:gd name="connsiteY14" fmla="*/ 139700 h 6261100"/>
                    <a:gd name="connsiteX15" fmla="*/ 1930400 w 3390900"/>
                    <a:gd name="connsiteY15" fmla="*/ 736600 h 6261100"/>
                    <a:gd name="connsiteX16" fmla="*/ 2946400 w 3390900"/>
                    <a:gd name="connsiteY16" fmla="*/ 1231900 h 6261100"/>
                    <a:gd name="connsiteX17" fmla="*/ 1981200 w 3390900"/>
                    <a:gd name="connsiteY17" fmla="*/ 1219200 h 6261100"/>
                    <a:gd name="connsiteX18" fmla="*/ 1968500 w 3390900"/>
                    <a:gd name="connsiteY18" fmla="*/ 2324100 h 6261100"/>
                    <a:gd name="connsiteX19" fmla="*/ 2984500 w 3390900"/>
                    <a:gd name="connsiteY19" fmla="*/ 6248400 h 6261100"/>
                    <a:gd name="connsiteX20" fmla="*/ 3124200 w 3390900"/>
                    <a:gd name="connsiteY20" fmla="*/ 6172200 h 6261100"/>
                    <a:gd name="connsiteX21" fmla="*/ 2108200 w 3390900"/>
                    <a:gd name="connsiteY21" fmla="*/ 2362200 h 6261100"/>
                    <a:gd name="connsiteX22" fmla="*/ 2120900 w 3390900"/>
                    <a:gd name="connsiteY22" fmla="*/ 1473200 h 6261100"/>
                    <a:gd name="connsiteX23" fmla="*/ 3390900 w 3390900"/>
                    <a:gd name="connsiteY23" fmla="*/ 1460500 h 6261100"/>
                    <a:gd name="connsiteX24" fmla="*/ 3365500 w 3390900"/>
                    <a:gd name="connsiteY24" fmla="*/ 1231900 h 6261100"/>
                    <a:gd name="connsiteX25" fmla="*/ 2082800 w 3390900"/>
                    <a:gd name="connsiteY25" fmla="*/ 596900 h 6261100"/>
                    <a:gd name="connsiteX26" fmla="*/ 1892300 w 3390900"/>
                    <a:gd name="connsiteY26" fmla="*/ 0 h 6261100"/>
                    <a:gd name="connsiteX27" fmla="*/ 1536700 w 3390900"/>
                    <a:gd name="connsiteY27" fmla="*/ 0 h 6261100"/>
                    <a:gd name="connsiteX0" fmla="*/ 1524000 w 3378200"/>
                    <a:gd name="connsiteY0" fmla="*/ 0 h 6261100"/>
                    <a:gd name="connsiteX1" fmla="*/ 1524000 w 3378200"/>
                    <a:gd name="connsiteY1" fmla="*/ 0 h 6261100"/>
                    <a:gd name="connsiteX2" fmla="*/ 1297940 w 3378200"/>
                    <a:gd name="connsiteY2" fmla="*/ 579120 h 6261100"/>
                    <a:gd name="connsiteX3" fmla="*/ 10160 w 3378200"/>
                    <a:gd name="connsiteY3" fmla="*/ 1196340 h 6261100"/>
                    <a:gd name="connsiteX4" fmla="*/ 0 w 3378200"/>
                    <a:gd name="connsiteY4" fmla="*/ 1485900 h 6261100"/>
                    <a:gd name="connsiteX5" fmla="*/ 1270000 w 3378200"/>
                    <a:gd name="connsiteY5" fmla="*/ 1460500 h 6261100"/>
                    <a:gd name="connsiteX6" fmla="*/ 1282700 w 3378200"/>
                    <a:gd name="connsiteY6" fmla="*/ 2400300 h 6261100"/>
                    <a:gd name="connsiteX7" fmla="*/ 266700 w 3378200"/>
                    <a:gd name="connsiteY7" fmla="*/ 6248400 h 6261100"/>
                    <a:gd name="connsiteX8" fmla="*/ 431800 w 3378200"/>
                    <a:gd name="connsiteY8" fmla="*/ 6261100 h 6261100"/>
                    <a:gd name="connsiteX9" fmla="*/ 431800 w 3378200"/>
                    <a:gd name="connsiteY9" fmla="*/ 6096000 h 6261100"/>
                    <a:gd name="connsiteX10" fmla="*/ 1409700 w 3378200"/>
                    <a:gd name="connsiteY10" fmla="*/ 2362200 h 6261100"/>
                    <a:gd name="connsiteX11" fmla="*/ 1346200 w 3378200"/>
                    <a:gd name="connsiteY11" fmla="*/ 1257300 h 6261100"/>
                    <a:gd name="connsiteX12" fmla="*/ 495300 w 3378200"/>
                    <a:gd name="connsiteY12" fmla="*/ 1257300 h 6261100"/>
                    <a:gd name="connsiteX13" fmla="*/ 1358900 w 3378200"/>
                    <a:gd name="connsiteY13" fmla="*/ 800100 h 6261100"/>
                    <a:gd name="connsiteX14" fmla="*/ 1651000 w 3378200"/>
                    <a:gd name="connsiteY14" fmla="*/ 139700 h 6261100"/>
                    <a:gd name="connsiteX15" fmla="*/ 1917700 w 3378200"/>
                    <a:gd name="connsiteY15" fmla="*/ 736600 h 6261100"/>
                    <a:gd name="connsiteX16" fmla="*/ 2933700 w 3378200"/>
                    <a:gd name="connsiteY16" fmla="*/ 1231900 h 6261100"/>
                    <a:gd name="connsiteX17" fmla="*/ 1968500 w 3378200"/>
                    <a:gd name="connsiteY17" fmla="*/ 1219200 h 6261100"/>
                    <a:gd name="connsiteX18" fmla="*/ 1955800 w 3378200"/>
                    <a:gd name="connsiteY18" fmla="*/ 2324100 h 6261100"/>
                    <a:gd name="connsiteX19" fmla="*/ 2971800 w 3378200"/>
                    <a:gd name="connsiteY19" fmla="*/ 6248400 h 6261100"/>
                    <a:gd name="connsiteX20" fmla="*/ 3111500 w 3378200"/>
                    <a:gd name="connsiteY20" fmla="*/ 6172200 h 6261100"/>
                    <a:gd name="connsiteX21" fmla="*/ 2095500 w 3378200"/>
                    <a:gd name="connsiteY21" fmla="*/ 2362200 h 6261100"/>
                    <a:gd name="connsiteX22" fmla="*/ 2108200 w 3378200"/>
                    <a:gd name="connsiteY22" fmla="*/ 1473200 h 6261100"/>
                    <a:gd name="connsiteX23" fmla="*/ 3378200 w 3378200"/>
                    <a:gd name="connsiteY23" fmla="*/ 1460500 h 6261100"/>
                    <a:gd name="connsiteX24" fmla="*/ 3352800 w 3378200"/>
                    <a:gd name="connsiteY24" fmla="*/ 1231900 h 6261100"/>
                    <a:gd name="connsiteX25" fmla="*/ 2070100 w 3378200"/>
                    <a:gd name="connsiteY25" fmla="*/ 596900 h 6261100"/>
                    <a:gd name="connsiteX26" fmla="*/ 1879600 w 3378200"/>
                    <a:gd name="connsiteY26" fmla="*/ 0 h 6261100"/>
                    <a:gd name="connsiteX27" fmla="*/ 1524000 w 3378200"/>
                    <a:gd name="connsiteY27" fmla="*/ 0 h 6261100"/>
                    <a:gd name="connsiteX0" fmla="*/ 1524000 w 3378200"/>
                    <a:gd name="connsiteY0" fmla="*/ 0 h 6261100"/>
                    <a:gd name="connsiteX1" fmla="*/ 1524000 w 3378200"/>
                    <a:gd name="connsiteY1" fmla="*/ 0 h 6261100"/>
                    <a:gd name="connsiteX2" fmla="*/ 1297940 w 3378200"/>
                    <a:gd name="connsiteY2" fmla="*/ 579120 h 6261100"/>
                    <a:gd name="connsiteX3" fmla="*/ 10160 w 3378200"/>
                    <a:gd name="connsiteY3" fmla="*/ 1196340 h 6261100"/>
                    <a:gd name="connsiteX4" fmla="*/ 0 w 3378200"/>
                    <a:gd name="connsiteY4" fmla="*/ 1455420 h 6261100"/>
                    <a:gd name="connsiteX5" fmla="*/ 1270000 w 3378200"/>
                    <a:gd name="connsiteY5" fmla="*/ 1460500 h 6261100"/>
                    <a:gd name="connsiteX6" fmla="*/ 1282700 w 3378200"/>
                    <a:gd name="connsiteY6" fmla="*/ 2400300 h 6261100"/>
                    <a:gd name="connsiteX7" fmla="*/ 266700 w 3378200"/>
                    <a:gd name="connsiteY7" fmla="*/ 6248400 h 6261100"/>
                    <a:gd name="connsiteX8" fmla="*/ 431800 w 3378200"/>
                    <a:gd name="connsiteY8" fmla="*/ 6261100 h 6261100"/>
                    <a:gd name="connsiteX9" fmla="*/ 431800 w 3378200"/>
                    <a:gd name="connsiteY9" fmla="*/ 6096000 h 6261100"/>
                    <a:gd name="connsiteX10" fmla="*/ 1409700 w 3378200"/>
                    <a:gd name="connsiteY10" fmla="*/ 2362200 h 6261100"/>
                    <a:gd name="connsiteX11" fmla="*/ 1346200 w 3378200"/>
                    <a:gd name="connsiteY11" fmla="*/ 1257300 h 6261100"/>
                    <a:gd name="connsiteX12" fmla="*/ 495300 w 3378200"/>
                    <a:gd name="connsiteY12" fmla="*/ 1257300 h 6261100"/>
                    <a:gd name="connsiteX13" fmla="*/ 1358900 w 3378200"/>
                    <a:gd name="connsiteY13" fmla="*/ 800100 h 6261100"/>
                    <a:gd name="connsiteX14" fmla="*/ 1651000 w 3378200"/>
                    <a:gd name="connsiteY14" fmla="*/ 139700 h 6261100"/>
                    <a:gd name="connsiteX15" fmla="*/ 1917700 w 3378200"/>
                    <a:gd name="connsiteY15" fmla="*/ 736600 h 6261100"/>
                    <a:gd name="connsiteX16" fmla="*/ 2933700 w 3378200"/>
                    <a:gd name="connsiteY16" fmla="*/ 1231900 h 6261100"/>
                    <a:gd name="connsiteX17" fmla="*/ 1968500 w 3378200"/>
                    <a:gd name="connsiteY17" fmla="*/ 1219200 h 6261100"/>
                    <a:gd name="connsiteX18" fmla="*/ 1955800 w 3378200"/>
                    <a:gd name="connsiteY18" fmla="*/ 2324100 h 6261100"/>
                    <a:gd name="connsiteX19" fmla="*/ 2971800 w 3378200"/>
                    <a:gd name="connsiteY19" fmla="*/ 6248400 h 6261100"/>
                    <a:gd name="connsiteX20" fmla="*/ 3111500 w 3378200"/>
                    <a:gd name="connsiteY20" fmla="*/ 6172200 h 6261100"/>
                    <a:gd name="connsiteX21" fmla="*/ 2095500 w 3378200"/>
                    <a:gd name="connsiteY21" fmla="*/ 2362200 h 6261100"/>
                    <a:gd name="connsiteX22" fmla="*/ 2108200 w 3378200"/>
                    <a:gd name="connsiteY22" fmla="*/ 1473200 h 6261100"/>
                    <a:gd name="connsiteX23" fmla="*/ 3378200 w 3378200"/>
                    <a:gd name="connsiteY23" fmla="*/ 1460500 h 6261100"/>
                    <a:gd name="connsiteX24" fmla="*/ 3352800 w 3378200"/>
                    <a:gd name="connsiteY24" fmla="*/ 1231900 h 6261100"/>
                    <a:gd name="connsiteX25" fmla="*/ 2070100 w 3378200"/>
                    <a:gd name="connsiteY25" fmla="*/ 596900 h 6261100"/>
                    <a:gd name="connsiteX26" fmla="*/ 1879600 w 3378200"/>
                    <a:gd name="connsiteY26" fmla="*/ 0 h 6261100"/>
                    <a:gd name="connsiteX27" fmla="*/ 1524000 w 3378200"/>
                    <a:gd name="connsiteY27" fmla="*/ 0 h 6261100"/>
                    <a:gd name="connsiteX0" fmla="*/ 1524000 w 3378200"/>
                    <a:gd name="connsiteY0" fmla="*/ 0 h 6261100"/>
                    <a:gd name="connsiteX1" fmla="*/ 1524000 w 3378200"/>
                    <a:gd name="connsiteY1" fmla="*/ 0 h 6261100"/>
                    <a:gd name="connsiteX2" fmla="*/ 1297940 w 3378200"/>
                    <a:gd name="connsiteY2" fmla="*/ 579120 h 6261100"/>
                    <a:gd name="connsiteX3" fmla="*/ 10160 w 3378200"/>
                    <a:gd name="connsiteY3" fmla="*/ 1196340 h 6261100"/>
                    <a:gd name="connsiteX4" fmla="*/ 0 w 3378200"/>
                    <a:gd name="connsiteY4" fmla="*/ 1455420 h 6261100"/>
                    <a:gd name="connsiteX5" fmla="*/ 1270000 w 3378200"/>
                    <a:gd name="connsiteY5" fmla="*/ 1460500 h 6261100"/>
                    <a:gd name="connsiteX6" fmla="*/ 1282700 w 3378200"/>
                    <a:gd name="connsiteY6" fmla="*/ 2400300 h 6261100"/>
                    <a:gd name="connsiteX7" fmla="*/ 266700 w 3378200"/>
                    <a:gd name="connsiteY7" fmla="*/ 6248400 h 6261100"/>
                    <a:gd name="connsiteX8" fmla="*/ 431800 w 3378200"/>
                    <a:gd name="connsiteY8" fmla="*/ 6261100 h 6261100"/>
                    <a:gd name="connsiteX9" fmla="*/ 431800 w 3378200"/>
                    <a:gd name="connsiteY9" fmla="*/ 6096000 h 6261100"/>
                    <a:gd name="connsiteX10" fmla="*/ 1409700 w 3378200"/>
                    <a:gd name="connsiteY10" fmla="*/ 2362200 h 6261100"/>
                    <a:gd name="connsiteX11" fmla="*/ 1346200 w 3378200"/>
                    <a:gd name="connsiteY11" fmla="*/ 1257300 h 6261100"/>
                    <a:gd name="connsiteX12" fmla="*/ 495300 w 3378200"/>
                    <a:gd name="connsiteY12" fmla="*/ 1257300 h 6261100"/>
                    <a:gd name="connsiteX13" fmla="*/ 1358900 w 3378200"/>
                    <a:gd name="connsiteY13" fmla="*/ 800100 h 6261100"/>
                    <a:gd name="connsiteX14" fmla="*/ 1651000 w 3378200"/>
                    <a:gd name="connsiteY14" fmla="*/ 139700 h 6261100"/>
                    <a:gd name="connsiteX15" fmla="*/ 1917700 w 3378200"/>
                    <a:gd name="connsiteY15" fmla="*/ 736600 h 6261100"/>
                    <a:gd name="connsiteX16" fmla="*/ 2933700 w 3378200"/>
                    <a:gd name="connsiteY16" fmla="*/ 1231900 h 6261100"/>
                    <a:gd name="connsiteX17" fmla="*/ 1968500 w 3378200"/>
                    <a:gd name="connsiteY17" fmla="*/ 1219200 h 6261100"/>
                    <a:gd name="connsiteX18" fmla="*/ 1955800 w 3378200"/>
                    <a:gd name="connsiteY18" fmla="*/ 2324100 h 6261100"/>
                    <a:gd name="connsiteX19" fmla="*/ 2971800 w 3378200"/>
                    <a:gd name="connsiteY19" fmla="*/ 6248400 h 6261100"/>
                    <a:gd name="connsiteX20" fmla="*/ 3111500 w 3378200"/>
                    <a:gd name="connsiteY20" fmla="*/ 6172200 h 6261100"/>
                    <a:gd name="connsiteX21" fmla="*/ 2095500 w 3378200"/>
                    <a:gd name="connsiteY21" fmla="*/ 2362200 h 6261100"/>
                    <a:gd name="connsiteX22" fmla="*/ 2077720 w 3378200"/>
                    <a:gd name="connsiteY22" fmla="*/ 1419860 h 6261100"/>
                    <a:gd name="connsiteX23" fmla="*/ 3378200 w 3378200"/>
                    <a:gd name="connsiteY23" fmla="*/ 1460500 h 6261100"/>
                    <a:gd name="connsiteX24" fmla="*/ 3352800 w 3378200"/>
                    <a:gd name="connsiteY24" fmla="*/ 1231900 h 6261100"/>
                    <a:gd name="connsiteX25" fmla="*/ 2070100 w 3378200"/>
                    <a:gd name="connsiteY25" fmla="*/ 596900 h 6261100"/>
                    <a:gd name="connsiteX26" fmla="*/ 1879600 w 3378200"/>
                    <a:gd name="connsiteY26" fmla="*/ 0 h 6261100"/>
                    <a:gd name="connsiteX27" fmla="*/ 1524000 w 3378200"/>
                    <a:gd name="connsiteY27" fmla="*/ 0 h 6261100"/>
                    <a:gd name="connsiteX0" fmla="*/ 1524000 w 3352800"/>
                    <a:gd name="connsiteY0" fmla="*/ 0 h 6261100"/>
                    <a:gd name="connsiteX1" fmla="*/ 1524000 w 3352800"/>
                    <a:gd name="connsiteY1" fmla="*/ 0 h 6261100"/>
                    <a:gd name="connsiteX2" fmla="*/ 1297940 w 3352800"/>
                    <a:gd name="connsiteY2" fmla="*/ 579120 h 6261100"/>
                    <a:gd name="connsiteX3" fmla="*/ 10160 w 3352800"/>
                    <a:gd name="connsiteY3" fmla="*/ 1196340 h 6261100"/>
                    <a:gd name="connsiteX4" fmla="*/ 0 w 3352800"/>
                    <a:gd name="connsiteY4" fmla="*/ 1455420 h 6261100"/>
                    <a:gd name="connsiteX5" fmla="*/ 1270000 w 3352800"/>
                    <a:gd name="connsiteY5" fmla="*/ 1460500 h 6261100"/>
                    <a:gd name="connsiteX6" fmla="*/ 1282700 w 3352800"/>
                    <a:gd name="connsiteY6" fmla="*/ 2400300 h 6261100"/>
                    <a:gd name="connsiteX7" fmla="*/ 266700 w 3352800"/>
                    <a:gd name="connsiteY7" fmla="*/ 6248400 h 6261100"/>
                    <a:gd name="connsiteX8" fmla="*/ 431800 w 3352800"/>
                    <a:gd name="connsiteY8" fmla="*/ 6261100 h 6261100"/>
                    <a:gd name="connsiteX9" fmla="*/ 431800 w 3352800"/>
                    <a:gd name="connsiteY9" fmla="*/ 6096000 h 6261100"/>
                    <a:gd name="connsiteX10" fmla="*/ 1409700 w 3352800"/>
                    <a:gd name="connsiteY10" fmla="*/ 2362200 h 6261100"/>
                    <a:gd name="connsiteX11" fmla="*/ 1346200 w 3352800"/>
                    <a:gd name="connsiteY11" fmla="*/ 1257300 h 6261100"/>
                    <a:gd name="connsiteX12" fmla="*/ 495300 w 3352800"/>
                    <a:gd name="connsiteY12" fmla="*/ 1257300 h 6261100"/>
                    <a:gd name="connsiteX13" fmla="*/ 1358900 w 3352800"/>
                    <a:gd name="connsiteY13" fmla="*/ 800100 h 6261100"/>
                    <a:gd name="connsiteX14" fmla="*/ 1651000 w 3352800"/>
                    <a:gd name="connsiteY14" fmla="*/ 139700 h 6261100"/>
                    <a:gd name="connsiteX15" fmla="*/ 1917700 w 3352800"/>
                    <a:gd name="connsiteY15" fmla="*/ 736600 h 6261100"/>
                    <a:gd name="connsiteX16" fmla="*/ 2933700 w 3352800"/>
                    <a:gd name="connsiteY16" fmla="*/ 1231900 h 6261100"/>
                    <a:gd name="connsiteX17" fmla="*/ 1968500 w 3352800"/>
                    <a:gd name="connsiteY17" fmla="*/ 1219200 h 6261100"/>
                    <a:gd name="connsiteX18" fmla="*/ 1955800 w 3352800"/>
                    <a:gd name="connsiteY18" fmla="*/ 2324100 h 6261100"/>
                    <a:gd name="connsiteX19" fmla="*/ 2971800 w 3352800"/>
                    <a:gd name="connsiteY19" fmla="*/ 6248400 h 6261100"/>
                    <a:gd name="connsiteX20" fmla="*/ 3111500 w 3352800"/>
                    <a:gd name="connsiteY20" fmla="*/ 6172200 h 6261100"/>
                    <a:gd name="connsiteX21" fmla="*/ 2095500 w 3352800"/>
                    <a:gd name="connsiteY21" fmla="*/ 2362200 h 6261100"/>
                    <a:gd name="connsiteX22" fmla="*/ 2077720 w 3352800"/>
                    <a:gd name="connsiteY22" fmla="*/ 1419860 h 6261100"/>
                    <a:gd name="connsiteX23" fmla="*/ 3241040 w 3352800"/>
                    <a:gd name="connsiteY23" fmla="*/ 1445260 h 6261100"/>
                    <a:gd name="connsiteX24" fmla="*/ 3352800 w 3352800"/>
                    <a:gd name="connsiteY24" fmla="*/ 1231900 h 6261100"/>
                    <a:gd name="connsiteX25" fmla="*/ 2070100 w 3352800"/>
                    <a:gd name="connsiteY25" fmla="*/ 596900 h 6261100"/>
                    <a:gd name="connsiteX26" fmla="*/ 1879600 w 3352800"/>
                    <a:gd name="connsiteY26" fmla="*/ 0 h 6261100"/>
                    <a:gd name="connsiteX27" fmla="*/ 1524000 w 33528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51000 w 3314700"/>
                    <a:gd name="connsiteY14" fmla="*/ 139700 h 6261100"/>
                    <a:gd name="connsiteX15" fmla="*/ 1917700 w 3314700"/>
                    <a:gd name="connsiteY15" fmla="*/ 736600 h 6261100"/>
                    <a:gd name="connsiteX16" fmla="*/ 293370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51000 w 3314700"/>
                    <a:gd name="connsiteY14" fmla="*/ 139700 h 6261100"/>
                    <a:gd name="connsiteX15" fmla="*/ 1917700 w 3314700"/>
                    <a:gd name="connsiteY15" fmla="*/ 736600 h 6261100"/>
                    <a:gd name="connsiteX16" fmla="*/ 2750820 w 3314700"/>
                    <a:gd name="connsiteY16" fmla="*/ 124714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51000 w 3314700"/>
                    <a:gd name="connsiteY14" fmla="*/ 13970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5382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5382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5382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6906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379220 w 3314700"/>
                    <a:gd name="connsiteY10" fmla="*/ 2354580 h 6261100"/>
                    <a:gd name="connsiteX11" fmla="*/ 136906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1379220 w 3314700"/>
                    <a:gd name="connsiteY9" fmla="*/ 2354580 h 6261100"/>
                    <a:gd name="connsiteX10" fmla="*/ 1369060 w 3314700"/>
                    <a:gd name="connsiteY10" fmla="*/ 1211580 h 6261100"/>
                    <a:gd name="connsiteX11" fmla="*/ 464820 w 3314700"/>
                    <a:gd name="connsiteY11" fmla="*/ 1219200 h 6261100"/>
                    <a:gd name="connsiteX12" fmla="*/ 1358900 w 3314700"/>
                    <a:gd name="connsiteY12" fmla="*/ 800100 h 6261100"/>
                    <a:gd name="connsiteX13" fmla="*/ 1696720 w 3314700"/>
                    <a:gd name="connsiteY13" fmla="*/ 154940 h 6261100"/>
                    <a:gd name="connsiteX14" fmla="*/ 1917700 w 3314700"/>
                    <a:gd name="connsiteY14" fmla="*/ 736600 h 6261100"/>
                    <a:gd name="connsiteX15" fmla="*/ 2887980 w 3314700"/>
                    <a:gd name="connsiteY15" fmla="*/ 1231900 h 6261100"/>
                    <a:gd name="connsiteX16" fmla="*/ 1968500 w 3314700"/>
                    <a:gd name="connsiteY16" fmla="*/ 1219200 h 6261100"/>
                    <a:gd name="connsiteX17" fmla="*/ 1955800 w 3314700"/>
                    <a:gd name="connsiteY17" fmla="*/ 2324100 h 6261100"/>
                    <a:gd name="connsiteX18" fmla="*/ 2971800 w 3314700"/>
                    <a:gd name="connsiteY18" fmla="*/ 6248400 h 6261100"/>
                    <a:gd name="connsiteX19" fmla="*/ 3111500 w 3314700"/>
                    <a:gd name="connsiteY19" fmla="*/ 6172200 h 6261100"/>
                    <a:gd name="connsiteX20" fmla="*/ 2095500 w 3314700"/>
                    <a:gd name="connsiteY20" fmla="*/ 2362200 h 6261100"/>
                    <a:gd name="connsiteX21" fmla="*/ 2077720 w 3314700"/>
                    <a:gd name="connsiteY21" fmla="*/ 1419860 h 6261100"/>
                    <a:gd name="connsiteX22" fmla="*/ 3241040 w 3314700"/>
                    <a:gd name="connsiteY22" fmla="*/ 1445260 h 6261100"/>
                    <a:gd name="connsiteX23" fmla="*/ 3314700 w 3314700"/>
                    <a:gd name="connsiteY23" fmla="*/ 1224280 h 6261100"/>
                    <a:gd name="connsiteX24" fmla="*/ 2070100 w 3314700"/>
                    <a:gd name="connsiteY24" fmla="*/ 596900 h 6261100"/>
                    <a:gd name="connsiteX25" fmla="*/ 1879600 w 3314700"/>
                    <a:gd name="connsiteY25" fmla="*/ 0 h 6261100"/>
                    <a:gd name="connsiteX26" fmla="*/ 1524000 w 3314700"/>
                    <a:gd name="connsiteY26"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1379220 w 3314700"/>
                    <a:gd name="connsiteY9" fmla="*/ 2354580 h 6261100"/>
                    <a:gd name="connsiteX10" fmla="*/ 1369060 w 3314700"/>
                    <a:gd name="connsiteY10" fmla="*/ 1211580 h 6261100"/>
                    <a:gd name="connsiteX11" fmla="*/ 464820 w 3314700"/>
                    <a:gd name="connsiteY11" fmla="*/ 1219200 h 6261100"/>
                    <a:gd name="connsiteX12" fmla="*/ 1358900 w 3314700"/>
                    <a:gd name="connsiteY12" fmla="*/ 800100 h 6261100"/>
                    <a:gd name="connsiteX13" fmla="*/ 1696720 w 3314700"/>
                    <a:gd name="connsiteY13" fmla="*/ 154940 h 6261100"/>
                    <a:gd name="connsiteX14" fmla="*/ 1917700 w 3314700"/>
                    <a:gd name="connsiteY14" fmla="*/ 736600 h 6261100"/>
                    <a:gd name="connsiteX15" fmla="*/ 2887980 w 3314700"/>
                    <a:gd name="connsiteY15" fmla="*/ 1231900 h 6261100"/>
                    <a:gd name="connsiteX16" fmla="*/ 1968500 w 3314700"/>
                    <a:gd name="connsiteY16" fmla="*/ 1219200 h 6261100"/>
                    <a:gd name="connsiteX17" fmla="*/ 1955800 w 3314700"/>
                    <a:gd name="connsiteY17" fmla="*/ 2324100 h 6261100"/>
                    <a:gd name="connsiteX18" fmla="*/ 2971800 w 3314700"/>
                    <a:gd name="connsiteY18" fmla="*/ 6248400 h 6261100"/>
                    <a:gd name="connsiteX19" fmla="*/ 3149600 w 3314700"/>
                    <a:gd name="connsiteY19" fmla="*/ 6164580 h 6261100"/>
                    <a:gd name="connsiteX20" fmla="*/ 2095500 w 3314700"/>
                    <a:gd name="connsiteY20" fmla="*/ 2362200 h 6261100"/>
                    <a:gd name="connsiteX21" fmla="*/ 2077720 w 3314700"/>
                    <a:gd name="connsiteY21" fmla="*/ 1419860 h 6261100"/>
                    <a:gd name="connsiteX22" fmla="*/ 3241040 w 3314700"/>
                    <a:gd name="connsiteY22" fmla="*/ 1445260 h 6261100"/>
                    <a:gd name="connsiteX23" fmla="*/ 3314700 w 3314700"/>
                    <a:gd name="connsiteY23" fmla="*/ 1224280 h 6261100"/>
                    <a:gd name="connsiteX24" fmla="*/ 2070100 w 3314700"/>
                    <a:gd name="connsiteY24" fmla="*/ 596900 h 6261100"/>
                    <a:gd name="connsiteX25" fmla="*/ 1879600 w 3314700"/>
                    <a:gd name="connsiteY25" fmla="*/ 0 h 6261100"/>
                    <a:gd name="connsiteX26" fmla="*/ 1524000 w 3314700"/>
                    <a:gd name="connsiteY26" fmla="*/ 0 h 626110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31800 w 3314700"/>
                    <a:gd name="connsiteY8" fmla="*/ 6261100 h 6263640"/>
                    <a:gd name="connsiteX9" fmla="*/ 137922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85140 w 3314700"/>
                    <a:gd name="connsiteY8" fmla="*/ 6253480 h 6263640"/>
                    <a:gd name="connsiteX9" fmla="*/ 137922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37922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110740 w 3314700"/>
                    <a:gd name="connsiteY20" fmla="*/ 231648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087880 w 3314700"/>
                    <a:gd name="connsiteY20" fmla="*/ 231648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110740 w 3314700"/>
                    <a:gd name="connsiteY20" fmla="*/ 23241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110740 w 3314700"/>
                    <a:gd name="connsiteY20" fmla="*/ 2324100 h 6263640"/>
                    <a:gd name="connsiteX21" fmla="*/ 21158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641052 w 3431752"/>
                    <a:gd name="connsiteY0" fmla="*/ 0 h 6263640"/>
                    <a:gd name="connsiteX1" fmla="*/ 1641052 w 3431752"/>
                    <a:gd name="connsiteY1" fmla="*/ 0 h 6263640"/>
                    <a:gd name="connsiteX2" fmla="*/ 1414992 w 3431752"/>
                    <a:gd name="connsiteY2" fmla="*/ 579120 h 6263640"/>
                    <a:gd name="connsiteX3" fmla="*/ 127212 w 3431752"/>
                    <a:gd name="connsiteY3" fmla="*/ 1196340 h 6263640"/>
                    <a:gd name="connsiteX4" fmla="*/ 117052 w 3431752"/>
                    <a:gd name="connsiteY4" fmla="*/ 1455420 h 6263640"/>
                    <a:gd name="connsiteX5" fmla="*/ 1356572 w 3431752"/>
                    <a:gd name="connsiteY5" fmla="*/ 1460500 h 6263640"/>
                    <a:gd name="connsiteX6" fmla="*/ 1338792 w 3431752"/>
                    <a:gd name="connsiteY6" fmla="*/ 2407920 h 6263640"/>
                    <a:gd name="connsiteX7" fmla="*/ 383752 w 3431752"/>
                    <a:gd name="connsiteY7" fmla="*/ 6248400 h 6263640"/>
                    <a:gd name="connsiteX8" fmla="*/ 571712 w 3431752"/>
                    <a:gd name="connsiteY8" fmla="*/ 6253480 h 6263640"/>
                    <a:gd name="connsiteX9" fmla="*/ 1526752 w 3431752"/>
                    <a:gd name="connsiteY9" fmla="*/ 2354580 h 6263640"/>
                    <a:gd name="connsiteX10" fmla="*/ 1486112 w 3431752"/>
                    <a:gd name="connsiteY10" fmla="*/ 1211580 h 6263640"/>
                    <a:gd name="connsiteX11" fmla="*/ 581872 w 3431752"/>
                    <a:gd name="connsiteY11" fmla="*/ 1219200 h 6263640"/>
                    <a:gd name="connsiteX12" fmla="*/ 1475952 w 3431752"/>
                    <a:gd name="connsiteY12" fmla="*/ 800100 h 6263640"/>
                    <a:gd name="connsiteX13" fmla="*/ 1813772 w 3431752"/>
                    <a:gd name="connsiteY13" fmla="*/ 154940 h 6263640"/>
                    <a:gd name="connsiteX14" fmla="*/ 2034752 w 3431752"/>
                    <a:gd name="connsiteY14" fmla="*/ 736600 h 6263640"/>
                    <a:gd name="connsiteX15" fmla="*/ 3005032 w 3431752"/>
                    <a:gd name="connsiteY15" fmla="*/ 1231900 h 6263640"/>
                    <a:gd name="connsiteX16" fmla="*/ 2085552 w 3431752"/>
                    <a:gd name="connsiteY16" fmla="*/ 1219200 h 6263640"/>
                    <a:gd name="connsiteX17" fmla="*/ 2080472 w 3431752"/>
                    <a:gd name="connsiteY17" fmla="*/ 2324100 h 6263640"/>
                    <a:gd name="connsiteX18" fmla="*/ 3073612 w 3431752"/>
                    <a:gd name="connsiteY18" fmla="*/ 6263640 h 6263640"/>
                    <a:gd name="connsiteX19" fmla="*/ 3266652 w 3431752"/>
                    <a:gd name="connsiteY19" fmla="*/ 6164580 h 6263640"/>
                    <a:gd name="connsiteX20" fmla="*/ 2227792 w 3431752"/>
                    <a:gd name="connsiteY20" fmla="*/ 2324100 h 6263640"/>
                    <a:gd name="connsiteX21" fmla="*/ 2232872 w 3431752"/>
                    <a:gd name="connsiteY21" fmla="*/ 1419860 h 6263640"/>
                    <a:gd name="connsiteX22" fmla="*/ 3358092 w 3431752"/>
                    <a:gd name="connsiteY22" fmla="*/ 1445260 h 6263640"/>
                    <a:gd name="connsiteX23" fmla="*/ 3431752 w 3431752"/>
                    <a:gd name="connsiteY23" fmla="*/ 1224280 h 6263640"/>
                    <a:gd name="connsiteX24" fmla="*/ 2187152 w 3431752"/>
                    <a:gd name="connsiteY24" fmla="*/ 596900 h 6263640"/>
                    <a:gd name="connsiteX25" fmla="*/ 1996652 w 3431752"/>
                    <a:gd name="connsiteY25" fmla="*/ 0 h 6263640"/>
                    <a:gd name="connsiteX26" fmla="*/ 1641052 w 3431752"/>
                    <a:gd name="connsiteY26" fmla="*/ 0 h 6263640"/>
                    <a:gd name="connsiteX0" fmla="*/ 1663488 w 3454188"/>
                    <a:gd name="connsiteY0" fmla="*/ 0 h 6263640"/>
                    <a:gd name="connsiteX1" fmla="*/ 1663488 w 3454188"/>
                    <a:gd name="connsiteY1" fmla="*/ 0 h 6263640"/>
                    <a:gd name="connsiteX2" fmla="*/ 1437428 w 3454188"/>
                    <a:gd name="connsiteY2" fmla="*/ 579120 h 6263640"/>
                    <a:gd name="connsiteX3" fmla="*/ 149648 w 3454188"/>
                    <a:gd name="connsiteY3" fmla="*/ 1196340 h 6263640"/>
                    <a:gd name="connsiteX4" fmla="*/ 139488 w 3454188"/>
                    <a:gd name="connsiteY4" fmla="*/ 1455420 h 6263640"/>
                    <a:gd name="connsiteX5" fmla="*/ 1379008 w 3454188"/>
                    <a:gd name="connsiteY5" fmla="*/ 1460500 h 6263640"/>
                    <a:gd name="connsiteX6" fmla="*/ 1361228 w 3454188"/>
                    <a:gd name="connsiteY6" fmla="*/ 2407920 h 6263640"/>
                    <a:gd name="connsiteX7" fmla="*/ 406188 w 3454188"/>
                    <a:gd name="connsiteY7" fmla="*/ 6248400 h 6263640"/>
                    <a:gd name="connsiteX8" fmla="*/ 594148 w 3454188"/>
                    <a:gd name="connsiteY8" fmla="*/ 6253480 h 6263640"/>
                    <a:gd name="connsiteX9" fmla="*/ 1549188 w 3454188"/>
                    <a:gd name="connsiteY9" fmla="*/ 2354580 h 6263640"/>
                    <a:gd name="connsiteX10" fmla="*/ 1508548 w 3454188"/>
                    <a:gd name="connsiteY10" fmla="*/ 1211580 h 6263640"/>
                    <a:gd name="connsiteX11" fmla="*/ 604308 w 3454188"/>
                    <a:gd name="connsiteY11" fmla="*/ 1219200 h 6263640"/>
                    <a:gd name="connsiteX12" fmla="*/ 1498388 w 3454188"/>
                    <a:gd name="connsiteY12" fmla="*/ 800100 h 6263640"/>
                    <a:gd name="connsiteX13" fmla="*/ 1836208 w 3454188"/>
                    <a:gd name="connsiteY13" fmla="*/ 154940 h 6263640"/>
                    <a:gd name="connsiteX14" fmla="*/ 2057188 w 3454188"/>
                    <a:gd name="connsiteY14" fmla="*/ 736600 h 6263640"/>
                    <a:gd name="connsiteX15" fmla="*/ 3027468 w 3454188"/>
                    <a:gd name="connsiteY15" fmla="*/ 1231900 h 6263640"/>
                    <a:gd name="connsiteX16" fmla="*/ 2107988 w 3454188"/>
                    <a:gd name="connsiteY16" fmla="*/ 1219200 h 6263640"/>
                    <a:gd name="connsiteX17" fmla="*/ 2102908 w 3454188"/>
                    <a:gd name="connsiteY17" fmla="*/ 2324100 h 6263640"/>
                    <a:gd name="connsiteX18" fmla="*/ 3096048 w 3454188"/>
                    <a:gd name="connsiteY18" fmla="*/ 6263640 h 6263640"/>
                    <a:gd name="connsiteX19" fmla="*/ 3289088 w 3454188"/>
                    <a:gd name="connsiteY19" fmla="*/ 6164580 h 6263640"/>
                    <a:gd name="connsiteX20" fmla="*/ 2250228 w 3454188"/>
                    <a:gd name="connsiteY20" fmla="*/ 2324100 h 6263640"/>
                    <a:gd name="connsiteX21" fmla="*/ 2255308 w 3454188"/>
                    <a:gd name="connsiteY21" fmla="*/ 1419860 h 6263640"/>
                    <a:gd name="connsiteX22" fmla="*/ 3380528 w 3454188"/>
                    <a:gd name="connsiteY22" fmla="*/ 1445260 h 6263640"/>
                    <a:gd name="connsiteX23" fmla="*/ 3454188 w 3454188"/>
                    <a:gd name="connsiteY23" fmla="*/ 1224280 h 6263640"/>
                    <a:gd name="connsiteX24" fmla="*/ 2209588 w 3454188"/>
                    <a:gd name="connsiteY24" fmla="*/ 596900 h 6263640"/>
                    <a:gd name="connsiteX25" fmla="*/ 2019088 w 3454188"/>
                    <a:gd name="connsiteY25" fmla="*/ 0 h 6263640"/>
                    <a:gd name="connsiteX26" fmla="*/ 1663488 w 3454188"/>
                    <a:gd name="connsiteY26" fmla="*/ 0 h 6263640"/>
                    <a:gd name="connsiteX0" fmla="*/ 1663488 w 3653473"/>
                    <a:gd name="connsiteY0" fmla="*/ 0 h 6263640"/>
                    <a:gd name="connsiteX1" fmla="*/ 1663488 w 3653473"/>
                    <a:gd name="connsiteY1" fmla="*/ 0 h 6263640"/>
                    <a:gd name="connsiteX2" fmla="*/ 1437428 w 3653473"/>
                    <a:gd name="connsiteY2" fmla="*/ 579120 h 6263640"/>
                    <a:gd name="connsiteX3" fmla="*/ 149648 w 3653473"/>
                    <a:gd name="connsiteY3" fmla="*/ 1196340 h 6263640"/>
                    <a:gd name="connsiteX4" fmla="*/ 139488 w 3653473"/>
                    <a:gd name="connsiteY4" fmla="*/ 1455420 h 6263640"/>
                    <a:gd name="connsiteX5" fmla="*/ 1379008 w 3653473"/>
                    <a:gd name="connsiteY5" fmla="*/ 1460500 h 6263640"/>
                    <a:gd name="connsiteX6" fmla="*/ 1361228 w 3653473"/>
                    <a:gd name="connsiteY6" fmla="*/ 2407920 h 6263640"/>
                    <a:gd name="connsiteX7" fmla="*/ 406188 w 3653473"/>
                    <a:gd name="connsiteY7" fmla="*/ 6248400 h 6263640"/>
                    <a:gd name="connsiteX8" fmla="*/ 594148 w 3653473"/>
                    <a:gd name="connsiteY8" fmla="*/ 6253480 h 6263640"/>
                    <a:gd name="connsiteX9" fmla="*/ 1549188 w 3653473"/>
                    <a:gd name="connsiteY9" fmla="*/ 2354580 h 6263640"/>
                    <a:gd name="connsiteX10" fmla="*/ 1508548 w 3653473"/>
                    <a:gd name="connsiteY10" fmla="*/ 1211580 h 6263640"/>
                    <a:gd name="connsiteX11" fmla="*/ 604308 w 3653473"/>
                    <a:gd name="connsiteY11" fmla="*/ 1219200 h 6263640"/>
                    <a:gd name="connsiteX12" fmla="*/ 1498388 w 3653473"/>
                    <a:gd name="connsiteY12" fmla="*/ 800100 h 6263640"/>
                    <a:gd name="connsiteX13" fmla="*/ 1836208 w 3653473"/>
                    <a:gd name="connsiteY13" fmla="*/ 154940 h 6263640"/>
                    <a:gd name="connsiteX14" fmla="*/ 2057188 w 3653473"/>
                    <a:gd name="connsiteY14" fmla="*/ 736600 h 6263640"/>
                    <a:gd name="connsiteX15" fmla="*/ 3027468 w 3653473"/>
                    <a:gd name="connsiteY15" fmla="*/ 1231900 h 6263640"/>
                    <a:gd name="connsiteX16" fmla="*/ 2107988 w 3653473"/>
                    <a:gd name="connsiteY16" fmla="*/ 1219200 h 6263640"/>
                    <a:gd name="connsiteX17" fmla="*/ 2102908 w 3653473"/>
                    <a:gd name="connsiteY17" fmla="*/ 2324100 h 6263640"/>
                    <a:gd name="connsiteX18" fmla="*/ 3096048 w 3653473"/>
                    <a:gd name="connsiteY18" fmla="*/ 6263640 h 6263640"/>
                    <a:gd name="connsiteX19" fmla="*/ 3289088 w 3653473"/>
                    <a:gd name="connsiteY19" fmla="*/ 6164580 h 6263640"/>
                    <a:gd name="connsiteX20" fmla="*/ 2250228 w 3653473"/>
                    <a:gd name="connsiteY20" fmla="*/ 2324100 h 6263640"/>
                    <a:gd name="connsiteX21" fmla="*/ 2255308 w 3653473"/>
                    <a:gd name="connsiteY21" fmla="*/ 1419860 h 6263640"/>
                    <a:gd name="connsiteX22" fmla="*/ 3380528 w 3653473"/>
                    <a:gd name="connsiteY22" fmla="*/ 1445260 h 6263640"/>
                    <a:gd name="connsiteX23" fmla="*/ 3454188 w 3653473"/>
                    <a:gd name="connsiteY23" fmla="*/ 1224280 h 6263640"/>
                    <a:gd name="connsiteX24" fmla="*/ 2209588 w 3653473"/>
                    <a:gd name="connsiteY24" fmla="*/ 596900 h 6263640"/>
                    <a:gd name="connsiteX25" fmla="*/ 2019088 w 3653473"/>
                    <a:gd name="connsiteY25" fmla="*/ 0 h 6263640"/>
                    <a:gd name="connsiteX26" fmla="*/ 1663488 w 3653473"/>
                    <a:gd name="connsiteY26" fmla="*/ 0 h 6263640"/>
                    <a:gd name="connsiteX0" fmla="*/ 1663488 w 3653473"/>
                    <a:gd name="connsiteY0" fmla="*/ 0 h 6263640"/>
                    <a:gd name="connsiteX1" fmla="*/ 1663488 w 3653473"/>
                    <a:gd name="connsiteY1" fmla="*/ 0 h 6263640"/>
                    <a:gd name="connsiteX2" fmla="*/ 1437428 w 3653473"/>
                    <a:gd name="connsiteY2" fmla="*/ 579120 h 6263640"/>
                    <a:gd name="connsiteX3" fmla="*/ 149648 w 3653473"/>
                    <a:gd name="connsiteY3" fmla="*/ 1196340 h 6263640"/>
                    <a:gd name="connsiteX4" fmla="*/ 139488 w 3653473"/>
                    <a:gd name="connsiteY4" fmla="*/ 1455420 h 6263640"/>
                    <a:gd name="connsiteX5" fmla="*/ 1379008 w 3653473"/>
                    <a:gd name="connsiteY5" fmla="*/ 1460500 h 6263640"/>
                    <a:gd name="connsiteX6" fmla="*/ 1361228 w 3653473"/>
                    <a:gd name="connsiteY6" fmla="*/ 2407920 h 6263640"/>
                    <a:gd name="connsiteX7" fmla="*/ 406188 w 3653473"/>
                    <a:gd name="connsiteY7" fmla="*/ 6248400 h 6263640"/>
                    <a:gd name="connsiteX8" fmla="*/ 594148 w 3653473"/>
                    <a:gd name="connsiteY8" fmla="*/ 6253480 h 6263640"/>
                    <a:gd name="connsiteX9" fmla="*/ 1549188 w 3653473"/>
                    <a:gd name="connsiteY9" fmla="*/ 2354580 h 6263640"/>
                    <a:gd name="connsiteX10" fmla="*/ 1508548 w 3653473"/>
                    <a:gd name="connsiteY10" fmla="*/ 1211580 h 6263640"/>
                    <a:gd name="connsiteX11" fmla="*/ 604308 w 3653473"/>
                    <a:gd name="connsiteY11" fmla="*/ 1219200 h 6263640"/>
                    <a:gd name="connsiteX12" fmla="*/ 1498388 w 3653473"/>
                    <a:gd name="connsiteY12" fmla="*/ 800100 h 6263640"/>
                    <a:gd name="connsiteX13" fmla="*/ 1836208 w 3653473"/>
                    <a:gd name="connsiteY13" fmla="*/ 154940 h 6263640"/>
                    <a:gd name="connsiteX14" fmla="*/ 2057188 w 3653473"/>
                    <a:gd name="connsiteY14" fmla="*/ 736600 h 6263640"/>
                    <a:gd name="connsiteX15" fmla="*/ 3027468 w 3653473"/>
                    <a:gd name="connsiteY15" fmla="*/ 1231900 h 6263640"/>
                    <a:gd name="connsiteX16" fmla="*/ 2107988 w 3653473"/>
                    <a:gd name="connsiteY16" fmla="*/ 1219200 h 6263640"/>
                    <a:gd name="connsiteX17" fmla="*/ 2102908 w 3653473"/>
                    <a:gd name="connsiteY17" fmla="*/ 2324100 h 6263640"/>
                    <a:gd name="connsiteX18" fmla="*/ 3096048 w 3653473"/>
                    <a:gd name="connsiteY18" fmla="*/ 6263640 h 6263640"/>
                    <a:gd name="connsiteX19" fmla="*/ 3289088 w 3653473"/>
                    <a:gd name="connsiteY19" fmla="*/ 6164580 h 6263640"/>
                    <a:gd name="connsiteX20" fmla="*/ 2250228 w 3653473"/>
                    <a:gd name="connsiteY20" fmla="*/ 2324100 h 6263640"/>
                    <a:gd name="connsiteX21" fmla="*/ 2255308 w 3653473"/>
                    <a:gd name="connsiteY21" fmla="*/ 1419860 h 6263640"/>
                    <a:gd name="connsiteX22" fmla="*/ 3380528 w 3653473"/>
                    <a:gd name="connsiteY22" fmla="*/ 1445260 h 6263640"/>
                    <a:gd name="connsiteX23" fmla="*/ 3454188 w 3653473"/>
                    <a:gd name="connsiteY23" fmla="*/ 1224280 h 6263640"/>
                    <a:gd name="connsiteX24" fmla="*/ 2209588 w 3653473"/>
                    <a:gd name="connsiteY24" fmla="*/ 596900 h 6263640"/>
                    <a:gd name="connsiteX25" fmla="*/ 2019088 w 3653473"/>
                    <a:gd name="connsiteY25" fmla="*/ 0 h 6263640"/>
                    <a:gd name="connsiteX26" fmla="*/ 1663488 w 3653473"/>
                    <a:gd name="connsiteY26" fmla="*/ 0 h 6263640"/>
                    <a:gd name="connsiteX0" fmla="*/ 1663488 w 3653473"/>
                    <a:gd name="connsiteY0" fmla="*/ 142875 h 6406515"/>
                    <a:gd name="connsiteX1" fmla="*/ 1663488 w 3653473"/>
                    <a:gd name="connsiteY1" fmla="*/ 142875 h 6406515"/>
                    <a:gd name="connsiteX2" fmla="*/ 1437428 w 3653473"/>
                    <a:gd name="connsiteY2" fmla="*/ 721995 h 6406515"/>
                    <a:gd name="connsiteX3" fmla="*/ 149648 w 3653473"/>
                    <a:gd name="connsiteY3" fmla="*/ 1339215 h 6406515"/>
                    <a:gd name="connsiteX4" fmla="*/ 139488 w 3653473"/>
                    <a:gd name="connsiteY4" fmla="*/ 1598295 h 6406515"/>
                    <a:gd name="connsiteX5" fmla="*/ 1379008 w 3653473"/>
                    <a:gd name="connsiteY5" fmla="*/ 1603375 h 6406515"/>
                    <a:gd name="connsiteX6" fmla="*/ 1361228 w 3653473"/>
                    <a:gd name="connsiteY6" fmla="*/ 2550795 h 6406515"/>
                    <a:gd name="connsiteX7" fmla="*/ 406188 w 3653473"/>
                    <a:gd name="connsiteY7" fmla="*/ 6391275 h 6406515"/>
                    <a:gd name="connsiteX8" fmla="*/ 594148 w 3653473"/>
                    <a:gd name="connsiteY8" fmla="*/ 6396355 h 6406515"/>
                    <a:gd name="connsiteX9" fmla="*/ 1549188 w 3653473"/>
                    <a:gd name="connsiteY9" fmla="*/ 2497455 h 6406515"/>
                    <a:gd name="connsiteX10" fmla="*/ 1508548 w 3653473"/>
                    <a:gd name="connsiteY10" fmla="*/ 1354455 h 6406515"/>
                    <a:gd name="connsiteX11" fmla="*/ 604308 w 3653473"/>
                    <a:gd name="connsiteY11" fmla="*/ 1362075 h 6406515"/>
                    <a:gd name="connsiteX12" fmla="*/ 1498388 w 3653473"/>
                    <a:gd name="connsiteY12" fmla="*/ 942975 h 6406515"/>
                    <a:gd name="connsiteX13" fmla="*/ 1836208 w 3653473"/>
                    <a:gd name="connsiteY13" fmla="*/ 297815 h 6406515"/>
                    <a:gd name="connsiteX14" fmla="*/ 2057188 w 3653473"/>
                    <a:gd name="connsiteY14" fmla="*/ 879475 h 6406515"/>
                    <a:gd name="connsiteX15" fmla="*/ 3027468 w 3653473"/>
                    <a:gd name="connsiteY15" fmla="*/ 1374775 h 6406515"/>
                    <a:gd name="connsiteX16" fmla="*/ 2107988 w 3653473"/>
                    <a:gd name="connsiteY16" fmla="*/ 1362075 h 6406515"/>
                    <a:gd name="connsiteX17" fmla="*/ 2102908 w 3653473"/>
                    <a:gd name="connsiteY17" fmla="*/ 2466975 h 6406515"/>
                    <a:gd name="connsiteX18" fmla="*/ 3096048 w 3653473"/>
                    <a:gd name="connsiteY18" fmla="*/ 6406515 h 6406515"/>
                    <a:gd name="connsiteX19" fmla="*/ 3289088 w 3653473"/>
                    <a:gd name="connsiteY19" fmla="*/ 6307455 h 6406515"/>
                    <a:gd name="connsiteX20" fmla="*/ 2250228 w 3653473"/>
                    <a:gd name="connsiteY20" fmla="*/ 2466975 h 6406515"/>
                    <a:gd name="connsiteX21" fmla="*/ 2255308 w 3653473"/>
                    <a:gd name="connsiteY21" fmla="*/ 1562735 h 6406515"/>
                    <a:gd name="connsiteX22" fmla="*/ 3380528 w 3653473"/>
                    <a:gd name="connsiteY22" fmla="*/ 1588135 h 6406515"/>
                    <a:gd name="connsiteX23" fmla="*/ 3454188 w 3653473"/>
                    <a:gd name="connsiteY23" fmla="*/ 1367155 h 6406515"/>
                    <a:gd name="connsiteX24" fmla="*/ 2209588 w 3653473"/>
                    <a:gd name="connsiteY24" fmla="*/ 739775 h 6406515"/>
                    <a:gd name="connsiteX25" fmla="*/ 2019088 w 3653473"/>
                    <a:gd name="connsiteY25" fmla="*/ 142875 h 6406515"/>
                    <a:gd name="connsiteX26" fmla="*/ 1663488 w 3653473"/>
                    <a:gd name="connsiteY26" fmla="*/ 142875 h 6406515"/>
                    <a:gd name="connsiteX0" fmla="*/ 1663488 w 3653473"/>
                    <a:gd name="connsiteY0" fmla="*/ 142875 h 6406515"/>
                    <a:gd name="connsiteX1" fmla="*/ 1663488 w 3653473"/>
                    <a:gd name="connsiteY1" fmla="*/ 142875 h 6406515"/>
                    <a:gd name="connsiteX2" fmla="*/ 1437428 w 3653473"/>
                    <a:gd name="connsiteY2" fmla="*/ 721995 h 6406515"/>
                    <a:gd name="connsiteX3" fmla="*/ 149648 w 3653473"/>
                    <a:gd name="connsiteY3" fmla="*/ 1339215 h 6406515"/>
                    <a:gd name="connsiteX4" fmla="*/ 139488 w 3653473"/>
                    <a:gd name="connsiteY4" fmla="*/ 1598295 h 6406515"/>
                    <a:gd name="connsiteX5" fmla="*/ 1379008 w 3653473"/>
                    <a:gd name="connsiteY5" fmla="*/ 1603375 h 6406515"/>
                    <a:gd name="connsiteX6" fmla="*/ 1361228 w 3653473"/>
                    <a:gd name="connsiteY6" fmla="*/ 2550795 h 6406515"/>
                    <a:gd name="connsiteX7" fmla="*/ 406188 w 3653473"/>
                    <a:gd name="connsiteY7" fmla="*/ 6391275 h 6406515"/>
                    <a:gd name="connsiteX8" fmla="*/ 594148 w 3653473"/>
                    <a:gd name="connsiteY8" fmla="*/ 6396355 h 6406515"/>
                    <a:gd name="connsiteX9" fmla="*/ 1549188 w 3653473"/>
                    <a:gd name="connsiteY9" fmla="*/ 2497455 h 6406515"/>
                    <a:gd name="connsiteX10" fmla="*/ 1508548 w 3653473"/>
                    <a:gd name="connsiteY10" fmla="*/ 1354455 h 6406515"/>
                    <a:gd name="connsiteX11" fmla="*/ 604308 w 3653473"/>
                    <a:gd name="connsiteY11" fmla="*/ 1362075 h 6406515"/>
                    <a:gd name="connsiteX12" fmla="*/ 1498388 w 3653473"/>
                    <a:gd name="connsiteY12" fmla="*/ 942975 h 6406515"/>
                    <a:gd name="connsiteX13" fmla="*/ 1836208 w 3653473"/>
                    <a:gd name="connsiteY13" fmla="*/ 297815 h 6406515"/>
                    <a:gd name="connsiteX14" fmla="*/ 2057188 w 3653473"/>
                    <a:gd name="connsiteY14" fmla="*/ 879475 h 6406515"/>
                    <a:gd name="connsiteX15" fmla="*/ 3027468 w 3653473"/>
                    <a:gd name="connsiteY15" fmla="*/ 1374775 h 6406515"/>
                    <a:gd name="connsiteX16" fmla="*/ 2107988 w 3653473"/>
                    <a:gd name="connsiteY16" fmla="*/ 1362075 h 6406515"/>
                    <a:gd name="connsiteX17" fmla="*/ 2102908 w 3653473"/>
                    <a:gd name="connsiteY17" fmla="*/ 2466975 h 6406515"/>
                    <a:gd name="connsiteX18" fmla="*/ 3096048 w 3653473"/>
                    <a:gd name="connsiteY18" fmla="*/ 6406515 h 6406515"/>
                    <a:gd name="connsiteX19" fmla="*/ 3289088 w 3653473"/>
                    <a:gd name="connsiteY19" fmla="*/ 6307455 h 6406515"/>
                    <a:gd name="connsiteX20" fmla="*/ 2250228 w 3653473"/>
                    <a:gd name="connsiteY20" fmla="*/ 2466975 h 6406515"/>
                    <a:gd name="connsiteX21" fmla="*/ 2255308 w 3653473"/>
                    <a:gd name="connsiteY21" fmla="*/ 1562735 h 6406515"/>
                    <a:gd name="connsiteX22" fmla="*/ 3380528 w 3653473"/>
                    <a:gd name="connsiteY22" fmla="*/ 1588135 h 6406515"/>
                    <a:gd name="connsiteX23" fmla="*/ 3454188 w 3653473"/>
                    <a:gd name="connsiteY23" fmla="*/ 1367155 h 6406515"/>
                    <a:gd name="connsiteX24" fmla="*/ 2209588 w 3653473"/>
                    <a:gd name="connsiteY24" fmla="*/ 739775 h 6406515"/>
                    <a:gd name="connsiteX25" fmla="*/ 2019088 w 3653473"/>
                    <a:gd name="connsiteY25" fmla="*/ 142875 h 6406515"/>
                    <a:gd name="connsiteX26" fmla="*/ 1663488 w 3653473"/>
                    <a:gd name="connsiteY26" fmla="*/ 142875 h 6406515"/>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836208 w 3653473"/>
                    <a:gd name="connsiteY13" fmla="*/ 254423 h 6363123"/>
                    <a:gd name="connsiteX14" fmla="*/ 2057188 w 3653473"/>
                    <a:gd name="connsiteY14" fmla="*/ 836083 h 6363123"/>
                    <a:gd name="connsiteX15" fmla="*/ 3027468 w 3653473"/>
                    <a:gd name="connsiteY15" fmla="*/ 1331383 h 6363123"/>
                    <a:gd name="connsiteX16" fmla="*/ 2107988 w 3653473"/>
                    <a:gd name="connsiteY16" fmla="*/ 1318683 h 6363123"/>
                    <a:gd name="connsiteX17" fmla="*/ 2102908 w 3653473"/>
                    <a:gd name="connsiteY17" fmla="*/ 2423583 h 6363123"/>
                    <a:gd name="connsiteX18" fmla="*/ 3096048 w 3653473"/>
                    <a:gd name="connsiteY18" fmla="*/ 6363123 h 6363123"/>
                    <a:gd name="connsiteX19" fmla="*/ 3289088 w 3653473"/>
                    <a:gd name="connsiteY19" fmla="*/ 6264063 h 6363123"/>
                    <a:gd name="connsiteX20" fmla="*/ 2250228 w 3653473"/>
                    <a:gd name="connsiteY20" fmla="*/ 2423583 h 6363123"/>
                    <a:gd name="connsiteX21" fmla="*/ 2255308 w 3653473"/>
                    <a:gd name="connsiteY21" fmla="*/ 1519343 h 6363123"/>
                    <a:gd name="connsiteX22" fmla="*/ 3380528 w 3653473"/>
                    <a:gd name="connsiteY22" fmla="*/ 1544743 h 6363123"/>
                    <a:gd name="connsiteX23" fmla="*/ 3454188 w 3653473"/>
                    <a:gd name="connsiteY23" fmla="*/ 1323763 h 6363123"/>
                    <a:gd name="connsiteX24" fmla="*/ 2209588 w 3653473"/>
                    <a:gd name="connsiteY24" fmla="*/ 696383 h 6363123"/>
                    <a:gd name="connsiteX25" fmla="*/ 2019088 w 3653473"/>
                    <a:gd name="connsiteY25"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36208 w 3653473"/>
                    <a:gd name="connsiteY14" fmla="*/ 25442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80658 w 3653473"/>
                    <a:gd name="connsiteY14" fmla="*/ 36237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80658 w 3653473"/>
                    <a:gd name="connsiteY14" fmla="*/ 36237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80658 w 3653473"/>
                    <a:gd name="connsiteY14" fmla="*/ 36237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52963"/>
                    <a:gd name="connsiteX1" fmla="*/ 1663488 w 3653473"/>
                    <a:gd name="connsiteY1" fmla="*/ 99483 h 6352963"/>
                    <a:gd name="connsiteX2" fmla="*/ 1437428 w 3653473"/>
                    <a:gd name="connsiteY2" fmla="*/ 678603 h 6352963"/>
                    <a:gd name="connsiteX3" fmla="*/ 149648 w 3653473"/>
                    <a:gd name="connsiteY3" fmla="*/ 1295823 h 6352963"/>
                    <a:gd name="connsiteX4" fmla="*/ 139488 w 3653473"/>
                    <a:gd name="connsiteY4" fmla="*/ 1554903 h 6352963"/>
                    <a:gd name="connsiteX5" fmla="*/ 1379008 w 3653473"/>
                    <a:gd name="connsiteY5" fmla="*/ 1559983 h 6352963"/>
                    <a:gd name="connsiteX6" fmla="*/ 1361228 w 3653473"/>
                    <a:gd name="connsiteY6" fmla="*/ 2507403 h 6352963"/>
                    <a:gd name="connsiteX7" fmla="*/ 406188 w 3653473"/>
                    <a:gd name="connsiteY7" fmla="*/ 6347883 h 6352963"/>
                    <a:gd name="connsiteX8" fmla="*/ 594148 w 3653473"/>
                    <a:gd name="connsiteY8" fmla="*/ 6352963 h 6352963"/>
                    <a:gd name="connsiteX9" fmla="*/ 1549188 w 3653473"/>
                    <a:gd name="connsiteY9" fmla="*/ 2454063 h 6352963"/>
                    <a:gd name="connsiteX10" fmla="*/ 1508548 w 3653473"/>
                    <a:gd name="connsiteY10" fmla="*/ 1311063 h 6352963"/>
                    <a:gd name="connsiteX11" fmla="*/ 604308 w 3653473"/>
                    <a:gd name="connsiteY11" fmla="*/ 1318683 h 6352963"/>
                    <a:gd name="connsiteX12" fmla="*/ 1498388 w 3653473"/>
                    <a:gd name="connsiteY12" fmla="*/ 899583 h 6352963"/>
                    <a:gd name="connsiteX13" fmla="*/ 1758738 w 3653473"/>
                    <a:gd name="connsiteY13" fmla="*/ 366184 h 6352963"/>
                    <a:gd name="connsiteX14" fmla="*/ 1880658 w 3653473"/>
                    <a:gd name="connsiteY14" fmla="*/ 362373 h 6352963"/>
                    <a:gd name="connsiteX15" fmla="*/ 2057188 w 3653473"/>
                    <a:gd name="connsiteY15" fmla="*/ 836083 h 6352963"/>
                    <a:gd name="connsiteX16" fmla="*/ 3027468 w 3653473"/>
                    <a:gd name="connsiteY16" fmla="*/ 1331383 h 6352963"/>
                    <a:gd name="connsiteX17" fmla="*/ 2107988 w 3653473"/>
                    <a:gd name="connsiteY17" fmla="*/ 1318683 h 6352963"/>
                    <a:gd name="connsiteX18" fmla="*/ 2102908 w 3653473"/>
                    <a:gd name="connsiteY18" fmla="*/ 2423583 h 6352963"/>
                    <a:gd name="connsiteX19" fmla="*/ 3083348 w 3653473"/>
                    <a:gd name="connsiteY19" fmla="*/ 6261523 h 6352963"/>
                    <a:gd name="connsiteX20" fmla="*/ 3289088 w 3653473"/>
                    <a:gd name="connsiteY20" fmla="*/ 6264063 h 6352963"/>
                    <a:gd name="connsiteX21" fmla="*/ 2250228 w 3653473"/>
                    <a:gd name="connsiteY21" fmla="*/ 2423583 h 6352963"/>
                    <a:gd name="connsiteX22" fmla="*/ 2255308 w 3653473"/>
                    <a:gd name="connsiteY22" fmla="*/ 1519343 h 6352963"/>
                    <a:gd name="connsiteX23" fmla="*/ 3380528 w 3653473"/>
                    <a:gd name="connsiteY23" fmla="*/ 1544743 h 6352963"/>
                    <a:gd name="connsiteX24" fmla="*/ 3454188 w 3653473"/>
                    <a:gd name="connsiteY24" fmla="*/ 1323763 h 6352963"/>
                    <a:gd name="connsiteX25" fmla="*/ 2209588 w 3653473"/>
                    <a:gd name="connsiteY25" fmla="*/ 696383 h 6352963"/>
                    <a:gd name="connsiteX26" fmla="*/ 2019088 w 3653473"/>
                    <a:gd name="connsiteY26" fmla="*/ 99483 h 6352963"/>
                    <a:gd name="connsiteX0" fmla="*/ 2019088 w 3653473"/>
                    <a:gd name="connsiteY0" fmla="*/ 99483 h 6441016"/>
                    <a:gd name="connsiteX1" fmla="*/ 1663488 w 3653473"/>
                    <a:gd name="connsiteY1" fmla="*/ 99483 h 6441016"/>
                    <a:gd name="connsiteX2" fmla="*/ 1437428 w 3653473"/>
                    <a:gd name="connsiteY2" fmla="*/ 678603 h 6441016"/>
                    <a:gd name="connsiteX3" fmla="*/ 149648 w 3653473"/>
                    <a:gd name="connsiteY3" fmla="*/ 1295823 h 6441016"/>
                    <a:gd name="connsiteX4" fmla="*/ 139488 w 3653473"/>
                    <a:gd name="connsiteY4" fmla="*/ 1554903 h 6441016"/>
                    <a:gd name="connsiteX5" fmla="*/ 1379008 w 3653473"/>
                    <a:gd name="connsiteY5" fmla="*/ 1559983 h 6441016"/>
                    <a:gd name="connsiteX6" fmla="*/ 1361228 w 3653473"/>
                    <a:gd name="connsiteY6" fmla="*/ 2507403 h 6441016"/>
                    <a:gd name="connsiteX7" fmla="*/ 406188 w 3653473"/>
                    <a:gd name="connsiteY7" fmla="*/ 6347883 h 6441016"/>
                    <a:gd name="connsiteX8" fmla="*/ 594148 w 3653473"/>
                    <a:gd name="connsiteY8" fmla="*/ 6352963 h 6441016"/>
                    <a:gd name="connsiteX9" fmla="*/ 1549188 w 3653473"/>
                    <a:gd name="connsiteY9" fmla="*/ 2454063 h 6441016"/>
                    <a:gd name="connsiteX10" fmla="*/ 1508548 w 3653473"/>
                    <a:gd name="connsiteY10" fmla="*/ 1311063 h 6441016"/>
                    <a:gd name="connsiteX11" fmla="*/ 604308 w 3653473"/>
                    <a:gd name="connsiteY11" fmla="*/ 1318683 h 6441016"/>
                    <a:gd name="connsiteX12" fmla="*/ 1498388 w 3653473"/>
                    <a:gd name="connsiteY12" fmla="*/ 899583 h 6441016"/>
                    <a:gd name="connsiteX13" fmla="*/ 1758738 w 3653473"/>
                    <a:gd name="connsiteY13" fmla="*/ 366184 h 6441016"/>
                    <a:gd name="connsiteX14" fmla="*/ 1880658 w 3653473"/>
                    <a:gd name="connsiteY14" fmla="*/ 362373 h 6441016"/>
                    <a:gd name="connsiteX15" fmla="*/ 2057188 w 3653473"/>
                    <a:gd name="connsiteY15" fmla="*/ 836083 h 6441016"/>
                    <a:gd name="connsiteX16" fmla="*/ 3027468 w 3653473"/>
                    <a:gd name="connsiteY16" fmla="*/ 1331383 h 6441016"/>
                    <a:gd name="connsiteX17" fmla="*/ 2107988 w 3653473"/>
                    <a:gd name="connsiteY17" fmla="*/ 1318683 h 6441016"/>
                    <a:gd name="connsiteX18" fmla="*/ 2102908 w 3653473"/>
                    <a:gd name="connsiteY18" fmla="*/ 2423583 h 6441016"/>
                    <a:gd name="connsiteX19" fmla="*/ 3083348 w 3653473"/>
                    <a:gd name="connsiteY19" fmla="*/ 6261523 h 6441016"/>
                    <a:gd name="connsiteX20" fmla="*/ 3289088 w 3653473"/>
                    <a:gd name="connsiteY20" fmla="*/ 6264063 h 6441016"/>
                    <a:gd name="connsiteX21" fmla="*/ 2250228 w 3653473"/>
                    <a:gd name="connsiteY21" fmla="*/ 2423583 h 6441016"/>
                    <a:gd name="connsiteX22" fmla="*/ 2255308 w 3653473"/>
                    <a:gd name="connsiteY22" fmla="*/ 1519343 h 6441016"/>
                    <a:gd name="connsiteX23" fmla="*/ 3380528 w 3653473"/>
                    <a:gd name="connsiteY23" fmla="*/ 1544743 h 6441016"/>
                    <a:gd name="connsiteX24" fmla="*/ 3454188 w 3653473"/>
                    <a:gd name="connsiteY24" fmla="*/ 1323763 h 6441016"/>
                    <a:gd name="connsiteX25" fmla="*/ 2209588 w 3653473"/>
                    <a:gd name="connsiteY25" fmla="*/ 696383 h 6441016"/>
                    <a:gd name="connsiteX26" fmla="*/ 2019088 w 3653473"/>
                    <a:gd name="connsiteY26" fmla="*/ 99483 h 6441016"/>
                    <a:gd name="connsiteX0" fmla="*/ 2019088 w 3653473"/>
                    <a:gd name="connsiteY0" fmla="*/ 99483 h 6441016"/>
                    <a:gd name="connsiteX1" fmla="*/ 1663488 w 3653473"/>
                    <a:gd name="connsiteY1" fmla="*/ 99483 h 6441016"/>
                    <a:gd name="connsiteX2" fmla="*/ 1437428 w 3653473"/>
                    <a:gd name="connsiteY2" fmla="*/ 678603 h 6441016"/>
                    <a:gd name="connsiteX3" fmla="*/ 149648 w 3653473"/>
                    <a:gd name="connsiteY3" fmla="*/ 1295823 h 6441016"/>
                    <a:gd name="connsiteX4" fmla="*/ 139488 w 3653473"/>
                    <a:gd name="connsiteY4" fmla="*/ 1554903 h 6441016"/>
                    <a:gd name="connsiteX5" fmla="*/ 1379008 w 3653473"/>
                    <a:gd name="connsiteY5" fmla="*/ 1559983 h 6441016"/>
                    <a:gd name="connsiteX6" fmla="*/ 1361228 w 3653473"/>
                    <a:gd name="connsiteY6" fmla="*/ 2507403 h 6441016"/>
                    <a:gd name="connsiteX7" fmla="*/ 406188 w 3653473"/>
                    <a:gd name="connsiteY7" fmla="*/ 6347883 h 6441016"/>
                    <a:gd name="connsiteX8" fmla="*/ 594148 w 3653473"/>
                    <a:gd name="connsiteY8" fmla="*/ 6352963 h 6441016"/>
                    <a:gd name="connsiteX9" fmla="*/ 1549188 w 3653473"/>
                    <a:gd name="connsiteY9" fmla="*/ 2454063 h 6441016"/>
                    <a:gd name="connsiteX10" fmla="*/ 1508548 w 3653473"/>
                    <a:gd name="connsiteY10" fmla="*/ 1311063 h 6441016"/>
                    <a:gd name="connsiteX11" fmla="*/ 604308 w 3653473"/>
                    <a:gd name="connsiteY11" fmla="*/ 1318683 h 6441016"/>
                    <a:gd name="connsiteX12" fmla="*/ 1498388 w 3653473"/>
                    <a:gd name="connsiteY12" fmla="*/ 899583 h 6441016"/>
                    <a:gd name="connsiteX13" fmla="*/ 1758738 w 3653473"/>
                    <a:gd name="connsiteY13" fmla="*/ 366184 h 6441016"/>
                    <a:gd name="connsiteX14" fmla="*/ 1880658 w 3653473"/>
                    <a:gd name="connsiteY14" fmla="*/ 362373 h 6441016"/>
                    <a:gd name="connsiteX15" fmla="*/ 2057188 w 3653473"/>
                    <a:gd name="connsiteY15" fmla="*/ 836083 h 6441016"/>
                    <a:gd name="connsiteX16" fmla="*/ 3027468 w 3653473"/>
                    <a:gd name="connsiteY16" fmla="*/ 1331383 h 6441016"/>
                    <a:gd name="connsiteX17" fmla="*/ 2107988 w 3653473"/>
                    <a:gd name="connsiteY17" fmla="*/ 1318683 h 6441016"/>
                    <a:gd name="connsiteX18" fmla="*/ 2102908 w 3653473"/>
                    <a:gd name="connsiteY18" fmla="*/ 2423583 h 6441016"/>
                    <a:gd name="connsiteX19" fmla="*/ 3083348 w 3653473"/>
                    <a:gd name="connsiteY19" fmla="*/ 6261523 h 6441016"/>
                    <a:gd name="connsiteX20" fmla="*/ 3289088 w 3653473"/>
                    <a:gd name="connsiteY20" fmla="*/ 6264063 h 6441016"/>
                    <a:gd name="connsiteX21" fmla="*/ 2250228 w 3653473"/>
                    <a:gd name="connsiteY21" fmla="*/ 2423583 h 6441016"/>
                    <a:gd name="connsiteX22" fmla="*/ 2255308 w 3653473"/>
                    <a:gd name="connsiteY22" fmla="*/ 1519343 h 6441016"/>
                    <a:gd name="connsiteX23" fmla="*/ 3380528 w 3653473"/>
                    <a:gd name="connsiteY23" fmla="*/ 1544743 h 6441016"/>
                    <a:gd name="connsiteX24" fmla="*/ 3454188 w 3653473"/>
                    <a:gd name="connsiteY24" fmla="*/ 1323763 h 6441016"/>
                    <a:gd name="connsiteX25" fmla="*/ 2209588 w 3653473"/>
                    <a:gd name="connsiteY25" fmla="*/ 696383 h 6441016"/>
                    <a:gd name="connsiteX26" fmla="*/ 2019088 w 3653473"/>
                    <a:gd name="connsiteY26" fmla="*/ 99483 h 6441016"/>
                    <a:gd name="connsiteX0" fmla="*/ 2019088 w 3653473"/>
                    <a:gd name="connsiteY0" fmla="*/ 99483 h 6471920"/>
                    <a:gd name="connsiteX1" fmla="*/ 1663488 w 3653473"/>
                    <a:gd name="connsiteY1" fmla="*/ 99483 h 6471920"/>
                    <a:gd name="connsiteX2" fmla="*/ 1437428 w 3653473"/>
                    <a:gd name="connsiteY2" fmla="*/ 678603 h 6471920"/>
                    <a:gd name="connsiteX3" fmla="*/ 149648 w 3653473"/>
                    <a:gd name="connsiteY3" fmla="*/ 1295823 h 6471920"/>
                    <a:gd name="connsiteX4" fmla="*/ 139488 w 3653473"/>
                    <a:gd name="connsiteY4" fmla="*/ 1554903 h 6471920"/>
                    <a:gd name="connsiteX5" fmla="*/ 1379008 w 3653473"/>
                    <a:gd name="connsiteY5" fmla="*/ 1559983 h 6471920"/>
                    <a:gd name="connsiteX6" fmla="*/ 1361228 w 3653473"/>
                    <a:gd name="connsiteY6" fmla="*/ 2507403 h 6471920"/>
                    <a:gd name="connsiteX7" fmla="*/ 406188 w 3653473"/>
                    <a:gd name="connsiteY7" fmla="*/ 6347883 h 6471920"/>
                    <a:gd name="connsiteX8" fmla="*/ 594148 w 3653473"/>
                    <a:gd name="connsiteY8" fmla="*/ 6352963 h 6471920"/>
                    <a:gd name="connsiteX9" fmla="*/ 1549188 w 3653473"/>
                    <a:gd name="connsiteY9" fmla="*/ 2454063 h 6471920"/>
                    <a:gd name="connsiteX10" fmla="*/ 1508548 w 3653473"/>
                    <a:gd name="connsiteY10" fmla="*/ 1311063 h 6471920"/>
                    <a:gd name="connsiteX11" fmla="*/ 604308 w 3653473"/>
                    <a:gd name="connsiteY11" fmla="*/ 1318683 h 6471920"/>
                    <a:gd name="connsiteX12" fmla="*/ 1498388 w 3653473"/>
                    <a:gd name="connsiteY12" fmla="*/ 899583 h 6471920"/>
                    <a:gd name="connsiteX13" fmla="*/ 1758738 w 3653473"/>
                    <a:gd name="connsiteY13" fmla="*/ 366184 h 6471920"/>
                    <a:gd name="connsiteX14" fmla="*/ 1880658 w 3653473"/>
                    <a:gd name="connsiteY14" fmla="*/ 362373 h 6471920"/>
                    <a:gd name="connsiteX15" fmla="*/ 2057188 w 3653473"/>
                    <a:gd name="connsiteY15" fmla="*/ 836083 h 6471920"/>
                    <a:gd name="connsiteX16" fmla="*/ 3027468 w 3653473"/>
                    <a:gd name="connsiteY16" fmla="*/ 1331383 h 6471920"/>
                    <a:gd name="connsiteX17" fmla="*/ 2107988 w 3653473"/>
                    <a:gd name="connsiteY17" fmla="*/ 1318683 h 6471920"/>
                    <a:gd name="connsiteX18" fmla="*/ 2102908 w 3653473"/>
                    <a:gd name="connsiteY18" fmla="*/ 2423583 h 6471920"/>
                    <a:gd name="connsiteX19" fmla="*/ 3083348 w 3653473"/>
                    <a:gd name="connsiteY19" fmla="*/ 6261523 h 6471920"/>
                    <a:gd name="connsiteX20" fmla="*/ 3289088 w 3653473"/>
                    <a:gd name="connsiteY20" fmla="*/ 6264063 h 6471920"/>
                    <a:gd name="connsiteX21" fmla="*/ 2250228 w 3653473"/>
                    <a:gd name="connsiteY21" fmla="*/ 2423583 h 6471920"/>
                    <a:gd name="connsiteX22" fmla="*/ 2255308 w 3653473"/>
                    <a:gd name="connsiteY22" fmla="*/ 1519343 h 6471920"/>
                    <a:gd name="connsiteX23" fmla="*/ 3380528 w 3653473"/>
                    <a:gd name="connsiteY23" fmla="*/ 1544743 h 6471920"/>
                    <a:gd name="connsiteX24" fmla="*/ 3454188 w 3653473"/>
                    <a:gd name="connsiteY24" fmla="*/ 1323763 h 6471920"/>
                    <a:gd name="connsiteX25" fmla="*/ 2209588 w 3653473"/>
                    <a:gd name="connsiteY25" fmla="*/ 696383 h 6471920"/>
                    <a:gd name="connsiteX26" fmla="*/ 2019088 w 3653473"/>
                    <a:gd name="connsiteY26" fmla="*/ 99483 h 6471920"/>
                    <a:gd name="connsiteX0" fmla="*/ 2019088 w 3653473"/>
                    <a:gd name="connsiteY0" fmla="*/ 99483 h 6471920"/>
                    <a:gd name="connsiteX1" fmla="*/ 1663488 w 3653473"/>
                    <a:gd name="connsiteY1" fmla="*/ 99483 h 6471920"/>
                    <a:gd name="connsiteX2" fmla="*/ 1437428 w 3653473"/>
                    <a:gd name="connsiteY2" fmla="*/ 678603 h 6471920"/>
                    <a:gd name="connsiteX3" fmla="*/ 149648 w 3653473"/>
                    <a:gd name="connsiteY3" fmla="*/ 1295823 h 6471920"/>
                    <a:gd name="connsiteX4" fmla="*/ 139488 w 3653473"/>
                    <a:gd name="connsiteY4" fmla="*/ 1554903 h 6471920"/>
                    <a:gd name="connsiteX5" fmla="*/ 1379008 w 3653473"/>
                    <a:gd name="connsiteY5" fmla="*/ 1559983 h 6471920"/>
                    <a:gd name="connsiteX6" fmla="*/ 1361228 w 3653473"/>
                    <a:gd name="connsiteY6" fmla="*/ 2507403 h 6471920"/>
                    <a:gd name="connsiteX7" fmla="*/ 406188 w 3653473"/>
                    <a:gd name="connsiteY7" fmla="*/ 6347883 h 6471920"/>
                    <a:gd name="connsiteX8" fmla="*/ 594148 w 3653473"/>
                    <a:gd name="connsiteY8" fmla="*/ 6352963 h 6471920"/>
                    <a:gd name="connsiteX9" fmla="*/ 1549188 w 3653473"/>
                    <a:gd name="connsiteY9" fmla="*/ 2454063 h 6471920"/>
                    <a:gd name="connsiteX10" fmla="*/ 1508548 w 3653473"/>
                    <a:gd name="connsiteY10" fmla="*/ 1311063 h 6471920"/>
                    <a:gd name="connsiteX11" fmla="*/ 604308 w 3653473"/>
                    <a:gd name="connsiteY11" fmla="*/ 1318683 h 6471920"/>
                    <a:gd name="connsiteX12" fmla="*/ 1498388 w 3653473"/>
                    <a:gd name="connsiteY12" fmla="*/ 899583 h 6471920"/>
                    <a:gd name="connsiteX13" fmla="*/ 1758738 w 3653473"/>
                    <a:gd name="connsiteY13" fmla="*/ 366184 h 6471920"/>
                    <a:gd name="connsiteX14" fmla="*/ 1880658 w 3653473"/>
                    <a:gd name="connsiteY14" fmla="*/ 362373 h 6471920"/>
                    <a:gd name="connsiteX15" fmla="*/ 2057188 w 3653473"/>
                    <a:gd name="connsiteY15" fmla="*/ 836083 h 6471920"/>
                    <a:gd name="connsiteX16" fmla="*/ 3027468 w 3653473"/>
                    <a:gd name="connsiteY16" fmla="*/ 1331383 h 6471920"/>
                    <a:gd name="connsiteX17" fmla="*/ 2107988 w 3653473"/>
                    <a:gd name="connsiteY17" fmla="*/ 1318683 h 6471920"/>
                    <a:gd name="connsiteX18" fmla="*/ 2102908 w 3653473"/>
                    <a:gd name="connsiteY18" fmla="*/ 2423583 h 6471920"/>
                    <a:gd name="connsiteX19" fmla="*/ 3083348 w 3653473"/>
                    <a:gd name="connsiteY19" fmla="*/ 6261523 h 6471920"/>
                    <a:gd name="connsiteX20" fmla="*/ 3289088 w 3653473"/>
                    <a:gd name="connsiteY20" fmla="*/ 6264063 h 6471920"/>
                    <a:gd name="connsiteX21" fmla="*/ 2250228 w 3653473"/>
                    <a:gd name="connsiteY21" fmla="*/ 2423583 h 6471920"/>
                    <a:gd name="connsiteX22" fmla="*/ 2255308 w 3653473"/>
                    <a:gd name="connsiteY22" fmla="*/ 1519343 h 6471920"/>
                    <a:gd name="connsiteX23" fmla="*/ 3380528 w 3653473"/>
                    <a:gd name="connsiteY23" fmla="*/ 1544743 h 6471920"/>
                    <a:gd name="connsiteX24" fmla="*/ 3454188 w 3653473"/>
                    <a:gd name="connsiteY24" fmla="*/ 1323763 h 6471920"/>
                    <a:gd name="connsiteX25" fmla="*/ 2209588 w 3653473"/>
                    <a:gd name="connsiteY25" fmla="*/ 696383 h 6471920"/>
                    <a:gd name="connsiteX26" fmla="*/ 2019088 w 3653473"/>
                    <a:gd name="connsiteY26" fmla="*/ 99483 h 647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653473" h="6471920">
                      <a:moveTo>
                        <a:pt x="2019088" y="99483"/>
                      </a:moveTo>
                      <a:cubicBezTo>
                        <a:pt x="1928071" y="0"/>
                        <a:pt x="1760431" y="2963"/>
                        <a:pt x="1663488" y="99483"/>
                      </a:cubicBezTo>
                      <a:lnTo>
                        <a:pt x="1437428" y="678603"/>
                      </a:lnTo>
                      <a:lnTo>
                        <a:pt x="149648" y="1295823"/>
                      </a:lnTo>
                      <a:cubicBezTo>
                        <a:pt x="22436" y="1386945"/>
                        <a:pt x="0" y="1525693"/>
                        <a:pt x="139488" y="1554903"/>
                      </a:cubicBezTo>
                      <a:lnTo>
                        <a:pt x="1379008" y="1559983"/>
                      </a:lnTo>
                      <a:lnTo>
                        <a:pt x="1361228" y="2507403"/>
                      </a:lnTo>
                      <a:lnTo>
                        <a:pt x="406188" y="6347883"/>
                      </a:lnTo>
                      <a:cubicBezTo>
                        <a:pt x="386291" y="6419426"/>
                        <a:pt x="531495" y="6471920"/>
                        <a:pt x="594148" y="6352963"/>
                      </a:cubicBezTo>
                      <a:lnTo>
                        <a:pt x="1549188" y="2454063"/>
                      </a:lnTo>
                      <a:cubicBezTo>
                        <a:pt x="1545801" y="2073063"/>
                        <a:pt x="1511935" y="1692063"/>
                        <a:pt x="1508548" y="1311063"/>
                      </a:cubicBezTo>
                      <a:lnTo>
                        <a:pt x="604308" y="1318683"/>
                      </a:lnTo>
                      <a:lnTo>
                        <a:pt x="1498388" y="899583"/>
                      </a:lnTo>
                      <a:lnTo>
                        <a:pt x="1758738" y="366184"/>
                      </a:lnTo>
                      <a:cubicBezTo>
                        <a:pt x="1812078" y="244264"/>
                        <a:pt x="1827318" y="192193"/>
                        <a:pt x="1880658" y="362373"/>
                      </a:cubicBezTo>
                      <a:lnTo>
                        <a:pt x="2057188" y="836083"/>
                      </a:lnTo>
                      <a:lnTo>
                        <a:pt x="3027468" y="1331383"/>
                      </a:lnTo>
                      <a:lnTo>
                        <a:pt x="2107988" y="1318683"/>
                      </a:lnTo>
                      <a:cubicBezTo>
                        <a:pt x="2106295" y="1686983"/>
                        <a:pt x="2104601" y="2055283"/>
                        <a:pt x="2102908" y="2423583"/>
                      </a:cubicBezTo>
                      <a:lnTo>
                        <a:pt x="3083348" y="6261523"/>
                      </a:lnTo>
                      <a:cubicBezTo>
                        <a:pt x="3107478" y="6383020"/>
                        <a:pt x="3245908" y="6441016"/>
                        <a:pt x="3289088" y="6264063"/>
                      </a:cubicBezTo>
                      <a:lnTo>
                        <a:pt x="2250228" y="2423583"/>
                      </a:lnTo>
                      <a:cubicBezTo>
                        <a:pt x="2251921" y="2122170"/>
                        <a:pt x="2253615" y="1820756"/>
                        <a:pt x="2255308" y="1519343"/>
                      </a:cubicBezTo>
                      <a:lnTo>
                        <a:pt x="3380528" y="1544743"/>
                      </a:lnTo>
                      <a:cubicBezTo>
                        <a:pt x="3505094" y="1590145"/>
                        <a:pt x="3653473" y="1440285"/>
                        <a:pt x="3454188" y="1323763"/>
                      </a:cubicBezTo>
                      <a:lnTo>
                        <a:pt x="2209588" y="696383"/>
                      </a:lnTo>
                      <a:lnTo>
                        <a:pt x="2019088" y="99483"/>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Rectangle 51"/>
                <p:cNvSpPr/>
                <p:nvPr/>
              </p:nvSpPr>
              <p:spPr>
                <a:xfrm>
                  <a:off x="2203450" y="1504950"/>
                  <a:ext cx="812800" cy="317500"/>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Freeform 52"/>
                <p:cNvSpPr/>
                <p:nvPr/>
              </p:nvSpPr>
              <p:spPr>
                <a:xfrm>
                  <a:off x="2209800" y="901700"/>
                  <a:ext cx="711200" cy="152400"/>
                </a:xfrm>
                <a:custGeom>
                  <a:avLst/>
                  <a:gdLst>
                    <a:gd name="connsiteX0" fmla="*/ 127000 w 711200"/>
                    <a:gd name="connsiteY0" fmla="*/ 0 h 152400"/>
                    <a:gd name="connsiteX1" fmla="*/ 698500 w 711200"/>
                    <a:gd name="connsiteY1" fmla="*/ 0 h 152400"/>
                    <a:gd name="connsiteX2" fmla="*/ 711200 w 711200"/>
                    <a:gd name="connsiteY2" fmla="*/ 152400 h 152400"/>
                    <a:gd name="connsiteX3" fmla="*/ 0 w 711200"/>
                    <a:gd name="connsiteY3" fmla="*/ 139700 h 152400"/>
                    <a:gd name="connsiteX4" fmla="*/ 127000 w 71120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1200" h="152400">
                      <a:moveTo>
                        <a:pt x="127000" y="0"/>
                      </a:moveTo>
                      <a:lnTo>
                        <a:pt x="698500" y="0"/>
                      </a:lnTo>
                      <a:lnTo>
                        <a:pt x="711200" y="152400"/>
                      </a:lnTo>
                      <a:lnTo>
                        <a:pt x="0" y="139700"/>
                      </a:lnTo>
                      <a:lnTo>
                        <a:pt x="1270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Freeform 53"/>
                <p:cNvSpPr/>
                <p:nvPr/>
              </p:nvSpPr>
              <p:spPr>
                <a:xfrm>
                  <a:off x="2139950" y="933450"/>
                  <a:ext cx="171450" cy="736600"/>
                </a:xfrm>
                <a:custGeom>
                  <a:avLst/>
                  <a:gdLst>
                    <a:gd name="connsiteX0" fmla="*/ 6350 w 171450"/>
                    <a:gd name="connsiteY0" fmla="*/ 730250 h 736600"/>
                    <a:gd name="connsiteX1" fmla="*/ 0 w 171450"/>
                    <a:gd name="connsiteY1" fmla="*/ 95250 h 736600"/>
                    <a:gd name="connsiteX2" fmla="*/ 171450 w 171450"/>
                    <a:gd name="connsiteY2" fmla="*/ 0 h 736600"/>
                    <a:gd name="connsiteX3" fmla="*/ 127000 w 171450"/>
                    <a:gd name="connsiteY3" fmla="*/ 736600 h 736600"/>
                    <a:gd name="connsiteX4" fmla="*/ 6350 w 171450"/>
                    <a:gd name="connsiteY4" fmla="*/ 730250 h 736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736600">
                      <a:moveTo>
                        <a:pt x="6350" y="730250"/>
                      </a:moveTo>
                      <a:cubicBezTo>
                        <a:pt x="4233" y="518583"/>
                        <a:pt x="2117" y="306917"/>
                        <a:pt x="0" y="95250"/>
                      </a:cubicBezTo>
                      <a:lnTo>
                        <a:pt x="171450" y="0"/>
                      </a:lnTo>
                      <a:lnTo>
                        <a:pt x="127000" y="736600"/>
                      </a:lnTo>
                      <a:lnTo>
                        <a:pt x="6350" y="7302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Freeform 54"/>
                <p:cNvSpPr/>
                <p:nvPr/>
              </p:nvSpPr>
              <p:spPr>
                <a:xfrm>
                  <a:off x="2851150" y="850900"/>
                  <a:ext cx="184150" cy="838200"/>
                </a:xfrm>
                <a:custGeom>
                  <a:avLst/>
                  <a:gdLst>
                    <a:gd name="connsiteX0" fmla="*/ 0 w 184150"/>
                    <a:gd name="connsiteY0" fmla="*/ 0 h 838200"/>
                    <a:gd name="connsiteX1" fmla="*/ 25400 w 184150"/>
                    <a:gd name="connsiteY1" fmla="*/ 838200 h 838200"/>
                    <a:gd name="connsiteX2" fmla="*/ 184150 w 184150"/>
                    <a:gd name="connsiteY2" fmla="*/ 819150 h 838200"/>
                    <a:gd name="connsiteX3" fmla="*/ 120650 w 184150"/>
                    <a:gd name="connsiteY3" fmla="*/ 114300 h 838200"/>
                    <a:gd name="connsiteX4" fmla="*/ 0 w 184150"/>
                    <a:gd name="connsiteY4" fmla="*/ 0 h 83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50" h="838200">
                      <a:moveTo>
                        <a:pt x="0" y="0"/>
                      </a:moveTo>
                      <a:lnTo>
                        <a:pt x="25400" y="838200"/>
                      </a:lnTo>
                      <a:lnTo>
                        <a:pt x="184150" y="819150"/>
                      </a:lnTo>
                      <a:lnTo>
                        <a:pt x="120650" y="114300"/>
                      </a:lnTo>
                      <a:lnTo>
                        <a:pt x="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9" name="Freeform 55"/>
                <p:cNvSpPr/>
                <p:nvPr/>
              </p:nvSpPr>
              <p:spPr>
                <a:xfrm>
                  <a:off x="2216150" y="901700"/>
                  <a:ext cx="749300" cy="825500"/>
                </a:xfrm>
                <a:custGeom>
                  <a:avLst/>
                  <a:gdLst>
                    <a:gd name="connsiteX0" fmla="*/ 0 w 749300"/>
                    <a:gd name="connsiteY0" fmla="*/ 76200 h 825500"/>
                    <a:gd name="connsiteX1" fmla="*/ 711200 w 749300"/>
                    <a:gd name="connsiteY1" fmla="*/ 825500 h 825500"/>
                    <a:gd name="connsiteX2" fmla="*/ 749300 w 749300"/>
                    <a:gd name="connsiteY2" fmla="*/ 641350 h 825500"/>
                    <a:gd name="connsiteX3" fmla="*/ 44450 w 749300"/>
                    <a:gd name="connsiteY3" fmla="*/ 0 h 825500"/>
                    <a:gd name="connsiteX4" fmla="*/ 0 w 749300"/>
                    <a:gd name="connsiteY4" fmla="*/ 76200 h 825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9300" h="825500">
                      <a:moveTo>
                        <a:pt x="0" y="76200"/>
                      </a:moveTo>
                      <a:lnTo>
                        <a:pt x="711200" y="825500"/>
                      </a:lnTo>
                      <a:lnTo>
                        <a:pt x="749300" y="641350"/>
                      </a:lnTo>
                      <a:lnTo>
                        <a:pt x="44450" y="0"/>
                      </a:lnTo>
                      <a:lnTo>
                        <a:pt x="0" y="762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Freeform 56"/>
                <p:cNvSpPr/>
                <p:nvPr/>
              </p:nvSpPr>
              <p:spPr>
                <a:xfrm>
                  <a:off x="2114550" y="946150"/>
                  <a:ext cx="844550" cy="654050"/>
                </a:xfrm>
                <a:custGeom>
                  <a:avLst/>
                  <a:gdLst>
                    <a:gd name="connsiteX0" fmla="*/ 266700 w 844550"/>
                    <a:gd name="connsiteY0" fmla="*/ 615950 h 654050"/>
                    <a:gd name="connsiteX1" fmla="*/ 266700 w 844550"/>
                    <a:gd name="connsiteY1" fmla="*/ 615950 h 654050"/>
                    <a:gd name="connsiteX2" fmla="*/ 311150 w 844550"/>
                    <a:gd name="connsiteY2" fmla="*/ 558800 h 654050"/>
                    <a:gd name="connsiteX3" fmla="*/ 844550 w 844550"/>
                    <a:gd name="connsiteY3" fmla="*/ 88900 h 654050"/>
                    <a:gd name="connsiteX4" fmla="*/ 749300 w 844550"/>
                    <a:gd name="connsiteY4" fmla="*/ 0 h 654050"/>
                    <a:gd name="connsiteX5" fmla="*/ 0 w 844550"/>
                    <a:gd name="connsiteY5" fmla="*/ 654050 h 654050"/>
                    <a:gd name="connsiteX6" fmla="*/ 266700 w 844550"/>
                    <a:gd name="connsiteY6" fmla="*/ 615950 h 65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4550" h="654050">
                      <a:moveTo>
                        <a:pt x="266700" y="615950"/>
                      </a:moveTo>
                      <a:lnTo>
                        <a:pt x="266700" y="615950"/>
                      </a:lnTo>
                      <a:lnTo>
                        <a:pt x="311150" y="558800"/>
                      </a:lnTo>
                      <a:lnTo>
                        <a:pt x="844550" y="88900"/>
                      </a:lnTo>
                      <a:lnTo>
                        <a:pt x="749300" y="0"/>
                      </a:lnTo>
                      <a:lnTo>
                        <a:pt x="0" y="654050"/>
                      </a:lnTo>
                      <a:lnTo>
                        <a:pt x="266700" y="6159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1" name="Freeform 59"/>
                <p:cNvSpPr/>
                <p:nvPr/>
              </p:nvSpPr>
              <p:spPr>
                <a:xfrm>
                  <a:off x="2222500" y="1714500"/>
                  <a:ext cx="495300" cy="520700"/>
                </a:xfrm>
                <a:custGeom>
                  <a:avLst/>
                  <a:gdLst>
                    <a:gd name="connsiteX0" fmla="*/ 69850 w 495300"/>
                    <a:gd name="connsiteY0" fmla="*/ 400050 h 520700"/>
                    <a:gd name="connsiteX1" fmla="*/ 495300 w 495300"/>
                    <a:gd name="connsiteY1" fmla="*/ 0 h 520700"/>
                    <a:gd name="connsiteX2" fmla="*/ 0 w 495300"/>
                    <a:gd name="connsiteY2" fmla="*/ 95250 h 520700"/>
                    <a:gd name="connsiteX3" fmla="*/ 6350 w 495300"/>
                    <a:gd name="connsiteY3" fmla="*/ 520700 h 520700"/>
                    <a:gd name="connsiteX4" fmla="*/ 69850 w 495300"/>
                    <a:gd name="connsiteY4" fmla="*/ 400050 h 520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520700">
                      <a:moveTo>
                        <a:pt x="69850" y="400050"/>
                      </a:moveTo>
                      <a:lnTo>
                        <a:pt x="495300" y="0"/>
                      </a:lnTo>
                      <a:lnTo>
                        <a:pt x="0" y="95250"/>
                      </a:lnTo>
                      <a:cubicBezTo>
                        <a:pt x="2117" y="237067"/>
                        <a:pt x="4233" y="378883"/>
                        <a:pt x="6350" y="520700"/>
                      </a:cubicBezTo>
                      <a:lnTo>
                        <a:pt x="69850" y="4000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Freeform 60"/>
                <p:cNvSpPr/>
                <p:nvPr/>
              </p:nvSpPr>
              <p:spPr>
                <a:xfrm>
                  <a:off x="2527300" y="1638300"/>
                  <a:ext cx="444500" cy="476250"/>
                </a:xfrm>
                <a:custGeom>
                  <a:avLst/>
                  <a:gdLst>
                    <a:gd name="connsiteX0" fmla="*/ 425450 w 444500"/>
                    <a:gd name="connsiteY0" fmla="*/ 476250 h 476250"/>
                    <a:gd name="connsiteX1" fmla="*/ 0 w 444500"/>
                    <a:gd name="connsiteY1" fmla="*/ 82550 h 476250"/>
                    <a:gd name="connsiteX2" fmla="*/ 222250 w 444500"/>
                    <a:gd name="connsiteY2" fmla="*/ 0 h 476250"/>
                    <a:gd name="connsiteX3" fmla="*/ 444500 w 444500"/>
                    <a:gd name="connsiteY3" fmla="*/ 82550 h 476250"/>
                    <a:gd name="connsiteX4" fmla="*/ 425450 w 444500"/>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00" h="476250">
                      <a:moveTo>
                        <a:pt x="425450" y="476250"/>
                      </a:moveTo>
                      <a:lnTo>
                        <a:pt x="0" y="82550"/>
                      </a:lnTo>
                      <a:lnTo>
                        <a:pt x="222250" y="0"/>
                      </a:lnTo>
                      <a:lnTo>
                        <a:pt x="444500" y="82550"/>
                      </a:lnTo>
                      <a:lnTo>
                        <a:pt x="425450" y="4762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5" name="Freeform 65"/>
                <p:cNvSpPr/>
                <p:nvPr/>
              </p:nvSpPr>
              <p:spPr>
                <a:xfrm>
                  <a:off x="2165350" y="1809750"/>
                  <a:ext cx="749300" cy="812800"/>
                </a:xfrm>
                <a:custGeom>
                  <a:avLst/>
                  <a:gdLst>
                    <a:gd name="connsiteX0" fmla="*/ 723900 w 749300"/>
                    <a:gd name="connsiteY0" fmla="*/ 0 h 812800"/>
                    <a:gd name="connsiteX1" fmla="*/ 0 w 749300"/>
                    <a:gd name="connsiteY1" fmla="*/ 692150 h 812800"/>
                    <a:gd name="connsiteX2" fmla="*/ 63500 w 749300"/>
                    <a:gd name="connsiteY2" fmla="*/ 812800 h 812800"/>
                    <a:gd name="connsiteX3" fmla="*/ 749300 w 749300"/>
                    <a:gd name="connsiteY3" fmla="*/ 114300 h 812800"/>
                    <a:gd name="connsiteX4" fmla="*/ 723900 w 749300"/>
                    <a:gd name="connsiteY4" fmla="*/ 0 h 812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9300" h="812800">
                      <a:moveTo>
                        <a:pt x="723900" y="0"/>
                      </a:moveTo>
                      <a:lnTo>
                        <a:pt x="0" y="692150"/>
                      </a:lnTo>
                      <a:lnTo>
                        <a:pt x="63500" y="812800"/>
                      </a:lnTo>
                      <a:lnTo>
                        <a:pt x="749300" y="114300"/>
                      </a:lnTo>
                      <a:lnTo>
                        <a:pt x="7239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Freeform 67"/>
                <p:cNvSpPr/>
                <p:nvPr/>
              </p:nvSpPr>
              <p:spPr>
                <a:xfrm>
                  <a:off x="2286000" y="1885950"/>
                  <a:ext cx="654050" cy="647700"/>
                </a:xfrm>
                <a:custGeom>
                  <a:avLst/>
                  <a:gdLst>
                    <a:gd name="connsiteX0" fmla="*/ 0 w 654050"/>
                    <a:gd name="connsiteY0" fmla="*/ 76200 h 647700"/>
                    <a:gd name="connsiteX1" fmla="*/ 628650 w 654050"/>
                    <a:gd name="connsiteY1" fmla="*/ 647700 h 647700"/>
                    <a:gd name="connsiteX2" fmla="*/ 654050 w 654050"/>
                    <a:gd name="connsiteY2" fmla="*/ 457200 h 647700"/>
                    <a:gd name="connsiteX3" fmla="*/ 63500 w 654050"/>
                    <a:gd name="connsiteY3" fmla="*/ 0 h 647700"/>
                    <a:gd name="connsiteX4" fmla="*/ 0 w 654050"/>
                    <a:gd name="connsiteY4" fmla="*/ 76200 h 647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050" h="647700">
                      <a:moveTo>
                        <a:pt x="0" y="76200"/>
                      </a:moveTo>
                      <a:lnTo>
                        <a:pt x="628650" y="647700"/>
                      </a:lnTo>
                      <a:lnTo>
                        <a:pt x="654050" y="457200"/>
                      </a:lnTo>
                      <a:lnTo>
                        <a:pt x="63500" y="0"/>
                      </a:lnTo>
                      <a:lnTo>
                        <a:pt x="0" y="762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Freeform 68"/>
                <p:cNvSpPr/>
                <p:nvPr/>
              </p:nvSpPr>
              <p:spPr>
                <a:xfrm>
                  <a:off x="2171700" y="2400300"/>
                  <a:ext cx="946150" cy="793750"/>
                </a:xfrm>
                <a:custGeom>
                  <a:avLst/>
                  <a:gdLst>
                    <a:gd name="connsiteX0" fmla="*/ 165100 w 946150"/>
                    <a:gd name="connsiteY0" fmla="*/ 0 h 793750"/>
                    <a:gd name="connsiteX1" fmla="*/ 946150 w 946150"/>
                    <a:gd name="connsiteY1" fmla="*/ 730250 h 793750"/>
                    <a:gd name="connsiteX2" fmla="*/ 908050 w 946150"/>
                    <a:gd name="connsiteY2" fmla="*/ 793750 h 793750"/>
                    <a:gd name="connsiteX3" fmla="*/ 0 w 946150"/>
                    <a:gd name="connsiteY3" fmla="*/ 25400 h 793750"/>
                    <a:gd name="connsiteX4" fmla="*/ 165100 w 946150"/>
                    <a:gd name="connsiteY4" fmla="*/ 0 h 79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6150" h="793750">
                      <a:moveTo>
                        <a:pt x="165100" y="0"/>
                      </a:moveTo>
                      <a:lnTo>
                        <a:pt x="946150" y="730250"/>
                      </a:lnTo>
                      <a:lnTo>
                        <a:pt x="908050" y="793750"/>
                      </a:lnTo>
                      <a:lnTo>
                        <a:pt x="0" y="25400"/>
                      </a:lnTo>
                      <a:lnTo>
                        <a:pt x="1651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8" name="Freeform 69"/>
                <p:cNvSpPr/>
                <p:nvPr/>
              </p:nvSpPr>
              <p:spPr>
                <a:xfrm>
                  <a:off x="2063750" y="2381250"/>
                  <a:ext cx="889000" cy="895350"/>
                </a:xfrm>
                <a:custGeom>
                  <a:avLst/>
                  <a:gdLst>
                    <a:gd name="connsiteX0" fmla="*/ 889000 w 889000"/>
                    <a:gd name="connsiteY0" fmla="*/ 139700 h 895350"/>
                    <a:gd name="connsiteX1" fmla="*/ 0 w 889000"/>
                    <a:gd name="connsiteY1" fmla="*/ 895350 h 895350"/>
                    <a:gd name="connsiteX2" fmla="*/ 57150 w 889000"/>
                    <a:gd name="connsiteY2" fmla="*/ 666750 h 895350"/>
                    <a:gd name="connsiteX3" fmla="*/ 889000 w 889000"/>
                    <a:gd name="connsiteY3" fmla="*/ 0 h 895350"/>
                    <a:gd name="connsiteX4" fmla="*/ 889000 w 889000"/>
                    <a:gd name="connsiteY4" fmla="*/ 139700 h 895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000" h="895350">
                      <a:moveTo>
                        <a:pt x="889000" y="139700"/>
                      </a:moveTo>
                      <a:lnTo>
                        <a:pt x="0" y="895350"/>
                      </a:lnTo>
                      <a:lnTo>
                        <a:pt x="57150" y="666750"/>
                      </a:lnTo>
                      <a:lnTo>
                        <a:pt x="889000" y="0"/>
                      </a:lnTo>
                      <a:lnTo>
                        <a:pt x="889000" y="1397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Freeform 70"/>
                <p:cNvSpPr/>
                <p:nvPr/>
              </p:nvSpPr>
              <p:spPr>
                <a:xfrm>
                  <a:off x="2108200" y="3048000"/>
                  <a:ext cx="1181100" cy="984250"/>
                </a:xfrm>
                <a:custGeom>
                  <a:avLst/>
                  <a:gdLst>
                    <a:gd name="connsiteX0" fmla="*/ 101600 w 1181100"/>
                    <a:gd name="connsiteY0" fmla="*/ 0 h 984250"/>
                    <a:gd name="connsiteX1" fmla="*/ 1181100 w 1181100"/>
                    <a:gd name="connsiteY1" fmla="*/ 857250 h 984250"/>
                    <a:gd name="connsiteX2" fmla="*/ 1155700 w 1181100"/>
                    <a:gd name="connsiteY2" fmla="*/ 984250 h 984250"/>
                    <a:gd name="connsiteX3" fmla="*/ 0 w 1181100"/>
                    <a:gd name="connsiteY3" fmla="*/ 127000 h 984250"/>
                    <a:gd name="connsiteX4" fmla="*/ 101600 w 1181100"/>
                    <a:gd name="connsiteY4" fmla="*/ 0 h 984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100" h="984250">
                      <a:moveTo>
                        <a:pt x="101600" y="0"/>
                      </a:moveTo>
                      <a:lnTo>
                        <a:pt x="1181100" y="857250"/>
                      </a:lnTo>
                      <a:lnTo>
                        <a:pt x="1155700" y="984250"/>
                      </a:lnTo>
                      <a:lnTo>
                        <a:pt x="0" y="127000"/>
                      </a:lnTo>
                      <a:lnTo>
                        <a:pt x="1016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0" name="Freeform 71"/>
                <p:cNvSpPr/>
                <p:nvPr/>
              </p:nvSpPr>
              <p:spPr>
                <a:xfrm>
                  <a:off x="1879600" y="3003550"/>
                  <a:ext cx="1219200" cy="1117600"/>
                </a:xfrm>
                <a:custGeom>
                  <a:avLst/>
                  <a:gdLst>
                    <a:gd name="connsiteX0" fmla="*/ 1219200 w 1219200"/>
                    <a:gd name="connsiteY0" fmla="*/ 158750 h 1117600"/>
                    <a:gd name="connsiteX1" fmla="*/ 0 w 1219200"/>
                    <a:gd name="connsiteY1" fmla="*/ 1117600 h 1117600"/>
                    <a:gd name="connsiteX2" fmla="*/ 69850 w 1219200"/>
                    <a:gd name="connsiteY2" fmla="*/ 806450 h 1117600"/>
                    <a:gd name="connsiteX3" fmla="*/ 1187450 w 1219200"/>
                    <a:gd name="connsiteY3" fmla="*/ 0 h 1117600"/>
                    <a:gd name="connsiteX4" fmla="*/ 1219200 w 1219200"/>
                    <a:gd name="connsiteY4" fmla="*/ 158750 h 1117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 h="1117600">
                      <a:moveTo>
                        <a:pt x="1219200" y="158750"/>
                      </a:moveTo>
                      <a:lnTo>
                        <a:pt x="0" y="1117600"/>
                      </a:lnTo>
                      <a:lnTo>
                        <a:pt x="69850" y="806450"/>
                      </a:lnTo>
                      <a:lnTo>
                        <a:pt x="1187450" y="0"/>
                      </a:lnTo>
                      <a:lnTo>
                        <a:pt x="1219200" y="1587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Freeform 72"/>
                <p:cNvSpPr/>
                <p:nvPr/>
              </p:nvSpPr>
              <p:spPr>
                <a:xfrm>
                  <a:off x="1879600" y="3873500"/>
                  <a:ext cx="1689100" cy="1397000"/>
                </a:xfrm>
                <a:custGeom>
                  <a:avLst/>
                  <a:gdLst>
                    <a:gd name="connsiteX0" fmla="*/ 114300 w 1689100"/>
                    <a:gd name="connsiteY0" fmla="*/ 0 h 1397000"/>
                    <a:gd name="connsiteX1" fmla="*/ 1689100 w 1689100"/>
                    <a:gd name="connsiteY1" fmla="*/ 1155700 h 1397000"/>
                    <a:gd name="connsiteX2" fmla="*/ 1689100 w 1689100"/>
                    <a:gd name="connsiteY2" fmla="*/ 1397000 h 1397000"/>
                    <a:gd name="connsiteX3" fmla="*/ 0 w 1689100"/>
                    <a:gd name="connsiteY3" fmla="*/ 158750 h 1397000"/>
                    <a:gd name="connsiteX4" fmla="*/ 114300 w 1689100"/>
                    <a:gd name="connsiteY4" fmla="*/ 0 h 139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9100" h="1397000">
                      <a:moveTo>
                        <a:pt x="114300" y="0"/>
                      </a:moveTo>
                      <a:lnTo>
                        <a:pt x="1689100" y="1155700"/>
                      </a:lnTo>
                      <a:lnTo>
                        <a:pt x="1689100" y="1397000"/>
                      </a:lnTo>
                      <a:lnTo>
                        <a:pt x="0" y="158750"/>
                      </a:lnTo>
                      <a:lnTo>
                        <a:pt x="1143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2" name="Freeform 74"/>
                <p:cNvSpPr/>
                <p:nvPr/>
              </p:nvSpPr>
              <p:spPr>
                <a:xfrm>
                  <a:off x="1593850" y="3835400"/>
                  <a:ext cx="1708150" cy="1460500"/>
                </a:xfrm>
                <a:custGeom>
                  <a:avLst/>
                  <a:gdLst>
                    <a:gd name="connsiteX0" fmla="*/ 1695450 w 1708150"/>
                    <a:gd name="connsiteY0" fmla="*/ 165100 h 1460500"/>
                    <a:gd name="connsiteX1" fmla="*/ 0 w 1708150"/>
                    <a:gd name="connsiteY1" fmla="*/ 1460500 h 1460500"/>
                    <a:gd name="connsiteX2" fmla="*/ 101600 w 1708150"/>
                    <a:gd name="connsiteY2" fmla="*/ 1130300 h 1460500"/>
                    <a:gd name="connsiteX3" fmla="*/ 1708150 w 1708150"/>
                    <a:gd name="connsiteY3" fmla="*/ 0 h 1460500"/>
                    <a:gd name="connsiteX4" fmla="*/ 1695450 w 1708150"/>
                    <a:gd name="connsiteY4" fmla="*/ 165100 h 146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8150" h="1460500">
                      <a:moveTo>
                        <a:pt x="1695450" y="165100"/>
                      </a:moveTo>
                      <a:lnTo>
                        <a:pt x="0" y="1460500"/>
                      </a:lnTo>
                      <a:lnTo>
                        <a:pt x="101600" y="1130300"/>
                      </a:lnTo>
                      <a:lnTo>
                        <a:pt x="1708150" y="0"/>
                      </a:lnTo>
                      <a:lnTo>
                        <a:pt x="1695450" y="1651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Freeform 75"/>
                <p:cNvSpPr/>
                <p:nvPr/>
              </p:nvSpPr>
              <p:spPr>
                <a:xfrm>
                  <a:off x="1587500" y="5111750"/>
                  <a:ext cx="2298700" cy="1250950"/>
                </a:xfrm>
                <a:custGeom>
                  <a:avLst/>
                  <a:gdLst>
                    <a:gd name="connsiteX0" fmla="*/ 69850 w 2298700"/>
                    <a:gd name="connsiteY0" fmla="*/ 0 h 1250950"/>
                    <a:gd name="connsiteX1" fmla="*/ 69850 w 2298700"/>
                    <a:gd name="connsiteY1" fmla="*/ 0 h 1250950"/>
                    <a:gd name="connsiteX2" fmla="*/ 2298700 w 2298700"/>
                    <a:gd name="connsiteY2" fmla="*/ 1054100 h 1250950"/>
                    <a:gd name="connsiteX3" fmla="*/ 2279650 w 2298700"/>
                    <a:gd name="connsiteY3" fmla="*/ 1250950 h 1250950"/>
                    <a:gd name="connsiteX4" fmla="*/ 0 w 2298700"/>
                    <a:gd name="connsiteY4" fmla="*/ 165100 h 1250950"/>
                    <a:gd name="connsiteX5" fmla="*/ 69850 w 2298700"/>
                    <a:gd name="connsiteY5" fmla="*/ 0 h 1250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98700" h="1250950">
                      <a:moveTo>
                        <a:pt x="69850" y="0"/>
                      </a:moveTo>
                      <a:lnTo>
                        <a:pt x="69850" y="0"/>
                      </a:lnTo>
                      <a:lnTo>
                        <a:pt x="2298700" y="1054100"/>
                      </a:lnTo>
                      <a:lnTo>
                        <a:pt x="2279650" y="1250950"/>
                      </a:lnTo>
                      <a:lnTo>
                        <a:pt x="0" y="165100"/>
                      </a:lnTo>
                      <a:lnTo>
                        <a:pt x="6985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Freeform 76"/>
                <p:cNvSpPr/>
                <p:nvPr/>
              </p:nvSpPr>
              <p:spPr>
                <a:xfrm>
                  <a:off x="1308100" y="5016500"/>
                  <a:ext cx="2311400" cy="1397000"/>
                </a:xfrm>
                <a:custGeom>
                  <a:avLst/>
                  <a:gdLst>
                    <a:gd name="connsiteX0" fmla="*/ 69850 w 2311400"/>
                    <a:gd name="connsiteY0" fmla="*/ 1123950 h 1397000"/>
                    <a:gd name="connsiteX1" fmla="*/ 2286000 w 2311400"/>
                    <a:gd name="connsiteY1" fmla="*/ 0 h 1397000"/>
                    <a:gd name="connsiteX2" fmla="*/ 2311400 w 2311400"/>
                    <a:gd name="connsiteY2" fmla="*/ 234950 h 1397000"/>
                    <a:gd name="connsiteX3" fmla="*/ 0 w 2311400"/>
                    <a:gd name="connsiteY3" fmla="*/ 1397000 h 1397000"/>
                    <a:gd name="connsiteX4" fmla="*/ 69850 w 2311400"/>
                    <a:gd name="connsiteY4" fmla="*/ 1123950 h 139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1400" h="1397000">
                      <a:moveTo>
                        <a:pt x="69850" y="1123950"/>
                      </a:moveTo>
                      <a:lnTo>
                        <a:pt x="2286000" y="0"/>
                      </a:lnTo>
                      <a:lnTo>
                        <a:pt x="2311400" y="234950"/>
                      </a:lnTo>
                      <a:lnTo>
                        <a:pt x="0" y="1397000"/>
                      </a:lnTo>
                      <a:lnTo>
                        <a:pt x="69850" y="11239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03" name="Group 28"/>
              <p:cNvGrpSpPr>
                <a:grpSpLocks noChangeAspect="1"/>
              </p:cNvGrpSpPr>
              <p:nvPr/>
            </p:nvGrpSpPr>
            <p:grpSpPr>
              <a:xfrm>
                <a:off x="5511872" y="4211223"/>
                <a:ext cx="294390" cy="521496"/>
                <a:chOff x="762212" y="192617"/>
                <a:chExt cx="3653473" cy="6471920"/>
              </a:xfrm>
              <a:solidFill>
                <a:schemeClr val="tx2">
                  <a:lumMod val="75000"/>
                </a:schemeClr>
              </a:solidFill>
            </p:grpSpPr>
            <p:sp>
              <p:nvSpPr>
                <p:cNvPr id="104" name="Freeform 30"/>
                <p:cNvSpPr/>
                <p:nvPr/>
              </p:nvSpPr>
              <p:spPr>
                <a:xfrm>
                  <a:off x="762212" y="192617"/>
                  <a:ext cx="3653473" cy="6471920"/>
                </a:xfrm>
                <a:custGeom>
                  <a:avLst/>
                  <a:gdLst>
                    <a:gd name="connsiteX0" fmla="*/ 1536700 w 3390900"/>
                    <a:gd name="connsiteY0" fmla="*/ 0 h 6261100"/>
                    <a:gd name="connsiteX1" fmla="*/ 1536700 w 3390900"/>
                    <a:gd name="connsiteY1" fmla="*/ 0 h 6261100"/>
                    <a:gd name="connsiteX2" fmla="*/ 1295400 w 3390900"/>
                    <a:gd name="connsiteY2" fmla="*/ 685800 h 6261100"/>
                    <a:gd name="connsiteX3" fmla="*/ 0 w 3390900"/>
                    <a:gd name="connsiteY3" fmla="*/ 1219200 h 6261100"/>
                    <a:gd name="connsiteX4" fmla="*/ 12700 w 3390900"/>
                    <a:gd name="connsiteY4" fmla="*/ 1485900 h 6261100"/>
                    <a:gd name="connsiteX5" fmla="*/ 1282700 w 3390900"/>
                    <a:gd name="connsiteY5" fmla="*/ 1460500 h 6261100"/>
                    <a:gd name="connsiteX6" fmla="*/ 1295400 w 3390900"/>
                    <a:gd name="connsiteY6" fmla="*/ 2400300 h 6261100"/>
                    <a:gd name="connsiteX7" fmla="*/ 279400 w 3390900"/>
                    <a:gd name="connsiteY7" fmla="*/ 6248400 h 6261100"/>
                    <a:gd name="connsiteX8" fmla="*/ 444500 w 3390900"/>
                    <a:gd name="connsiteY8" fmla="*/ 6261100 h 6261100"/>
                    <a:gd name="connsiteX9" fmla="*/ 444500 w 3390900"/>
                    <a:gd name="connsiteY9" fmla="*/ 6096000 h 6261100"/>
                    <a:gd name="connsiteX10" fmla="*/ 1422400 w 3390900"/>
                    <a:gd name="connsiteY10" fmla="*/ 2362200 h 6261100"/>
                    <a:gd name="connsiteX11" fmla="*/ 1358900 w 3390900"/>
                    <a:gd name="connsiteY11" fmla="*/ 1257300 h 6261100"/>
                    <a:gd name="connsiteX12" fmla="*/ 508000 w 3390900"/>
                    <a:gd name="connsiteY12" fmla="*/ 1257300 h 6261100"/>
                    <a:gd name="connsiteX13" fmla="*/ 1371600 w 3390900"/>
                    <a:gd name="connsiteY13" fmla="*/ 800100 h 6261100"/>
                    <a:gd name="connsiteX14" fmla="*/ 1663700 w 3390900"/>
                    <a:gd name="connsiteY14" fmla="*/ 139700 h 6261100"/>
                    <a:gd name="connsiteX15" fmla="*/ 1930400 w 3390900"/>
                    <a:gd name="connsiteY15" fmla="*/ 736600 h 6261100"/>
                    <a:gd name="connsiteX16" fmla="*/ 2946400 w 3390900"/>
                    <a:gd name="connsiteY16" fmla="*/ 1231900 h 6261100"/>
                    <a:gd name="connsiteX17" fmla="*/ 1981200 w 3390900"/>
                    <a:gd name="connsiteY17" fmla="*/ 1219200 h 6261100"/>
                    <a:gd name="connsiteX18" fmla="*/ 1968500 w 3390900"/>
                    <a:gd name="connsiteY18" fmla="*/ 2324100 h 6261100"/>
                    <a:gd name="connsiteX19" fmla="*/ 2984500 w 3390900"/>
                    <a:gd name="connsiteY19" fmla="*/ 6248400 h 6261100"/>
                    <a:gd name="connsiteX20" fmla="*/ 3124200 w 3390900"/>
                    <a:gd name="connsiteY20" fmla="*/ 6172200 h 6261100"/>
                    <a:gd name="connsiteX21" fmla="*/ 2108200 w 3390900"/>
                    <a:gd name="connsiteY21" fmla="*/ 2362200 h 6261100"/>
                    <a:gd name="connsiteX22" fmla="*/ 2120900 w 3390900"/>
                    <a:gd name="connsiteY22" fmla="*/ 1473200 h 6261100"/>
                    <a:gd name="connsiteX23" fmla="*/ 3390900 w 3390900"/>
                    <a:gd name="connsiteY23" fmla="*/ 1460500 h 6261100"/>
                    <a:gd name="connsiteX24" fmla="*/ 3365500 w 3390900"/>
                    <a:gd name="connsiteY24" fmla="*/ 1231900 h 6261100"/>
                    <a:gd name="connsiteX25" fmla="*/ 2082800 w 3390900"/>
                    <a:gd name="connsiteY25" fmla="*/ 596900 h 6261100"/>
                    <a:gd name="connsiteX26" fmla="*/ 1892300 w 3390900"/>
                    <a:gd name="connsiteY26" fmla="*/ 0 h 6261100"/>
                    <a:gd name="connsiteX27" fmla="*/ 1536700 w 3390900"/>
                    <a:gd name="connsiteY27" fmla="*/ 0 h 6261100"/>
                    <a:gd name="connsiteX0" fmla="*/ 1536700 w 3390900"/>
                    <a:gd name="connsiteY0" fmla="*/ 0 h 6261100"/>
                    <a:gd name="connsiteX1" fmla="*/ 1536700 w 3390900"/>
                    <a:gd name="connsiteY1" fmla="*/ 0 h 6261100"/>
                    <a:gd name="connsiteX2" fmla="*/ 1310640 w 3390900"/>
                    <a:gd name="connsiteY2" fmla="*/ 579120 h 6261100"/>
                    <a:gd name="connsiteX3" fmla="*/ 0 w 3390900"/>
                    <a:gd name="connsiteY3" fmla="*/ 1219200 h 6261100"/>
                    <a:gd name="connsiteX4" fmla="*/ 12700 w 3390900"/>
                    <a:gd name="connsiteY4" fmla="*/ 1485900 h 6261100"/>
                    <a:gd name="connsiteX5" fmla="*/ 1282700 w 3390900"/>
                    <a:gd name="connsiteY5" fmla="*/ 1460500 h 6261100"/>
                    <a:gd name="connsiteX6" fmla="*/ 1295400 w 3390900"/>
                    <a:gd name="connsiteY6" fmla="*/ 2400300 h 6261100"/>
                    <a:gd name="connsiteX7" fmla="*/ 279400 w 3390900"/>
                    <a:gd name="connsiteY7" fmla="*/ 6248400 h 6261100"/>
                    <a:gd name="connsiteX8" fmla="*/ 444500 w 3390900"/>
                    <a:gd name="connsiteY8" fmla="*/ 6261100 h 6261100"/>
                    <a:gd name="connsiteX9" fmla="*/ 444500 w 3390900"/>
                    <a:gd name="connsiteY9" fmla="*/ 6096000 h 6261100"/>
                    <a:gd name="connsiteX10" fmla="*/ 1422400 w 3390900"/>
                    <a:gd name="connsiteY10" fmla="*/ 2362200 h 6261100"/>
                    <a:gd name="connsiteX11" fmla="*/ 1358900 w 3390900"/>
                    <a:gd name="connsiteY11" fmla="*/ 1257300 h 6261100"/>
                    <a:gd name="connsiteX12" fmla="*/ 508000 w 3390900"/>
                    <a:gd name="connsiteY12" fmla="*/ 1257300 h 6261100"/>
                    <a:gd name="connsiteX13" fmla="*/ 1371600 w 3390900"/>
                    <a:gd name="connsiteY13" fmla="*/ 800100 h 6261100"/>
                    <a:gd name="connsiteX14" fmla="*/ 1663700 w 3390900"/>
                    <a:gd name="connsiteY14" fmla="*/ 139700 h 6261100"/>
                    <a:gd name="connsiteX15" fmla="*/ 1930400 w 3390900"/>
                    <a:gd name="connsiteY15" fmla="*/ 736600 h 6261100"/>
                    <a:gd name="connsiteX16" fmla="*/ 2946400 w 3390900"/>
                    <a:gd name="connsiteY16" fmla="*/ 1231900 h 6261100"/>
                    <a:gd name="connsiteX17" fmla="*/ 1981200 w 3390900"/>
                    <a:gd name="connsiteY17" fmla="*/ 1219200 h 6261100"/>
                    <a:gd name="connsiteX18" fmla="*/ 1968500 w 3390900"/>
                    <a:gd name="connsiteY18" fmla="*/ 2324100 h 6261100"/>
                    <a:gd name="connsiteX19" fmla="*/ 2984500 w 3390900"/>
                    <a:gd name="connsiteY19" fmla="*/ 6248400 h 6261100"/>
                    <a:gd name="connsiteX20" fmla="*/ 3124200 w 3390900"/>
                    <a:gd name="connsiteY20" fmla="*/ 6172200 h 6261100"/>
                    <a:gd name="connsiteX21" fmla="*/ 2108200 w 3390900"/>
                    <a:gd name="connsiteY21" fmla="*/ 2362200 h 6261100"/>
                    <a:gd name="connsiteX22" fmla="*/ 2120900 w 3390900"/>
                    <a:gd name="connsiteY22" fmla="*/ 1473200 h 6261100"/>
                    <a:gd name="connsiteX23" fmla="*/ 3390900 w 3390900"/>
                    <a:gd name="connsiteY23" fmla="*/ 1460500 h 6261100"/>
                    <a:gd name="connsiteX24" fmla="*/ 3365500 w 3390900"/>
                    <a:gd name="connsiteY24" fmla="*/ 1231900 h 6261100"/>
                    <a:gd name="connsiteX25" fmla="*/ 2082800 w 3390900"/>
                    <a:gd name="connsiteY25" fmla="*/ 596900 h 6261100"/>
                    <a:gd name="connsiteX26" fmla="*/ 1892300 w 3390900"/>
                    <a:gd name="connsiteY26" fmla="*/ 0 h 6261100"/>
                    <a:gd name="connsiteX27" fmla="*/ 1536700 w 3390900"/>
                    <a:gd name="connsiteY27" fmla="*/ 0 h 6261100"/>
                    <a:gd name="connsiteX0" fmla="*/ 1524000 w 3378200"/>
                    <a:gd name="connsiteY0" fmla="*/ 0 h 6261100"/>
                    <a:gd name="connsiteX1" fmla="*/ 1524000 w 3378200"/>
                    <a:gd name="connsiteY1" fmla="*/ 0 h 6261100"/>
                    <a:gd name="connsiteX2" fmla="*/ 1297940 w 3378200"/>
                    <a:gd name="connsiteY2" fmla="*/ 579120 h 6261100"/>
                    <a:gd name="connsiteX3" fmla="*/ 10160 w 3378200"/>
                    <a:gd name="connsiteY3" fmla="*/ 1196340 h 6261100"/>
                    <a:gd name="connsiteX4" fmla="*/ 0 w 3378200"/>
                    <a:gd name="connsiteY4" fmla="*/ 1485900 h 6261100"/>
                    <a:gd name="connsiteX5" fmla="*/ 1270000 w 3378200"/>
                    <a:gd name="connsiteY5" fmla="*/ 1460500 h 6261100"/>
                    <a:gd name="connsiteX6" fmla="*/ 1282700 w 3378200"/>
                    <a:gd name="connsiteY6" fmla="*/ 2400300 h 6261100"/>
                    <a:gd name="connsiteX7" fmla="*/ 266700 w 3378200"/>
                    <a:gd name="connsiteY7" fmla="*/ 6248400 h 6261100"/>
                    <a:gd name="connsiteX8" fmla="*/ 431800 w 3378200"/>
                    <a:gd name="connsiteY8" fmla="*/ 6261100 h 6261100"/>
                    <a:gd name="connsiteX9" fmla="*/ 431800 w 3378200"/>
                    <a:gd name="connsiteY9" fmla="*/ 6096000 h 6261100"/>
                    <a:gd name="connsiteX10" fmla="*/ 1409700 w 3378200"/>
                    <a:gd name="connsiteY10" fmla="*/ 2362200 h 6261100"/>
                    <a:gd name="connsiteX11" fmla="*/ 1346200 w 3378200"/>
                    <a:gd name="connsiteY11" fmla="*/ 1257300 h 6261100"/>
                    <a:gd name="connsiteX12" fmla="*/ 495300 w 3378200"/>
                    <a:gd name="connsiteY12" fmla="*/ 1257300 h 6261100"/>
                    <a:gd name="connsiteX13" fmla="*/ 1358900 w 3378200"/>
                    <a:gd name="connsiteY13" fmla="*/ 800100 h 6261100"/>
                    <a:gd name="connsiteX14" fmla="*/ 1651000 w 3378200"/>
                    <a:gd name="connsiteY14" fmla="*/ 139700 h 6261100"/>
                    <a:gd name="connsiteX15" fmla="*/ 1917700 w 3378200"/>
                    <a:gd name="connsiteY15" fmla="*/ 736600 h 6261100"/>
                    <a:gd name="connsiteX16" fmla="*/ 2933700 w 3378200"/>
                    <a:gd name="connsiteY16" fmla="*/ 1231900 h 6261100"/>
                    <a:gd name="connsiteX17" fmla="*/ 1968500 w 3378200"/>
                    <a:gd name="connsiteY17" fmla="*/ 1219200 h 6261100"/>
                    <a:gd name="connsiteX18" fmla="*/ 1955800 w 3378200"/>
                    <a:gd name="connsiteY18" fmla="*/ 2324100 h 6261100"/>
                    <a:gd name="connsiteX19" fmla="*/ 2971800 w 3378200"/>
                    <a:gd name="connsiteY19" fmla="*/ 6248400 h 6261100"/>
                    <a:gd name="connsiteX20" fmla="*/ 3111500 w 3378200"/>
                    <a:gd name="connsiteY20" fmla="*/ 6172200 h 6261100"/>
                    <a:gd name="connsiteX21" fmla="*/ 2095500 w 3378200"/>
                    <a:gd name="connsiteY21" fmla="*/ 2362200 h 6261100"/>
                    <a:gd name="connsiteX22" fmla="*/ 2108200 w 3378200"/>
                    <a:gd name="connsiteY22" fmla="*/ 1473200 h 6261100"/>
                    <a:gd name="connsiteX23" fmla="*/ 3378200 w 3378200"/>
                    <a:gd name="connsiteY23" fmla="*/ 1460500 h 6261100"/>
                    <a:gd name="connsiteX24" fmla="*/ 3352800 w 3378200"/>
                    <a:gd name="connsiteY24" fmla="*/ 1231900 h 6261100"/>
                    <a:gd name="connsiteX25" fmla="*/ 2070100 w 3378200"/>
                    <a:gd name="connsiteY25" fmla="*/ 596900 h 6261100"/>
                    <a:gd name="connsiteX26" fmla="*/ 1879600 w 3378200"/>
                    <a:gd name="connsiteY26" fmla="*/ 0 h 6261100"/>
                    <a:gd name="connsiteX27" fmla="*/ 1524000 w 3378200"/>
                    <a:gd name="connsiteY27" fmla="*/ 0 h 6261100"/>
                    <a:gd name="connsiteX0" fmla="*/ 1524000 w 3378200"/>
                    <a:gd name="connsiteY0" fmla="*/ 0 h 6261100"/>
                    <a:gd name="connsiteX1" fmla="*/ 1524000 w 3378200"/>
                    <a:gd name="connsiteY1" fmla="*/ 0 h 6261100"/>
                    <a:gd name="connsiteX2" fmla="*/ 1297940 w 3378200"/>
                    <a:gd name="connsiteY2" fmla="*/ 579120 h 6261100"/>
                    <a:gd name="connsiteX3" fmla="*/ 10160 w 3378200"/>
                    <a:gd name="connsiteY3" fmla="*/ 1196340 h 6261100"/>
                    <a:gd name="connsiteX4" fmla="*/ 0 w 3378200"/>
                    <a:gd name="connsiteY4" fmla="*/ 1455420 h 6261100"/>
                    <a:gd name="connsiteX5" fmla="*/ 1270000 w 3378200"/>
                    <a:gd name="connsiteY5" fmla="*/ 1460500 h 6261100"/>
                    <a:gd name="connsiteX6" fmla="*/ 1282700 w 3378200"/>
                    <a:gd name="connsiteY6" fmla="*/ 2400300 h 6261100"/>
                    <a:gd name="connsiteX7" fmla="*/ 266700 w 3378200"/>
                    <a:gd name="connsiteY7" fmla="*/ 6248400 h 6261100"/>
                    <a:gd name="connsiteX8" fmla="*/ 431800 w 3378200"/>
                    <a:gd name="connsiteY8" fmla="*/ 6261100 h 6261100"/>
                    <a:gd name="connsiteX9" fmla="*/ 431800 w 3378200"/>
                    <a:gd name="connsiteY9" fmla="*/ 6096000 h 6261100"/>
                    <a:gd name="connsiteX10" fmla="*/ 1409700 w 3378200"/>
                    <a:gd name="connsiteY10" fmla="*/ 2362200 h 6261100"/>
                    <a:gd name="connsiteX11" fmla="*/ 1346200 w 3378200"/>
                    <a:gd name="connsiteY11" fmla="*/ 1257300 h 6261100"/>
                    <a:gd name="connsiteX12" fmla="*/ 495300 w 3378200"/>
                    <a:gd name="connsiteY12" fmla="*/ 1257300 h 6261100"/>
                    <a:gd name="connsiteX13" fmla="*/ 1358900 w 3378200"/>
                    <a:gd name="connsiteY13" fmla="*/ 800100 h 6261100"/>
                    <a:gd name="connsiteX14" fmla="*/ 1651000 w 3378200"/>
                    <a:gd name="connsiteY14" fmla="*/ 139700 h 6261100"/>
                    <a:gd name="connsiteX15" fmla="*/ 1917700 w 3378200"/>
                    <a:gd name="connsiteY15" fmla="*/ 736600 h 6261100"/>
                    <a:gd name="connsiteX16" fmla="*/ 2933700 w 3378200"/>
                    <a:gd name="connsiteY16" fmla="*/ 1231900 h 6261100"/>
                    <a:gd name="connsiteX17" fmla="*/ 1968500 w 3378200"/>
                    <a:gd name="connsiteY17" fmla="*/ 1219200 h 6261100"/>
                    <a:gd name="connsiteX18" fmla="*/ 1955800 w 3378200"/>
                    <a:gd name="connsiteY18" fmla="*/ 2324100 h 6261100"/>
                    <a:gd name="connsiteX19" fmla="*/ 2971800 w 3378200"/>
                    <a:gd name="connsiteY19" fmla="*/ 6248400 h 6261100"/>
                    <a:gd name="connsiteX20" fmla="*/ 3111500 w 3378200"/>
                    <a:gd name="connsiteY20" fmla="*/ 6172200 h 6261100"/>
                    <a:gd name="connsiteX21" fmla="*/ 2095500 w 3378200"/>
                    <a:gd name="connsiteY21" fmla="*/ 2362200 h 6261100"/>
                    <a:gd name="connsiteX22" fmla="*/ 2108200 w 3378200"/>
                    <a:gd name="connsiteY22" fmla="*/ 1473200 h 6261100"/>
                    <a:gd name="connsiteX23" fmla="*/ 3378200 w 3378200"/>
                    <a:gd name="connsiteY23" fmla="*/ 1460500 h 6261100"/>
                    <a:gd name="connsiteX24" fmla="*/ 3352800 w 3378200"/>
                    <a:gd name="connsiteY24" fmla="*/ 1231900 h 6261100"/>
                    <a:gd name="connsiteX25" fmla="*/ 2070100 w 3378200"/>
                    <a:gd name="connsiteY25" fmla="*/ 596900 h 6261100"/>
                    <a:gd name="connsiteX26" fmla="*/ 1879600 w 3378200"/>
                    <a:gd name="connsiteY26" fmla="*/ 0 h 6261100"/>
                    <a:gd name="connsiteX27" fmla="*/ 1524000 w 3378200"/>
                    <a:gd name="connsiteY27" fmla="*/ 0 h 6261100"/>
                    <a:gd name="connsiteX0" fmla="*/ 1524000 w 3378200"/>
                    <a:gd name="connsiteY0" fmla="*/ 0 h 6261100"/>
                    <a:gd name="connsiteX1" fmla="*/ 1524000 w 3378200"/>
                    <a:gd name="connsiteY1" fmla="*/ 0 h 6261100"/>
                    <a:gd name="connsiteX2" fmla="*/ 1297940 w 3378200"/>
                    <a:gd name="connsiteY2" fmla="*/ 579120 h 6261100"/>
                    <a:gd name="connsiteX3" fmla="*/ 10160 w 3378200"/>
                    <a:gd name="connsiteY3" fmla="*/ 1196340 h 6261100"/>
                    <a:gd name="connsiteX4" fmla="*/ 0 w 3378200"/>
                    <a:gd name="connsiteY4" fmla="*/ 1455420 h 6261100"/>
                    <a:gd name="connsiteX5" fmla="*/ 1270000 w 3378200"/>
                    <a:gd name="connsiteY5" fmla="*/ 1460500 h 6261100"/>
                    <a:gd name="connsiteX6" fmla="*/ 1282700 w 3378200"/>
                    <a:gd name="connsiteY6" fmla="*/ 2400300 h 6261100"/>
                    <a:gd name="connsiteX7" fmla="*/ 266700 w 3378200"/>
                    <a:gd name="connsiteY7" fmla="*/ 6248400 h 6261100"/>
                    <a:gd name="connsiteX8" fmla="*/ 431800 w 3378200"/>
                    <a:gd name="connsiteY8" fmla="*/ 6261100 h 6261100"/>
                    <a:gd name="connsiteX9" fmla="*/ 431800 w 3378200"/>
                    <a:gd name="connsiteY9" fmla="*/ 6096000 h 6261100"/>
                    <a:gd name="connsiteX10" fmla="*/ 1409700 w 3378200"/>
                    <a:gd name="connsiteY10" fmla="*/ 2362200 h 6261100"/>
                    <a:gd name="connsiteX11" fmla="*/ 1346200 w 3378200"/>
                    <a:gd name="connsiteY11" fmla="*/ 1257300 h 6261100"/>
                    <a:gd name="connsiteX12" fmla="*/ 495300 w 3378200"/>
                    <a:gd name="connsiteY12" fmla="*/ 1257300 h 6261100"/>
                    <a:gd name="connsiteX13" fmla="*/ 1358900 w 3378200"/>
                    <a:gd name="connsiteY13" fmla="*/ 800100 h 6261100"/>
                    <a:gd name="connsiteX14" fmla="*/ 1651000 w 3378200"/>
                    <a:gd name="connsiteY14" fmla="*/ 139700 h 6261100"/>
                    <a:gd name="connsiteX15" fmla="*/ 1917700 w 3378200"/>
                    <a:gd name="connsiteY15" fmla="*/ 736600 h 6261100"/>
                    <a:gd name="connsiteX16" fmla="*/ 2933700 w 3378200"/>
                    <a:gd name="connsiteY16" fmla="*/ 1231900 h 6261100"/>
                    <a:gd name="connsiteX17" fmla="*/ 1968500 w 3378200"/>
                    <a:gd name="connsiteY17" fmla="*/ 1219200 h 6261100"/>
                    <a:gd name="connsiteX18" fmla="*/ 1955800 w 3378200"/>
                    <a:gd name="connsiteY18" fmla="*/ 2324100 h 6261100"/>
                    <a:gd name="connsiteX19" fmla="*/ 2971800 w 3378200"/>
                    <a:gd name="connsiteY19" fmla="*/ 6248400 h 6261100"/>
                    <a:gd name="connsiteX20" fmla="*/ 3111500 w 3378200"/>
                    <a:gd name="connsiteY20" fmla="*/ 6172200 h 6261100"/>
                    <a:gd name="connsiteX21" fmla="*/ 2095500 w 3378200"/>
                    <a:gd name="connsiteY21" fmla="*/ 2362200 h 6261100"/>
                    <a:gd name="connsiteX22" fmla="*/ 2077720 w 3378200"/>
                    <a:gd name="connsiteY22" fmla="*/ 1419860 h 6261100"/>
                    <a:gd name="connsiteX23" fmla="*/ 3378200 w 3378200"/>
                    <a:gd name="connsiteY23" fmla="*/ 1460500 h 6261100"/>
                    <a:gd name="connsiteX24" fmla="*/ 3352800 w 3378200"/>
                    <a:gd name="connsiteY24" fmla="*/ 1231900 h 6261100"/>
                    <a:gd name="connsiteX25" fmla="*/ 2070100 w 3378200"/>
                    <a:gd name="connsiteY25" fmla="*/ 596900 h 6261100"/>
                    <a:gd name="connsiteX26" fmla="*/ 1879600 w 3378200"/>
                    <a:gd name="connsiteY26" fmla="*/ 0 h 6261100"/>
                    <a:gd name="connsiteX27" fmla="*/ 1524000 w 3378200"/>
                    <a:gd name="connsiteY27" fmla="*/ 0 h 6261100"/>
                    <a:gd name="connsiteX0" fmla="*/ 1524000 w 3352800"/>
                    <a:gd name="connsiteY0" fmla="*/ 0 h 6261100"/>
                    <a:gd name="connsiteX1" fmla="*/ 1524000 w 3352800"/>
                    <a:gd name="connsiteY1" fmla="*/ 0 h 6261100"/>
                    <a:gd name="connsiteX2" fmla="*/ 1297940 w 3352800"/>
                    <a:gd name="connsiteY2" fmla="*/ 579120 h 6261100"/>
                    <a:gd name="connsiteX3" fmla="*/ 10160 w 3352800"/>
                    <a:gd name="connsiteY3" fmla="*/ 1196340 h 6261100"/>
                    <a:gd name="connsiteX4" fmla="*/ 0 w 3352800"/>
                    <a:gd name="connsiteY4" fmla="*/ 1455420 h 6261100"/>
                    <a:gd name="connsiteX5" fmla="*/ 1270000 w 3352800"/>
                    <a:gd name="connsiteY5" fmla="*/ 1460500 h 6261100"/>
                    <a:gd name="connsiteX6" fmla="*/ 1282700 w 3352800"/>
                    <a:gd name="connsiteY6" fmla="*/ 2400300 h 6261100"/>
                    <a:gd name="connsiteX7" fmla="*/ 266700 w 3352800"/>
                    <a:gd name="connsiteY7" fmla="*/ 6248400 h 6261100"/>
                    <a:gd name="connsiteX8" fmla="*/ 431800 w 3352800"/>
                    <a:gd name="connsiteY8" fmla="*/ 6261100 h 6261100"/>
                    <a:gd name="connsiteX9" fmla="*/ 431800 w 3352800"/>
                    <a:gd name="connsiteY9" fmla="*/ 6096000 h 6261100"/>
                    <a:gd name="connsiteX10" fmla="*/ 1409700 w 3352800"/>
                    <a:gd name="connsiteY10" fmla="*/ 2362200 h 6261100"/>
                    <a:gd name="connsiteX11" fmla="*/ 1346200 w 3352800"/>
                    <a:gd name="connsiteY11" fmla="*/ 1257300 h 6261100"/>
                    <a:gd name="connsiteX12" fmla="*/ 495300 w 3352800"/>
                    <a:gd name="connsiteY12" fmla="*/ 1257300 h 6261100"/>
                    <a:gd name="connsiteX13" fmla="*/ 1358900 w 3352800"/>
                    <a:gd name="connsiteY13" fmla="*/ 800100 h 6261100"/>
                    <a:gd name="connsiteX14" fmla="*/ 1651000 w 3352800"/>
                    <a:gd name="connsiteY14" fmla="*/ 139700 h 6261100"/>
                    <a:gd name="connsiteX15" fmla="*/ 1917700 w 3352800"/>
                    <a:gd name="connsiteY15" fmla="*/ 736600 h 6261100"/>
                    <a:gd name="connsiteX16" fmla="*/ 2933700 w 3352800"/>
                    <a:gd name="connsiteY16" fmla="*/ 1231900 h 6261100"/>
                    <a:gd name="connsiteX17" fmla="*/ 1968500 w 3352800"/>
                    <a:gd name="connsiteY17" fmla="*/ 1219200 h 6261100"/>
                    <a:gd name="connsiteX18" fmla="*/ 1955800 w 3352800"/>
                    <a:gd name="connsiteY18" fmla="*/ 2324100 h 6261100"/>
                    <a:gd name="connsiteX19" fmla="*/ 2971800 w 3352800"/>
                    <a:gd name="connsiteY19" fmla="*/ 6248400 h 6261100"/>
                    <a:gd name="connsiteX20" fmla="*/ 3111500 w 3352800"/>
                    <a:gd name="connsiteY20" fmla="*/ 6172200 h 6261100"/>
                    <a:gd name="connsiteX21" fmla="*/ 2095500 w 3352800"/>
                    <a:gd name="connsiteY21" fmla="*/ 2362200 h 6261100"/>
                    <a:gd name="connsiteX22" fmla="*/ 2077720 w 3352800"/>
                    <a:gd name="connsiteY22" fmla="*/ 1419860 h 6261100"/>
                    <a:gd name="connsiteX23" fmla="*/ 3241040 w 3352800"/>
                    <a:gd name="connsiteY23" fmla="*/ 1445260 h 6261100"/>
                    <a:gd name="connsiteX24" fmla="*/ 3352800 w 3352800"/>
                    <a:gd name="connsiteY24" fmla="*/ 1231900 h 6261100"/>
                    <a:gd name="connsiteX25" fmla="*/ 2070100 w 3352800"/>
                    <a:gd name="connsiteY25" fmla="*/ 596900 h 6261100"/>
                    <a:gd name="connsiteX26" fmla="*/ 1879600 w 3352800"/>
                    <a:gd name="connsiteY26" fmla="*/ 0 h 6261100"/>
                    <a:gd name="connsiteX27" fmla="*/ 1524000 w 33528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51000 w 3314700"/>
                    <a:gd name="connsiteY14" fmla="*/ 139700 h 6261100"/>
                    <a:gd name="connsiteX15" fmla="*/ 1917700 w 3314700"/>
                    <a:gd name="connsiteY15" fmla="*/ 736600 h 6261100"/>
                    <a:gd name="connsiteX16" fmla="*/ 293370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51000 w 3314700"/>
                    <a:gd name="connsiteY14" fmla="*/ 139700 h 6261100"/>
                    <a:gd name="connsiteX15" fmla="*/ 1917700 w 3314700"/>
                    <a:gd name="connsiteY15" fmla="*/ 736600 h 6261100"/>
                    <a:gd name="connsiteX16" fmla="*/ 2750820 w 3314700"/>
                    <a:gd name="connsiteY16" fmla="*/ 124714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51000 w 3314700"/>
                    <a:gd name="connsiteY14" fmla="*/ 13970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5382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5382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5382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6906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379220 w 3314700"/>
                    <a:gd name="connsiteY10" fmla="*/ 2354580 h 6261100"/>
                    <a:gd name="connsiteX11" fmla="*/ 136906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1379220 w 3314700"/>
                    <a:gd name="connsiteY9" fmla="*/ 2354580 h 6261100"/>
                    <a:gd name="connsiteX10" fmla="*/ 1369060 w 3314700"/>
                    <a:gd name="connsiteY10" fmla="*/ 1211580 h 6261100"/>
                    <a:gd name="connsiteX11" fmla="*/ 464820 w 3314700"/>
                    <a:gd name="connsiteY11" fmla="*/ 1219200 h 6261100"/>
                    <a:gd name="connsiteX12" fmla="*/ 1358900 w 3314700"/>
                    <a:gd name="connsiteY12" fmla="*/ 800100 h 6261100"/>
                    <a:gd name="connsiteX13" fmla="*/ 1696720 w 3314700"/>
                    <a:gd name="connsiteY13" fmla="*/ 154940 h 6261100"/>
                    <a:gd name="connsiteX14" fmla="*/ 1917700 w 3314700"/>
                    <a:gd name="connsiteY14" fmla="*/ 736600 h 6261100"/>
                    <a:gd name="connsiteX15" fmla="*/ 2887980 w 3314700"/>
                    <a:gd name="connsiteY15" fmla="*/ 1231900 h 6261100"/>
                    <a:gd name="connsiteX16" fmla="*/ 1968500 w 3314700"/>
                    <a:gd name="connsiteY16" fmla="*/ 1219200 h 6261100"/>
                    <a:gd name="connsiteX17" fmla="*/ 1955800 w 3314700"/>
                    <a:gd name="connsiteY17" fmla="*/ 2324100 h 6261100"/>
                    <a:gd name="connsiteX18" fmla="*/ 2971800 w 3314700"/>
                    <a:gd name="connsiteY18" fmla="*/ 6248400 h 6261100"/>
                    <a:gd name="connsiteX19" fmla="*/ 3111500 w 3314700"/>
                    <a:gd name="connsiteY19" fmla="*/ 6172200 h 6261100"/>
                    <a:gd name="connsiteX20" fmla="*/ 2095500 w 3314700"/>
                    <a:gd name="connsiteY20" fmla="*/ 2362200 h 6261100"/>
                    <a:gd name="connsiteX21" fmla="*/ 2077720 w 3314700"/>
                    <a:gd name="connsiteY21" fmla="*/ 1419860 h 6261100"/>
                    <a:gd name="connsiteX22" fmla="*/ 3241040 w 3314700"/>
                    <a:gd name="connsiteY22" fmla="*/ 1445260 h 6261100"/>
                    <a:gd name="connsiteX23" fmla="*/ 3314700 w 3314700"/>
                    <a:gd name="connsiteY23" fmla="*/ 1224280 h 6261100"/>
                    <a:gd name="connsiteX24" fmla="*/ 2070100 w 3314700"/>
                    <a:gd name="connsiteY24" fmla="*/ 596900 h 6261100"/>
                    <a:gd name="connsiteX25" fmla="*/ 1879600 w 3314700"/>
                    <a:gd name="connsiteY25" fmla="*/ 0 h 6261100"/>
                    <a:gd name="connsiteX26" fmla="*/ 1524000 w 3314700"/>
                    <a:gd name="connsiteY26"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1379220 w 3314700"/>
                    <a:gd name="connsiteY9" fmla="*/ 2354580 h 6261100"/>
                    <a:gd name="connsiteX10" fmla="*/ 1369060 w 3314700"/>
                    <a:gd name="connsiteY10" fmla="*/ 1211580 h 6261100"/>
                    <a:gd name="connsiteX11" fmla="*/ 464820 w 3314700"/>
                    <a:gd name="connsiteY11" fmla="*/ 1219200 h 6261100"/>
                    <a:gd name="connsiteX12" fmla="*/ 1358900 w 3314700"/>
                    <a:gd name="connsiteY12" fmla="*/ 800100 h 6261100"/>
                    <a:gd name="connsiteX13" fmla="*/ 1696720 w 3314700"/>
                    <a:gd name="connsiteY13" fmla="*/ 154940 h 6261100"/>
                    <a:gd name="connsiteX14" fmla="*/ 1917700 w 3314700"/>
                    <a:gd name="connsiteY14" fmla="*/ 736600 h 6261100"/>
                    <a:gd name="connsiteX15" fmla="*/ 2887980 w 3314700"/>
                    <a:gd name="connsiteY15" fmla="*/ 1231900 h 6261100"/>
                    <a:gd name="connsiteX16" fmla="*/ 1968500 w 3314700"/>
                    <a:gd name="connsiteY16" fmla="*/ 1219200 h 6261100"/>
                    <a:gd name="connsiteX17" fmla="*/ 1955800 w 3314700"/>
                    <a:gd name="connsiteY17" fmla="*/ 2324100 h 6261100"/>
                    <a:gd name="connsiteX18" fmla="*/ 2971800 w 3314700"/>
                    <a:gd name="connsiteY18" fmla="*/ 6248400 h 6261100"/>
                    <a:gd name="connsiteX19" fmla="*/ 3149600 w 3314700"/>
                    <a:gd name="connsiteY19" fmla="*/ 6164580 h 6261100"/>
                    <a:gd name="connsiteX20" fmla="*/ 2095500 w 3314700"/>
                    <a:gd name="connsiteY20" fmla="*/ 2362200 h 6261100"/>
                    <a:gd name="connsiteX21" fmla="*/ 2077720 w 3314700"/>
                    <a:gd name="connsiteY21" fmla="*/ 1419860 h 6261100"/>
                    <a:gd name="connsiteX22" fmla="*/ 3241040 w 3314700"/>
                    <a:gd name="connsiteY22" fmla="*/ 1445260 h 6261100"/>
                    <a:gd name="connsiteX23" fmla="*/ 3314700 w 3314700"/>
                    <a:gd name="connsiteY23" fmla="*/ 1224280 h 6261100"/>
                    <a:gd name="connsiteX24" fmla="*/ 2070100 w 3314700"/>
                    <a:gd name="connsiteY24" fmla="*/ 596900 h 6261100"/>
                    <a:gd name="connsiteX25" fmla="*/ 1879600 w 3314700"/>
                    <a:gd name="connsiteY25" fmla="*/ 0 h 6261100"/>
                    <a:gd name="connsiteX26" fmla="*/ 1524000 w 3314700"/>
                    <a:gd name="connsiteY26" fmla="*/ 0 h 626110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31800 w 3314700"/>
                    <a:gd name="connsiteY8" fmla="*/ 6261100 h 6263640"/>
                    <a:gd name="connsiteX9" fmla="*/ 137922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85140 w 3314700"/>
                    <a:gd name="connsiteY8" fmla="*/ 6253480 h 6263640"/>
                    <a:gd name="connsiteX9" fmla="*/ 137922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37922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110740 w 3314700"/>
                    <a:gd name="connsiteY20" fmla="*/ 231648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087880 w 3314700"/>
                    <a:gd name="connsiteY20" fmla="*/ 231648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110740 w 3314700"/>
                    <a:gd name="connsiteY20" fmla="*/ 23241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110740 w 3314700"/>
                    <a:gd name="connsiteY20" fmla="*/ 2324100 h 6263640"/>
                    <a:gd name="connsiteX21" fmla="*/ 21158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641052 w 3431752"/>
                    <a:gd name="connsiteY0" fmla="*/ 0 h 6263640"/>
                    <a:gd name="connsiteX1" fmla="*/ 1641052 w 3431752"/>
                    <a:gd name="connsiteY1" fmla="*/ 0 h 6263640"/>
                    <a:gd name="connsiteX2" fmla="*/ 1414992 w 3431752"/>
                    <a:gd name="connsiteY2" fmla="*/ 579120 h 6263640"/>
                    <a:gd name="connsiteX3" fmla="*/ 127212 w 3431752"/>
                    <a:gd name="connsiteY3" fmla="*/ 1196340 h 6263640"/>
                    <a:gd name="connsiteX4" fmla="*/ 117052 w 3431752"/>
                    <a:gd name="connsiteY4" fmla="*/ 1455420 h 6263640"/>
                    <a:gd name="connsiteX5" fmla="*/ 1356572 w 3431752"/>
                    <a:gd name="connsiteY5" fmla="*/ 1460500 h 6263640"/>
                    <a:gd name="connsiteX6" fmla="*/ 1338792 w 3431752"/>
                    <a:gd name="connsiteY6" fmla="*/ 2407920 h 6263640"/>
                    <a:gd name="connsiteX7" fmla="*/ 383752 w 3431752"/>
                    <a:gd name="connsiteY7" fmla="*/ 6248400 h 6263640"/>
                    <a:gd name="connsiteX8" fmla="*/ 571712 w 3431752"/>
                    <a:gd name="connsiteY8" fmla="*/ 6253480 h 6263640"/>
                    <a:gd name="connsiteX9" fmla="*/ 1526752 w 3431752"/>
                    <a:gd name="connsiteY9" fmla="*/ 2354580 h 6263640"/>
                    <a:gd name="connsiteX10" fmla="*/ 1486112 w 3431752"/>
                    <a:gd name="connsiteY10" fmla="*/ 1211580 h 6263640"/>
                    <a:gd name="connsiteX11" fmla="*/ 581872 w 3431752"/>
                    <a:gd name="connsiteY11" fmla="*/ 1219200 h 6263640"/>
                    <a:gd name="connsiteX12" fmla="*/ 1475952 w 3431752"/>
                    <a:gd name="connsiteY12" fmla="*/ 800100 h 6263640"/>
                    <a:gd name="connsiteX13" fmla="*/ 1813772 w 3431752"/>
                    <a:gd name="connsiteY13" fmla="*/ 154940 h 6263640"/>
                    <a:gd name="connsiteX14" fmla="*/ 2034752 w 3431752"/>
                    <a:gd name="connsiteY14" fmla="*/ 736600 h 6263640"/>
                    <a:gd name="connsiteX15" fmla="*/ 3005032 w 3431752"/>
                    <a:gd name="connsiteY15" fmla="*/ 1231900 h 6263640"/>
                    <a:gd name="connsiteX16" fmla="*/ 2085552 w 3431752"/>
                    <a:gd name="connsiteY16" fmla="*/ 1219200 h 6263640"/>
                    <a:gd name="connsiteX17" fmla="*/ 2080472 w 3431752"/>
                    <a:gd name="connsiteY17" fmla="*/ 2324100 h 6263640"/>
                    <a:gd name="connsiteX18" fmla="*/ 3073612 w 3431752"/>
                    <a:gd name="connsiteY18" fmla="*/ 6263640 h 6263640"/>
                    <a:gd name="connsiteX19" fmla="*/ 3266652 w 3431752"/>
                    <a:gd name="connsiteY19" fmla="*/ 6164580 h 6263640"/>
                    <a:gd name="connsiteX20" fmla="*/ 2227792 w 3431752"/>
                    <a:gd name="connsiteY20" fmla="*/ 2324100 h 6263640"/>
                    <a:gd name="connsiteX21" fmla="*/ 2232872 w 3431752"/>
                    <a:gd name="connsiteY21" fmla="*/ 1419860 h 6263640"/>
                    <a:gd name="connsiteX22" fmla="*/ 3358092 w 3431752"/>
                    <a:gd name="connsiteY22" fmla="*/ 1445260 h 6263640"/>
                    <a:gd name="connsiteX23" fmla="*/ 3431752 w 3431752"/>
                    <a:gd name="connsiteY23" fmla="*/ 1224280 h 6263640"/>
                    <a:gd name="connsiteX24" fmla="*/ 2187152 w 3431752"/>
                    <a:gd name="connsiteY24" fmla="*/ 596900 h 6263640"/>
                    <a:gd name="connsiteX25" fmla="*/ 1996652 w 3431752"/>
                    <a:gd name="connsiteY25" fmla="*/ 0 h 6263640"/>
                    <a:gd name="connsiteX26" fmla="*/ 1641052 w 3431752"/>
                    <a:gd name="connsiteY26" fmla="*/ 0 h 6263640"/>
                    <a:gd name="connsiteX0" fmla="*/ 1663488 w 3454188"/>
                    <a:gd name="connsiteY0" fmla="*/ 0 h 6263640"/>
                    <a:gd name="connsiteX1" fmla="*/ 1663488 w 3454188"/>
                    <a:gd name="connsiteY1" fmla="*/ 0 h 6263640"/>
                    <a:gd name="connsiteX2" fmla="*/ 1437428 w 3454188"/>
                    <a:gd name="connsiteY2" fmla="*/ 579120 h 6263640"/>
                    <a:gd name="connsiteX3" fmla="*/ 149648 w 3454188"/>
                    <a:gd name="connsiteY3" fmla="*/ 1196340 h 6263640"/>
                    <a:gd name="connsiteX4" fmla="*/ 139488 w 3454188"/>
                    <a:gd name="connsiteY4" fmla="*/ 1455420 h 6263640"/>
                    <a:gd name="connsiteX5" fmla="*/ 1379008 w 3454188"/>
                    <a:gd name="connsiteY5" fmla="*/ 1460500 h 6263640"/>
                    <a:gd name="connsiteX6" fmla="*/ 1361228 w 3454188"/>
                    <a:gd name="connsiteY6" fmla="*/ 2407920 h 6263640"/>
                    <a:gd name="connsiteX7" fmla="*/ 406188 w 3454188"/>
                    <a:gd name="connsiteY7" fmla="*/ 6248400 h 6263640"/>
                    <a:gd name="connsiteX8" fmla="*/ 594148 w 3454188"/>
                    <a:gd name="connsiteY8" fmla="*/ 6253480 h 6263640"/>
                    <a:gd name="connsiteX9" fmla="*/ 1549188 w 3454188"/>
                    <a:gd name="connsiteY9" fmla="*/ 2354580 h 6263640"/>
                    <a:gd name="connsiteX10" fmla="*/ 1508548 w 3454188"/>
                    <a:gd name="connsiteY10" fmla="*/ 1211580 h 6263640"/>
                    <a:gd name="connsiteX11" fmla="*/ 604308 w 3454188"/>
                    <a:gd name="connsiteY11" fmla="*/ 1219200 h 6263640"/>
                    <a:gd name="connsiteX12" fmla="*/ 1498388 w 3454188"/>
                    <a:gd name="connsiteY12" fmla="*/ 800100 h 6263640"/>
                    <a:gd name="connsiteX13" fmla="*/ 1836208 w 3454188"/>
                    <a:gd name="connsiteY13" fmla="*/ 154940 h 6263640"/>
                    <a:gd name="connsiteX14" fmla="*/ 2057188 w 3454188"/>
                    <a:gd name="connsiteY14" fmla="*/ 736600 h 6263640"/>
                    <a:gd name="connsiteX15" fmla="*/ 3027468 w 3454188"/>
                    <a:gd name="connsiteY15" fmla="*/ 1231900 h 6263640"/>
                    <a:gd name="connsiteX16" fmla="*/ 2107988 w 3454188"/>
                    <a:gd name="connsiteY16" fmla="*/ 1219200 h 6263640"/>
                    <a:gd name="connsiteX17" fmla="*/ 2102908 w 3454188"/>
                    <a:gd name="connsiteY17" fmla="*/ 2324100 h 6263640"/>
                    <a:gd name="connsiteX18" fmla="*/ 3096048 w 3454188"/>
                    <a:gd name="connsiteY18" fmla="*/ 6263640 h 6263640"/>
                    <a:gd name="connsiteX19" fmla="*/ 3289088 w 3454188"/>
                    <a:gd name="connsiteY19" fmla="*/ 6164580 h 6263640"/>
                    <a:gd name="connsiteX20" fmla="*/ 2250228 w 3454188"/>
                    <a:gd name="connsiteY20" fmla="*/ 2324100 h 6263640"/>
                    <a:gd name="connsiteX21" fmla="*/ 2255308 w 3454188"/>
                    <a:gd name="connsiteY21" fmla="*/ 1419860 h 6263640"/>
                    <a:gd name="connsiteX22" fmla="*/ 3380528 w 3454188"/>
                    <a:gd name="connsiteY22" fmla="*/ 1445260 h 6263640"/>
                    <a:gd name="connsiteX23" fmla="*/ 3454188 w 3454188"/>
                    <a:gd name="connsiteY23" fmla="*/ 1224280 h 6263640"/>
                    <a:gd name="connsiteX24" fmla="*/ 2209588 w 3454188"/>
                    <a:gd name="connsiteY24" fmla="*/ 596900 h 6263640"/>
                    <a:gd name="connsiteX25" fmla="*/ 2019088 w 3454188"/>
                    <a:gd name="connsiteY25" fmla="*/ 0 h 6263640"/>
                    <a:gd name="connsiteX26" fmla="*/ 1663488 w 3454188"/>
                    <a:gd name="connsiteY26" fmla="*/ 0 h 6263640"/>
                    <a:gd name="connsiteX0" fmla="*/ 1663488 w 3653473"/>
                    <a:gd name="connsiteY0" fmla="*/ 0 h 6263640"/>
                    <a:gd name="connsiteX1" fmla="*/ 1663488 w 3653473"/>
                    <a:gd name="connsiteY1" fmla="*/ 0 h 6263640"/>
                    <a:gd name="connsiteX2" fmla="*/ 1437428 w 3653473"/>
                    <a:gd name="connsiteY2" fmla="*/ 579120 h 6263640"/>
                    <a:gd name="connsiteX3" fmla="*/ 149648 w 3653473"/>
                    <a:gd name="connsiteY3" fmla="*/ 1196340 h 6263640"/>
                    <a:gd name="connsiteX4" fmla="*/ 139488 w 3653473"/>
                    <a:gd name="connsiteY4" fmla="*/ 1455420 h 6263640"/>
                    <a:gd name="connsiteX5" fmla="*/ 1379008 w 3653473"/>
                    <a:gd name="connsiteY5" fmla="*/ 1460500 h 6263640"/>
                    <a:gd name="connsiteX6" fmla="*/ 1361228 w 3653473"/>
                    <a:gd name="connsiteY6" fmla="*/ 2407920 h 6263640"/>
                    <a:gd name="connsiteX7" fmla="*/ 406188 w 3653473"/>
                    <a:gd name="connsiteY7" fmla="*/ 6248400 h 6263640"/>
                    <a:gd name="connsiteX8" fmla="*/ 594148 w 3653473"/>
                    <a:gd name="connsiteY8" fmla="*/ 6253480 h 6263640"/>
                    <a:gd name="connsiteX9" fmla="*/ 1549188 w 3653473"/>
                    <a:gd name="connsiteY9" fmla="*/ 2354580 h 6263640"/>
                    <a:gd name="connsiteX10" fmla="*/ 1508548 w 3653473"/>
                    <a:gd name="connsiteY10" fmla="*/ 1211580 h 6263640"/>
                    <a:gd name="connsiteX11" fmla="*/ 604308 w 3653473"/>
                    <a:gd name="connsiteY11" fmla="*/ 1219200 h 6263640"/>
                    <a:gd name="connsiteX12" fmla="*/ 1498388 w 3653473"/>
                    <a:gd name="connsiteY12" fmla="*/ 800100 h 6263640"/>
                    <a:gd name="connsiteX13" fmla="*/ 1836208 w 3653473"/>
                    <a:gd name="connsiteY13" fmla="*/ 154940 h 6263640"/>
                    <a:gd name="connsiteX14" fmla="*/ 2057188 w 3653473"/>
                    <a:gd name="connsiteY14" fmla="*/ 736600 h 6263640"/>
                    <a:gd name="connsiteX15" fmla="*/ 3027468 w 3653473"/>
                    <a:gd name="connsiteY15" fmla="*/ 1231900 h 6263640"/>
                    <a:gd name="connsiteX16" fmla="*/ 2107988 w 3653473"/>
                    <a:gd name="connsiteY16" fmla="*/ 1219200 h 6263640"/>
                    <a:gd name="connsiteX17" fmla="*/ 2102908 w 3653473"/>
                    <a:gd name="connsiteY17" fmla="*/ 2324100 h 6263640"/>
                    <a:gd name="connsiteX18" fmla="*/ 3096048 w 3653473"/>
                    <a:gd name="connsiteY18" fmla="*/ 6263640 h 6263640"/>
                    <a:gd name="connsiteX19" fmla="*/ 3289088 w 3653473"/>
                    <a:gd name="connsiteY19" fmla="*/ 6164580 h 6263640"/>
                    <a:gd name="connsiteX20" fmla="*/ 2250228 w 3653473"/>
                    <a:gd name="connsiteY20" fmla="*/ 2324100 h 6263640"/>
                    <a:gd name="connsiteX21" fmla="*/ 2255308 w 3653473"/>
                    <a:gd name="connsiteY21" fmla="*/ 1419860 h 6263640"/>
                    <a:gd name="connsiteX22" fmla="*/ 3380528 w 3653473"/>
                    <a:gd name="connsiteY22" fmla="*/ 1445260 h 6263640"/>
                    <a:gd name="connsiteX23" fmla="*/ 3454188 w 3653473"/>
                    <a:gd name="connsiteY23" fmla="*/ 1224280 h 6263640"/>
                    <a:gd name="connsiteX24" fmla="*/ 2209588 w 3653473"/>
                    <a:gd name="connsiteY24" fmla="*/ 596900 h 6263640"/>
                    <a:gd name="connsiteX25" fmla="*/ 2019088 w 3653473"/>
                    <a:gd name="connsiteY25" fmla="*/ 0 h 6263640"/>
                    <a:gd name="connsiteX26" fmla="*/ 1663488 w 3653473"/>
                    <a:gd name="connsiteY26" fmla="*/ 0 h 6263640"/>
                    <a:gd name="connsiteX0" fmla="*/ 1663488 w 3653473"/>
                    <a:gd name="connsiteY0" fmla="*/ 0 h 6263640"/>
                    <a:gd name="connsiteX1" fmla="*/ 1663488 w 3653473"/>
                    <a:gd name="connsiteY1" fmla="*/ 0 h 6263640"/>
                    <a:gd name="connsiteX2" fmla="*/ 1437428 w 3653473"/>
                    <a:gd name="connsiteY2" fmla="*/ 579120 h 6263640"/>
                    <a:gd name="connsiteX3" fmla="*/ 149648 w 3653473"/>
                    <a:gd name="connsiteY3" fmla="*/ 1196340 h 6263640"/>
                    <a:gd name="connsiteX4" fmla="*/ 139488 w 3653473"/>
                    <a:gd name="connsiteY4" fmla="*/ 1455420 h 6263640"/>
                    <a:gd name="connsiteX5" fmla="*/ 1379008 w 3653473"/>
                    <a:gd name="connsiteY5" fmla="*/ 1460500 h 6263640"/>
                    <a:gd name="connsiteX6" fmla="*/ 1361228 w 3653473"/>
                    <a:gd name="connsiteY6" fmla="*/ 2407920 h 6263640"/>
                    <a:gd name="connsiteX7" fmla="*/ 406188 w 3653473"/>
                    <a:gd name="connsiteY7" fmla="*/ 6248400 h 6263640"/>
                    <a:gd name="connsiteX8" fmla="*/ 594148 w 3653473"/>
                    <a:gd name="connsiteY8" fmla="*/ 6253480 h 6263640"/>
                    <a:gd name="connsiteX9" fmla="*/ 1549188 w 3653473"/>
                    <a:gd name="connsiteY9" fmla="*/ 2354580 h 6263640"/>
                    <a:gd name="connsiteX10" fmla="*/ 1508548 w 3653473"/>
                    <a:gd name="connsiteY10" fmla="*/ 1211580 h 6263640"/>
                    <a:gd name="connsiteX11" fmla="*/ 604308 w 3653473"/>
                    <a:gd name="connsiteY11" fmla="*/ 1219200 h 6263640"/>
                    <a:gd name="connsiteX12" fmla="*/ 1498388 w 3653473"/>
                    <a:gd name="connsiteY12" fmla="*/ 800100 h 6263640"/>
                    <a:gd name="connsiteX13" fmla="*/ 1836208 w 3653473"/>
                    <a:gd name="connsiteY13" fmla="*/ 154940 h 6263640"/>
                    <a:gd name="connsiteX14" fmla="*/ 2057188 w 3653473"/>
                    <a:gd name="connsiteY14" fmla="*/ 736600 h 6263640"/>
                    <a:gd name="connsiteX15" fmla="*/ 3027468 w 3653473"/>
                    <a:gd name="connsiteY15" fmla="*/ 1231900 h 6263640"/>
                    <a:gd name="connsiteX16" fmla="*/ 2107988 w 3653473"/>
                    <a:gd name="connsiteY16" fmla="*/ 1219200 h 6263640"/>
                    <a:gd name="connsiteX17" fmla="*/ 2102908 w 3653473"/>
                    <a:gd name="connsiteY17" fmla="*/ 2324100 h 6263640"/>
                    <a:gd name="connsiteX18" fmla="*/ 3096048 w 3653473"/>
                    <a:gd name="connsiteY18" fmla="*/ 6263640 h 6263640"/>
                    <a:gd name="connsiteX19" fmla="*/ 3289088 w 3653473"/>
                    <a:gd name="connsiteY19" fmla="*/ 6164580 h 6263640"/>
                    <a:gd name="connsiteX20" fmla="*/ 2250228 w 3653473"/>
                    <a:gd name="connsiteY20" fmla="*/ 2324100 h 6263640"/>
                    <a:gd name="connsiteX21" fmla="*/ 2255308 w 3653473"/>
                    <a:gd name="connsiteY21" fmla="*/ 1419860 h 6263640"/>
                    <a:gd name="connsiteX22" fmla="*/ 3380528 w 3653473"/>
                    <a:gd name="connsiteY22" fmla="*/ 1445260 h 6263640"/>
                    <a:gd name="connsiteX23" fmla="*/ 3454188 w 3653473"/>
                    <a:gd name="connsiteY23" fmla="*/ 1224280 h 6263640"/>
                    <a:gd name="connsiteX24" fmla="*/ 2209588 w 3653473"/>
                    <a:gd name="connsiteY24" fmla="*/ 596900 h 6263640"/>
                    <a:gd name="connsiteX25" fmla="*/ 2019088 w 3653473"/>
                    <a:gd name="connsiteY25" fmla="*/ 0 h 6263640"/>
                    <a:gd name="connsiteX26" fmla="*/ 1663488 w 3653473"/>
                    <a:gd name="connsiteY26" fmla="*/ 0 h 6263640"/>
                    <a:gd name="connsiteX0" fmla="*/ 1663488 w 3653473"/>
                    <a:gd name="connsiteY0" fmla="*/ 142875 h 6406515"/>
                    <a:gd name="connsiteX1" fmla="*/ 1663488 w 3653473"/>
                    <a:gd name="connsiteY1" fmla="*/ 142875 h 6406515"/>
                    <a:gd name="connsiteX2" fmla="*/ 1437428 w 3653473"/>
                    <a:gd name="connsiteY2" fmla="*/ 721995 h 6406515"/>
                    <a:gd name="connsiteX3" fmla="*/ 149648 w 3653473"/>
                    <a:gd name="connsiteY3" fmla="*/ 1339215 h 6406515"/>
                    <a:gd name="connsiteX4" fmla="*/ 139488 w 3653473"/>
                    <a:gd name="connsiteY4" fmla="*/ 1598295 h 6406515"/>
                    <a:gd name="connsiteX5" fmla="*/ 1379008 w 3653473"/>
                    <a:gd name="connsiteY5" fmla="*/ 1603375 h 6406515"/>
                    <a:gd name="connsiteX6" fmla="*/ 1361228 w 3653473"/>
                    <a:gd name="connsiteY6" fmla="*/ 2550795 h 6406515"/>
                    <a:gd name="connsiteX7" fmla="*/ 406188 w 3653473"/>
                    <a:gd name="connsiteY7" fmla="*/ 6391275 h 6406515"/>
                    <a:gd name="connsiteX8" fmla="*/ 594148 w 3653473"/>
                    <a:gd name="connsiteY8" fmla="*/ 6396355 h 6406515"/>
                    <a:gd name="connsiteX9" fmla="*/ 1549188 w 3653473"/>
                    <a:gd name="connsiteY9" fmla="*/ 2497455 h 6406515"/>
                    <a:gd name="connsiteX10" fmla="*/ 1508548 w 3653473"/>
                    <a:gd name="connsiteY10" fmla="*/ 1354455 h 6406515"/>
                    <a:gd name="connsiteX11" fmla="*/ 604308 w 3653473"/>
                    <a:gd name="connsiteY11" fmla="*/ 1362075 h 6406515"/>
                    <a:gd name="connsiteX12" fmla="*/ 1498388 w 3653473"/>
                    <a:gd name="connsiteY12" fmla="*/ 942975 h 6406515"/>
                    <a:gd name="connsiteX13" fmla="*/ 1836208 w 3653473"/>
                    <a:gd name="connsiteY13" fmla="*/ 297815 h 6406515"/>
                    <a:gd name="connsiteX14" fmla="*/ 2057188 w 3653473"/>
                    <a:gd name="connsiteY14" fmla="*/ 879475 h 6406515"/>
                    <a:gd name="connsiteX15" fmla="*/ 3027468 w 3653473"/>
                    <a:gd name="connsiteY15" fmla="*/ 1374775 h 6406515"/>
                    <a:gd name="connsiteX16" fmla="*/ 2107988 w 3653473"/>
                    <a:gd name="connsiteY16" fmla="*/ 1362075 h 6406515"/>
                    <a:gd name="connsiteX17" fmla="*/ 2102908 w 3653473"/>
                    <a:gd name="connsiteY17" fmla="*/ 2466975 h 6406515"/>
                    <a:gd name="connsiteX18" fmla="*/ 3096048 w 3653473"/>
                    <a:gd name="connsiteY18" fmla="*/ 6406515 h 6406515"/>
                    <a:gd name="connsiteX19" fmla="*/ 3289088 w 3653473"/>
                    <a:gd name="connsiteY19" fmla="*/ 6307455 h 6406515"/>
                    <a:gd name="connsiteX20" fmla="*/ 2250228 w 3653473"/>
                    <a:gd name="connsiteY20" fmla="*/ 2466975 h 6406515"/>
                    <a:gd name="connsiteX21" fmla="*/ 2255308 w 3653473"/>
                    <a:gd name="connsiteY21" fmla="*/ 1562735 h 6406515"/>
                    <a:gd name="connsiteX22" fmla="*/ 3380528 w 3653473"/>
                    <a:gd name="connsiteY22" fmla="*/ 1588135 h 6406515"/>
                    <a:gd name="connsiteX23" fmla="*/ 3454188 w 3653473"/>
                    <a:gd name="connsiteY23" fmla="*/ 1367155 h 6406515"/>
                    <a:gd name="connsiteX24" fmla="*/ 2209588 w 3653473"/>
                    <a:gd name="connsiteY24" fmla="*/ 739775 h 6406515"/>
                    <a:gd name="connsiteX25" fmla="*/ 2019088 w 3653473"/>
                    <a:gd name="connsiteY25" fmla="*/ 142875 h 6406515"/>
                    <a:gd name="connsiteX26" fmla="*/ 1663488 w 3653473"/>
                    <a:gd name="connsiteY26" fmla="*/ 142875 h 6406515"/>
                    <a:gd name="connsiteX0" fmla="*/ 1663488 w 3653473"/>
                    <a:gd name="connsiteY0" fmla="*/ 142875 h 6406515"/>
                    <a:gd name="connsiteX1" fmla="*/ 1663488 w 3653473"/>
                    <a:gd name="connsiteY1" fmla="*/ 142875 h 6406515"/>
                    <a:gd name="connsiteX2" fmla="*/ 1437428 w 3653473"/>
                    <a:gd name="connsiteY2" fmla="*/ 721995 h 6406515"/>
                    <a:gd name="connsiteX3" fmla="*/ 149648 w 3653473"/>
                    <a:gd name="connsiteY3" fmla="*/ 1339215 h 6406515"/>
                    <a:gd name="connsiteX4" fmla="*/ 139488 w 3653473"/>
                    <a:gd name="connsiteY4" fmla="*/ 1598295 h 6406515"/>
                    <a:gd name="connsiteX5" fmla="*/ 1379008 w 3653473"/>
                    <a:gd name="connsiteY5" fmla="*/ 1603375 h 6406515"/>
                    <a:gd name="connsiteX6" fmla="*/ 1361228 w 3653473"/>
                    <a:gd name="connsiteY6" fmla="*/ 2550795 h 6406515"/>
                    <a:gd name="connsiteX7" fmla="*/ 406188 w 3653473"/>
                    <a:gd name="connsiteY7" fmla="*/ 6391275 h 6406515"/>
                    <a:gd name="connsiteX8" fmla="*/ 594148 w 3653473"/>
                    <a:gd name="connsiteY8" fmla="*/ 6396355 h 6406515"/>
                    <a:gd name="connsiteX9" fmla="*/ 1549188 w 3653473"/>
                    <a:gd name="connsiteY9" fmla="*/ 2497455 h 6406515"/>
                    <a:gd name="connsiteX10" fmla="*/ 1508548 w 3653473"/>
                    <a:gd name="connsiteY10" fmla="*/ 1354455 h 6406515"/>
                    <a:gd name="connsiteX11" fmla="*/ 604308 w 3653473"/>
                    <a:gd name="connsiteY11" fmla="*/ 1362075 h 6406515"/>
                    <a:gd name="connsiteX12" fmla="*/ 1498388 w 3653473"/>
                    <a:gd name="connsiteY12" fmla="*/ 942975 h 6406515"/>
                    <a:gd name="connsiteX13" fmla="*/ 1836208 w 3653473"/>
                    <a:gd name="connsiteY13" fmla="*/ 297815 h 6406515"/>
                    <a:gd name="connsiteX14" fmla="*/ 2057188 w 3653473"/>
                    <a:gd name="connsiteY14" fmla="*/ 879475 h 6406515"/>
                    <a:gd name="connsiteX15" fmla="*/ 3027468 w 3653473"/>
                    <a:gd name="connsiteY15" fmla="*/ 1374775 h 6406515"/>
                    <a:gd name="connsiteX16" fmla="*/ 2107988 w 3653473"/>
                    <a:gd name="connsiteY16" fmla="*/ 1362075 h 6406515"/>
                    <a:gd name="connsiteX17" fmla="*/ 2102908 w 3653473"/>
                    <a:gd name="connsiteY17" fmla="*/ 2466975 h 6406515"/>
                    <a:gd name="connsiteX18" fmla="*/ 3096048 w 3653473"/>
                    <a:gd name="connsiteY18" fmla="*/ 6406515 h 6406515"/>
                    <a:gd name="connsiteX19" fmla="*/ 3289088 w 3653473"/>
                    <a:gd name="connsiteY19" fmla="*/ 6307455 h 6406515"/>
                    <a:gd name="connsiteX20" fmla="*/ 2250228 w 3653473"/>
                    <a:gd name="connsiteY20" fmla="*/ 2466975 h 6406515"/>
                    <a:gd name="connsiteX21" fmla="*/ 2255308 w 3653473"/>
                    <a:gd name="connsiteY21" fmla="*/ 1562735 h 6406515"/>
                    <a:gd name="connsiteX22" fmla="*/ 3380528 w 3653473"/>
                    <a:gd name="connsiteY22" fmla="*/ 1588135 h 6406515"/>
                    <a:gd name="connsiteX23" fmla="*/ 3454188 w 3653473"/>
                    <a:gd name="connsiteY23" fmla="*/ 1367155 h 6406515"/>
                    <a:gd name="connsiteX24" fmla="*/ 2209588 w 3653473"/>
                    <a:gd name="connsiteY24" fmla="*/ 739775 h 6406515"/>
                    <a:gd name="connsiteX25" fmla="*/ 2019088 w 3653473"/>
                    <a:gd name="connsiteY25" fmla="*/ 142875 h 6406515"/>
                    <a:gd name="connsiteX26" fmla="*/ 1663488 w 3653473"/>
                    <a:gd name="connsiteY26" fmla="*/ 142875 h 6406515"/>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836208 w 3653473"/>
                    <a:gd name="connsiteY13" fmla="*/ 254423 h 6363123"/>
                    <a:gd name="connsiteX14" fmla="*/ 2057188 w 3653473"/>
                    <a:gd name="connsiteY14" fmla="*/ 836083 h 6363123"/>
                    <a:gd name="connsiteX15" fmla="*/ 3027468 w 3653473"/>
                    <a:gd name="connsiteY15" fmla="*/ 1331383 h 6363123"/>
                    <a:gd name="connsiteX16" fmla="*/ 2107988 w 3653473"/>
                    <a:gd name="connsiteY16" fmla="*/ 1318683 h 6363123"/>
                    <a:gd name="connsiteX17" fmla="*/ 2102908 w 3653473"/>
                    <a:gd name="connsiteY17" fmla="*/ 2423583 h 6363123"/>
                    <a:gd name="connsiteX18" fmla="*/ 3096048 w 3653473"/>
                    <a:gd name="connsiteY18" fmla="*/ 6363123 h 6363123"/>
                    <a:gd name="connsiteX19" fmla="*/ 3289088 w 3653473"/>
                    <a:gd name="connsiteY19" fmla="*/ 6264063 h 6363123"/>
                    <a:gd name="connsiteX20" fmla="*/ 2250228 w 3653473"/>
                    <a:gd name="connsiteY20" fmla="*/ 2423583 h 6363123"/>
                    <a:gd name="connsiteX21" fmla="*/ 2255308 w 3653473"/>
                    <a:gd name="connsiteY21" fmla="*/ 1519343 h 6363123"/>
                    <a:gd name="connsiteX22" fmla="*/ 3380528 w 3653473"/>
                    <a:gd name="connsiteY22" fmla="*/ 1544743 h 6363123"/>
                    <a:gd name="connsiteX23" fmla="*/ 3454188 w 3653473"/>
                    <a:gd name="connsiteY23" fmla="*/ 1323763 h 6363123"/>
                    <a:gd name="connsiteX24" fmla="*/ 2209588 w 3653473"/>
                    <a:gd name="connsiteY24" fmla="*/ 696383 h 6363123"/>
                    <a:gd name="connsiteX25" fmla="*/ 2019088 w 3653473"/>
                    <a:gd name="connsiteY25"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36208 w 3653473"/>
                    <a:gd name="connsiteY14" fmla="*/ 25442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80658 w 3653473"/>
                    <a:gd name="connsiteY14" fmla="*/ 36237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80658 w 3653473"/>
                    <a:gd name="connsiteY14" fmla="*/ 36237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80658 w 3653473"/>
                    <a:gd name="connsiteY14" fmla="*/ 36237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52963"/>
                    <a:gd name="connsiteX1" fmla="*/ 1663488 w 3653473"/>
                    <a:gd name="connsiteY1" fmla="*/ 99483 h 6352963"/>
                    <a:gd name="connsiteX2" fmla="*/ 1437428 w 3653473"/>
                    <a:gd name="connsiteY2" fmla="*/ 678603 h 6352963"/>
                    <a:gd name="connsiteX3" fmla="*/ 149648 w 3653473"/>
                    <a:gd name="connsiteY3" fmla="*/ 1295823 h 6352963"/>
                    <a:gd name="connsiteX4" fmla="*/ 139488 w 3653473"/>
                    <a:gd name="connsiteY4" fmla="*/ 1554903 h 6352963"/>
                    <a:gd name="connsiteX5" fmla="*/ 1379008 w 3653473"/>
                    <a:gd name="connsiteY5" fmla="*/ 1559983 h 6352963"/>
                    <a:gd name="connsiteX6" fmla="*/ 1361228 w 3653473"/>
                    <a:gd name="connsiteY6" fmla="*/ 2507403 h 6352963"/>
                    <a:gd name="connsiteX7" fmla="*/ 406188 w 3653473"/>
                    <a:gd name="connsiteY7" fmla="*/ 6347883 h 6352963"/>
                    <a:gd name="connsiteX8" fmla="*/ 594148 w 3653473"/>
                    <a:gd name="connsiteY8" fmla="*/ 6352963 h 6352963"/>
                    <a:gd name="connsiteX9" fmla="*/ 1549188 w 3653473"/>
                    <a:gd name="connsiteY9" fmla="*/ 2454063 h 6352963"/>
                    <a:gd name="connsiteX10" fmla="*/ 1508548 w 3653473"/>
                    <a:gd name="connsiteY10" fmla="*/ 1311063 h 6352963"/>
                    <a:gd name="connsiteX11" fmla="*/ 604308 w 3653473"/>
                    <a:gd name="connsiteY11" fmla="*/ 1318683 h 6352963"/>
                    <a:gd name="connsiteX12" fmla="*/ 1498388 w 3653473"/>
                    <a:gd name="connsiteY12" fmla="*/ 899583 h 6352963"/>
                    <a:gd name="connsiteX13" fmla="*/ 1758738 w 3653473"/>
                    <a:gd name="connsiteY13" fmla="*/ 366184 h 6352963"/>
                    <a:gd name="connsiteX14" fmla="*/ 1880658 w 3653473"/>
                    <a:gd name="connsiteY14" fmla="*/ 362373 h 6352963"/>
                    <a:gd name="connsiteX15" fmla="*/ 2057188 w 3653473"/>
                    <a:gd name="connsiteY15" fmla="*/ 836083 h 6352963"/>
                    <a:gd name="connsiteX16" fmla="*/ 3027468 w 3653473"/>
                    <a:gd name="connsiteY16" fmla="*/ 1331383 h 6352963"/>
                    <a:gd name="connsiteX17" fmla="*/ 2107988 w 3653473"/>
                    <a:gd name="connsiteY17" fmla="*/ 1318683 h 6352963"/>
                    <a:gd name="connsiteX18" fmla="*/ 2102908 w 3653473"/>
                    <a:gd name="connsiteY18" fmla="*/ 2423583 h 6352963"/>
                    <a:gd name="connsiteX19" fmla="*/ 3083348 w 3653473"/>
                    <a:gd name="connsiteY19" fmla="*/ 6261523 h 6352963"/>
                    <a:gd name="connsiteX20" fmla="*/ 3289088 w 3653473"/>
                    <a:gd name="connsiteY20" fmla="*/ 6264063 h 6352963"/>
                    <a:gd name="connsiteX21" fmla="*/ 2250228 w 3653473"/>
                    <a:gd name="connsiteY21" fmla="*/ 2423583 h 6352963"/>
                    <a:gd name="connsiteX22" fmla="*/ 2255308 w 3653473"/>
                    <a:gd name="connsiteY22" fmla="*/ 1519343 h 6352963"/>
                    <a:gd name="connsiteX23" fmla="*/ 3380528 w 3653473"/>
                    <a:gd name="connsiteY23" fmla="*/ 1544743 h 6352963"/>
                    <a:gd name="connsiteX24" fmla="*/ 3454188 w 3653473"/>
                    <a:gd name="connsiteY24" fmla="*/ 1323763 h 6352963"/>
                    <a:gd name="connsiteX25" fmla="*/ 2209588 w 3653473"/>
                    <a:gd name="connsiteY25" fmla="*/ 696383 h 6352963"/>
                    <a:gd name="connsiteX26" fmla="*/ 2019088 w 3653473"/>
                    <a:gd name="connsiteY26" fmla="*/ 99483 h 6352963"/>
                    <a:gd name="connsiteX0" fmla="*/ 2019088 w 3653473"/>
                    <a:gd name="connsiteY0" fmla="*/ 99483 h 6441016"/>
                    <a:gd name="connsiteX1" fmla="*/ 1663488 w 3653473"/>
                    <a:gd name="connsiteY1" fmla="*/ 99483 h 6441016"/>
                    <a:gd name="connsiteX2" fmla="*/ 1437428 w 3653473"/>
                    <a:gd name="connsiteY2" fmla="*/ 678603 h 6441016"/>
                    <a:gd name="connsiteX3" fmla="*/ 149648 w 3653473"/>
                    <a:gd name="connsiteY3" fmla="*/ 1295823 h 6441016"/>
                    <a:gd name="connsiteX4" fmla="*/ 139488 w 3653473"/>
                    <a:gd name="connsiteY4" fmla="*/ 1554903 h 6441016"/>
                    <a:gd name="connsiteX5" fmla="*/ 1379008 w 3653473"/>
                    <a:gd name="connsiteY5" fmla="*/ 1559983 h 6441016"/>
                    <a:gd name="connsiteX6" fmla="*/ 1361228 w 3653473"/>
                    <a:gd name="connsiteY6" fmla="*/ 2507403 h 6441016"/>
                    <a:gd name="connsiteX7" fmla="*/ 406188 w 3653473"/>
                    <a:gd name="connsiteY7" fmla="*/ 6347883 h 6441016"/>
                    <a:gd name="connsiteX8" fmla="*/ 594148 w 3653473"/>
                    <a:gd name="connsiteY8" fmla="*/ 6352963 h 6441016"/>
                    <a:gd name="connsiteX9" fmla="*/ 1549188 w 3653473"/>
                    <a:gd name="connsiteY9" fmla="*/ 2454063 h 6441016"/>
                    <a:gd name="connsiteX10" fmla="*/ 1508548 w 3653473"/>
                    <a:gd name="connsiteY10" fmla="*/ 1311063 h 6441016"/>
                    <a:gd name="connsiteX11" fmla="*/ 604308 w 3653473"/>
                    <a:gd name="connsiteY11" fmla="*/ 1318683 h 6441016"/>
                    <a:gd name="connsiteX12" fmla="*/ 1498388 w 3653473"/>
                    <a:gd name="connsiteY12" fmla="*/ 899583 h 6441016"/>
                    <a:gd name="connsiteX13" fmla="*/ 1758738 w 3653473"/>
                    <a:gd name="connsiteY13" fmla="*/ 366184 h 6441016"/>
                    <a:gd name="connsiteX14" fmla="*/ 1880658 w 3653473"/>
                    <a:gd name="connsiteY14" fmla="*/ 362373 h 6441016"/>
                    <a:gd name="connsiteX15" fmla="*/ 2057188 w 3653473"/>
                    <a:gd name="connsiteY15" fmla="*/ 836083 h 6441016"/>
                    <a:gd name="connsiteX16" fmla="*/ 3027468 w 3653473"/>
                    <a:gd name="connsiteY16" fmla="*/ 1331383 h 6441016"/>
                    <a:gd name="connsiteX17" fmla="*/ 2107988 w 3653473"/>
                    <a:gd name="connsiteY17" fmla="*/ 1318683 h 6441016"/>
                    <a:gd name="connsiteX18" fmla="*/ 2102908 w 3653473"/>
                    <a:gd name="connsiteY18" fmla="*/ 2423583 h 6441016"/>
                    <a:gd name="connsiteX19" fmla="*/ 3083348 w 3653473"/>
                    <a:gd name="connsiteY19" fmla="*/ 6261523 h 6441016"/>
                    <a:gd name="connsiteX20" fmla="*/ 3289088 w 3653473"/>
                    <a:gd name="connsiteY20" fmla="*/ 6264063 h 6441016"/>
                    <a:gd name="connsiteX21" fmla="*/ 2250228 w 3653473"/>
                    <a:gd name="connsiteY21" fmla="*/ 2423583 h 6441016"/>
                    <a:gd name="connsiteX22" fmla="*/ 2255308 w 3653473"/>
                    <a:gd name="connsiteY22" fmla="*/ 1519343 h 6441016"/>
                    <a:gd name="connsiteX23" fmla="*/ 3380528 w 3653473"/>
                    <a:gd name="connsiteY23" fmla="*/ 1544743 h 6441016"/>
                    <a:gd name="connsiteX24" fmla="*/ 3454188 w 3653473"/>
                    <a:gd name="connsiteY24" fmla="*/ 1323763 h 6441016"/>
                    <a:gd name="connsiteX25" fmla="*/ 2209588 w 3653473"/>
                    <a:gd name="connsiteY25" fmla="*/ 696383 h 6441016"/>
                    <a:gd name="connsiteX26" fmla="*/ 2019088 w 3653473"/>
                    <a:gd name="connsiteY26" fmla="*/ 99483 h 6441016"/>
                    <a:gd name="connsiteX0" fmla="*/ 2019088 w 3653473"/>
                    <a:gd name="connsiteY0" fmla="*/ 99483 h 6441016"/>
                    <a:gd name="connsiteX1" fmla="*/ 1663488 w 3653473"/>
                    <a:gd name="connsiteY1" fmla="*/ 99483 h 6441016"/>
                    <a:gd name="connsiteX2" fmla="*/ 1437428 w 3653473"/>
                    <a:gd name="connsiteY2" fmla="*/ 678603 h 6441016"/>
                    <a:gd name="connsiteX3" fmla="*/ 149648 w 3653473"/>
                    <a:gd name="connsiteY3" fmla="*/ 1295823 h 6441016"/>
                    <a:gd name="connsiteX4" fmla="*/ 139488 w 3653473"/>
                    <a:gd name="connsiteY4" fmla="*/ 1554903 h 6441016"/>
                    <a:gd name="connsiteX5" fmla="*/ 1379008 w 3653473"/>
                    <a:gd name="connsiteY5" fmla="*/ 1559983 h 6441016"/>
                    <a:gd name="connsiteX6" fmla="*/ 1361228 w 3653473"/>
                    <a:gd name="connsiteY6" fmla="*/ 2507403 h 6441016"/>
                    <a:gd name="connsiteX7" fmla="*/ 406188 w 3653473"/>
                    <a:gd name="connsiteY7" fmla="*/ 6347883 h 6441016"/>
                    <a:gd name="connsiteX8" fmla="*/ 594148 w 3653473"/>
                    <a:gd name="connsiteY8" fmla="*/ 6352963 h 6441016"/>
                    <a:gd name="connsiteX9" fmla="*/ 1549188 w 3653473"/>
                    <a:gd name="connsiteY9" fmla="*/ 2454063 h 6441016"/>
                    <a:gd name="connsiteX10" fmla="*/ 1508548 w 3653473"/>
                    <a:gd name="connsiteY10" fmla="*/ 1311063 h 6441016"/>
                    <a:gd name="connsiteX11" fmla="*/ 604308 w 3653473"/>
                    <a:gd name="connsiteY11" fmla="*/ 1318683 h 6441016"/>
                    <a:gd name="connsiteX12" fmla="*/ 1498388 w 3653473"/>
                    <a:gd name="connsiteY12" fmla="*/ 899583 h 6441016"/>
                    <a:gd name="connsiteX13" fmla="*/ 1758738 w 3653473"/>
                    <a:gd name="connsiteY13" fmla="*/ 366184 h 6441016"/>
                    <a:gd name="connsiteX14" fmla="*/ 1880658 w 3653473"/>
                    <a:gd name="connsiteY14" fmla="*/ 362373 h 6441016"/>
                    <a:gd name="connsiteX15" fmla="*/ 2057188 w 3653473"/>
                    <a:gd name="connsiteY15" fmla="*/ 836083 h 6441016"/>
                    <a:gd name="connsiteX16" fmla="*/ 3027468 w 3653473"/>
                    <a:gd name="connsiteY16" fmla="*/ 1331383 h 6441016"/>
                    <a:gd name="connsiteX17" fmla="*/ 2107988 w 3653473"/>
                    <a:gd name="connsiteY17" fmla="*/ 1318683 h 6441016"/>
                    <a:gd name="connsiteX18" fmla="*/ 2102908 w 3653473"/>
                    <a:gd name="connsiteY18" fmla="*/ 2423583 h 6441016"/>
                    <a:gd name="connsiteX19" fmla="*/ 3083348 w 3653473"/>
                    <a:gd name="connsiteY19" fmla="*/ 6261523 h 6441016"/>
                    <a:gd name="connsiteX20" fmla="*/ 3289088 w 3653473"/>
                    <a:gd name="connsiteY20" fmla="*/ 6264063 h 6441016"/>
                    <a:gd name="connsiteX21" fmla="*/ 2250228 w 3653473"/>
                    <a:gd name="connsiteY21" fmla="*/ 2423583 h 6441016"/>
                    <a:gd name="connsiteX22" fmla="*/ 2255308 w 3653473"/>
                    <a:gd name="connsiteY22" fmla="*/ 1519343 h 6441016"/>
                    <a:gd name="connsiteX23" fmla="*/ 3380528 w 3653473"/>
                    <a:gd name="connsiteY23" fmla="*/ 1544743 h 6441016"/>
                    <a:gd name="connsiteX24" fmla="*/ 3454188 w 3653473"/>
                    <a:gd name="connsiteY24" fmla="*/ 1323763 h 6441016"/>
                    <a:gd name="connsiteX25" fmla="*/ 2209588 w 3653473"/>
                    <a:gd name="connsiteY25" fmla="*/ 696383 h 6441016"/>
                    <a:gd name="connsiteX26" fmla="*/ 2019088 w 3653473"/>
                    <a:gd name="connsiteY26" fmla="*/ 99483 h 6441016"/>
                    <a:gd name="connsiteX0" fmla="*/ 2019088 w 3653473"/>
                    <a:gd name="connsiteY0" fmla="*/ 99483 h 6471920"/>
                    <a:gd name="connsiteX1" fmla="*/ 1663488 w 3653473"/>
                    <a:gd name="connsiteY1" fmla="*/ 99483 h 6471920"/>
                    <a:gd name="connsiteX2" fmla="*/ 1437428 w 3653473"/>
                    <a:gd name="connsiteY2" fmla="*/ 678603 h 6471920"/>
                    <a:gd name="connsiteX3" fmla="*/ 149648 w 3653473"/>
                    <a:gd name="connsiteY3" fmla="*/ 1295823 h 6471920"/>
                    <a:gd name="connsiteX4" fmla="*/ 139488 w 3653473"/>
                    <a:gd name="connsiteY4" fmla="*/ 1554903 h 6471920"/>
                    <a:gd name="connsiteX5" fmla="*/ 1379008 w 3653473"/>
                    <a:gd name="connsiteY5" fmla="*/ 1559983 h 6471920"/>
                    <a:gd name="connsiteX6" fmla="*/ 1361228 w 3653473"/>
                    <a:gd name="connsiteY6" fmla="*/ 2507403 h 6471920"/>
                    <a:gd name="connsiteX7" fmla="*/ 406188 w 3653473"/>
                    <a:gd name="connsiteY7" fmla="*/ 6347883 h 6471920"/>
                    <a:gd name="connsiteX8" fmla="*/ 594148 w 3653473"/>
                    <a:gd name="connsiteY8" fmla="*/ 6352963 h 6471920"/>
                    <a:gd name="connsiteX9" fmla="*/ 1549188 w 3653473"/>
                    <a:gd name="connsiteY9" fmla="*/ 2454063 h 6471920"/>
                    <a:gd name="connsiteX10" fmla="*/ 1508548 w 3653473"/>
                    <a:gd name="connsiteY10" fmla="*/ 1311063 h 6471920"/>
                    <a:gd name="connsiteX11" fmla="*/ 604308 w 3653473"/>
                    <a:gd name="connsiteY11" fmla="*/ 1318683 h 6471920"/>
                    <a:gd name="connsiteX12" fmla="*/ 1498388 w 3653473"/>
                    <a:gd name="connsiteY12" fmla="*/ 899583 h 6471920"/>
                    <a:gd name="connsiteX13" fmla="*/ 1758738 w 3653473"/>
                    <a:gd name="connsiteY13" fmla="*/ 366184 h 6471920"/>
                    <a:gd name="connsiteX14" fmla="*/ 1880658 w 3653473"/>
                    <a:gd name="connsiteY14" fmla="*/ 362373 h 6471920"/>
                    <a:gd name="connsiteX15" fmla="*/ 2057188 w 3653473"/>
                    <a:gd name="connsiteY15" fmla="*/ 836083 h 6471920"/>
                    <a:gd name="connsiteX16" fmla="*/ 3027468 w 3653473"/>
                    <a:gd name="connsiteY16" fmla="*/ 1331383 h 6471920"/>
                    <a:gd name="connsiteX17" fmla="*/ 2107988 w 3653473"/>
                    <a:gd name="connsiteY17" fmla="*/ 1318683 h 6471920"/>
                    <a:gd name="connsiteX18" fmla="*/ 2102908 w 3653473"/>
                    <a:gd name="connsiteY18" fmla="*/ 2423583 h 6471920"/>
                    <a:gd name="connsiteX19" fmla="*/ 3083348 w 3653473"/>
                    <a:gd name="connsiteY19" fmla="*/ 6261523 h 6471920"/>
                    <a:gd name="connsiteX20" fmla="*/ 3289088 w 3653473"/>
                    <a:gd name="connsiteY20" fmla="*/ 6264063 h 6471920"/>
                    <a:gd name="connsiteX21" fmla="*/ 2250228 w 3653473"/>
                    <a:gd name="connsiteY21" fmla="*/ 2423583 h 6471920"/>
                    <a:gd name="connsiteX22" fmla="*/ 2255308 w 3653473"/>
                    <a:gd name="connsiteY22" fmla="*/ 1519343 h 6471920"/>
                    <a:gd name="connsiteX23" fmla="*/ 3380528 w 3653473"/>
                    <a:gd name="connsiteY23" fmla="*/ 1544743 h 6471920"/>
                    <a:gd name="connsiteX24" fmla="*/ 3454188 w 3653473"/>
                    <a:gd name="connsiteY24" fmla="*/ 1323763 h 6471920"/>
                    <a:gd name="connsiteX25" fmla="*/ 2209588 w 3653473"/>
                    <a:gd name="connsiteY25" fmla="*/ 696383 h 6471920"/>
                    <a:gd name="connsiteX26" fmla="*/ 2019088 w 3653473"/>
                    <a:gd name="connsiteY26" fmla="*/ 99483 h 6471920"/>
                    <a:gd name="connsiteX0" fmla="*/ 2019088 w 3653473"/>
                    <a:gd name="connsiteY0" fmla="*/ 99483 h 6471920"/>
                    <a:gd name="connsiteX1" fmla="*/ 1663488 w 3653473"/>
                    <a:gd name="connsiteY1" fmla="*/ 99483 h 6471920"/>
                    <a:gd name="connsiteX2" fmla="*/ 1437428 w 3653473"/>
                    <a:gd name="connsiteY2" fmla="*/ 678603 h 6471920"/>
                    <a:gd name="connsiteX3" fmla="*/ 149648 w 3653473"/>
                    <a:gd name="connsiteY3" fmla="*/ 1295823 h 6471920"/>
                    <a:gd name="connsiteX4" fmla="*/ 139488 w 3653473"/>
                    <a:gd name="connsiteY4" fmla="*/ 1554903 h 6471920"/>
                    <a:gd name="connsiteX5" fmla="*/ 1379008 w 3653473"/>
                    <a:gd name="connsiteY5" fmla="*/ 1559983 h 6471920"/>
                    <a:gd name="connsiteX6" fmla="*/ 1361228 w 3653473"/>
                    <a:gd name="connsiteY6" fmla="*/ 2507403 h 6471920"/>
                    <a:gd name="connsiteX7" fmla="*/ 406188 w 3653473"/>
                    <a:gd name="connsiteY7" fmla="*/ 6347883 h 6471920"/>
                    <a:gd name="connsiteX8" fmla="*/ 594148 w 3653473"/>
                    <a:gd name="connsiteY8" fmla="*/ 6352963 h 6471920"/>
                    <a:gd name="connsiteX9" fmla="*/ 1549188 w 3653473"/>
                    <a:gd name="connsiteY9" fmla="*/ 2454063 h 6471920"/>
                    <a:gd name="connsiteX10" fmla="*/ 1508548 w 3653473"/>
                    <a:gd name="connsiteY10" fmla="*/ 1311063 h 6471920"/>
                    <a:gd name="connsiteX11" fmla="*/ 604308 w 3653473"/>
                    <a:gd name="connsiteY11" fmla="*/ 1318683 h 6471920"/>
                    <a:gd name="connsiteX12" fmla="*/ 1498388 w 3653473"/>
                    <a:gd name="connsiteY12" fmla="*/ 899583 h 6471920"/>
                    <a:gd name="connsiteX13" fmla="*/ 1758738 w 3653473"/>
                    <a:gd name="connsiteY13" fmla="*/ 366184 h 6471920"/>
                    <a:gd name="connsiteX14" fmla="*/ 1880658 w 3653473"/>
                    <a:gd name="connsiteY14" fmla="*/ 362373 h 6471920"/>
                    <a:gd name="connsiteX15" fmla="*/ 2057188 w 3653473"/>
                    <a:gd name="connsiteY15" fmla="*/ 836083 h 6471920"/>
                    <a:gd name="connsiteX16" fmla="*/ 3027468 w 3653473"/>
                    <a:gd name="connsiteY16" fmla="*/ 1331383 h 6471920"/>
                    <a:gd name="connsiteX17" fmla="*/ 2107988 w 3653473"/>
                    <a:gd name="connsiteY17" fmla="*/ 1318683 h 6471920"/>
                    <a:gd name="connsiteX18" fmla="*/ 2102908 w 3653473"/>
                    <a:gd name="connsiteY18" fmla="*/ 2423583 h 6471920"/>
                    <a:gd name="connsiteX19" fmla="*/ 3083348 w 3653473"/>
                    <a:gd name="connsiteY19" fmla="*/ 6261523 h 6471920"/>
                    <a:gd name="connsiteX20" fmla="*/ 3289088 w 3653473"/>
                    <a:gd name="connsiteY20" fmla="*/ 6264063 h 6471920"/>
                    <a:gd name="connsiteX21" fmla="*/ 2250228 w 3653473"/>
                    <a:gd name="connsiteY21" fmla="*/ 2423583 h 6471920"/>
                    <a:gd name="connsiteX22" fmla="*/ 2255308 w 3653473"/>
                    <a:gd name="connsiteY22" fmla="*/ 1519343 h 6471920"/>
                    <a:gd name="connsiteX23" fmla="*/ 3380528 w 3653473"/>
                    <a:gd name="connsiteY23" fmla="*/ 1544743 h 6471920"/>
                    <a:gd name="connsiteX24" fmla="*/ 3454188 w 3653473"/>
                    <a:gd name="connsiteY24" fmla="*/ 1323763 h 6471920"/>
                    <a:gd name="connsiteX25" fmla="*/ 2209588 w 3653473"/>
                    <a:gd name="connsiteY25" fmla="*/ 696383 h 6471920"/>
                    <a:gd name="connsiteX26" fmla="*/ 2019088 w 3653473"/>
                    <a:gd name="connsiteY26" fmla="*/ 99483 h 647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653473" h="6471920">
                      <a:moveTo>
                        <a:pt x="2019088" y="99483"/>
                      </a:moveTo>
                      <a:cubicBezTo>
                        <a:pt x="1928071" y="0"/>
                        <a:pt x="1760431" y="2963"/>
                        <a:pt x="1663488" y="99483"/>
                      </a:cubicBezTo>
                      <a:lnTo>
                        <a:pt x="1437428" y="678603"/>
                      </a:lnTo>
                      <a:lnTo>
                        <a:pt x="149648" y="1295823"/>
                      </a:lnTo>
                      <a:cubicBezTo>
                        <a:pt x="22436" y="1386945"/>
                        <a:pt x="0" y="1525693"/>
                        <a:pt x="139488" y="1554903"/>
                      </a:cubicBezTo>
                      <a:lnTo>
                        <a:pt x="1379008" y="1559983"/>
                      </a:lnTo>
                      <a:lnTo>
                        <a:pt x="1361228" y="2507403"/>
                      </a:lnTo>
                      <a:lnTo>
                        <a:pt x="406188" y="6347883"/>
                      </a:lnTo>
                      <a:cubicBezTo>
                        <a:pt x="386291" y="6419426"/>
                        <a:pt x="531495" y="6471920"/>
                        <a:pt x="594148" y="6352963"/>
                      </a:cubicBezTo>
                      <a:lnTo>
                        <a:pt x="1549188" y="2454063"/>
                      </a:lnTo>
                      <a:cubicBezTo>
                        <a:pt x="1545801" y="2073063"/>
                        <a:pt x="1511935" y="1692063"/>
                        <a:pt x="1508548" y="1311063"/>
                      </a:cubicBezTo>
                      <a:lnTo>
                        <a:pt x="604308" y="1318683"/>
                      </a:lnTo>
                      <a:lnTo>
                        <a:pt x="1498388" y="899583"/>
                      </a:lnTo>
                      <a:lnTo>
                        <a:pt x="1758738" y="366184"/>
                      </a:lnTo>
                      <a:cubicBezTo>
                        <a:pt x="1812078" y="244264"/>
                        <a:pt x="1827318" y="192193"/>
                        <a:pt x="1880658" y="362373"/>
                      </a:cubicBezTo>
                      <a:lnTo>
                        <a:pt x="2057188" y="836083"/>
                      </a:lnTo>
                      <a:lnTo>
                        <a:pt x="3027468" y="1331383"/>
                      </a:lnTo>
                      <a:lnTo>
                        <a:pt x="2107988" y="1318683"/>
                      </a:lnTo>
                      <a:cubicBezTo>
                        <a:pt x="2106295" y="1686983"/>
                        <a:pt x="2104601" y="2055283"/>
                        <a:pt x="2102908" y="2423583"/>
                      </a:cubicBezTo>
                      <a:lnTo>
                        <a:pt x="3083348" y="6261523"/>
                      </a:lnTo>
                      <a:cubicBezTo>
                        <a:pt x="3107478" y="6383020"/>
                        <a:pt x="3245908" y="6441016"/>
                        <a:pt x="3289088" y="6264063"/>
                      </a:cubicBezTo>
                      <a:lnTo>
                        <a:pt x="2250228" y="2423583"/>
                      </a:lnTo>
                      <a:cubicBezTo>
                        <a:pt x="2251921" y="2122170"/>
                        <a:pt x="2253615" y="1820756"/>
                        <a:pt x="2255308" y="1519343"/>
                      </a:cubicBezTo>
                      <a:lnTo>
                        <a:pt x="3380528" y="1544743"/>
                      </a:lnTo>
                      <a:cubicBezTo>
                        <a:pt x="3505094" y="1590145"/>
                        <a:pt x="3653473" y="1440285"/>
                        <a:pt x="3454188" y="1323763"/>
                      </a:cubicBezTo>
                      <a:lnTo>
                        <a:pt x="2209588" y="696383"/>
                      </a:lnTo>
                      <a:lnTo>
                        <a:pt x="2019088" y="99483"/>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Rectangle 31"/>
                <p:cNvSpPr/>
                <p:nvPr/>
              </p:nvSpPr>
              <p:spPr>
                <a:xfrm>
                  <a:off x="2203450" y="1504950"/>
                  <a:ext cx="812800" cy="317500"/>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Freeform 32"/>
                <p:cNvSpPr/>
                <p:nvPr/>
              </p:nvSpPr>
              <p:spPr>
                <a:xfrm>
                  <a:off x="2209800" y="901700"/>
                  <a:ext cx="711200" cy="152400"/>
                </a:xfrm>
                <a:custGeom>
                  <a:avLst/>
                  <a:gdLst>
                    <a:gd name="connsiteX0" fmla="*/ 127000 w 711200"/>
                    <a:gd name="connsiteY0" fmla="*/ 0 h 152400"/>
                    <a:gd name="connsiteX1" fmla="*/ 698500 w 711200"/>
                    <a:gd name="connsiteY1" fmla="*/ 0 h 152400"/>
                    <a:gd name="connsiteX2" fmla="*/ 711200 w 711200"/>
                    <a:gd name="connsiteY2" fmla="*/ 152400 h 152400"/>
                    <a:gd name="connsiteX3" fmla="*/ 0 w 711200"/>
                    <a:gd name="connsiteY3" fmla="*/ 139700 h 152400"/>
                    <a:gd name="connsiteX4" fmla="*/ 127000 w 71120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1200" h="152400">
                      <a:moveTo>
                        <a:pt x="127000" y="0"/>
                      </a:moveTo>
                      <a:lnTo>
                        <a:pt x="698500" y="0"/>
                      </a:lnTo>
                      <a:lnTo>
                        <a:pt x="711200" y="152400"/>
                      </a:lnTo>
                      <a:lnTo>
                        <a:pt x="0" y="139700"/>
                      </a:lnTo>
                      <a:lnTo>
                        <a:pt x="1270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Freeform 33"/>
                <p:cNvSpPr/>
                <p:nvPr/>
              </p:nvSpPr>
              <p:spPr>
                <a:xfrm>
                  <a:off x="2139950" y="933450"/>
                  <a:ext cx="171450" cy="736600"/>
                </a:xfrm>
                <a:custGeom>
                  <a:avLst/>
                  <a:gdLst>
                    <a:gd name="connsiteX0" fmla="*/ 6350 w 171450"/>
                    <a:gd name="connsiteY0" fmla="*/ 730250 h 736600"/>
                    <a:gd name="connsiteX1" fmla="*/ 0 w 171450"/>
                    <a:gd name="connsiteY1" fmla="*/ 95250 h 736600"/>
                    <a:gd name="connsiteX2" fmla="*/ 171450 w 171450"/>
                    <a:gd name="connsiteY2" fmla="*/ 0 h 736600"/>
                    <a:gd name="connsiteX3" fmla="*/ 127000 w 171450"/>
                    <a:gd name="connsiteY3" fmla="*/ 736600 h 736600"/>
                    <a:gd name="connsiteX4" fmla="*/ 6350 w 171450"/>
                    <a:gd name="connsiteY4" fmla="*/ 730250 h 736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736600">
                      <a:moveTo>
                        <a:pt x="6350" y="730250"/>
                      </a:moveTo>
                      <a:cubicBezTo>
                        <a:pt x="4233" y="518583"/>
                        <a:pt x="2117" y="306917"/>
                        <a:pt x="0" y="95250"/>
                      </a:cubicBezTo>
                      <a:lnTo>
                        <a:pt x="171450" y="0"/>
                      </a:lnTo>
                      <a:lnTo>
                        <a:pt x="127000" y="736600"/>
                      </a:lnTo>
                      <a:lnTo>
                        <a:pt x="6350" y="7302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Freeform 34"/>
                <p:cNvSpPr/>
                <p:nvPr/>
              </p:nvSpPr>
              <p:spPr>
                <a:xfrm>
                  <a:off x="2851150" y="850900"/>
                  <a:ext cx="184150" cy="838200"/>
                </a:xfrm>
                <a:custGeom>
                  <a:avLst/>
                  <a:gdLst>
                    <a:gd name="connsiteX0" fmla="*/ 0 w 184150"/>
                    <a:gd name="connsiteY0" fmla="*/ 0 h 838200"/>
                    <a:gd name="connsiteX1" fmla="*/ 25400 w 184150"/>
                    <a:gd name="connsiteY1" fmla="*/ 838200 h 838200"/>
                    <a:gd name="connsiteX2" fmla="*/ 184150 w 184150"/>
                    <a:gd name="connsiteY2" fmla="*/ 819150 h 838200"/>
                    <a:gd name="connsiteX3" fmla="*/ 120650 w 184150"/>
                    <a:gd name="connsiteY3" fmla="*/ 114300 h 838200"/>
                    <a:gd name="connsiteX4" fmla="*/ 0 w 184150"/>
                    <a:gd name="connsiteY4" fmla="*/ 0 h 83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50" h="838200">
                      <a:moveTo>
                        <a:pt x="0" y="0"/>
                      </a:moveTo>
                      <a:lnTo>
                        <a:pt x="25400" y="838200"/>
                      </a:lnTo>
                      <a:lnTo>
                        <a:pt x="184150" y="819150"/>
                      </a:lnTo>
                      <a:lnTo>
                        <a:pt x="120650" y="114300"/>
                      </a:lnTo>
                      <a:lnTo>
                        <a:pt x="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Freeform 35"/>
                <p:cNvSpPr/>
                <p:nvPr/>
              </p:nvSpPr>
              <p:spPr>
                <a:xfrm>
                  <a:off x="2216150" y="901700"/>
                  <a:ext cx="749300" cy="825500"/>
                </a:xfrm>
                <a:custGeom>
                  <a:avLst/>
                  <a:gdLst>
                    <a:gd name="connsiteX0" fmla="*/ 0 w 749300"/>
                    <a:gd name="connsiteY0" fmla="*/ 76200 h 825500"/>
                    <a:gd name="connsiteX1" fmla="*/ 711200 w 749300"/>
                    <a:gd name="connsiteY1" fmla="*/ 825500 h 825500"/>
                    <a:gd name="connsiteX2" fmla="*/ 749300 w 749300"/>
                    <a:gd name="connsiteY2" fmla="*/ 641350 h 825500"/>
                    <a:gd name="connsiteX3" fmla="*/ 44450 w 749300"/>
                    <a:gd name="connsiteY3" fmla="*/ 0 h 825500"/>
                    <a:gd name="connsiteX4" fmla="*/ 0 w 749300"/>
                    <a:gd name="connsiteY4" fmla="*/ 76200 h 825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9300" h="825500">
                      <a:moveTo>
                        <a:pt x="0" y="76200"/>
                      </a:moveTo>
                      <a:lnTo>
                        <a:pt x="711200" y="825500"/>
                      </a:lnTo>
                      <a:lnTo>
                        <a:pt x="749300" y="641350"/>
                      </a:lnTo>
                      <a:lnTo>
                        <a:pt x="44450" y="0"/>
                      </a:lnTo>
                      <a:lnTo>
                        <a:pt x="0" y="762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Freeform 36"/>
                <p:cNvSpPr/>
                <p:nvPr/>
              </p:nvSpPr>
              <p:spPr>
                <a:xfrm>
                  <a:off x="2114550" y="946150"/>
                  <a:ext cx="844550" cy="654050"/>
                </a:xfrm>
                <a:custGeom>
                  <a:avLst/>
                  <a:gdLst>
                    <a:gd name="connsiteX0" fmla="*/ 266700 w 844550"/>
                    <a:gd name="connsiteY0" fmla="*/ 615950 h 654050"/>
                    <a:gd name="connsiteX1" fmla="*/ 266700 w 844550"/>
                    <a:gd name="connsiteY1" fmla="*/ 615950 h 654050"/>
                    <a:gd name="connsiteX2" fmla="*/ 311150 w 844550"/>
                    <a:gd name="connsiteY2" fmla="*/ 558800 h 654050"/>
                    <a:gd name="connsiteX3" fmla="*/ 844550 w 844550"/>
                    <a:gd name="connsiteY3" fmla="*/ 88900 h 654050"/>
                    <a:gd name="connsiteX4" fmla="*/ 749300 w 844550"/>
                    <a:gd name="connsiteY4" fmla="*/ 0 h 654050"/>
                    <a:gd name="connsiteX5" fmla="*/ 0 w 844550"/>
                    <a:gd name="connsiteY5" fmla="*/ 654050 h 654050"/>
                    <a:gd name="connsiteX6" fmla="*/ 266700 w 844550"/>
                    <a:gd name="connsiteY6" fmla="*/ 615950 h 65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4550" h="654050">
                      <a:moveTo>
                        <a:pt x="266700" y="615950"/>
                      </a:moveTo>
                      <a:lnTo>
                        <a:pt x="266700" y="615950"/>
                      </a:lnTo>
                      <a:lnTo>
                        <a:pt x="311150" y="558800"/>
                      </a:lnTo>
                      <a:lnTo>
                        <a:pt x="844550" y="88900"/>
                      </a:lnTo>
                      <a:lnTo>
                        <a:pt x="749300" y="0"/>
                      </a:lnTo>
                      <a:lnTo>
                        <a:pt x="0" y="654050"/>
                      </a:lnTo>
                      <a:lnTo>
                        <a:pt x="266700" y="6159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Freeform 38"/>
                <p:cNvSpPr/>
                <p:nvPr/>
              </p:nvSpPr>
              <p:spPr>
                <a:xfrm>
                  <a:off x="2222500" y="1714500"/>
                  <a:ext cx="495300" cy="520700"/>
                </a:xfrm>
                <a:custGeom>
                  <a:avLst/>
                  <a:gdLst>
                    <a:gd name="connsiteX0" fmla="*/ 69850 w 495300"/>
                    <a:gd name="connsiteY0" fmla="*/ 400050 h 520700"/>
                    <a:gd name="connsiteX1" fmla="*/ 495300 w 495300"/>
                    <a:gd name="connsiteY1" fmla="*/ 0 h 520700"/>
                    <a:gd name="connsiteX2" fmla="*/ 0 w 495300"/>
                    <a:gd name="connsiteY2" fmla="*/ 95250 h 520700"/>
                    <a:gd name="connsiteX3" fmla="*/ 6350 w 495300"/>
                    <a:gd name="connsiteY3" fmla="*/ 520700 h 520700"/>
                    <a:gd name="connsiteX4" fmla="*/ 69850 w 495300"/>
                    <a:gd name="connsiteY4" fmla="*/ 400050 h 520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520700">
                      <a:moveTo>
                        <a:pt x="69850" y="400050"/>
                      </a:moveTo>
                      <a:lnTo>
                        <a:pt x="495300" y="0"/>
                      </a:lnTo>
                      <a:lnTo>
                        <a:pt x="0" y="95250"/>
                      </a:lnTo>
                      <a:cubicBezTo>
                        <a:pt x="2117" y="237067"/>
                        <a:pt x="4233" y="378883"/>
                        <a:pt x="6350" y="520700"/>
                      </a:cubicBezTo>
                      <a:lnTo>
                        <a:pt x="69850" y="4000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Freeform 39"/>
                <p:cNvSpPr/>
                <p:nvPr/>
              </p:nvSpPr>
              <p:spPr>
                <a:xfrm>
                  <a:off x="2527300" y="1638300"/>
                  <a:ext cx="444500" cy="476250"/>
                </a:xfrm>
                <a:custGeom>
                  <a:avLst/>
                  <a:gdLst>
                    <a:gd name="connsiteX0" fmla="*/ 425450 w 444500"/>
                    <a:gd name="connsiteY0" fmla="*/ 476250 h 476250"/>
                    <a:gd name="connsiteX1" fmla="*/ 0 w 444500"/>
                    <a:gd name="connsiteY1" fmla="*/ 82550 h 476250"/>
                    <a:gd name="connsiteX2" fmla="*/ 222250 w 444500"/>
                    <a:gd name="connsiteY2" fmla="*/ 0 h 476250"/>
                    <a:gd name="connsiteX3" fmla="*/ 444500 w 444500"/>
                    <a:gd name="connsiteY3" fmla="*/ 82550 h 476250"/>
                    <a:gd name="connsiteX4" fmla="*/ 425450 w 444500"/>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00" h="476250">
                      <a:moveTo>
                        <a:pt x="425450" y="476250"/>
                      </a:moveTo>
                      <a:lnTo>
                        <a:pt x="0" y="82550"/>
                      </a:lnTo>
                      <a:lnTo>
                        <a:pt x="222250" y="0"/>
                      </a:lnTo>
                      <a:lnTo>
                        <a:pt x="444500" y="82550"/>
                      </a:lnTo>
                      <a:lnTo>
                        <a:pt x="425450" y="4762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Freeform 40"/>
                <p:cNvSpPr/>
                <p:nvPr/>
              </p:nvSpPr>
              <p:spPr>
                <a:xfrm>
                  <a:off x="2165350" y="1809750"/>
                  <a:ext cx="749300" cy="812800"/>
                </a:xfrm>
                <a:custGeom>
                  <a:avLst/>
                  <a:gdLst>
                    <a:gd name="connsiteX0" fmla="*/ 723900 w 749300"/>
                    <a:gd name="connsiteY0" fmla="*/ 0 h 812800"/>
                    <a:gd name="connsiteX1" fmla="*/ 0 w 749300"/>
                    <a:gd name="connsiteY1" fmla="*/ 692150 h 812800"/>
                    <a:gd name="connsiteX2" fmla="*/ 63500 w 749300"/>
                    <a:gd name="connsiteY2" fmla="*/ 812800 h 812800"/>
                    <a:gd name="connsiteX3" fmla="*/ 749300 w 749300"/>
                    <a:gd name="connsiteY3" fmla="*/ 114300 h 812800"/>
                    <a:gd name="connsiteX4" fmla="*/ 723900 w 749300"/>
                    <a:gd name="connsiteY4" fmla="*/ 0 h 812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9300" h="812800">
                      <a:moveTo>
                        <a:pt x="723900" y="0"/>
                      </a:moveTo>
                      <a:lnTo>
                        <a:pt x="0" y="692150"/>
                      </a:lnTo>
                      <a:lnTo>
                        <a:pt x="63500" y="812800"/>
                      </a:lnTo>
                      <a:lnTo>
                        <a:pt x="749300" y="114300"/>
                      </a:lnTo>
                      <a:lnTo>
                        <a:pt x="7239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Freeform 41"/>
                <p:cNvSpPr/>
                <p:nvPr/>
              </p:nvSpPr>
              <p:spPr>
                <a:xfrm>
                  <a:off x="2286000" y="1885950"/>
                  <a:ext cx="654050" cy="647700"/>
                </a:xfrm>
                <a:custGeom>
                  <a:avLst/>
                  <a:gdLst>
                    <a:gd name="connsiteX0" fmla="*/ 0 w 654050"/>
                    <a:gd name="connsiteY0" fmla="*/ 76200 h 647700"/>
                    <a:gd name="connsiteX1" fmla="*/ 628650 w 654050"/>
                    <a:gd name="connsiteY1" fmla="*/ 647700 h 647700"/>
                    <a:gd name="connsiteX2" fmla="*/ 654050 w 654050"/>
                    <a:gd name="connsiteY2" fmla="*/ 457200 h 647700"/>
                    <a:gd name="connsiteX3" fmla="*/ 63500 w 654050"/>
                    <a:gd name="connsiteY3" fmla="*/ 0 h 647700"/>
                    <a:gd name="connsiteX4" fmla="*/ 0 w 654050"/>
                    <a:gd name="connsiteY4" fmla="*/ 76200 h 647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050" h="647700">
                      <a:moveTo>
                        <a:pt x="0" y="76200"/>
                      </a:moveTo>
                      <a:lnTo>
                        <a:pt x="628650" y="647700"/>
                      </a:lnTo>
                      <a:lnTo>
                        <a:pt x="654050" y="457200"/>
                      </a:lnTo>
                      <a:lnTo>
                        <a:pt x="63500" y="0"/>
                      </a:lnTo>
                      <a:lnTo>
                        <a:pt x="0" y="762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Freeform 42"/>
                <p:cNvSpPr/>
                <p:nvPr/>
              </p:nvSpPr>
              <p:spPr>
                <a:xfrm>
                  <a:off x="2171700" y="2400300"/>
                  <a:ext cx="946150" cy="793750"/>
                </a:xfrm>
                <a:custGeom>
                  <a:avLst/>
                  <a:gdLst>
                    <a:gd name="connsiteX0" fmla="*/ 165100 w 946150"/>
                    <a:gd name="connsiteY0" fmla="*/ 0 h 793750"/>
                    <a:gd name="connsiteX1" fmla="*/ 946150 w 946150"/>
                    <a:gd name="connsiteY1" fmla="*/ 730250 h 793750"/>
                    <a:gd name="connsiteX2" fmla="*/ 908050 w 946150"/>
                    <a:gd name="connsiteY2" fmla="*/ 793750 h 793750"/>
                    <a:gd name="connsiteX3" fmla="*/ 0 w 946150"/>
                    <a:gd name="connsiteY3" fmla="*/ 25400 h 793750"/>
                    <a:gd name="connsiteX4" fmla="*/ 165100 w 946150"/>
                    <a:gd name="connsiteY4" fmla="*/ 0 h 79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6150" h="793750">
                      <a:moveTo>
                        <a:pt x="165100" y="0"/>
                      </a:moveTo>
                      <a:lnTo>
                        <a:pt x="946150" y="730250"/>
                      </a:lnTo>
                      <a:lnTo>
                        <a:pt x="908050" y="793750"/>
                      </a:lnTo>
                      <a:lnTo>
                        <a:pt x="0" y="25400"/>
                      </a:lnTo>
                      <a:lnTo>
                        <a:pt x="1651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Freeform 43"/>
                <p:cNvSpPr/>
                <p:nvPr/>
              </p:nvSpPr>
              <p:spPr>
                <a:xfrm>
                  <a:off x="2063750" y="2381250"/>
                  <a:ext cx="889000" cy="895350"/>
                </a:xfrm>
                <a:custGeom>
                  <a:avLst/>
                  <a:gdLst>
                    <a:gd name="connsiteX0" fmla="*/ 889000 w 889000"/>
                    <a:gd name="connsiteY0" fmla="*/ 139700 h 895350"/>
                    <a:gd name="connsiteX1" fmla="*/ 0 w 889000"/>
                    <a:gd name="connsiteY1" fmla="*/ 895350 h 895350"/>
                    <a:gd name="connsiteX2" fmla="*/ 57150 w 889000"/>
                    <a:gd name="connsiteY2" fmla="*/ 666750 h 895350"/>
                    <a:gd name="connsiteX3" fmla="*/ 889000 w 889000"/>
                    <a:gd name="connsiteY3" fmla="*/ 0 h 895350"/>
                    <a:gd name="connsiteX4" fmla="*/ 889000 w 889000"/>
                    <a:gd name="connsiteY4" fmla="*/ 139700 h 895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000" h="895350">
                      <a:moveTo>
                        <a:pt x="889000" y="139700"/>
                      </a:moveTo>
                      <a:lnTo>
                        <a:pt x="0" y="895350"/>
                      </a:lnTo>
                      <a:lnTo>
                        <a:pt x="57150" y="666750"/>
                      </a:lnTo>
                      <a:lnTo>
                        <a:pt x="889000" y="0"/>
                      </a:lnTo>
                      <a:lnTo>
                        <a:pt x="889000" y="1397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Freeform 44"/>
                <p:cNvSpPr/>
                <p:nvPr/>
              </p:nvSpPr>
              <p:spPr>
                <a:xfrm>
                  <a:off x="2108200" y="3048000"/>
                  <a:ext cx="1181100" cy="984250"/>
                </a:xfrm>
                <a:custGeom>
                  <a:avLst/>
                  <a:gdLst>
                    <a:gd name="connsiteX0" fmla="*/ 101600 w 1181100"/>
                    <a:gd name="connsiteY0" fmla="*/ 0 h 984250"/>
                    <a:gd name="connsiteX1" fmla="*/ 1181100 w 1181100"/>
                    <a:gd name="connsiteY1" fmla="*/ 857250 h 984250"/>
                    <a:gd name="connsiteX2" fmla="*/ 1155700 w 1181100"/>
                    <a:gd name="connsiteY2" fmla="*/ 984250 h 984250"/>
                    <a:gd name="connsiteX3" fmla="*/ 0 w 1181100"/>
                    <a:gd name="connsiteY3" fmla="*/ 127000 h 984250"/>
                    <a:gd name="connsiteX4" fmla="*/ 101600 w 1181100"/>
                    <a:gd name="connsiteY4" fmla="*/ 0 h 984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100" h="984250">
                      <a:moveTo>
                        <a:pt x="101600" y="0"/>
                      </a:moveTo>
                      <a:lnTo>
                        <a:pt x="1181100" y="857250"/>
                      </a:lnTo>
                      <a:lnTo>
                        <a:pt x="1155700" y="984250"/>
                      </a:lnTo>
                      <a:lnTo>
                        <a:pt x="0" y="127000"/>
                      </a:lnTo>
                      <a:lnTo>
                        <a:pt x="1016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Freeform 45"/>
                <p:cNvSpPr/>
                <p:nvPr/>
              </p:nvSpPr>
              <p:spPr>
                <a:xfrm>
                  <a:off x="1879600" y="3003550"/>
                  <a:ext cx="1219200" cy="1117600"/>
                </a:xfrm>
                <a:custGeom>
                  <a:avLst/>
                  <a:gdLst>
                    <a:gd name="connsiteX0" fmla="*/ 1219200 w 1219200"/>
                    <a:gd name="connsiteY0" fmla="*/ 158750 h 1117600"/>
                    <a:gd name="connsiteX1" fmla="*/ 0 w 1219200"/>
                    <a:gd name="connsiteY1" fmla="*/ 1117600 h 1117600"/>
                    <a:gd name="connsiteX2" fmla="*/ 69850 w 1219200"/>
                    <a:gd name="connsiteY2" fmla="*/ 806450 h 1117600"/>
                    <a:gd name="connsiteX3" fmla="*/ 1187450 w 1219200"/>
                    <a:gd name="connsiteY3" fmla="*/ 0 h 1117600"/>
                    <a:gd name="connsiteX4" fmla="*/ 1219200 w 1219200"/>
                    <a:gd name="connsiteY4" fmla="*/ 158750 h 1117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 h="1117600">
                      <a:moveTo>
                        <a:pt x="1219200" y="158750"/>
                      </a:moveTo>
                      <a:lnTo>
                        <a:pt x="0" y="1117600"/>
                      </a:lnTo>
                      <a:lnTo>
                        <a:pt x="69850" y="806450"/>
                      </a:lnTo>
                      <a:lnTo>
                        <a:pt x="1187450" y="0"/>
                      </a:lnTo>
                      <a:lnTo>
                        <a:pt x="1219200" y="1587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Freeform 46"/>
                <p:cNvSpPr/>
                <p:nvPr/>
              </p:nvSpPr>
              <p:spPr>
                <a:xfrm>
                  <a:off x="1879600" y="3873500"/>
                  <a:ext cx="1689100" cy="1397000"/>
                </a:xfrm>
                <a:custGeom>
                  <a:avLst/>
                  <a:gdLst>
                    <a:gd name="connsiteX0" fmla="*/ 114300 w 1689100"/>
                    <a:gd name="connsiteY0" fmla="*/ 0 h 1397000"/>
                    <a:gd name="connsiteX1" fmla="*/ 1689100 w 1689100"/>
                    <a:gd name="connsiteY1" fmla="*/ 1155700 h 1397000"/>
                    <a:gd name="connsiteX2" fmla="*/ 1689100 w 1689100"/>
                    <a:gd name="connsiteY2" fmla="*/ 1397000 h 1397000"/>
                    <a:gd name="connsiteX3" fmla="*/ 0 w 1689100"/>
                    <a:gd name="connsiteY3" fmla="*/ 158750 h 1397000"/>
                    <a:gd name="connsiteX4" fmla="*/ 114300 w 1689100"/>
                    <a:gd name="connsiteY4" fmla="*/ 0 h 139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9100" h="1397000">
                      <a:moveTo>
                        <a:pt x="114300" y="0"/>
                      </a:moveTo>
                      <a:lnTo>
                        <a:pt x="1689100" y="1155700"/>
                      </a:lnTo>
                      <a:lnTo>
                        <a:pt x="1689100" y="1397000"/>
                      </a:lnTo>
                      <a:lnTo>
                        <a:pt x="0" y="158750"/>
                      </a:lnTo>
                      <a:lnTo>
                        <a:pt x="1143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Freeform 47"/>
                <p:cNvSpPr/>
                <p:nvPr/>
              </p:nvSpPr>
              <p:spPr>
                <a:xfrm>
                  <a:off x="1593850" y="3835400"/>
                  <a:ext cx="1708150" cy="1460500"/>
                </a:xfrm>
                <a:custGeom>
                  <a:avLst/>
                  <a:gdLst>
                    <a:gd name="connsiteX0" fmla="*/ 1695450 w 1708150"/>
                    <a:gd name="connsiteY0" fmla="*/ 165100 h 1460500"/>
                    <a:gd name="connsiteX1" fmla="*/ 0 w 1708150"/>
                    <a:gd name="connsiteY1" fmla="*/ 1460500 h 1460500"/>
                    <a:gd name="connsiteX2" fmla="*/ 101600 w 1708150"/>
                    <a:gd name="connsiteY2" fmla="*/ 1130300 h 1460500"/>
                    <a:gd name="connsiteX3" fmla="*/ 1708150 w 1708150"/>
                    <a:gd name="connsiteY3" fmla="*/ 0 h 1460500"/>
                    <a:gd name="connsiteX4" fmla="*/ 1695450 w 1708150"/>
                    <a:gd name="connsiteY4" fmla="*/ 165100 h 146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8150" h="1460500">
                      <a:moveTo>
                        <a:pt x="1695450" y="165100"/>
                      </a:moveTo>
                      <a:lnTo>
                        <a:pt x="0" y="1460500"/>
                      </a:lnTo>
                      <a:lnTo>
                        <a:pt x="101600" y="1130300"/>
                      </a:lnTo>
                      <a:lnTo>
                        <a:pt x="1708150" y="0"/>
                      </a:lnTo>
                      <a:lnTo>
                        <a:pt x="1695450" y="1651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Freeform 48"/>
                <p:cNvSpPr/>
                <p:nvPr/>
              </p:nvSpPr>
              <p:spPr>
                <a:xfrm>
                  <a:off x="1587500" y="5111750"/>
                  <a:ext cx="2298700" cy="1250950"/>
                </a:xfrm>
                <a:custGeom>
                  <a:avLst/>
                  <a:gdLst>
                    <a:gd name="connsiteX0" fmla="*/ 69850 w 2298700"/>
                    <a:gd name="connsiteY0" fmla="*/ 0 h 1250950"/>
                    <a:gd name="connsiteX1" fmla="*/ 69850 w 2298700"/>
                    <a:gd name="connsiteY1" fmla="*/ 0 h 1250950"/>
                    <a:gd name="connsiteX2" fmla="*/ 2298700 w 2298700"/>
                    <a:gd name="connsiteY2" fmla="*/ 1054100 h 1250950"/>
                    <a:gd name="connsiteX3" fmla="*/ 2279650 w 2298700"/>
                    <a:gd name="connsiteY3" fmla="*/ 1250950 h 1250950"/>
                    <a:gd name="connsiteX4" fmla="*/ 0 w 2298700"/>
                    <a:gd name="connsiteY4" fmla="*/ 165100 h 1250950"/>
                    <a:gd name="connsiteX5" fmla="*/ 69850 w 2298700"/>
                    <a:gd name="connsiteY5" fmla="*/ 0 h 1250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98700" h="1250950">
                      <a:moveTo>
                        <a:pt x="69850" y="0"/>
                      </a:moveTo>
                      <a:lnTo>
                        <a:pt x="69850" y="0"/>
                      </a:lnTo>
                      <a:lnTo>
                        <a:pt x="2298700" y="1054100"/>
                      </a:lnTo>
                      <a:lnTo>
                        <a:pt x="2279650" y="1250950"/>
                      </a:lnTo>
                      <a:lnTo>
                        <a:pt x="0" y="165100"/>
                      </a:lnTo>
                      <a:lnTo>
                        <a:pt x="6985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Freeform 49"/>
                <p:cNvSpPr/>
                <p:nvPr/>
              </p:nvSpPr>
              <p:spPr>
                <a:xfrm>
                  <a:off x="1308100" y="5016500"/>
                  <a:ext cx="2311400" cy="1397000"/>
                </a:xfrm>
                <a:custGeom>
                  <a:avLst/>
                  <a:gdLst>
                    <a:gd name="connsiteX0" fmla="*/ 69850 w 2311400"/>
                    <a:gd name="connsiteY0" fmla="*/ 1123950 h 1397000"/>
                    <a:gd name="connsiteX1" fmla="*/ 2286000 w 2311400"/>
                    <a:gd name="connsiteY1" fmla="*/ 0 h 1397000"/>
                    <a:gd name="connsiteX2" fmla="*/ 2311400 w 2311400"/>
                    <a:gd name="connsiteY2" fmla="*/ 234950 h 1397000"/>
                    <a:gd name="connsiteX3" fmla="*/ 0 w 2311400"/>
                    <a:gd name="connsiteY3" fmla="*/ 1397000 h 1397000"/>
                    <a:gd name="connsiteX4" fmla="*/ 69850 w 2311400"/>
                    <a:gd name="connsiteY4" fmla="*/ 1123950 h 139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1400" h="1397000">
                      <a:moveTo>
                        <a:pt x="69850" y="1123950"/>
                      </a:moveTo>
                      <a:lnTo>
                        <a:pt x="2286000" y="0"/>
                      </a:lnTo>
                      <a:lnTo>
                        <a:pt x="2311400" y="234950"/>
                      </a:lnTo>
                      <a:lnTo>
                        <a:pt x="0" y="1397000"/>
                      </a:lnTo>
                      <a:lnTo>
                        <a:pt x="69850" y="11239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45" name="Freeform 77"/>
            <p:cNvSpPr/>
            <p:nvPr/>
          </p:nvSpPr>
          <p:spPr>
            <a:xfrm flipH="1">
              <a:off x="1288265" y="3103224"/>
              <a:ext cx="259938" cy="345808"/>
            </a:xfrm>
            <a:custGeom>
              <a:avLst/>
              <a:gdLst>
                <a:gd name="connsiteX0" fmla="*/ 3643086 w 3657600"/>
                <a:gd name="connsiteY0" fmla="*/ 1683657 h 1683657"/>
                <a:gd name="connsiteX1" fmla="*/ 3643086 w 3657600"/>
                <a:gd name="connsiteY1" fmla="*/ 1683657 h 1683657"/>
                <a:gd name="connsiteX2" fmla="*/ 3512457 w 3657600"/>
                <a:gd name="connsiteY2" fmla="*/ 1669143 h 1683657"/>
                <a:gd name="connsiteX3" fmla="*/ 2336800 w 3657600"/>
                <a:gd name="connsiteY3" fmla="*/ 1669143 h 1683657"/>
                <a:gd name="connsiteX4" fmla="*/ 2336800 w 3657600"/>
                <a:gd name="connsiteY4" fmla="*/ 1001486 h 1683657"/>
                <a:gd name="connsiteX5" fmla="*/ 1988457 w 3657600"/>
                <a:gd name="connsiteY5" fmla="*/ 957943 h 1683657"/>
                <a:gd name="connsiteX6" fmla="*/ 2002972 w 3657600"/>
                <a:gd name="connsiteY6" fmla="*/ 508000 h 1683657"/>
                <a:gd name="connsiteX7" fmla="*/ 2133600 w 3657600"/>
                <a:gd name="connsiteY7" fmla="*/ 348343 h 1683657"/>
                <a:gd name="connsiteX8" fmla="*/ 3396343 w 3657600"/>
                <a:gd name="connsiteY8" fmla="*/ 478972 h 1683657"/>
                <a:gd name="connsiteX9" fmla="*/ 3657600 w 3657600"/>
                <a:gd name="connsiteY9" fmla="*/ 217715 h 1683657"/>
                <a:gd name="connsiteX10" fmla="*/ 3570515 w 3657600"/>
                <a:gd name="connsiteY10" fmla="*/ 130629 h 1683657"/>
                <a:gd name="connsiteX11" fmla="*/ 2598057 w 3657600"/>
                <a:gd name="connsiteY11" fmla="*/ 0 h 1683657"/>
                <a:gd name="connsiteX12" fmla="*/ 2452915 w 3657600"/>
                <a:gd name="connsiteY12" fmla="*/ 29029 h 1683657"/>
                <a:gd name="connsiteX13" fmla="*/ 2365829 w 3657600"/>
                <a:gd name="connsiteY13" fmla="*/ 58057 h 1683657"/>
                <a:gd name="connsiteX14" fmla="*/ 2075543 w 3657600"/>
                <a:gd name="connsiteY14" fmla="*/ 145143 h 1683657"/>
                <a:gd name="connsiteX15" fmla="*/ 1915886 w 3657600"/>
                <a:gd name="connsiteY15" fmla="*/ 0 h 1683657"/>
                <a:gd name="connsiteX16" fmla="*/ 1669143 w 3657600"/>
                <a:gd name="connsiteY16" fmla="*/ 14515 h 1683657"/>
                <a:gd name="connsiteX17" fmla="*/ 1582057 w 3657600"/>
                <a:gd name="connsiteY17" fmla="*/ 203200 h 1683657"/>
                <a:gd name="connsiteX18" fmla="*/ 406400 w 3657600"/>
                <a:gd name="connsiteY18" fmla="*/ 14515 h 1683657"/>
                <a:gd name="connsiteX19" fmla="*/ 0 w 3657600"/>
                <a:gd name="connsiteY19" fmla="*/ 362857 h 1683657"/>
                <a:gd name="connsiteX20" fmla="*/ 1320800 w 3657600"/>
                <a:gd name="connsiteY20" fmla="*/ 508000 h 1683657"/>
                <a:gd name="connsiteX21" fmla="*/ 1582057 w 3657600"/>
                <a:gd name="connsiteY21" fmla="*/ 406400 h 1683657"/>
                <a:gd name="connsiteX0" fmla="*/ 3643086 w 3657600"/>
                <a:gd name="connsiteY0" fmla="*/ 1683657 h 2703286"/>
                <a:gd name="connsiteX1" fmla="*/ 3643086 w 3657600"/>
                <a:gd name="connsiteY1" fmla="*/ 1683657 h 2703286"/>
                <a:gd name="connsiteX2" fmla="*/ 3512457 w 3657600"/>
                <a:gd name="connsiteY2" fmla="*/ 1669143 h 2703286"/>
                <a:gd name="connsiteX3" fmla="*/ 2336800 w 3657600"/>
                <a:gd name="connsiteY3" fmla="*/ 1669143 h 2703286"/>
                <a:gd name="connsiteX4" fmla="*/ 2336800 w 3657600"/>
                <a:gd name="connsiteY4" fmla="*/ 1001486 h 2703286"/>
                <a:gd name="connsiteX5" fmla="*/ 1988457 w 3657600"/>
                <a:gd name="connsiteY5" fmla="*/ 957943 h 2703286"/>
                <a:gd name="connsiteX6" fmla="*/ 2002972 w 3657600"/>
                <a:gd name="connsiteY6" fmla="*/ 508000 h 2703286"/>
                <a:gd name="connsiteX7" fmla="*/ 2133600 w 3657600"/>
                <a:gd name="connsiteY7" fmla="*/ 348343 h 2703286"/>
                <a:gd name="connsiteX8" fmla="*/ 3396343 w 3657600"/>
                <a:gd name="connsiteY8" fmla="*/ 478972 h 2703286"/>
                <a:gd name="connsiteX9" fmla="*/ 3657600 w 3657600"/>
                <a:gd name="connsiteY9" fmla="*/ 217715 h 2703286"/>
                <a:gd name="connsiteX10" fmla="*/ 3570515 w 3657600"/>
                <a:gd name="connsiteY10" fmla="*/ 130629 h 2703286"/>
                <a:gd name="connsiteX11" fmla="*/ 2598057 w 3657600"/>
                <a:gd name="connsiteY11" fmla="*/ 0 h 2703286"/>
                <a:gd name="connsiteX12" fmla="*/ 2452915 w 3657600"/>
                <a:gd name="connsiteY12" fmla="*/ 29029 h 2703286"/>
                <a:gd name="connsiteX13" fmla="*/ 2365829 w 3657600"/>
                <a:gd name="connsiteY13" fmla="*/ 58057 h 2703286"/>
                <a:gd name="connsiteX14" fmla="*/ 2075543 w 3657600"/>
                <a:gd name="connsiteY14" fmla="*/ 145143 h 2703286"/>
                <a:gd name="connsiteX15" fmla="*/ 1915886 w 3657600"/>
                <a:gd name="connsiteY15" fmla="*/ 0 h 2703286"/>
                <a:gd name="connsiteX16" fmla="*/ 1669143 w 3657600"/>
                <a:gd name="connsiteY16" fmla="*/ 14515 h 2703286"/>
                <a:gd name="connsiteX17" fmla="*/ 1582057 w 3657600"/>
                <a:gd name="connsiteY17" fmla="*/ 203200 h 2703286"/>
                <a:gd name="connsiteX18" fmla="*/ 406400 w 3657600"/>
                <a:gd name="connsiteY18" fmla="*/ 14515 h 2703286"/>
                <a:gd name="connsiteX19" fmla="*/ 0 w 3657600"/>
                <a:gd name="connsiteY19" fmla="*/ 362857 h 2703286"/>
                <a:gd name="connsiteX20" fmla="*/ 1320800 w 3657600"/>
                <a:gd name="connsiteY20" fmla="*/ 508000 h 2703286"/>
                <a:gd name="connsiteX21" fmla="*/ 3628571 w 3657600"/>
                <a:gd name="connsiteY21" fmla="*/ 2703286 h 2703286"/>
                <a:gd name="connsiteX0" fmla="*/ 3643086 w 3657600"/>
                <a:gd name="connsiteY0" fmla="*/ 1683657 h 2703286"/>
                <a:gd name="connsiteX1" fmla="*/ 3643086 w 3657600"/>
                <a:gd name="connsiteY1" fmla="*/ 1683657 h 2703286"/>
                <a:gd name="connsiteX2" fmla="*/ 3512457 w 3657600"/>
                <a:gd name="connsiteY2" fmla="*/ 1669143 h 2703286"/>
                <a:gd name="connsiteX3" fmla="*/ 2336800 w 3657600"/>
                <a:gd name="connsiteY3" fmla="*/ 1669143 h 2703286"/>
                <a:gd name="connsiteX4" fmla="*/ 2336800 w 3657600"/>
                <a:gd name="connsiteY4" fmla="*/ 1001486 h 2703286"/>
                <a:gd name="connsiteX5" fmla="*/ 1988457 w 3657600"/>
                <a:gd name="connsiteY5" fmla="*/ 957943 h 2703286"/>
                <a:gd name="connsiteX6" fmla="*/ 2002972 w 3657600"/>
                <a:gd name="connsiteY6" fmla="*/ 508000 h 2703286"/>
                <a:gd name="connsiteX7" fmla="*/ 2133600 w 3657600"/>
                <a:gd name="connsiteY7" fmla="*/ 348343 h 2703286"/>
                <a:gd name="connsiteX8" fmla="*/ 3396343 w 3657600"/>
                <a:gd name="connsiteY8" fmla="*/ 478972 h 2703286"/>
                <a:gd name="connsiteX9" fmla="*/ 3657600 w 3657600"/>
                <a:gd name="connsiteY9" fmla="*/ 217715 h 2703286"/>
                <a:gd name="connsiteX10" fmla="*/ 3570515 w 3657600"/>
                <a:gd name="connsiteY10" fmla="*/ 130629 h 2703286"/>
                <a:gd name="connsiteX11" fmla="*/ 2598057 w 3657600"/>
                <a:gd name="connsiteY11" fmla="*/ 0 h 2703286"/>
                <a:gd name="connsiteX12" fmla="*/ 2452915 w 3657600"/>
                <a:gd name="connsiteY12" fmla="*/ 29029 h 2703286"/>
                <a:gd name="connsiteX13" fmla="*/ 2365829 w 3657600"/>
                <a:gd name="connsiteY13" fmla="*/ 58057 h 2703286"/>
                <a:gd name="connsiteX14" fmla="*/ 2075543 w 3657600"/>
                <a:gd name="connsiteY14" fmla="*/ 145143 h 2703286"/>
                <a:gd name="connsiteX15" fmla="*/ 1915886 w 3657600"/>
                <a:gd name="connsiteY15" fmla="*/ 0 h 2703286"/>
                <a:gd name="connsiteX16" fmla="*/ 1669143 w 3657600"/>
                <a:gd name="connsiteY16" fmla="*/ 14515 h 2703286"/>
                <a:gd name="connsiteX17" fmla="*/ 1582057 w 3657600"/>
                <a:gd name="connsiteY17" fmla="*/ 203200 h 2703286"/>
                <a:gd name="connsiteX18" fmla="*/ 406400 w 3657600"/>
                <a:gd name="connsiteY18" fmla="*/ 14515 h 2703286"/>
                <a:gd name="connsiteX19" fmla="*/ 0 w 3657600"/>
                <a:gd name="connsiteY19" fmla="*/ 362857 h 2703286"/>
                <a:gd name="connsiteX20" fmla="*/ 1320800 w 3657600"/>
                <a:gd name="connsiteY20" fmla="*/ 508000 h 2703286"/>
                <a:gd name="connsiteX21" fmla="*/ 1364343 w 3657600"/>
                <a:gd name="connsiteY21" fmla="*/ 2703285 h 2703286"/>
                <a:gd name="connsiteX22" fmla="*/ 3628571 w 3657600"/>
                <a:gd name="connsiteY22" fmla="*/ 2703286 h 2703286"/>
                <a:gd name="connsiteX0" fmla="*/ 3643086 w 3657600"/>
                <a:gd name="connsiteY0" fmla="*/ 1683657 h 4037354"/>
                <a:gd name="connsiteX1" fmla="*/ 3643086 w 3657600"/>
                <a:gd name="connsiteY1" fmla="*/ 1683657 h 4037354"/>
                <a:gd name="connsiteX2" fmla="*/ 3512457 w 3657600"/>
                <a:gd name="connsiteY2" fmla="*/ 1669143 h 4037354"/>
                <a:gd name="connsiteX3" fmla="*/ 2336800 w 3657600"/>
                <a:gd name="connsiteY3" fmla="*/ 1669143 h 4037354"/>
                <a:gd name="connsiteX4" fmla="*/ 2336800 w 3657600"/>
                <a:gd name="connsiteY4" fmla="*/ 1001486 h 4037354"/>
                <a:gd name="connsiteX5" fmla="*/ 1988457 w 3657600"/>
                <a:gd name="connsiteY5" fmla="*/ 957943 h 4037354"/>
                <a:gd name="connsiteX6" fmla="*/ 2002972 w 3657600"/>
                <a:gd name="connsiteY6" fmla="*/ 508000 h 4037354"/>
                <a:gd name="connsiteX7" fmla="*/ 2133600 w 3657600"/>
                <a:gd name="connsiteY7" fmla="*/ 348343 h 4037354"/>
                <a:gd name="connsiteX8" fmla="*/ 3396343 w 3657600"/>
                <a:gd name="connsiteY8" fmla="*/ 478972 h 4037354"/>
                <a:gd name="connsiteX9" fmla="*/ 3657600 w 3657600"/>
                <a:gd name="connsiteY9" fmla="*/ 217715 h 4037354"/>
                <a:gd name="connsiteX10" fmla="*/ 3570515 w 3657600"/>
                <a:gd name="connsiteY10" fmla="*/ 130629 h 4037354"/>
                <a:gd name="connsiteX11" fmla="*/ 2598057 w 3657600"/>
                <a:gd name="connsiteY11" fmla="*/ 0 h 4037354"/>
                <a:gd name="connsiteX12" fmla="*/ 2452915 w 3657600"/>
                <a:gd name="connsiteY12" fmla="*/ 29029 h 4037354"/>
                <a:gd name="connsiteX13" fmla="*/ 2365829 w 3657600"/>
                <a:gd name="connsiteY13" fmla="*/ 58057 h 4037354"/>
                <a:gd name="connsiteX14" fmla="*/ 2075543 w 3657600"/>
                <a:gd name="connsiteY14" fmla="*/ 145143 h 4037354"/>
                <a:gd name="connsiteX15" fmla="*/ 1915886 w 3657600"/>
                <a:gd name="connsiteY15" fmla="*/ 0 h 4037354"/>
                <a:gd name="connsiteX16" fmla="*/ 1669143 w 3657600"/>
                <a:gd name="connsiteY16" fmla="*/ 14515 h 4037354"/>
                <a:gd name="connsiteX17" fmla="*/ 1582057 w 3657600"/>
                <a:gd name="connsiteY17" fmla="*/ 203200 h 4037354"/>
                <a:gd name="connsiteX18" fmla="*/ 406400 w 3657600"/>
                <a:gd name="connsiteY18" fmla="*/ 14515 h 4037354"/>
                <a:gd name="connsiteX19" fmla="*/ 0 w 3657600"/>
                <a:gd name="connsiteY19" fmla="*/ 362857 h 4037354"/>
                <a:gd name="connsiteX20" fmla="*/ 1320800 w 3657600"/>
                <a:gd name="connsiteY20" fmla="*/ 508000 h 4037354"/>
                <a:gd name="connsiteX21" fmla="*/ 813450 w 3657600"/>
                <a:gd name="connsiteY21" fmla="*/ 4037354 h 4037354"/>
                <a:gd name="connsiteX22" fmla="*/ 1364343 w 3657600"/>
                <a:gd name="connsiteY22" fmla="*/ 2703285 h 4037354"/>
                <a:gd name="connsiteX23" fmla="*/ 3628571 w 3657600"/>
                <a:gd name="connsiteY23" fmla="*/ 2703286 h 4037354"/>
                <a:gd name="connsiteX0" fmla="*/ 4033310 w 4047824"/>
                <a:gd name="connsiteY0" fmla="*/ 1683657 h 4543693"/>
                <a:gd name="connsiteX1" fmla="*/ 4033310 w 4047824"/>
                <a:gd name="connsiteY1" fmla="*/ 1683657 h 4543693"/>
                <a:gd name="connsiteX2" fmla="*/ 3902681 w 4047824"/>
                <a:gd name="connsiteY2" fmla="*/ 1669143 h 4543693"/>
                <a:gd name="connsiteX3" fmla="*/ 2727024 w 4047824"/>
                <a:gd name="connsiteY3" fmla="*/ 1669143 h 4543693"/>
                <a:gd name="connsiteX4" fmla="*/ 2727024 w 4047824"/>
                <a:gd name="connsiteY4" fmla="*/ 1001486 h 4543693"/>
                <a:gd name="connsiteX5" fmla="*/ 2378681 w 4047824"/>
                <a:gd name="connsiteY5" fmla="*/ 957943 h 4543693"/>
                <a:gd name="connsiteX6" fmla="*/ 2393196 w 4047824"/>
                <a:gd name="connsiteY6" fmla="*/ 508000 h 4543693"/>
                <a:gd name="connsiteX7" fmla="*/ 2523824 w 4047824"/>
                <a:gd name="connsiteY7" fmla="*/ 348343 h 4543693"/>
                <a:gd name="connsiteX8" fmla="*/ 3786567 w 4047824"/>
                <a:gd name="connsiteY8" fmla="*/ 478972 h 4543693"/>
                <a:gd name="connsiteX9" fmla="*/ 4047824 w 4047824"/>
                <a:gd name="connsiteY9" fmla="*/ 217715 h 4543693"/>
                <a:gd name="connsiteX10" fmla="*/ 3960739 w 4047824"/>
                <a:gd name="connsiteY10" fmla="*/ 130629 h 4543693"/>
                <a:gd name="connsiteX11" fmla="*/ 2988281 w 4047824"/>
                <a:gd name="connsiteY11" fmla="*/ 0 h 4543693"/>
                <a:gd name="connsiteX12" fmla="*/ 2843139 w 4047824"/>
                <a:gd name="connsiteY12" fmla="*/ 29029 h 4543693"/>
                <a:gd name="connsiteX13" fmla="*/ 2756053 w 4047824"/>
                <a:gd name="connsiteY13" fmla="*/ 58057 h 4543693"/>
                <a:gd name="connsiteX14" fmla="*/ 2465767 w 4047824"/>
                <a:gd name="connsiteY14" fmla="*/ 145143 h 4543693"/>
                <a:gd name="connsiteX15" fmla="*/ 2306110 w 4047824"/>
                <a:gd name="connsiteY15" fmla="*/ 0 h 4543693"/>
                <a:gd name="connsiteX16" fmla="*/ 2059367 w 4047824"/>
                <a:gd name="connsiteY16" fmla="*/ 14515 h 4543693"/>
                <a:gd name="connsiteX17" fmla="*/ 1972281 w 4047824"/>
                <a:gd name="connsiteY17" fmla="*/ 203200 h 4543693"/>
                <a:gd name="connsiteX18" fmla="*/ 796624 w 4047824"/>
                <a:gd name="connsiteY18" fmla="*/ 14515 h 4543693"/>
                <a:gd name="connsiteX19" fmla="*/ 390224 w 4047824"/>
                <a:gd name="connsiteY19" fmla="*/ 362857 h 4543693"/>
                <a:gd name="connsiteX20" fmla="*/ 1711024 w 4047824"/>
                <a:gd name="connsiteY20" fmla="*/ 508000 h 4543693"/>
                <a:gd name="connsiteX21" fmla="*/ 84558 w 4047824"/>
                <a:gd name="connsiteY21" fmla="*/ 3955467 h 4543693"/>
                <a:gd name="connsiteX22" fmla="*/ 1203674 w 4047824"/>
                <a:gd name="connsiteY22" fmla="*/ 4037354 h 4543693"/>
                <a:gd name="connsiteX23" fmla="*/ 1754567 w 4047824"/>
                <a:gd name="connsiteY23" fmla="*/ 2703285 h 4543693"/>
                <a:gd name="connsiteX24" fmla="*/ 4018795 w 4047824"/>
                <a:gd name="connsiteY24" fmla="*/ 2703286 h 4543693"/>
                <a:gd name="connsiteX0" fmla="*/ 4076131 w 4090645"/>
                <a:gd name="connsiteY0" fmla="*/ 1837538 h 4712124"/>
                <a:gd name="connsiteX1" fmla="*/ 4076131 w 4090645"/>
                <a:gd name="connsiteY1" fmla="*/ 1837538 h 4712124"/>
                <a:gd name="connsiteX2" fmla="*/ 3945502 w 4090645"/>
                <a:gd name="connsiteY2" fmla="*/ 1823024 h 4712124"/>
                <a:gd name="connsiteX3" fmla="*/ 2769845 w 4090645"/>
                <a:gd name="connsiteY3" fmla="*/ 1823024 h 4712124"/>
                <a:gd name="connsiteX4" fmla="*/ 2769845 w 4090645"/>
                <a:gd name="connsiteY4" fmla="*/ 1155367 h 4712124"/>
                <a:gd name="connsiteX5" fmla="*/ 2421502 w 4090645"/>
                <a:gd name="connsiteY5" fmla="*/ 1111824 h 4712124"/>
                <a:gd name="connsiteX6" fmla="*/ 2436017 w 4090645"/>
                <a:gd name="connsiteY6" fmla="*/ 661881 h 4712124"/>
                <a:gd name="connsiteX7" fmla="*/ 2566645 w 4090645"/>
                <a:gd name="connsiteY7" fmla="*/ 502224 h 4712124"/>
                <a:gd name="connsiteX8" fmla="*/ 3829388 w 4090645"/>
                <a:gd name="connsiteY8" fmla="*/ 632853 h 4712124"/>
                <a:gd name="connsiteX9" fmla="*/ 4090645 w 4090645"/>
                <a:gd name="connsiteY9" fmla="*/ 371596 h 4712124"/>
                <a:gd name="connsiteX10" fmla="*/ 4003560 w 4090645"/>
                <a:gd name="connsiteY10" fmla="*/ 284510 h 4712124"/>
                <a:gd name="connsiteX11" fmla="*/ 3031102 w 4090645"/>
                <a:gd name="connsiteY11" fmla="*/ 153881 h 4712124"/>
                <a:gd name="connsiteX12" fmla="*/ 2885960 w 4090645"/>
                <a:gd name="connsiteY12" fmla="*/ 182910 h 4712124"/>
                <a:gd name="connsiteX13" fmla="*/ 2798874 w 4090645"/>
                <a:gd name="connsiteY13" fmla="*/ 211938 h 4712124"/>
                <a:gd name="connsiteX14" fmla="*/ 2508588 w 4090645"/>
                <a:gd name="connsiteY14" fmla="*/ 299024 h 4712124"/>
                <a:gd name="connsiteX15" fmla="*/ 2348931 w 4090645"/>
                <a:gd name="connsiteY15" fmla="*/ 153881 h 4712124"/>
                <a:gd name="connsiteX16" fmla="*/ 2102188 w 4090645"/>
                <a:gd name="connsiteY16" fmla="*/ 168396 h 4712124"/>
                <a:gd name="connsiteX17" fmla="*/ 2015102 w 4090645"/>
                <a:gd name="connsiteY17" fmla="*/ 357081 h 4712124"/>
                <a:gd name="connsiteX18" fmla="*/ 839445 w 4090645"/>
                <a:gd name="connsiteY18" fmla="*/ 168396 h 4712124"/>
                <a:gd name="connsiteX19" fmla="*/ 433045 w 4090645"/>
                <a:gd name="connsiteY19" fmla="*/ 516738 h 4712124"/>
                <a:gd name="connsiteX20" fmla="*/ 1753845 w 4090645"/>
                <a:gd name="connsiteY20" fmla="*/ 661881 h 4712124"/>
                <a:gd name="connsiteX21" fmla="*/ 2010770 w 4090645"/>
                <a:gd name="connsiteY21" fmla="*/ 574578 h 4712124"/>
                <a:gd name="connsiteX22" fmla="*/ 127379 w 4090645"/>
                <a:gd name="connsiteY22" fmla="*/ 4109348 h 4712124"/>
                <a:gd name="connsiteX23" fmla="*/ 1246495 w 4090645"/>
                <a:gd name="connsiteY23" fmla="*/ 4191235 h 4712124"/>
                <a:gd name="connsiteX24" fmla="*/ 1797388 w 4090645"/>
                <a:gd name="connsiteY24" fmla="*/ 2857166 h 4712124"/>
                <a:gd name="connsiteX25" fmla="*/ 4061616 w 4090645"/>
                <a:gd name="connsiteY25" fmla="*/ 2857167 h 4712124"/>
                <a:gd name="connsiteX0" fmla="*/ 4089779 w 4104293"/>
                <a:gd name="connsiteY0" fmla="*/ 1837538 h 4618864"/>
                <a:gd name="connsiteX1" fmla="*/ 4089779 w 4104293"/>
                <a:gd name="connsiteY1" fmla="*/ 1837538 h 4618864"/>
                <a:gd name="connsiteX2" fmla="*/ 3959150 w 4104293"/>
                <a:gd name="connsiteY2" fmla="*/ 1823024 h 4618864"/>
                <a:gd name="connsiteX3" fmla="*/ 2783493 w 4104293"/>
                <a:gd name="connsiteY3" fmla="*/ 1823024 h 4618864"/>
                <a:gd name="connsiteX4" fmla="*/ 2783493 w 4104293"/>
                <a:gd name="connsiteY4" fmla="*/ 1155367 h 4618864"/>
                <a:gd name="connsiteX5" fmla="*/ 2435150 w 4104293"/>
                <a:gd name="connsiteY5" fmla="*/ 1111824 h 4618864"/>
                <a:gd name="connsiteX6" fmla="*/ 2449665 w 4104293"/>
                <a:gd name="connsiteY6" fmla="*/ 661881 h 4618864"/>
                <a:gd name="connsiteX7" fmla="*/ 2580293 w 4104293"/>
                <a:gd name="connsiteY7" fmla="*/ 502224 h 4618864"/>
                <a:gd name="connsiteX8" fmla="*/ 3843036 w 4104293"/>
                <a:gd name="connsiteY8" fmla="*/ 632853 h 4618864"/>
                <a:gd name="connsiteX9" fmla="*/ 4104293 w 4104293"/>
                <a:gd name="connsiteY9" fmla="*/ 371596 h 4618864"/>
                <a:gd name="connsiteX10" fmla="*/ 4017208 w 4104293"/>
                <a:gd name="connsiteY10" fmla="*/ 284510 h 4618864"/>
                <a:gd name="connsiteX11" fmla="*/ 3044750 w 4104293"/>
                <a:gd name="connsiteY11" fmla="*/ 153881 h 4618864"/>
                <a:gd name="connsiteX12" fmla="*/ 2899608 w 4104293"/>
                <a:gd name="connsiteY12" fmla="*/ 182910 h 4618864"/>
                <a:gd name="connsiteX13" fmla="*/ 2812522 w 4104293"/>
                <a:gd name="connsiteY13" fmla="*/ 211938 h 4618864"/>
                <a:gd name="connsiteX14" fmla="*/ 2522236 w 4104293"/>
                <a:gd name="connsiteY14" fmla="*/ 299024 h 4618864"/>
                <a:gd name="connsiteX15" fmla="*/ 2362579 w 4104293"/>
                <a:gd name="connsiteY15" fmla="*/ 153881 h 4618864"/>
                <a:gd name="connsiteX16" fmla="*/ 2115836 w 4104293"/>
                <a:gd name="connsiteY16" fmla="*/ 168396 h 4618864"/>
                <a:gd name="connsiteX17" fmla="*/ 2028750 w 4104293"/>
                <a:gd name="connsiteY17" fmla="*/ 357081 h 4618864"/>
                <a:gd name="connsiteX18" fmla="*/ 853093 w 4104293"/>
                <a:gd name="connsiteY18" fmla="*/ 168396 h 4618864"/>
                <a:gd name="connsiteX19" fmla="*/ 446693 w 4104293"/>
                <a:gd name="connsiteY19" fmla="*/ 516738 h 4618864"/>
                <a:gd name="connsiteX20" fmla="*/ 1767493 w 4104293"/>
                <a:gd name="connsiteY20" fmla="*/ 661881 h 4618864"/>
                <a:gd name="connsiteX21" fmla="*/ 2024418 w 4104293"/>
                <a:gd name="connsiteY21" fmla="*/ 574578 h 4618864"/>
                <a:gd name="connsiteX22" fmla="*/ 2106305 w 4104293"/>
                <a:gd name="connsiteY22" fmla="*/ 1134136 h 4618864"/>
                <a:gd name="connsiteX23" fmla="*/ 141027 w 4104293"/>
                <a:gd name="connsiteY23" fmla="*/ 4109348 h 4618864"/>
                <a:gd name="connsiteX24" fmla="*/ 1260143 w 4104293"/>
                <a:gd name="connsiteY24" fmla="*/ 4191235 h 4618864"/>
                <a:gd name="connsiteX25" fmla="*/ 1811036 w 4104293"/>
                <a:gd name="connsiteY25" fmla="*/ 2857166 h 4618864"/>
                <a:gd name="connsiteX26" fmla="*/ 4075264 w 4104293"/>
                <a:gd name="connsiteY26" fmla="*/ 2857167 h 4618864"/>
                <a:gd name="connsiteX0" fmla="*/ 4042012 w 4056526"/>
                <a:gd name="connsiteY0" fmla="*/ 1837538 h 4612041"/>
                <a:gd name="connsiteX1" fmla="*/ 4042012 w 4056526"/>
                <a:gd name="connsiteY1" fmla="*/ 1837538 h 4612041"/>
                <a:gd name="connsiteX2" fmla="*/ 3911383 w 4056526"/>
                <a:gd name="connsiteY2" fmla="*/ 1823024 h 4612041"/>
                <a:gd name="connsiteX3" fmla="*/ 2735726 w 4056526"/>
                <a:gd name="connsiteY3" fmla="*/ 1823024 h 4612041"/>
                <a:gd name="connsiteX4" fmla="*/ 2735726 w 4056526"/>
                <a:gd name="connsiteY4" fmla="*/ 1155367 h 4612041"/>
                <a:gd name="connsiteX5" fmla="*/ 2387383 w 4056526"/>
                <a:gd name="connsiteY5" fmla="*/ 1111824 h 4612041"/>
                <a:gd name="connsiteX6" fmla="*/ 2401898 w 4056526"/>
                <a:gd name="connsiteY6" fmla="*/ 661881 h 4612041"/>
                <a:gd name="connsiteX7" fmla="*/ 2532526 w 4056526"/>
                <a:gd name="connsiteY7" fmla="*/ 502224 h 4612041"/>
                <a:gd name="connsiteX8" fmla="*/ 3795269 w 4056526"/>
                <a:gd name="connsiteY8" fmla="*/ 632853 h 4612041"/>
                <a:gd name="connsiteX9" fmla="*/ 4056526 w 4056526"/>
                <a:gd name="connsiteY9" fmla="*/ 371596 h 4612041"/>
                <a:gd name="connsiteX10" fmla="*/ 3969441 w 4056526"/>
                <a:gd name="connsiteY10" fmla="*/ 284510 h 4612041"/>
                <a:gd name="connsiteX11" fmla="*/ 2996983 w 4056526"/>
                <a:gd name="connsiteY11" fmla="*/ 153881 h 4612041"/>
                <a:gd name="connsiteX12" fmla="*/ 2851841 w 4056526"/>
                <a:gd name="connsiteY12" fmla="*/ 182910 h 4612041"/>
                <a:gd name="connsiteX13" fmla="*/ 2764755 w 4056526"/>
                <a:gd name="connsiteY13" fmla="*/ 211938 h 4612041"/>
                <a:gd name="connsiteX14" fmla="*/ 2474469 w 4056526"/>
                <a:gd name="connsiteY14" fmla="*/ 299024 h 4612041"/>
                <a:gd name="connsiteX15" fmla="*/ 2314812 w 4056526"/>
                <a:gd name="connsiteY15" fmla="*/ 153881 h 4612041"/>
                <a:gd name="connsiteX16" fmla="*/ 2068069 w 4056526"/>
                <a:gd name="connsiteY16" fmla="*/ 168396 h 4612041"/>
                <a:gd name="connsiteX17" fmla="*/ 1980983 w 4056526"/>
                <a:gd name="connsiteY17" fmla="*/ 357081 h 4612041"/>
                <a:gd name="connsiteX18" fmla="*/ 805326 w 4056526"/>
                <a:gd name="connsiteY18" fmla="*/ 168396 h 4612041"/>
                <a:gd name="connsiteX19" fmla="*/ 398926 w 4056526"/>
                <a:gd name="connsiteY19" fmla="*/ 516738 h 4612041"/>
                <a:gd name="connsiteX20" fmla="*/ 1719726 w 4056526"/>
                <a:gd name="connsiteY20" fmla="*/ 661881 h 4612041"/>
                <a:gd name="connsiteX21" fmla="*/ 1976651 w 4056526"/>
                <a:gd name="connsiteY21" fmla="*/ 574578 h 4612041"/>
                <a:gd name="connsiteX22" fmla="*/ 2058538 w 4056526"/>
                <a:gd name="connsiteY22" fmla="*/ 1134136 h 4612041"/>
                <a:gd name="connsiteX23" fmla="*/ 1771935 w 4056526"/>
                <a:gd name="connsiteY23" fmla="*/ 1175079 h 4612041"/>
                <a:gd name="connsiteX24" fmla="*/ 93260 w 4056526"/>
                <a:gd name="connsiteY24" fmla="*/ 4109348 h 4612041"/>
                <a:gd name="connsiteX25" fmla="*/ 1212376 w 4056526"/>
                <a:gd name="connsiteY25" fmla="*/ 4191235 h 4612041"/>
                <a:gd name="connsiteX26" fmla="*/ 1763269 w 4056526"/>
                <a:gd name="connsiteY26" fmla="*/ 2857166 h 4612041"/>
                <a:gd name="connsiteX27" fmla="*/ 4027497 w 4056526"/>
                <a:gd name="connsiteY27" fmla="*/ 2857167 h 4612041"/>
                <a:gd name="connsiteX0" fmla="*/ 4035188 w 4049702"/>
                <a:gd name="connsiteY0" fmla="*/ 1837538 h 4507408"/>
                <a:gd name="connsiteX1" fmla="*/ 4035188 w 4049702"/>
                <a:gd name="connsiteY1" fmla="*/ 1837538 h 4507408"/>
                <a:gd name="connsiteX2" fmla="*/ 3904559 w 4049702"/>
                <a:gd name="connsiteY2" fmla="*/ 1823024 h 4507408"/>
                <a:gd name="connsiteX3" fmla="*/ 2728902 w 4049702"/>
                <a:gd name="connsiteY3" fmla="*/ 1823024 h 4507408"/>
                <a:gd name="connsiteX4" fmla="*/ 2728902 w 4049702"/>
                <a:gd name="connsiteY4" fmla="*/ 1155367 h 4507408"/>
                <a:gd name="connsiteX5" fmla="*/ 2380559 w 4049702"/>
                <a:gd name="connsiteY5" fmla="*/ 1111824 h 4507408"/>
                <a:gd name="connsiteX6" fmla="*/ 2395074 w 4049702"/>
                <a:gd name="connsiteY6" fmla="*/ 661881 h 4507408"/>
                <a:gd name="connsiteX7" fmla="*/ 2525702 w 4049702"/>
                <a:gd name="connsiteY7" fmla="*/ 502224 h 4507408"/>
                <a:gd name="connsiteX8" fmla="*/ 3788445 w 4049702"/>
                <a:gd name="connsiteY8" fmla="*/ 632853 h 4507408"/>
                <a:gd name="connsiteX9" fmla="*/ 4049702 w 4049702"/>
                <a:gd name="connsiteY9" fmla="*/ 371596 h 4507408"/>
                <a:gd name="connsiteX10" fmla="*/ 3962617 w 4049702"/>
                <a:gd name="connsiteY10" fmla="*/ 284510 h 4507408"/>
                <a:gd name="connsiteX11" fmla="*/ 2990159 w 4049702"/>
                <a:gd name="connsiteY11" fmla="*/ 153881 h 4507408"/>
                <a:gd name="connsiteX12" fmla="*/ 2845017 w 4049702"/>
                <a:gd name="connsiteY12" fmla="*/ 182910 h 4507408"/>
                <a:gd name="connsiteX13" fmla="*/ 2757931 w 4049702"/>
                <a:gd name="connsiteY13" fmla="*/ 211938 h 4507408"/>
                <a:gd name="connsiteX14" fmla="*/ 2467645 w 4049702"/>
                <a:gd name="connsiteY14" fmla="*/ 299024 h 4507408"/>
                <a:gd name="connsiteX15" fmla="*/ 2307988 w 4049702"/>
                <a:gd name="connsiteY15" fmla="*/ 153881 h 4507408"/>
                <a:gd name="connsiteX16" fmla="*/ 2061245 w 4049702"/>
                <a:gd name="connsiteY16" fmla="*/ 168396 h 4507408"/>
                <a:gd name="connsiteX17" fmla="*/ 1974159 w 4049702"/>
                <a:gd name="connsiteY17" fmla="*/ 357081 h 4507408"/>
                <a:gd name="connsiteX18" fmla="*/ 798502 w 4049702"/>
                <a:gd name="connsiteY18" fmla="*/ 168396 h 4507408"/>
                <a:gd name="connsiteX19" fmla="*/ 392102 w 4049702"/>
                <a:gd name="connsiteY19" fmla="*/ 516738 h 4507408"/>
                <a:gd name="connsiteX20" fmla="*/ 1712902 w 4049702"/>
                <a:gd name="connsiteY20" fmla="*/ 661881 h 4507408"/>
                <a:gd name="connsiteX21" fmla="*/ 1969827 w 4049702"/>
                <a:gd name="connsiteY21" fmla="*/ 574578 h 4507408"/>
                <a:gd name="connsiteX22" fmla="*/ 2051714 w 4049702"/>
                <a:gd name="connsiteY22" fmla="*/ 1134136 h 4507408"/>
                <a:gd name="connsiteX23" fmla="*/ 1765111 w 4049702"/>
                <a:gd name="connsiteY23" fmla="*/ 1175079 h 4507408"/>
                <a:gd name="connsiteX24" fmla="*/ 1724167 w 4049702"/>
                <a:gd name="connsiteY24" fmla="*/ 1802877 h 4507408"/>
                <a:gd name="connsiteX25" fmla="*/ 86436 w 4049702"/>
                <a:gd name="connsiteY25" fmla="*/ 4109348 h 4507408"/>
                <a:gd name="connsiteX26" fmla="*/ 1205552 w 4049702"/>
                <a:gd name="connsiteY26" fmla="*/ 4191235 h 4507408"/>
                <a:gd name="connsiteX27" fmla="*/ 1756445 w 4049702"/>
                <a:gd name="connsiteY27" fmla="*/ 2857166 h 4507408"/>
                <a:gd name="connsiteX28" fmla="*/ 4020673 w 4049702"/>
                <a:gd name="connsiteY28" fmla="*/ 2857167 h 4507408"/>
                <a:gd name="connsiteX0" fmla="*/ 4035188 w 4049702"/>
                <a:gd name="connsiteY0" fmla="*/ 1837538 h 4507408"/>
                <a:gd name="connsiteX1" fmla="*/ 4035188 w 4049702"/>
                <a:gd name="connsiteY1" fmla="*/ 1837538 h 4507408"/>
                <a:gd name="connsiteX2" fmla="*/ 3904559 w 4049702"/>
                <a:gd name="connsiteY2" fmla="*/ 1823024 h 4507408"/>
                <a:gd name="connsiteX3" fmla="*/ 2728902 w 4049702"/>
                <a:gd name="connsiteY3" fmla="*/ 1823024 h 4507408"/>
                <a:gd name="connsiteX4" fmla="*/ 2728902 w 4049702"/>
                <a:gd name="connsiteY4" fmla="*/ 1155367 h 4507408"/>
                <a:gd name="connsiteX5" fmla="*/ 2380559 w 4049702"/>
                <a:gd name="connsiteY5" fmla="*/ 1111824 h 4507408"/>
                <a:gd name="connsiteX6" fmla="*/ 2395074 w 4049702"/>
                <a:gd name="connsiteY6" fmla="*/ 661881 h 4507408"/>
                <a:gd name="connsiteX7" fmla="*/ 2525702 w 4049702"/>
                <a:gd name="connsiteY7" fmla="*/ 502224 h 4507408"/>
                <a:gd name="connsiteX8" fmla="*/ 3788445 w 4049702"/>
                <a:gd name="connsiteY8" fmla="*/ 632853 h 4507408"/>
                <a:gd name="connsiteX9" fmla="*/ 4049702 w 4049702"/>
                <a:gd name="connsiteY9" fmla="*/ 371596 h 4507408"/>
                <a:gd name="connsiteX10" fmla="*/ 3962617 w 4049702"/>
                <a:gd name="connsiteY10" fmla="*/ 284510 h 4507408"/>
                <a:gd name="connsiteX11" fmla="*/ 2990159 w 4049702"/>
                <a:gd name="connsiteY11" fmla="*/ 153881 h 4507408"/>
                <a:gd name="connsiteX12" fmla="*/ 2845017 w 4049702"/>
                <a:gd name="connsiteY12" fmla="*/ 182910 h 4507408"/>
                <a:gd name="connsiteX13" fmla="*/ 2757931 w 4049702"/>
                <a:gd name="connsiteY13" fmla="*/ 211938 h 4507408"/>
                <a:gd name="connsiteX14" fmla="*/ 2467645 w 4049702"/>
                <a:gd name="connsiteY14" fmla="*/ 299024 h 4507408"/>
                <a:gd name="connsiteX15" fmla="*/ 2307988 w 4049702"/>
                <a:gd name="connsiteY15" fmla="*/ 153881 h 4507408"/>
                <a:gd name="connsiteX16" fmla="*/ 2061245 w 4049702"/>
                <a:gd name="connsiteY16" fmla="*/ 168396 h 4507408"/>
                <a:gd name="connsiteX17" fmla="*/ 1974159 w 4049702"/>
                <a:gd name="connsiteY17" fmla="*/ 357081 h 4507408"/>
                <a:gd name="connsiteX18" fmla="*/ 798502 w 4049702"/>
                <a:gd name="connsiteY18" fmla="*/ 168396 h 4507408"/>
                <a:gd name="connsiteX19" fmla="*/ 392102 w 4049702"/>
                <a:gd name="connsiteY19" fmla="*/ 516738 h 4507408"/>
                <a:gd name="connsiteX20" fmla="*/ 1712902 w 4049702"/>
                <a:gd name="connsiteY20" fmla="*/ 661881 h 4507408"/>
                <a:gd name="connsiteX21" fmla="*/ 1969827 w 4049702"/>
                <a:gd name="connsiteY21" fmla="*/ 574578 h 4507408"/>
                <a:gd name="connsiteX22" fmla="*/ 2051714 w 4049702"/>
                <a:gd name="connsiteY22" fmla="*/ 1134136 h 4507408"/>
                <a:gd name="connsiteX23" fmla="*/ 1765111 w 4049702"/>
                <a:gd name="connsiteY23" fmla="*/ 1175079 h 4507408"/>
                <a:gd name="connsiteX24" fmla="*/ 1724167 w 4049702"/>
                <a:gd name="connsiteY24" fmla="*/ 1802877 h 4507408"/>
                <a:gd name="connsiteX25" fmla="*/ 86436 w 4049702"/>
                <a:gd name="connsiteY25" fmla="*/ 4109348 h 4507408"/>
                <a:gd name="connsiteX26" fmla="*/ 1205552 w 4049702"/>
                <a:gd name="connsiteY26" fmla="*/ 4191235 h 4507408"/>
                <a:gd name="connsiteX27" fmla="*/ 1756445 w 4049702"/>
                <a:gd name="connsiteY27" fmla="*/ 2857166 h 4507408"/>
                <a:gd name="connsiteX28" fmla="*/ 4020673 w 4049702"/>
                <a:gd name="connsiteY28" fmla="*/ 2857167 h 4507408"/>
                <a:gd name="connsiteX0" fmla="*/ 4035188 w 4049702"/>
                <a:gd name="connsiteY0" fmla="*/ 1837538 h 4507408"/>
                <a:gd name="connsiteX1" fmla="*/ 4035188 w 4049702"/>
                <a:gd name="connsiteY1" fmla="*/ 1837538 h 4507408"/>
                <a:gd name="connsiteX2" fmla="*/ 3904559 w 4049702"/>
                <a:gd name="connsiteY2" fmla="*/ 1823024 h 4507408"/>
                <a:gd name="connsiteX3" fmla="*/ 2728902 w 4049702"/>
                <a:gd name="connsiteY3" fmla="*/ 1823024 h 4507408"/>
                <a:gd name="connsiteX4" fmla="*/ 2728902 w 4049702"/>
                <a:gd name="connsiteY4" fmla="*/ 1155367 h 4507408"/>
                <a:gd name="connsiteX5" fmla="*/ 2380559 w 4049702"/>
                <a:gd name="connsiteY5" fmla="*/ 1111824 h 4507408"/>
                <a:gd name="connsiteX6" fmla="*/ 2395074 w 4049702"/>
                <a:gd name="connsiteY6" fmla="*/ 661881 h 4507408"/>
                <a:gd name="connsiteX7" fmla="*/ 2525702 w 4049702"/>
                <a:gd name="connsiteY7" fmla="*/ 502224 h 4507408"/>
                <a:gd name="connsiteX8" fmla="*/ 3788445 w 4049702"/>
                <a:gd name="connsiteY8" fmla="*/ 632853 h 4507408"/>
                <a:gd name="connsiteX9" fmla="*/ 4049702 w 4049702"/>
                <a:gd name="connsiteY9" fmla="*/ 371596 h 4507408"/>
                <a:gd name="connsiteX10" fmla="*/ 3962617 w 4049702"/>
                <a:gd name="connsiteY10" fmla="*/ 284510 h 4507408"/>
                <a:gd name="connsiteX11" fmla="*/ 2990159 w 4049702"/>
                <a:gd name="connsiteY11" fmla="*/ 153881 h 4507408"/>
                <a:gd name="connsiteX12" fmla="*/ 2845017 w 4049702"/>
                <a:gd name="connsiteY12" fmla="*/ 182910 h 4507408"/>
                <a:gd name="connsiteX13" fmla="*/ 2757931 w 4049702"/>
                <a:gd name="connsiteY13" fmla="*/ 211938 h 4507408"/>
                <a:gd name="connsiteX14" fmla="*/ 2467645 w 4049702"/>
                <a:gd name="connsiteY14" fmla="*/ 299024 h 4507408"/>
                <a:gd name="connsiteX15" fmla="*/ 2307988 w 4049702"/>
                <a:gd name="connsiteY15" fmla="*/ 153881 h 4507408"/>
                <a:gd name="connsiteX16" fmla="*/ 2061245 w 4049702"/>
                <a:gd name="connsiteY16" fmla="*/ 168396 h 4507408"/>
                <a:gd name="connsiteX17" fmla="*/ 1974159 w 4049702"/>
                <a:gd name="connsiteY17" fmla="*/ 357081 h 4507408"/>
                <a:gd name="connsiteX18" fmla="*/ 798502 w 4049702"/>
                <a:gd name="connsiteY18" fmla="*/ 168396 h 4507408"/>
                <a:gd name="connsiteX19" fmla="*/ 392102 w 4049702"/>
                <a:gd name="connsiteY19" fmla="*/ 516738 h 4507408"/>
                <a:gd name="connsiteX20" fmla="*/ 1712902 w 4049702"/>
                <a:gd name="connsiteY20" fmla="*/ 661881 h 4507408"/>
                <a:gd name="connsiteX21" fmla="*/ 1969827 w 4049702"/>
                <a:gd name="connsiteY21" fmla="*/ 574578 h 4507408"/>
                <a:gd name="connsiteX22" fmla="*/ 2051714 w 4049702"/>
                <a:gd name="connsiteY22" fmla="*/ 1134136 h 4507408"/>
                <a:gd name="connsiteX23" fmla="*/ 1765111 w 4049702"/>
                <a:gd name="connsiteY23" fmla="*/ 1175079 h 4507408"/>
                <a:gd name="connsiteX24" fmla="*/ 1724167 w 4049702"/>
                <a:gd name="connsiteY24" fmla="*/ 1802877 h 4507408"/>
                <a:gd name="connsiteX25" fmla="*/ 86436 w 4049702"/>
                <a:gd name="connsiteY25" fmla="*/ 4109348 h 4507408"/>
                <a:gd name="connsiteX26" fmla="*/ 1205552 w 4049702"/>
                <a:gd name="connsiteY26" fmla="*/ 4191235 h 4507408"/>
                <a:gd name="connsiteX27" fmla="*/ 1756445 w 4049702"/>
                <a:gd name="connsiteY27" fmla="*/ 2857166 h 4507408"/>
                <a:gd name="connsiteX28" fmla="*/ 4020673 w 4049702"/>
                <a:gd name="connsiteY28" fmla="*/ 2857167 h 4507408"/>
                <a:gd name="connsiteX0" fmla="*/ 4035188 w 4049702"/>
                <a:gd name="connsiteY0" fmla="*/ 1837538 h 4507408"/>
                <a:gd name="connsiteX1" fmla="*/ 4035188 w 4049702"/>
                <a:gd name="connsiteY1" fmla="*/ 1837538 h 4507408"/>
                <a:gd name="connsiteX2" fmla="*/ 3904559 w 4049702"/>
                <a:gd name="connsiteY2" fmla="*/ 1823024 h 4507408"/>
                <a:gd name="connsiteX3" fmla="*/ 2728902 w 4049702"/>
                <a:gd name="connsiteY3" fmla="*/ 1823024 h 4507408"/>
                <a:gd name="connsiteX4" fmla="*/ 2728902 w 4049702"/>
                <a:gd name="connsiteY4" fmla="*/ 1155367 h 4507408"/>
                <a:gd name="connsiteX5" fmla="*/ 2380559 w 4049702"/>
                <a:gd name="connsiteY5" fmla="*/ 1111824 h 4507408"/>
                <a:gd name="connsiteX6" fmla="*/ 2395074 w 4049702"/>
                <a:gd name="connsiteY6" fmla="*/ 661881 h 4507408"/>
                <a:gd name="connsiteX7" fmla="*/ 2525702 w 4049702"/>
                <a:gd name="connsiteY7" fmla="*/ 502224 h 4507408"/>
                <a:gd name="connsiteX8" fmla="*/ 3788445 w 4049702"/>
                <a:gd name="connsiteY8" fmla="*/ 632853 h 4507408"/>
                <a:gd name="connsiteX9" fmla="*/ 4049702 w 4049702"/>
                <a:gd name="connsiteY9" fmla="*/ 371596 h 4507408"/>
                <a:gd name="connsiteX10" fmla="*/ 3962617 w 4049702"/>
                <a:gd name="connsiteY10" fmla="*/ 284510 h 4507408"/>
                <a:gd name="connsiteX11" fmla="*/ 2990159 w 4049702"/>
                <a:gd name="connsiteY11" fmla="*/ 153881 h 4507408"/>
                <a:gd name="connsiteX12" fmla="*/ 2845017 w 4049702"/>
                <a:gd name="connsiteY12" fmla="*/ 182910 h 4507408"/>
                <a:gd name="connsiteX13" fmla="*/ 2757931 w 4049702"/>
                <a:gd name="connsiteY13" fmla="*/ 211938 h 4507408"/>
                <a:gd name="connsiteX14" fmla="*/ 2467645 w 4049702"/>
                <a:gd name="connsiteY14" fmla="*/ 299024 h 4507408"/>
                <a:gd name="connsiteX15" fmla="*/ 2061245 w 4049702"/>
                <a:gd name="connsiteY15" fmla="*/ 168396 h 4507408"/>
                <a:gd name="connsiteX16" fmla="*/ 1974159 w 4049702"/>
                <a:gd name="connsiteY16" fmla="*/ 357081 h 4507408"/>
                <a:gd name="connsiteX17" fmla="*/ 798502 w 4049702"/>
                <a:gd name="connsiteY17" fmla="*/ 168396 h 4507408"/>
                <a:gd name="connsiteX18" fmla="*/ 392102 w 4049702"/>
                <a:gd name="connsiteY18" fmla="*/ 516738 h 4507408"/>
                <a:gd name="connsiteX19" fmla="*/ 1712902 w 4049702"/>
                <a:gd name="connsiteY19" fmla="*/ 661881 h 4507408"/>
                <a:gd name="connsiteX20" fmla="*/ 1969827 w 4049702"/>
                <a:gd name="connsiteY20" fmla="*/ 574578 h 4507408"/>
                <a:gd name="connsiteX21" fmla="*/ 2051714 w 4049702"/>
                <a:gd name="connsiteY21" fmla="*/ 1134136 h 4507408"/>
                <a:gd name="connsiteX22" fmla="*/ 1765111 w 4049702"/>
                <a:gd name="connsiteY22" fmla="*/ 1175079 h 4507408"/>
                <a:gd name="connsiteX23" fmla="*/ 1724167 w 4049702"/>
                <a:gd name="connsiteY23" fmla="*/ 1802877 h 4507408"/>
                <a:gd name="connsiteX24" fmla="*/ 86436 w 4049702"/>
                <a:gd name="connsiteY24" fmla="*/ 4109348 h 4507408"/>
                <a:gd name="connsiteX25" fmla="*/ 1205552 w 4049702"/>
                <a:gd name="connsiteY25" fmla="*/ 4191235 h 4507408"/>
                <a:gd name="connsiteX26" fmla="*/ 1756445 w 4049702"/>
                <a:gd name="connsiteY26" fmla="*/ 2857166 h 4507408"/>
                <a:gd name="connsiteX27" fmla="*/ 4020673 w 4049702"/>
                <a:gd name="connsiteY27" fmla="*/ 2857167 h 4507408"/>
                <a:gd name="connsiteX0" fmla="*/ 4035188 w 4049702"/>
                <a:gd name="connsiteY0" fmla="*/ 1837538 h 4507408"/>
                <a:gd name="connsiteX1" fmla="*/ 4035188 w 4049702"/>
                <a:gd name="connsiteY1" fmla="*/ 1837538 h 4507408"/>
                <a:gd name="connsiteX2" fmla="*/ 3904559 w 4049702"/>
                <a:gd name="connsiteY2" fmla="*/ 1823024 h 4507408"/>
                <a:gd name="connsiteX3" fmla="*/ 2728902 w 4049702"/>
                <a:gd name="connsiteY3" fmla="*/ 1823024 h 4507408"/>
                <a:gd name="connsiteX4" fmla="*/ 2728902 w 4049702"/>
                <a:gd name="connsiteY4" fmla="*/ 1155367 h 4507408"/>
                <a:gd name="connsiteX5" fmla="*/ 2380559 w 4049702"/>
                <a:gd name="connsiteY5" fmla="*/ 1111824 h 4507408"/>
                <a:gd name="connsiteX6" fmla="*/ 2395074 w 4049702"/>
                <a:gd name="connsiteY6" fmla="*/ 661881 h 4507408"/>
                <a:gd name="connsiteX7" fmla="*/ 2525702 w 4049702"/>
                <a:gd name="connsiteY7" fmla="*/ 502224 h 4507408"/>
                <a:gd name="connsiteX8" fmla="*/ 3788445 w 4049702"/>
                <a:gd name="connsiteY8" fmla="*/ 632853 h 4507408"/>
                <a:gd name="connsiteX9" fmla="*/ 4049702 w 4049702"/>
                <a:gd name="connsiteY9" fmla="*/ 371596 h 4507408"/>
                <a:gd name="connsiteX10" fmla="*/ 3962617 w 4049702"/>
                <a:gd name="connsiteY10" fmla="*/ 284510 h 4507408"/>
                <a:gd name="connsiteX11" fmla="*/ 2990159 w 4049702"/>
                <a:gd name="connsiteY11" fmla="*/ 153881 h 4507408"/>
                <a:gd name="connsiteX12" fmla="*/ 2845017 w 4049702"/>
                <a:gd name="connsiteY12" fmla="*/ 182910 h 4507408"/>
                <a:gd name="connsiteX13" fmla="*/ 2757931 w 4049702"/>
                <a:gd name="connsiteY13" fmla="*/ 211938 h 4507408"/>
                <a:gd name="connsiteX14" fmla="*/ 2467645 w 4049702"/>
                <a:gd name="connsiteY14" fmla="*/ 299024 h 4507408"/>
                <a:gd name="connsiteX15" fmla="*/ 1974159 w 4049702"/>
                <a:gd name="connsiteY15" fmla="*/ 357081 h 4507408"/>
                <a:gd name="connsiteX16" fmla="*/ 798502 w 4049702"/>
                <a:gd name="connsiteY16" fmla="*/ 168396 h 4507408"/>
                <a:gd name="connsiteX17" fmla="*/ 392102 w 4049702"/>
                <a:gd name="connsiteY17" fmla="*/ 516738 h 4507408"/>
                <a:gd name="connsiteX18" fmla="*/ 1712902 w 4049702"/>
                <a:gd name="connsiteY18" fmla="*/ 661881 h 4507408"/>
                <a:gd name="connsiteX19" fmla="*/ 1969827 w 4049702"/>
                <a:gd name="connsiteY19" fmla="*/ 574578 h 4507408"/>
                <a:gd name="connsiteX20" fmla="*/ 2051714 w 4049702"/>
                <a:gd name="connsiteY20" fmla="*/ 1134136 h 4507408"/>
                <a:gd name="connsiteX21" fmla="*/ 1765111 w 4049702"/>
                <a:gd name="connsiteY21" fmla="*/ 1175079 h 4507408"/>
                <a:gd name="connsiteX22" fmla="*/ 1724167 w 4049702"/>
                <a:gd name="connsiteY22" fmla="*/ 1802877 h 4507408"/>
                <a:gd name="connsiteX23" fmla="*/ 86436 w 4049702"/>
                <a:gd name="connsiteY23" fmla="*/ 4109348 h 4507408"/>
                <a:gd name="connsiteX24" fmla="*/ 1205552 w 4049702"/>
                <a:gd name="connsiteY24" fmla="*/ 4191235 h 4507408"/>
                <a:gd name="connsiteX25" fmla="*/ 1756445 w 4049702"/>
                <a:gd name="connsiteY25" fmla="*/ 2857166 h 4507408"/>
                <a:gd name="connsiteX26" fmla="*/ 4020673 w 4049702"/>
                <a:gd name="connsiteY26" fmla="*/ 2857167 h 4507408"/>
                <a:gd name="connsiteX0" fmla="*/ 4035188 w 4049702"/>
                <a:gd name="connsiteY0" fmla="*/ 1837538 h 4507408"/>
                <a:gd name="connsiteX1" fmla="*/ 4035188 w 4049702"/>
                <a:gd name="connsiteY1" fmla="*/ 1837538 h 4507408"/>
                <a:gd name="connsiteX2" fmla="*/ 3904559 w 4049702"/>
                <a:gd name="connsiteY2" fmla="*/ 1823024 h 4507408"/>
                <a:gd name="connsiteX3" fmla="*/ 2728902 w 4049702"/>
                <a:gd name="connsiteY3" fmla="*/ 1823024 h 4507408"/>
                <a:gd name="connsiteX4" fmla="*/ 2728902 w 4049702"/>
                <a:gd name="connsiteY4" fmla="*/ 1155367 h 4507408"/>
                <a:gd name="connsiteX5" fmla="*/ 2380559 w 4049702"/>
                <a:gd name="connsiteY5" fmla="*/ 1111824 h 4507408"/>
                <a:gd name="connsiteX6" fmla="*/ 2395074 w 4049702"/>
                <a:gd name="connsiteY6" fmla="*/ 661881 h 4507408"/>
                <a:gd name="connsiteX7" fmla="*/ 2525702 w 4049702"/>
                <a:gd name="connsiteY7" fmla="*/ 502224 h 4507408"/>
                <a:gd name="connsiteX8" fmla="*/ 3788445 w 4049702"/>
                <a:gd name="connsiteY8" fmla="*/ 632853 h 4507408"/>
                <a:gd name="connsiteX9" fmla="*/ 4049702 w 4049702"/>
                <a:gd name="connsiteY9" fmla="*/ 371596 h 4507408"/>
                <a:gd name="connsiteX10" fmla="*/ 3962617 w 4049702"/>
                <a:gd name="connsiteY10" fmla="*/ 284510 h 4507408"/>
                <a:gd name="connsiteX11" fmla="*/ 2990159 w 4049702"/>
                <a:gd name="connsiteY11" fmla="*/ 153881 h 4507408"/>
                <a:gd name="connsiteX12" fmla="*/ 2845017 w 4049702"/>
                <a:gd name="connsiteY12" fmla="*/ 182910 h 4507408"/>
                <a:gd name="connsiteX13" fmla="*/ 2757931 w 4049702"/>
                <a:gd name="connsiteY13" fmla="*/ 211938 h 4507408"/>
                <a:gd name="connsiteX14" fmla="*/ 2467645 w 4049702"/>
                <a:gd name="connsiteY14" fmla="*/ 299024 h 4507408"/>
                <a:gd name="connsiteX15" fmla="*/ 1978921 w 4049702"/>
                <a:gd name="connsiteY15" fmla="*/ 278499 h 4507408"/>
                <a:gd name="connsiteX16" fmla="*/ 798502 w 4049702"/>
                <a:gd name="connsiteY16" fmla="*/ 168396 h 4507408"/>
                <a:gd name="connsiteX17" fmla="*/ 392102 w 4049702"/>
                <a:gd name="connsiteY17" fmla="*/ 516738 h 4507408"/>
                <a:gd name="connsiteX18" fmla="*/ 1712902 w 4049702"/>
                <a:gd name="connsiteY18" fmla="*/ 661881 h 4507408"/>
                <a:gd name="connsiteX19" fmla="*/ 1969827 w 4049702"/>
                <a:gd name="connsiteY19" fmla="*/ 574578 h 4507408"/>
                <a:gd name="connsiteX20" fmla="*/ 2051714 w 4049702"/>
                <a:gd name="connsiteY20" fmla="*/ 1134136 h 4507408"/>
                <a:gd name="connsiteX21" fmla="*/ 1765111 w 4049702"/>
                <a:gd name="connsiteY21" fmla="*/ 1175079 h 4507408"/>
                <a:gd name="connsiteX22" fmla="*/ 1724167 w 4049702"/>
                <a:gd name="connsiteY22" fmla="*/ 1802877 h 4507408"/>
                <a:gd name="connsiteX23" fmla="*/ 86436 w 4049702"/>
                <a:gd name="connsiteY23" fmla="*/ 4109348 h 4507408"/>
                <a:gd name="connsiteX24" fmla="*/ 1205552 w 4049702"/>
                <a:gd name="connsiteY24" fmla="*/ 4191235 h 4507408"/>
                <a:gd name="connsiteX25" fmla="*/ 1756445 w 4049702"/>
                <a:gd name="connsiteY25" fmla="*/ 2857166 h 4507408"/>
                <a:gd name="connsiteX26" fmla="*/ 4020673 w 4049702"/>
                <a:gd name="connsiteY26" fmla="*/ 2857167 h 4507408"/>
                <a:gd name="connsiteX0" fmla="*/ 4035188 w 4049702"/>
                <a:gd name="connsiteY0" fmla="*/ 1837538 h 4507408"/>
                <a:gd name="connsiteX1" fmla="*/ 4035188 w 4049702"/>
                <a:gd name="connsiteY1" fmla="*/ 1837538 h 4507408"/>
                <a:gd name="connsiteX2" fmla="*/ 3904559 w 4049702"/>
                <a:gd name="connsiteY2" fmla="*/ 1823024 h 4507408"/>
                <a:gd name="connsiteX3" fmla="*/ 2728902 w 4049702"/>
                <a:gd name="connsiteY3" fmla="*/ 1823024 h 4507408"/>
                <a:gd name="connsiteX4" fmla="*/ 2728902 w 4049702"/>
                <a:gd name="connsiteY4" fmla="*/ 1155367 h 4507408"/>
                <a:gd name="connsiteX5" fmla="*/ 2380559 w 4049702"/>
                <a:gd name="connsiteY5" fmla="*/ 1111824 h 4507408"/>
                <a:gd name="connsiteX6" fmla="*/ 2395074 w 4049702"/>
                <a:gd name="connsiteY6" fmla="*/ 661881 h 4507408"/>
                <a:gd name="connsiteX7" fmla="*/ 2525702 w 4049702"/>
                <a:gd name="connsiteY7" fmla="*/ 502224 h 4507408"/>
                <a:gd name="connsiteX8" fmla="*/ 3788445 w 4049702"/>
                <a:gd name="connsiteY8" fmla="*/ 632853 h 4507408"/>
                <a:gd name="connsiteX9" fmla="*/ 4049702 w 4049702"/>
                <a:gd name="connsiteY9" fmla="*/ 371596 h 4507408"/>
                <a:gd name="connsiteX10" fmla="*/ 3962617 w 4049702"/>
                <a:gd name="connsiteY10" fmla="*/ 284510 h 4507408"/>
                <a:gd name="connsiteX11" fmla="*/ 2990159 w 4049702"/>
                <a:gd name="connsiteY11" fmla="*/ 153881 h 4507408"/>
                <a:gd name="connsiteX12" fmla="*/ 2845017 w 4049702"/>
                <a:gd name="connsiteY12" fmla="*/ 182910 h 4507408"/>
                <a:gd name="connsiteX13" fmla="*/ 2757931 w 4049702"/>
                <a:gd name="connsiteY13" fmla="*/ 211938 h 4507408"/>
                <a:gd name="connsiteX14" fmla="*/ 2489076 w 4049702"/>
                <a:gd name="connsiteY14" fmla="*/ 277593 h 4507408"/>
                <a:gd name="connsiteX15" fmla="*/ 1978921 w 4049702"/>
                <a:gd name="connsiteY15" fmla="*/ 278499 h 4507408"/>
                <a:gd name="connsiteX16" fmla="*/ 798502 w 4049702"/>
                <a:gd name="connsiteY16" fmla="*/ 168396 h 4507408"/>
                <a:gd name="connsiteX17" fmla="*/ 392102 w 4049702"/>
                <a:gd name="connsiteY17" fmla="*/ 516738 h 4507408"/>
                <a:gd name="connsiteX18" fmla="*/ 1712902 w 4049702"/>
                <a:gd name="connsiteY18" fmla="*/ 661881 h 4507408"/>
                <a:gd name="connsiteX19" fmla="*/ 1969827 w 4049702"/>
                <a:gd name="connsiteY19" fmla="*/ 574578 h 4507408"/>
                <a:gd name="connsiteX20" fmla="*/ 2051714 w 4049702"/>
                <a:gd name="connsiteY20" fmla="*/ 1134136 h 4507408"/>
                <a:gd name="connsiteX21" fmla="*/ 1765111 w 4049702"/>
                <a:gd name="connsiteY21" fmla="*/ 1175079 h 4507408"/>
                <a:gd name="connsiteX22" fmla="*/ 1724167 w 4049702"/>
                <a:gd name="connsiteY22" fmla="*/ 1802877 h 4507408"/>
                <a:gd name="connsiteX23" fmla="*/ 86436 w 4049702"/>
                <a:gd name="connsiteY23" fmla="*/ 4109348 h 4507408"/>
                <a:gd name="connsiteX24" fmla="*/ 1205552 w 4049702"/>
                <a:gd name="connsiteY24" fmla="*/ 4191235 h 4507408"/>
                <a:gd name="connsiteX25" fmla="*/ 1756445 w 4049702"/>
                <a:gd name="connsiteY25" fmla="*/ 2857166 h 4507408"/>
                <a:gd name="connsiteX26" fmla="*/ 4020673 w 4049702"/>
                <a:gd name="connsiteY26" fmla="*/ 2857167 h 4507408"/>
                <a:gd name="connsiteX0" fmla="*/ 4035188 w 4049702"/>
                <a:gd name="connsiteY0" fmla="*/ 1837538 h 4507408"/>
                <a:gd name="connsiteX1" fmla="*/ 4035188 w 4049702"/>
                <a:gd name="connsiteY1" fmla="*/ 1837538 h 4507408"/>
                <a:gd name="connsiteX2" fmla="*/ 3904559 w 4049702"/>
                <a:gd name="connsiteY2" fmla="*/ 1823024 h 4507408"/>
                <a:gd name="connsiteX3" fmla="*/ 2728902 w 4049702"/>
                <a:gd name="connsiteY3" fmla="*/ 1823024 h 4507408"/>
                <a:gd name="connsiteX4" fmla="*/ 2728902 w 4049702"/>
                <a:gd name="connsiteY4" fmla="*/ 1155367 h 4507408"/>
                <a:gd name="connsiteX5" fmla="*/ 2380559 w 4049702"/>
                <a:gd name="connsiteY5" fmla="*/ 1111824 h 4507408"/>
                <a:gd name="connsiteX6" fmla="*/ 2395074 w 4049702"/>
                <a:gd name="connsiteY6" fmla="*/ 661881 h 4507408"/>
                <a:gd name="connsiteX7" fmla="*/ 2525702 w 4049702"/>
                <a:gd name="connsiteY7" fmla="*/ 502224 h 4507408"/>
                <a:gd name="connsiteX8" fmla="*/ 3788445 w 4049702"/>
                <a:gd name="connsiteY8" fmla="*/ 632853 h 4507408"/>
                <a:gd name="connsiteX9" fmla="*/ 4049702 w 4049702"/>
                <a:gd name="connsiteY9" fmla="*/ 371596 h 4507408"/>
                <a:gd name="connsiteX10" fmla="*/ 3962617 w 4049702"/>
                <a:gd name="connsiteY10" fmla="*/ 284510 h 4507408"/>
                <a:gd name="connsiteX11" fmla="*/ 2990159 w 4049702"/>
                <a:gd name="connsiteY11" fmla="*/ 153881 h 4507408"/>
                <a:gd name="connsiteX12" fmla="*/ 2757931 w 4049702"/>
                <a:gd name="connsiteY12" fmla="*/ 211938 h 4507408"/>
                <a:gd name="connsiteX13" fmla="*/ 2489076 w 4049702"/>
                <a:gd name="connsiteY13" fmla="*/ 277593 h 4507408"/>
                <a:gd name="connsiteX14" fmla="*/ 1978921 w 4049702"/>
                <a:gd name="connsiteY14" fmla="*/ 278499 h 4507408"/>
                <a:gd name="connsiteX15" fmla="*/ 798502 w 4049702"/>
                <a:gd name="connsiteY15" fmla="*/ 168396 h 4507408"/>
                <a:gd name="connsiteX16" fmla="*/ 392102 w 4049702"/>
                <a:gd name="connsiteY16" fmla="*/ 516738 h 4507408"/>
                <a:gd name="connsiteX17" fmla="*/ 1712902 w 4049702"/>
                <a:gd name="connsiteY17" fmla="*/ 661881 h 4507408"/>
                <a:gd name="connsiteX18" fmla="*/ 1969827 w 4049702"/>
                <a:gd name="connsiteY18" fmla="*/ 574578 h 4507408"/>
                <a:gd name="connsiteX19" fmla="*/ 2051714 w 4049702"/>
                <a:gd name="connsiteY19" fmla="*/ 1134136 h 4507408"/>
                <a:gd name="connsiteX20" fmla="*/ 1765111 w 4049702"/>
                <a:gd name="connsiteY20" fmla="*/ 1175079 h 4507408"/>
                <a:gd name="connsiteX21" fmla="*/ 1724167 w 4049702"/>
                <a:gd name="connsiteY21" fmla="*/ 1802877 h 4507408"/>
                <a:gd name="connsiteX22" fmla="*/ 86436 w 4049702"/>
                <a:gd name="connsiteY22" fmla="*/ 4109348 h 4507408"/>
                <a:gd name="connsiteX23" fmla="*/ 1205552 w 4049702"/>
                <a:gd name="connsiteY23" fmla="*/ 4191235 h 4507408"/>
                <a:gd name="connsiteX24" fmla="*/ 1756445 w 4049702"/>
                <a:gd name="connsiteY24" fmla="*/ 2857166 h 4507408"/>
                <a:gd name="connsiteX25" fmla="*/ 4020673 w 4049702"/>
                <a:gd name="connsiteY25" fmla="*/ 2857167 h 4507408"/>
                <a:gd name="connsiteX0" fmla="*/ 4035188 w 4049702"/>
                <a:gd name="connsiteY0" fmla="*/ 1837538 h 4507408"/>
                <a:gd name="connsiteX1" fmla="*/ 4035188 w 4049702"/>
                <a:gd name="connsiteY1" fmla="*/ 1837538 h 4507408"/>
                <a:gd name="connsiteX2" fmla="*/ 3904559 w 4049702"/>
                <a:gd name="connsiteY2" fmla="*/ 1823024 h 4507408"/>
                <a:gd name="connsiteX3" fmla="*/ 2728902 w 4049702"/>
                <a:gd name="connsiteY3" fmla="*/ 1823024 h 4507408"/>
                <a:gd name="connsiteX4" fmla="*/ 2728902 w 4049702"/>
                <a:gd name="connsiteY4" fmla="*/ 1155367 h 4507408"/>
                <a:gd name="connsiteX5" fmla="*/ 2380559 w 4049702"/>
                <a:gd name="connsiteY5" fmla="*/ 1111824 h 4507408"/>
                <a:gd name="connsiteX6" fmla="*/ 2395074 w 4049702"/>
                <a:gd name="connsiteY6" fmla="*/ 661881 h 4507408"/>
                <a:gd name="connsiteX7" fmla="*/ 2525702 w 4049702"/>
                <a:gd name="connsiteY7" fmla="*/ 502224 h 4507408"/>
                <a:gd name="connsiteX8" fmla="*/ 3788445 w 4049702"/>
                <a:gd name="connsiteY8" fmla="*/ 632853 h 4507408"/>
                <a:gd name="connsiteX9" fmla="*/ 4049702 w 4049702"/>
                <a:gd name="connsiteY9" fmla="*/ 371596 h 4507408"/>
                <a:gd name="connsiteX10" fmla="*/ 3962617 w 4049702"/>
                <a:gd name="connsiteY10" fmla="*/ 284510 h 4507408"/>
                <a:gd name="connsiteX11" fmla="*/ 2990159 w 4049702"/>
                <a:gd name="connsiteY11" fmla="*/ 153881 h 4507408"/>
                <a:gd name="connsiteX12" fmla="*/ 2489076 w 4049702"/>
                <a:gd name="connsiteY12" fmla="*/ 277593 h 4507408"/>
                <a:gd name="connsiteX13" fmla="*/ 1978921 w 4049702"/>
                <a:gd name="connsiteY13" fmla="*/ 278499 h 4507408"/>
                <a:gd name="connsiteX14" fmla="*/ 798502 w 4049702"/>
                <a:gd name="connsiteY14" fmla="*/ 168396 h 4507408"/>
                <a:gd name="connsiteX15" fmla="*/ 392102 w 4049702"/>
                <a:gd name="connsiteY15" fmla="*/ 516738 h 4507408"/>
                <a:gd name="connsiteX16" fmla="*/ 1712902 w 4049702"/>
                <a:gd name="connsiteY16" fmla="*/ 661881 h 4507408"/>
                <a:gd name="connsiteX17" fmla="*/ 1969827 w 4049702"/>
                <a:gd name="connsiteY17" fmla="*/ 574578 h 4507408"/>
                <a:gd name="connsiteX18" fmla="*/ 2051714 w 4049702"/>
                <a:gd name="connsiteY18" fmla="*/ 1134136 h 4507408"/>
                <a:gd name="connsiteX19" fmla="*/ 1765111 w 4049702"/>
                <a:gd name="connsiteY19" fmla="*/ 1175079 h 4507408"/>
                <a:gd name="connsiteX20" fmla="*/ 1724167 w 4049702"/>
                <a:gd name="connsiteY20" fmla="*/ 1802877 h 4507408"/>
                <a:gd name="connsiteX21" fmla="*/ 86436 w 4049702"/>
                <a:gd name="connsiteY21" fmla="*/ 4109348 h 4507408"/>
                <a:gd name="connsiteX22" fmla="*/ 1205552 w 4049702"/>
                <a:gd name="connsiteY22" fmla="*/ 4191235 h 4507408"/>
                <a:gd name="connsiteX23" fmla="*/ 1756445 w 4049702"/>
                <a:gd name="connsiteY23" fmla="*/ 2857166 h 4507408"/>
                <a:gd name="connsiteX24" fmla="*/ 4020673 w 4049702"/>
                <a:gd name="connsiteY24" fmla="*/ 2857167 h 4507408"/>
                <a:gd name="connsiteX0" fmla="*/ 4035188 w 4049702"/>
                <a:gd name="connsiteY0" fmla="*/ 1837538 h 4507408"/>
                <a:gd name="connsiteX1" fmla="*/ 4035188 w 4049702"/>
                <a:gd name="connsiteY1" fmla="*/ 1837538 h 4507408"/>
                <a:gd name="connsiteX2" fmla="*/ 3904559 w 4049702"/>
                <a:gd name="connsiteY2" fmla="*/ 1823024 h 4507408"/>
                <a:gd name="connsiteX3" fmla="*/ 2728902 w 4049702"/>
                <a:gd name="connsiteY3" fmla="*/ 1823024 h 4507408"/>
                <a:gd name="connsiteX4" fmla="*/ 2728902 w 4049702"/>
                <a:gd name="connsiteY4" fmla="*/ 1155367 h 4507408"/>
                <a:gd name="connsiteX5" fmla="*/ 2380559 w 4049702"/>
                <a:gd name="connsiteY5" fmla="*/ 1111824 h 4507408"/>
                <a:gd name="connsiteX6" fmla="*/ 2395074 w 4049702"/>
                <a:gd name="connsiteY6" fmla="*/ 661881 h 4507408"/>
                <a:gd name="connsiteX7" fmla="*/ 2525702 w 4049702"/>
                <a:gd name="connsiteY7" fmla="*/ 502224 h 4507408"/>
                <a:gd name="connsiteX8" fmla="*/ 3788445 w 4049702"/>
                <a:gd name="connsiteY8" fmla="*/ 632853 h 4507408"/>
                <a:gd name="connsiteX9" fmla="*/ 4049702 w 4049702"/>
                <a:gd name="connsiteY9" fmla="*/ 371596 h 4507408"/>
                <a:gd name="connsiteX10" fmla="*/ 3962617 w 4049702"/>
                <a:gd name="connsiteY10" fmla="*/ 284510 h 4507408"/>
                <a:gd name="connsiteX11" fmla="*/ 2489076 w 4049702"/>
                <a:gd name="connsiteY11" fmla="*/ 277593 h 4507408"/>
                <a:gd name="connsiteX12" fmla="*/ 1978921 w 4049702"/>
                <a:gd name="connsiteY12" fmla="*/ 278499 h 4507408"/>
                <a:gd name="connsiteX13" fmla="*/ 798502 w 4049702"/>
                <a:gd name="connsiteY13" fmla="*/ 168396 h 4507408"/>
                <a:gd name="connsiteX14" fmla="*/ 392102 w 4049702"/>
                <a:gd name="connsiteY14" fmla="*/ 516738 h 4507408"/>
                <a:gd name="connsiteX15" fmla="*/ 1712902 w 4049702"/>
                <a:gd name="connsiteY15" fmla="*/ 661881 h 4507408"/>
                <a:gd name="connsiteX16" fmla="*/ 1969827 w 4049702"/>
                <a:gd name="connsiteY16" fmla="*/ 574578 h 4507408"/>
                <a:gd name="connsiteX17" fmla="*/ 2051714 w 4049702"/>
                <a:gd name="connsiteY17" fmla="*/ 1134136 h 4507408"/>
                <a:gd name="connsiteX18" fmla="*/ 1765111 w 4049702"/>
                <a:gd name="connsiteY18" fmla="*/ 1175079 h 4507408"/>
                <a:gd name="connsiteX19" fmla="*/ 1724167 w 4049702"/>
                <a:gd name="connsiteY19" fmla="*/ 1802877 h 4507408"/>
                <a:gd name="connsiteX20" fmla="*/ 86436 w 4049702"/>
                <a:gd name="connsiteY20" fmla="*/ 4109348 h 4507408"/>
                <a:gd name="connsiteX21" fmla="*/ 1205552 w 4049702"/>
                <a:gd name="connsiteY21" fmla="*/ 4191235 h 4507408"/>
                <a:gd name="connsiteX22" fmla="*/ 1756445 w 4049702"/>
                <a:gd name="connsiteY22" fmla="*/ 2857166 h 4507408"/>
                <a:gd name="connsiteX23" fmla="*/ 4020673 w 4049702"/>
                <a:gd name="connsiteY23" fmla="*/ 2857167 h 4507408"/>
                <a:gd name="connsiteX0" fmla="*/ 3948752 w 3963266"/>
                <a:gd name="connsiteY0" fmla="*/ 1837538 h 4191235"/>
                <a:gd name="connsiteX1" fmla="*/ 3948752 w 3963266"/>
                <a:gd name="connsiteY1" fmla="*/ 1837538 h 4191235"/>
                <a:gd name="connsiteX2" fmla="*/ 3818123 w 3963266"/>
                <a:gd name="connsiteY2" fmla="*/ 1823024 h 4191235"/>
                <a:gd name="connsiteX3" fmla="*/ 2642466 w 3963266"/>
                <a:gd name="connsiteY3" fmla="*/ 1823024 h 4191235"/>
                <a:gd name="connsiteX4" fmla="*/ 2642466 w 3963266"/>
                <a:gd name="connsiteY4" fmla="*/ 1155367 h 4191235"/>
                <a:gd name="connsiteX5" fmla="*/ 2294123 w 3963266"/>
                <a:gd name="connsiteY5" fmla="*/ 1111824 h 4191235"/>
                <a:gd name="connsiteX6" fmla="*/ 2308638 w 3963266"/>
                <a:gd name="connsiteY6" fmla="*/ 661881 h 4191235"/>
                <a:gd name="connsiteX7" fmla="*/ 2439266 w 3963266"/>
                <a:gd name="connsiteY7" fmla="*/ 502224 h 4191235"/>
                <a:gd name="connsiteX8" fmla="*/ 3702009 w 3963266"/>
                <a:gd name="connsiteY8" fmla="*/ 632853 h 4191235"/>
                <a:gd name="connsiteX9" fmla="*/ 3963266 w 3963266"/>
                <a:gd name="connsiteY9" fmla="*/ 371596 h 4191235"/>
                <a:gd name="connsiteX10" fmla="*/ 3876181 w 3963266"/>
                <a:gd name="connsiteY10" fmla="*/ 284510 h 4191235"/>
                <a:gd name="connsiteX11" fmla="*/ 2402640 w 3963266"/>
                <a:gd name="connsiteY11" fmla="*/ 277593 h 4191235"/>
                <a:gd name="connsiteX12" fmla="*/ 1892485 w 3963266"/>
                <a:gd name="connsiteY12" fmla="*/ 278499 h 4191235"/>
                <a:gd name="connsiteX13" fmla="*/ 712066 w 3963266"/>
                <a:gd name="connsiteY13" fmla="*/ 168396 h 4191235"/>
                <a:gd name="connsiteX14" fmla="*/ 305666 w 3963266"/>
                <a:gd name="connsiteY14" fmla="*/ 516738 h 4191235"/>
                <a:gd name="connsiteX15" fmla="*/ 1626466 w 3963266"/>
                <a:gd name="connsiteY15" fmla="*/ 661881 h 4191235"/>
                <a:gd name="connsiteX16" fmla="*/ 1883391 w 3963266"/>
                <a:gd name="connsiteY16" fmla="*/ 574578 h 4191235"/>
                <a:gd name="connsiteX17" fmla="*/ 1965278 w 3963266"/>
                <a:gd name="connsiteY17" fmla="*/ 1134136 h 4191235"/>
                <a:gd name="connsiteX18" fmla="*/ 1678675 w 3963266"/>
                <a:gd name="connsiteY18" fmla="*/ 1175079 h 4191235"/>
                <a:gd name="connsiteX19" fmla="*/ 1637731 w 3963266"/>
                <a:gd name="connsiteY19" fmla="*/ 1802877 h 4191235"/>
                <a:gd name="connsiteX20" fmla="*/ 0 w 3963266"/>
                <a:gd name="connsiteY20" fmla="*/ 4109348 h 4191235"/>
                <a:gd name="connsiteX21" fmla="*/ 1119116 w 3963266"/>
                <a:gd name="connsiteY21" fmla="*/ 4191235 h 4191235"/>
                <a:gd name="connsiteX22" fmla="*/ 1670009 w 3963266"/>
                <a:gd name="connsiteY22" fmla="*/ 2857166 h 4191235"/>
                <a:gd name="connsiteX23" fmla="*/ 3934237 w 3963266"/>
                <a:gd name="connsiteY23" fmla="*/ 2857167 h 4191235"/>
                <a:gd name="connsiteX0" fmla="*/ 3948752 w 3963266"/>
                <a:gd name="connsiteY0" fmla="*/ 1837538 h 4140435"/>
                <a:gd name="connsiteX1" fmla="*/ 3948752 w 3963266"/>
                <a:gd name="connsiteY1" fmla="*/ 1837538 h 4140435"/>
                <a:gd name="connsiteX2" fmla="*/ 3818123 w 3963266"/>
                <a:gd name="connsiteY2" fmla="*/ 1823024 h 4140435"/>
                <a:gd name="connsiteX3" fmla="*/ 2642466 w 3963266"/>
                <a:gd name="connsiteY3" fmla="*/ 1823024 h 4140435"/>
                <a:gd name="connsiteX4" fmla="*/ 2642466 w 3963266"/>
                <a:gd name="connsiteY4" fmla="*/ 1155367 h 4140435"/>
                <a:gd name="connsiteX5" fmla="*/ 2294123 w 3963266"/>
                <a:gd name="connsiteY5" fmla="*/ 1111824 h 4140435"/>
                <a:gd name="connsiteX6" fmla="*/ 2308638 w 3963266"/>
                <a:gd name="connsiteY6" fmla="*/ 661881 h 4140435"/>
                <a:gd name="connsiteX7" fmla="*/ 2439266 w 3963266"/>
                <a:gd name="connsiteY7" fmla="*/ 502224 h 4140435"/>
                <a:gd name="connsiteX8" fmla="*/ 3702009 w 3963266"/>
                <a:gd name="connsiteY8" fmla="*/ 632853 h 4140435"/>
                <a:gd name="connsiteX9" fmla="*/ 3963266 w 3963266"/>
                <a:gd name="connsiteY9" fmla="*/ 371596 h 4140435"/>
                <a:gd name="connsiteX10" fmla="*/ 3876181 w 3963266"/>
                <a:gd name="connsiteY10" fmla="*/ 284510 h 4140435"/>
                <a:gd name="connsiteX11" fmla="*/ 2402640 w 3963266"/>
                <a:gd name="connsiteY11" fmla="*/ 277593 h 4140435"/>
                <a:gd name="connsiteX12" fmla="*/ 1892485 w 3963266"/>
                <a:gd name="connsiteY12" fmla="*/ 278499 h 4140435"/>
                <a:gd name="connsiteX13" fmla="*/ 712066 w 3963266"/>
                <a:gd name="connsiteY13" fmla="*/ 168396 h 4140435"/>
                <a:gd name="connsiteX14" fmla="*/ 305666 w 3963266"/>
                <a:gd name="connsiteY14" fmla="*/ 516738 h 4140435"/>
                <a:gd name="connsiteX15" fmla="*/ 1626466 w 3963266"/>
                <a:gd name="connsiteY15" fmla="*/ 661881 h 4140435"/>
                <a:gd name="connsiteX16" fmla="*/ 1883391 w 3963266"/>
                <a:gd name="connsiteY16" fmla="*/ 574578 h 4140435"/>
                <a:gd name="connsiteX17" fmla="*/ 1965278 w 3963266"/>
                <a:gd name="connsiteY17" fmla="*/ 1134136 h 4140435"/>
                <a:gd name="connsiteX18" fmla="*/ 1678675 w 3963266"/>
                <a:gd name="connsiteY18" fmla="*/ 1175079 h 4140435"/>
                <a:gd name="connsiteX19" fmla="*/ 1637731 w 3963266"/>
                <a:gd name="connsiteY19" fmla="*/ 1802877 h 4140435"/>
                <a:gd name="connsiteX20" fmla="*/ 0 w 3963266"/>
                <a:gd name="connsiteY20" fmla="*/ 4109348 h 4140435"/>
                <a:gd name="connsiteX21" fmla="*/ 1100066 w 3963266"/>
                <a:gd name="connsiteY21" fmla="*/ 4140435 h 4140435"/>
                <a:gd name="connsiteX22" fmla="*/ 1670009 w 3963266"/>
                <a:gd name="connsiteY22" fmla="*/ 2857166 h 4140435"/>
                <a:gd name="connsiteX23" fmla="*/ 3934237 w 3963266"/>
                <a:gd name="connsiteY23" fmla="*/ 2857167 h 4140435"/>
                <a:gd name="connsiteX0" fmla="*/ 3955102 w 3969616"/>
                <a:gd name="connsiteY0" fmla="*/ 1837538 h 4141098"/>
                <a:gd name="connsiteX1" fmla="*/ 3955102 w 3969616"/>
                <a:gd name="connsiteY1" fmla="*/ 1837538 h 4141098"/>
                <a:gd name="connsiteX2" fmla="*/ 3824473 w 3969616"/>
                <a:gd name="connsiteY2" fmla="*/ 1823024 h 4141098"/>
                <a:gd name="connsiteX3" fmla="*/ 2648816 w 3969616"/>
                <a:gd name="connsiteY3" fmla="*/ 1823024 h 4141098"/>
                <a:gd name="connsiteX4" fmla="*/ 2648816 w 3969616"/>
                <a:gd name="connsiteY4" fmla="*/ 1155367 h 4141098"/>
                <a:gd name="connsiteX5" fmla="*/ 2300473 w 3969616"/>
                <a:gd name="connsiteY5" fmla="*/ 1111824 h 4141098"/>
                <a:gd name="connsiteX6" fmla="*/ 2314988 w 3969616"/>
                <a:gd name="connsiteY6" fmla="*/ 661881 h 4141098"/>
                <a:gd name="connsiteX7" fmla="*/ 2445616 w 3969616"/>
                <a:gd name="connsiteY7" fmla="*/ 502224 h 4141098"/>
                <a:gd name="connsiteX8" fmla="*/ 3708359 w 3969616"/>
                <a:gd name="connsiteY8" fmla="*/ 632853 h 4141098"/>
                <a:gd name="connsiteX9" fmla="*/ 3969616 w 3969616"/>
                <a:gd name="connsiteY9" fmla="*/ 371596 h 4141098"/>
                <a:gd name="connsiteX10" fmla="*/ 3882531 w 3969616"/>
                <a:gd name="connsiteY10" fmla="*/ 284510 h 4141098"/>
                <a:gd name="connsiteX11" fmla="*/ 2408990 w 3969616"/>
                <a:gd name="connsiteY11" fmla="*/ 277593 h 4141098"/>
                <a:gd name="connsiteX12" fmla="*/ 1898835 w 3969616"/>
                <a:gd name="connsiteY12" fmla="*/ 278499 h 4141098"/>
                <a:gd name="connsiteX13" fmla="*/ 718416 w 3969616"/>
                <a:gd name="connsiteY13" fmla="*/ 168396 h 4141098"/>
                <a:gd name="connsiteX14" fmla="*/ 312016 w 3969616"/>
                <a:gd name="connsiteY14" fmla="*/ 516738 h 4141098"/>
                <a:gd name="connsiteX15" fmla="*/ 1632816 w 3969616"/>
                <a:gd name="connsiteY15" fmla="*/ 661881 h 4141098"/>
                <a:gd name="connsiteX16" fmla="*/ 1889741 w 3969616"/>
                <a:gd name="connsiteY16" fmla="*/ 574578 h 4141098"/>
                <a:gd name="connsiteX17" fmla="*/ 1971628 w 3969616"/>
                <a:gd name="connsiteY17" fmla="*/ 1134136 h 4141098"/>
                <a:gd name="connsiteX18" fmla="*/ 1685025 w 3969616"/>
                <a:gd name="connsiteY18" fmla="*/ 1175079 h 4141098"/>
                <a:gd name="connsiteX19" fmla="*/ 1644081 w 3969616"/>
                <a:gd name="connsiteY19" fmla="*/ 1802877 h 4141098"/>
                <a:gd name="connsiteX20" fmla="*/ 0 w 3969616"/>
                <a:gd name="connsiteY20" fmla="*/ 4141098 h 4141098"/>
                <a:gd name="connsiteX21" fmla="*/ 1106416 w 3969616"/>
                <a:gd name="connsiteY21" fmla="*/ 4140435 h 4141098"/>
                <a:gd name="connsiteX22" fmla="*/ 1676359 w 3969616"/>
                <a:gd name="connsiteY22" fmla="*/ 2857166 h 4141098"/>
                <a:gd name="connsiteX23" fmla="*/ 3940587 w 3969616"/>
                <a:gd name="connsiteY23" fmla="*/ 2857167 h 4141098"/>
                <a:gd name="connsiteX0" fmla="*/ 3955102 w 3969616"/>
                <a:gd name="connsiteY0" fmla="*/ 1837538 h 4141098"/>
                <a:gd name="connsiteX1" fmla="*/ 3955102 w 3969616"/>
                <a:gd name="connsiteY1" fmla="*/ 1837538 h 4141098"/>
                <a:gd name="connsiteX2" fmla="*/ 3824473 w 3969616"/>
                <a:gd name="connsiteY2" fmla="*/ 1823024 h 4141098"/>
                <a:gd name="connsiteX3" fmla="*/ 2648816 w 3969616"/>
                <a:gd name="connsiteY3" fmla="*/ 1823024 h 4141098"/>
                <a:gd name="connsiteX4" fmla="*/ 2648816 w 3969616"/>
                <a:gd name="connsiteY4" fmla="*/ 1155367 h 4141098"/>
                <a:gd name="connsiteX5" fmla="*/ 2300473 w 3969616"/>
                <a:gd name="connsiteY5" fmla="*/ 1111824 h 4141098"/>
                <a:gd name="connsiteX6" fmla="*/ 2314988 w 3969616"/>
                <a:gd name="connsiteY6" fmla="*/ 661881 h 4141098"/>
                <a:gd name="connsiteX7" fmla="*/ 2445616 w 3969616"/>
                <a:gd name="connsiteY7" fmla="*/ 502224 h 4141098"/>
                <a:gd name="connsiteX8" fmla="*/ 3708359 w 3969616"/>
                <a:gd name="connsiteY8" fmla="*/ 632853 h 4141098"/>
                <a:gd name="connsiteX9" fmla="*/ 3969616 w 3969616"/>
                <a:gd name="connsiteY9" fmla="*/ 371596 h 4141098"/>
                <a:gd name="connsiteX10" fmla="*/ 3882531 w 3969616"/>
                <a:gd name="connsiteY10" fmla="*/ 284510 h 4141098"/>
                <a:gd name="connsiteX11" fmla="*/ 2408990 w 3969616"/>
                <a:gd name="connsiteY11" fmla="*/ 277593 h 4141098"/>
                <a:gd name="connsiteX12" fmla="*/ 1898835 w 3969616"/>
                <a:gd name="connsiteY12" fmla="*/ 278499 h 4141098"/>
                <a:gd name="connsiteX13" fmla="*/ 718416 w 3969616"/>
                <a:gd name="connsiteY13" fmla="*/ 168396 h 4141098"/>
                <a:gd name="connsiteX14" fmla="*/ 312016 w 3969616"/>
                <a:gd name="connsiteY14" fmla="*/ 516738 h 4141098"/>
                <a:gd name="connsiteX15" fmla="*/ 1632816 w 3969616"/>
                <a:gd name="connsiteY15" fmla="*/ 661881 h 4141098"/>
                <a:gd name="connsiteX16" fmla="*/ 1889741 w 3969616"/>
                <a:gd name="connsiteY16" fmla="*/ 574578 h 4141098"/>
                <a:gd name="connsiteX17" fmla="*/ 1971628 w 3969616"/>
                <a:gd name="connsiteY17" fmla="*/ 1134136 h 4141098"/>
                <a:gd name="connsiteX18" fmla="*/ 1685025 w 3969616"/>
                <a:gd name="connsiteY18" fmla="*/ 1175079 h 4141098"/>
                <a:gd name="connsiteX19" fmla="*/ 1644081 w 3969616"/>
                <a:gd name="connsiteY19" fmla="*/ 1802877 h 4141098"/>
                <a:gd name="connsiteX20" fmla="*/ 0 w 3969616"/>
                <a:gd name="connsiteY20" fmla="*/ 4141098 h 4141098"/>
                <a:gd name="connsiteX21" fmla="*/ 1106416 w 3969616"/>
                <a:gd name="connsiteY21" fmla="*/ 4140435 h 4141098"/>
                <a:gd name="connsiteX22" fmla="*/ 1676359 w 3969616"/>
                <a:gd name="connsiteY22" fmla="*/ 2857166 h 4141098"/>
                <a:gd name="connsiteX23" fmla="*/ 3940587 w 3969616"/>
                <a:gd name="connsiteY23" fmla="*/ 2857167 h 4141098"/>
                <a:gd name="connsiteX24" fmla="*/ 3955102 w 3969616"/>
                <a:gd name="connsiteY24" fmla="*/ 1837538 h 4141098"/>
                <a:gd name="connsiteX0" fmla="*/ 3955102 w 3969616"/>
                <a:gd name="connsiteY0" fmla="*/ 1837538 h 4141098"/>
                <a:gd name="connsiteX1" fmla="*/ 3955102 w 3969616"/>
                <a:gd name="connsiteY1" fmla="*/ 1837538 h 4141098"/>
                <a:gd name="connsiteX2" fmla="*/ 3824473 w 3969616"/>
                <a:gd name="connsiteY2" fmla="*/ 1823024 h 4141098"/>
                <a:gd name="connsiteX3" fmla="*/ 2648816 w 3969616"/>
                <a:gd name="connsiteY3" fmla="*/ 1823024 h 4141098"/>
                <a:gd name="connsiteX4" fmla="*/ 2648816 w 3969616"/>
                <a:gd name="connsiteY4" fmla="*/ 1155367 h 4141098"/>
                <a:gd name="connsiteX5" fmla="*/ 2300473 w 3969616"/>
                <a:gd name="connsiteY5" fmla="*/ 1111824 h 4141098"/>
                <a:gd name="connsiteX6" fmla="*/ 2314988 w 3969616"/>
                <a:gd name="connsiteY6" fmla="*/ 661881 h 4141098"/>
                <a:gd name="connsiteX7" fmla="*/ 2445616 w 3969616"/>
                <a:gd name="connsiteY7" fmla="*/ 502224 h 4141098"/>
                <a:gd name="connsiteX8" fmla="*/ 3708359 w 3969616"/>
                <a:gd name="connsiteY8" fmla="*/ 632853 h 4141098"/>
                <a:gd name="connsiteX9" fmla="*/ 3969616 w 3969616"/>
                <a:gd name="connsiteY9" fmla="*/ 371596 h 4141098"/>
                <a:gd name="connsiteX10" fmla="*/ 3882531 w 3969616"/>
                <a:gd name="connsiteY10" fmla="*/ 284510 h 4141098"/>
                <a:gd name="connsiteX11" fmla="*/ 2408990 w 3969616"/>
                <a:gd name="connsiteY11" fmla="*/ 277593 h 4141098"/>
                <a:gd name="connsiteX12" fmla="*/ 1898835 w 3969616"/>
                <a:gd name="connsiteY12" fmla="*/ 278499 h 4141098"/>
                <a:gd name="connsiteX13" fmla="*/ 718416 w 3969616"/>
                <a:gd name="connsiteY13" fmla="*/ 168396 h 4141098"/>
                <a:gd name="connsiteX14" fmla="*/ 312016 w 3969616"/>
                <a:gd name="connsiteY14" fmla="*/ 516738 h 4141098"/>
                <a:gd name="connsiteX15" fmla="*/ 1632816 w 3969616"/>
                <a:gd name="connsiteY15" fmla="*/ 661881 h 4141098"/>
                <a:gd name="connsiteX16" fmla="*/ 1889741 w 3969616"/>
                <a:gd name="connsiteY16" fmla="*/ 574578 h 4141098"/>
                <a:gd name="connsiteX17" fmla="*/ 1971628 w 3969616"/>
                <a:gd name="connsiteY17" fmla="*/ 1134136 h 4141098"/>
                <a:gd name="connsiteX18" fmla="*/ 1685025 w 3969616"/>
                <a:gd name="connsiteY18" fmla="*/ 1175079 h 4141098"/>
                <a:gd name="connsiteX19" fmla="*/ 1644081 w 3969616"/>
                <a:gd name="connsiteY19" fmla="*/ 1802877 h 4141098"/>
                <a:gd name="connsiteX20" fmla="*/ 0 w 3969616"/>
                <a:gd name="connsiteY20" fmla="*/ 4141098 h 4141098"/>
                <a:gd name="connsiteX21" fmla="*/ 1106416 w 3969616"/>
                <a:gd name="connsiteY21" fmla="*/ 4140435 h 4141098"/>
                <a:gd name="connsiteX22" fmla="*/ 1676359 w 3969616"/>
                <a:gd name="connsiteY22" fmla="*/ 2857166 h 4141098"/>
                <a:gd name="connsiteX23" fmla="*/ 3965987 w 3969616"/>
                <a:gd name="connsiteY23" fmla="*/ 2939717 h 4141098"/>
                <a:gd name="connsiteX24" fmla="*/ 3955102 w 3969616"/>
                <a:gd name="connsiteY24" fmla="*/ 1837538 h 4141098"/>
                <a:gd name="connsiteX0" fmla="*/ 3955102 w 3969616"/>
                <a:gd name="connsiteY0" fmla="*/ 1837538 h 4141098"/>
                <a:gd name="connsiteX1" fmla="*/ 3955102 w 3969616"/>
                <a:gd name="connsiteY1" fmla="*/ 1837538 h 4141098"/>
                <a:gd name="connsiteX2" fmla="*/ 2648816 w 3969616"/>
                <a:gd name="connsiteY2" fmla="*/ 1823024 h 4141098"/>
                <a:gd name="connsiteX3" fmla="*/ 2648816 w 3969616"/>
                <a:gd name="connsiteY3" fmla="*/ 1155367 h 4141098"/>
                <a:gd name="connsiteX4" fmla="*/ 2300473 w 3969616"/>
                <a:gd name="connsiteY4" fmla="*/ 1111824 h 4141098"/>
                <a:gd name="connsiteX5" fmla="*/ 2314988 w 3969616"/>
                <a:gd name="connsiteY5" fmla="*/ 661881 h 4141098"/>
                <a:gd name="connsiteX6" fmla="*/ 2445616 w 3969616"/>
                <a:gd name="connsiteY6" fmla="*/ 502224 h 4141098"/>
                <a:gd name="connsiteX7" fmla="*/ 3708359 w 3969616"/>
                <a:gd name="connsiteY7" fmla="*/ 632853 h 4141098"/>
                <a:gd name="connsiteX8" fmla="*/ 3969616 w 3969616"/>
                <a:gd name="connsiteY8" fmla="*/ 371596 h 4141098"/>
                <a:gd name="connsiteX9" fmla="*/ 3882531 w 3969616"/>
                <a:gd name="connsiteY9" fmla="*/ 284510 h 4141098"/>
                <a:gd name="connsiteX10" fmla="*/ 2408990 w 3969616"/>
                <a:gd name="connsiteY10" fmla="*/ 277593 h 4141098"/>
                <a:gd name="connsiteX11" fmla="*/ 1898835 w 3969616"/>
                <a:gd name="connsiteY11" fmla="*/ 278499 h 4141098"/>
                <a:gd name="connsiteX12" fmla="*/ 718416 w 3969616"/>
                <a:gd name="connsiteY12" fmla="*/ 168396 h 4141098"/>
                <a:gd name="connsiteX13" fmla="*/ 312016 w 3969616"/>
                <a:gd name="connsiteY13" fmla="*/ 516738 h 4141098"/>
                <a:gd name="connsiteX14" fmla="*/ 1632816 w 3969616"/>
                <a:gd name="connsiteY14" fmla="*/ 661881 h 4141098"/>
                <a:gd name="connsiteX15" fmla="*/ 1889741 w 3969616"/>
                <a:gd name="connsiteY15" fmla="*/ 574578 h 4141098"/>
                <a:gd name="connsiteX16" fmla="*/ 1971628 w 3969616"/>
                <a:gd name="connsiteY16" fmla="*/ 1134136 h 4141098"/>
                <a:gd name="connsiteX17" fmla="*/ 1685025 w 3969616"/>
                <a:gd name="connsiteY17" fmla="*/ 1175079 h 4141098"/>
                <a:gd name="connsiteX18" fmla="*/ 1644081 w 3969616"/>
                <a:gd name="connsiteY18" fmla="*/ 1802877 h 4141098"/>
                <a:gd name="connsiteX19" fmla="*/ 0 w 3969616"/>
                <a:gd name="connsiteY19" fmla="*/ 4141098 h 4141098"/>
                <a:gd name="connsiteX20" fmla="*/ 1106416 w 3969616"/>
                <a:gd name="connsiteY20" fmla="*/ 4140435 h 4141098"/>
                <a:gd name="connsiteX21" fmla="*/ 1676359 w 3969616"/>
                <a:gd name="connsiteY21" fmla="*/ 2857166 h 4141098"/>
                <a:gd name="connsiteX22" fmla="*/ 3965987 w 3969616"/>
                <a:gd name="connsiteY22" fmla="*/ 2939717 h 4141098"/>
                <a:gd name="connsiteX23" fmla="*/ 3955102 w 3969616"/>
                <a:gd name="connsiteY23" fmla="*/ 1837538 h 4141098"/>
                <a:gd name="connsiteX0" fmla="*/ 3955102 w 3969616"/>
                <a:gd name="connsiteY0" fmla="*/ 1837538 h 4141098"/>
                <a:gd name="connsiteX1" fmla="*/ 3955102 w 3969616"/>
                <a:gd name="connsiteY1" fmla="*/ 1837538 h 4141098"/>
                <a:gd name="connsiteX2" fmla="*/ 2648816 w 3969616"/>
                <a:gd name="connsiteY2" fmla="*/ 1823024 h 4141098"/>
                <a:gd name="connsiteX3" fmla="*/ 2648816 w 3969616"/>
                <a:gd name="connsiteY3" fmla="*/ 1155367 h 4141098"/>
                <a:gd name="connsiteX4" fmla="*/ 2300473 w 3969616"/>
                <a:gd name="connsiteY4" fmla="*/ 1111824 h 4141098"/>
                <a:gd name="connsiteX5" fmla="*/ 2314988 w 3969616"/>
                <a:gd name="connsiteY5" fmla="*/ 661881 h 4141098"/>
                <a:gd name="connsiteX6" fmla="*/ 2445616 w 3969616"/>
                <a:gd name="connsiteY6" fmla="*/ 502224 h 4141098"/>
                <a:gd name="connsiteX7" fmla="*/ 3708359 w 3969616"/>
                <a:gd name="connsiteY7" fmla="*/ 632853 h 4141098"/>
                <a:gd name="connsiteX8" fmla="*/ 3969616 w 3969616"/>
                <a:gd name="connsiteY8" fmla="*/ 371596 h 4141098"/>
                <a:gd name="connsiteX9" fmla="*/ 3882531 w 3969616"/>
                <a:gd name="connsiteY9" fmla="*/ 284510 h 4141098"/>
                <a:gd name="connsiteX10" fmla="*/ 2408990 w 3969616"/>
                <a:gd name="connsiteY10" fmla="*/ 277593 h 4141098"/>
                <a:gd name="connsiteX11" fmla="*/ 1898835 w 3969616"/>
                <a:gd name="connsiteY11" fmla="*/ 278499 h 4141098"/>
                <a:gd name="connsiteX12" fmla="*/ 718416 w 3969616"/>
                <a:gd name="connsiteY12" fmla="*/ 168396 h 4141098"/>
                <a:gd name="connsiteX13" fmla="*/ 312016 w 3969616"/>
                <a:gd name="connsiteY13" fmla="*/ 516738 h 4141098"/>
                <a:gd name="connsiteX14" fmla="*/ 1632816 w 3969616"/>
                <a:gd name="connsiteY14" fmla="*/ 661881 h 4141098"/>
                <a:gd name="connsiteX15" fmla="*/ 1889741 w 3969616"/>
                <a:gd name="connsiteY15" fmla="*/ 574578 h 4141098"/>
                <a:gd name="connsiteX16" fmla="*/ 1971628 w 3969616"/>
                <a:gd name="connsiteY16" fmla="*/ 1134136 h 4141098"/>
                <a:gd name="connsiteX17" fmla="*/ 1685025 w 3969616"/>
                <a:gd name="connsiteY17" fmla="*/ 1175079 h 4141098"/>
                <a:gd name="connsiteX18" fmla="*/ 1644081 w 3969616"/>
                <a:gd name="connsiteY18" fmla="*/ 1802877 h 4141098"/>
                <a:gd name="connsiteX19" fmla="*/ 0 w 3969616"/>
                <a:gd name="connsiteY19" fmla="*/ 4141098 h 4141098"/>
                <a:gd name="connsiteX20" fmla="*/ 1106416 w 3969616"/>
                <a:gd name="connsiteY20" fmla="*/ 4140435 h 4141098"/>
                <a:gd name="connsiteX21" fmla="*/ 1689059 w 3969616"/>
                <a:gd name="connsiteY21" fmla="*/ 2933366 h 4141098"/>
                <a:gd name="connsiteX22" fmla="*/ 3965987 w 3969616"/>
                <a:gd name="connsiteY22" fmla="*/ 2939717 h 4141098"/>
                <a:gd name="connsiteX23" fmla="*/ 3955102 w 3969616"/>
                <a:gd name="connsiteY23" fmla="*/ 1837538 h 4141098"/>
                <a:gd name="connsiteX0" fmla="*/ 3986852 w 3986852"/>
                <a:gd name="connsiteY0" fmla="*/ 1837538 h 4141098"/>
                <a:gd name="connsiteX1" fmla="*/ 3955102 w 3986852"/>
                <a:gd name="connsiteY1" fmla="*/ 1837538 h 4141098"/>
                <a:gd name="connsiteX2" fmla="*/ 2648816 w 3986852"/>
                <a:gd name="connsiteY2" fmla="*/ 1823024 h 4141098"/>
                <a:gd name="connsiteX3" fmla="*/ 2648816 w 3986852"/>
                <a:gd name="connsiteY3" fmla="*/ 1155367 h 4141098"/>
                <a:gd name="connsiteX4" fmla="*/ 2300473 w 3986852"/>
                <a:gd name="connsiteY4" fmla="*/ 1111824 h 4141098"/>
                <a:gd name="connsiteX5" fmla="*/ 2314988 w 3986852"/>
                <a:gd name="connsiteY5" fmla="*/ 661881 h 4141098"/>
                <a:gd name="connsiteX6" fmla="*/ 2445616 w 3986852"/>
                <a:gd name="connsiteY6" fmla="*/ 502224 h 4141098"/>
                <a:gd name="connsiteX7" fmla="*/ 3708359 w 3986852"/>
                <a:gd name="connsiteY7" fmla="*/ 632853 h 4141098"/>
                <a:gd name="connsiteX8" fmla="*/ 3969616 w 3986852"/>
                <a:gd name="connsiteY8" fmla="*/ 371596 h 4141098"/>
                <a:gd name="connsiteX9" fmla="*/ 3882531 w 3986852"/>
                <a:gd name="connsiteY9" fmla="*/ 284510 h 4141098"/>
                <a:gd name="connsiteX10" fmla="*/ 2408990 w 3986852"/>
                <a:gd name="connsiteY10" fmla="*/ 277593 h 4141098"/>
                <a:gd name="connsiteX11" fmla="*/ 1898835 w 3986852"/>
                <a:gd name="connsiteY11" fmla="*/ 278499 h 4141098"/>
                <a:gd name="connsiteX12" fmla="*/ 718416 w 3986852"/>
                <a:gd name="connsiteY12" fmla="*/ 168396 h 4141098"/>
                <a:gd name="connsiteX13" fmla="*/ 312016 w 3986852"/>
                <a:gd name="connsiteY13" fmla="*/ 516738 h 4141098"/>
                <a:gd name="connsiteX14" fmla="*/ 1632816 w 3986852"/>
                <a:gd name="connsiteY14" fmla="*/ 661881 h 4141098"/>
                <a:gd name="connsiteX15" fmla="*/ 1889741 w 3986852"/>
                <a:gd name="connsiteY15" fmla="*/ 574578 h 4141098"/>
                <a:gd name="connsiteX16" fmla="*/ 1971628 w 3986852"/>
                <a:gd name="connsiteY16" fmla="*/ 1134136 h 4141098"/>
                <a:gd name="connsiteX17" fmla="*/ 1685025 w 3986852"/>
                <a:gd name="connsiteY17" fmla="*/ 1175079 h 4141098"/>
                <a:gd name="connsiteX18" fmla="*/ 1644081 w 3986852"/>
                <a:gd name="connsiteY18" fmla="*/ 1802877 h 4141098"/>
                <a:gd name="connsiteX19" fmla="*/ 0 w 3986852"/>
                <a:gd name="connsiteY19" fmla="*/ 4141098 h 4141098"/>
                <a:gd name="connsiteX20" fmla="*/ 1106416 w 3986852"/>
                <a:gd name="connsiteY20" fmla="*/ 4140435 h 4141098"/>
                <a:gd name="connsiteX21" fmla="*/ 1689059 w 3986852"/>
                <a:gd name="connsiteY21" fmla="*/ 2933366 h 4141098"/>
                <a:gd name="connsiteX22" fmla="*/ 3965987 w 3986852"/>
                <a:gd name="connsiteY22" fmla="*/ 2939717 h 4141098"/>
                <a:gd name="connsiteX23" fmla="*/ 3986852 w 3986852"/>
                <a:gd name="connsiteY23" fmla="*/ 1837538 h 4141098"/>
                <a:gd name="connsiteX0" fmla="*/ 3986852 w 3986852"/>
                <a:gd name="connsiteY0" fmla="*/ 1837538 h 4141098"/>
                <a:gd name="connsiteX1" fmla="*/ 3955102 w 3986852"/>
                <a:gd name="connsiteY1" fmla="*/ 1837538 h 4141098"/>
                <a:gd name="connsiteX2" fmla="*/ 2648816 w 3986852"/>
                <a:gd name="connsiteY2" fmla="*/ 1823024 h 4141098"/>
                <a:gd name="connsiteX3" fmla="*/ 2648816 w 3986852"/>
                <a:gd name="connsiteY3" fmla="*/ 1155367 h 4141098"/>
                <a:gd name="connsiteX4" fmla="*/ 2300473 w 3986852"/>
                <a:gd name="connsiteY4" fmla="*/ 1111824 h 4141098"/>
                <a:gd name="connsiteX5" fmla="*/ 2314988 w 3986852"/>
                <a:gd name="connsiteY5" fmla="*/ 661881 h 4141098"/>
                <a:gd name="connsiteX6" fmla="*/ 2445616 w 3986852"/>
                <a:gd name="connsiteY6" fmla="*/ 502224 h 4141098"/>
                <a:gd name="connsiteX7" fmla="*/ 3708359 w 3986852"/>
                <a:gd name="connsiteY7" fmla="*/ 632853 h 4141098"/>
                <a:gd name="connsiteX8" fmla="*/ 3969616 w 3986852"/>
                <a:gd name="connsiteY8" fmla="*/ 371596 h 4141098"/>
                <a:gd name="connsiteX9" fmla="*/ 3882531 w 3986852"/>
                <a:gd name="connsiteY9" fmla="*/ 284510 h 4141098"/>
                <a:gd name="connsiteX10" fmla="*/ 2408990 w 3986852"/>
                <a:gd name="connsiteY10" fmla="*/ 277593 h 4141098"/>
                <a:gd name="connsiteX11" fmla="*/ 1898835 w 3986852"/>
                <a:gd name="connsiteY11" fmla="*/ 278499 h 4141098"/>
                <a:gd name="connsiteX12" fmla="*/ 718416 w 3986852"/>
                <a:gd name="connsiteY12" fmla="*/ 168396 h 4141098"/>
                <a:gd name="connsiteX13" fmla="*/ 312016 w 3986852"/>
                <a:gd name="connsiteY13" fmla="*/ 516738 h 4141098"/>
                <a:gd name="connsiteX14" fmla="*/ 1632816 w 3986852"/>
                <a:gd name="connsiteY14" fmla="*/ 661881 h 4141098"/>
                <a:gd name="connsiteX15" fmla="*/ 1889741 w 3986852"/>
                <a:gd name="connsiteY15" fmla="*/ 574578 h 4141098"/>
                <a:gd name="connsiteX16" fmla="*/ 1971628 w 3986852"/>
                <a:gd name="connsiteY16" fmla="*/ 1134136 h 4141098"/>
                <a:gd name="connsiteX17" fmla="*/ 1685025 w 3986852"/>
                <a:gd name="connsiteY17" fmla="*/ 1175079 h 4141098"/>
                <a:gd name="connsiteX18" fmla="*/ 1644081 w 3986852"/>
                <a:gd name="connsiteY18" fmla="*/ 1802877 h 4141098"/>
                <a:gd name="connsiteX19" fmla="*/ 0 w 3986852"/>
                <a:gd name="connsiteY19" fmla="*/ 4141098 h 4141098"/>
                <a:gd name="connsiteX20" fmla="*/ 1106416 w 3986852"/>
                <a:gd name="connsiteY20" fmla="*/ 4140435 h 4141098"/>
                <a:gd name="connsiteX21" fmla="*/ 1689059 w 3986852"/>
                <a:gd name="connsiteY21" fmla="*/ 2933366 h 4141098"/>
                <a:gd name="connsiteX22" fmla="*/ 3985037 w 3986852"/>
                <a:gd name="connsiteY22" fmla="*/ 2939717 h 4141098"/>
                <a:gd name="connsiteX23" fmla="*/ 3986852 w 3986852"/>
                <a:gd name="connsiteY23" fmla="*/ 1837538 h 4141098"/>
                <a:gd name="connsiteX0" fmla="*/ 3986852 w 3986852"/>
                <a:gd name="connsiteY0" fmla="*/ 1837538 h 4141098"/>
                <a:gd name="connsiteX1" fmla="*/ 3955102 w 3986852"/>
                <a:gd name="connsiteY1" fmla="*/ 1837538 h 4141098"/>
                <a:gd name="connsiteX2" fmla="*/ 2648816 w 3986852"/>
                <a:gd name="connsiteY2" fmla="*/ 1823024 h 4141098"/>
                <a:gd name="connsiteX3" fmla="*/ 2648816 w 3986852"/>
                <a:gd name="connsiteY3" fmla="*/ 1155367 h 4141098"/>
                <a:gd name="connsiteX4" fmla="*/ 2300473 w 3986852"/>
                <a:gd name="connsiteY4" fmla="*/ 1111824 h 4141098"/>
                <a:gd name="connsiteX5" fmla="*/ 2314988 w 3986852"/>
                <a:gd name="connsiteY5" fmla="*/ 661881 h 4141098"/>
                <a:gd name="connsiteX6" fmla="*/ 2445616 w 3986852"/>
                <a:gd name="connsiteY6" fmla="*/ 502224 h 4141098"/>
                <a:gd name="connsiteX7" fmla="*/ 3708359 w 3986852"/>
                <a:gd name="connsiteY7" fmla="*/ 632853 h 4141098"/>
                <a:gd name="connsiteX8" fmla="*/ 3969616 w 3986852"/>
                <a:gd name="connsiteY8" fmla="*/ 371596 h 4141098"/>
                <a:gd name="connsiteX9" fmla="*/ 3882531 w 3986852"/>
                <a:gd name="connsiteY9" fmla="*/ 284510 h 4141098"/>
                <a:gd name="connsiteX10" fmla="*/ 2408990 w 3986852"/>
                <a:gd name="connsiteY10" fmla="*/ 277593 h 4141098"/>
                <a:gd name="connsiteX11" fmla="*/ 1898835 w 3986852"/>
                <a:gd name="connsiteY11" fmla="*/ 278499 h 4141098"/>
                <a:gd name="connsiteX12" fmla="*/ 718416 w 3986852"/>
                <a:gd name="connsiteY12" fmla="*/ 168396 h 4141098"/>
                <a:gd name="connsiteX13" fmla="*/ 312016 w 3986852"/>
                <a:gd name="connsiteY13" fmla="*/ 516738 h 4141098"/>
                <a:gd name="connsiteX14" fmla="*/ 1632816 w 3986852"/>
                <a:gd name="connsiteY14" fmla="*/ 661881 h 4141098"/>
                <a:gd name="connsiteX15" fmla="*/ 1889741 w 3986852"/>
                <a:gd name="connsiteY15" fmla="*/ 574578 h 4141098"/>
                <a:gd name="connsiteX16" fmla="*/ 1971628 w 3986852"/>
                <a:gd name="connsiteY16" fmla="*/ 1134136 h 4141098"/>
                <a:gd name="connsiteX17" fmla="*/ 1685025 w 3986852"/>
                <a:gd name="connsiteY17" fmla="*/ 1175079 h 4141098"/>
                <a:gd name="connsiteX18" fmla="*/ 1644081 w 3986852"/>
                <a:gd name="connsiteY18" fmla="*/ 1802877 h 4141098"/>
                <a:gd name="connsiteX19" fmla="*/ 0 w 3986852"/>
                <a:gd name="connsiteY19" fmla="*/ 4141098 h 4141098"/>
                <a:gd name="connsiteX20" fmla="*/ 1106416 w 3986852"/>
                <a:gd name="connsiteY20" fmla="*/ 4140435 h 4141098"/>
                <a:gd name="connsiteX21" fmla="*/ 1689059 w 3986852"/>
                <a:gd name="connsiteY21" fmla="*/ 2933366 h 4141098"/>
                <a:gd name="connsiteX22" fmla="*/ 3985037 w 3986852"/>
                <a:gd name="connsiteY22" fmla="*/ 2939717 h 4141098"/>
                <a:gd name="connsiteX23" fmla="*/ 3986852 w 3986852"/>
                <a:gd name="connsiteY23" fmla="*/ 1837538 h 4141098"/>
                <a:gd name="connsiteX0" fmla="*/ 3986852 w 3986852"/>
                <a:gd name="connsiteY0" fmla="*/ 1837538 h 4141098"/>
                <a:gd name="connsiteX1" fmla="*/ 3955102 w 3986852"/>
                <a:gd name="connsiteY1" fmla="*/ 1837538 h 4141098"/>
                <a:gd name="connsiteX2" fmla="*/ 2648816 w 3986852"/>
                <a:gd name="connsiteY2" fmla="*/ 1823024 h 4141098"/>
                <a:gd name="connsiteX3" fmla="*/ 2648816 w 3986852"/>
                <a:gd name="connsiteY3" fmla="*/ 1155367 h 4141098"/>
                <a:gd name="connsiteX4" fmla="*/ 2300473 w 3986852"/>
                <a:gd name="connsiteY4" fmla="*/ 1111824 h 4141098"/>
                <a:gd name="connsiteX5" fmla="*/ 2314988 w 3986852"/>
                <a:gd name="connsiteY5" fmla="*/ 661881 h 4141098"/>
                <a:gd name="connsiteX6" fmla="*/ 2445616 w 3986852"/>
                <a:gd name="connsiteY6" fmla="*/ 502224 h 4141098"/>
                <a:gd name="connsiteX7" fmla="*/ 3708359 w 3986852"/>
                <a:gd name="connsiteY7" fmla="*/ 632853 h 4141098"/>
                <a:gd name="connsiteX8" fmla="*/ 3969616 w 3986852"/>
                <a:gd name="connsiteY8" fmla="*/ 371596 h 4141098"/>
                <a:gd name="connsiteX9" fmla="*/ 3882531 w 3986852"/>
                <a:gd name="connsiteY9" fmla="*/ 284510 h 4141098"/>
                <a:gd name="connsiteX10" fmla="*/ 2408990 w 3986852"/>
                <a:gd name="connsiteY10" fmla="*/ 277593 h 4141098"/>
                <a:gd name="connsiteX11" fmla="*/ 1898835 w 3986852"/>
                <a:gd name="connsiteY11" fmla="*/ 278499 h 4141098"/>
                <a:gd name="connsiteX12" fmla="*/ 718416 w 3986852"/>
                <a:gd name="connsiteY12" fmla="*/ 168396 h 4141098"/>
                <a:gd name="connsiteX13" fmla="*/ 312016 w 3986852"/>
                <a:gd name="connsiteY13" fmla="*/ 516738 h 4141098"/>
                <a:gd name="connsiteX14" fmla="*/ 1632816 w 3986852"/>
                <a:gd name="connsiteY14" fmla="*/ 661881 h 4141098"/>
                <a:gd name="connsiteX15" fmla="*/ 1889741 w 3986852"/>
                <a:gd name="connsiteY15" fmla="*/ 574578 h 4141098"/>
                <a:gd name="connsiteX16" fmla="*/ 1971628 w 3986852"/>
                <a:gd name="connsiteY16" fmla="*/ 1134136 h 4141098"/>
                <a:gd name="connsiteX17" fmla="*/ 1685025 w 3986852"/>
                <a:gd name="connsiteY17" fmla="*/ 1175079 h 4141098"/>
                <a:gd name="connsiteX18" fmla="*/ 1656781 w 3986852"/>
                <a:gd name="connsiteY18" fmla="*/ 1840977 h 4141098"/>
                <a:gd name="connsiteX19" fmla="*/ 0 w 3986852"/>
                <a:gd name="connsiteY19" fmla="*/ 4141098 h 4141098"/>
                <a:gd name="connsiteX20" fmla="*/ 1106416 w 3986852"/>
                <a:gd name="connsiteY20" fmla="*/ 4140435 h 4141098"/>
                <a:gd name="connsiteX21" fmla="*/ 1689059 w 3986852"/>
                <a:gd name="connsiteY21" fmla="*/ 2933366 h 4141098"/>
                <a:gd name="connsiteX22" fmla="*/ 3985037 w 3986852"/>
                <a:gd name="connsiteY22" fmla="*/ 2939717 h 4141098"/>
                <a:gd name="connsiteX23" fmla="*/ 3986852 w 3986852"/>
                <a:gd name="connsiteY23"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28622 w 4166658"/>
                <a:gd name="connsiteY3" fmla="*/ 115536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64831 w 4166658"/>
                <a:gd name="connsiteY17" fmla="*/ 1175079 h 4141098"/>
                <a:gd name="connsiteX18" fmla="*/ 1836587 w 4166658"/>
                <a:gd name="connsiteY18" fmla="*/ 1840977 h 4141098"/>
                <a:gd name="connsiteX19" fmla="*/ 179806 w 4166658"/>
                <a:gd name="connsiteY19" fmla="*/ 4141098 h 4141098"/>
                <a:gd name="connsiteX20" fmla="*/ 1286222 w 4166658"/>
                <a:gd name="connsiteY20" fmla="*/ 4140435 h 4141098"/>
                <a:gd name="connsiteX21" fmla="*/ 1868865 w 4166658"/>
                <a:gd name="connsiteY21" fmla="*/ 2933366 h 4141098"/>
                <a:gd name="connsiteX22" fmla="*/ 4164843 w 4166658"/>
                <a:gd name="connsiteY22" fmla="*/ 2939717 h 4141098"/>
                <a:gd name="connsiteX23" fmla="*/ 4166658 w 4166658"/>
                <a:gd name="connsiteY23"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28622 w 4166658"/>
                <a:gd name="connsiteY3" fmla="*/ 115536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64831 w 4166658"/>
                <a:gd name="connsiteY17" fmla="*/ 1175079 h 4141098"/>
                <a:gd name="connsiteX18" fmla="*/ 1836587 w 4166658"/>
                <a:gd name="connsiteY18" fmla="*/ 1840977 h 4141098"/>
                <a:gd name="connsiteX19" fmla="*/ 179806 w 4166658"/>
                <a:gd name="connsiteY19" fmla="*/ 4141098 h 4141098"/>
                <a:gd name="connsiteX20" fmla="*/ 1286222 w 4166658"/>
                <a:gd name="connsiteY20" fmla="*/ 4140435 h 4141098"/>
                <a:gd name="connsiteX21" fmla="*/ 1868865 w 4166658"/>
                <a:gd name="connsiteY21" fmla="*/ 2933366 h 4141098"/>
                <a:gd name="connsiteX22" fmla="*/ 4164843 w 4166658"/>
                <a:gd name="connsiteY22" fmla="*/ 2939717 h 4141098"/>
                <a:gd name="connsiteX23" fmla="*/ 4166658 w 4166658"/>
                <a:gd name="connsiteY23"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28622 w 4166658"/>
                <a:gd name="connsiteY3" fmla="*/ 115536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64831 w 4166658"/>
                <a:gd name="connsiteY17" fmla="*/ 1175079 h 4141098"/>
                <a:gd name="connsiteX18" fmla="*/ 1836587 w 4166658"/>
                <a:gd name="connsiteY18" fmla="*/ 1840977 h 4141098"/>
                <a:gd name="connsiteX19" fmla="*/ 179806 w 4166658"/>
                <a:gd name="connsiteY19" fmla="*/ 4141098 h 4141098"/>
                <a:gd name="connsiteX20" fmla="*/ 1286222 w 4166658"/>
                <a:gd name="connsiteY20" fmla="*/ 4140435 h 4141098"/>
                <a:gd name="connsiteX21" fmla="*/ 1868865 w 4166658"/>
                <a:gd name="connsiteY21" fmla="*/ 2933366 h 4141098"/>
                <a:gd name="connsiteX22" fmla="*/ 4164843 w 4166658"/>
                <a:gd name="connsiteY22" fmla="*/ 2939717 h 4141098"/>
                <a:gd name="connsiteX23" fmla="*/ 4166658 w 4166658"/>
                <a:gd name="connsiteY23"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28622 w 4166658"/>
                <a:gd name="connsiteY3" fmla="*/ 115536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64831 w 4166658"/>
                <a:gd name="connsiteY17" fmla="*/ 1175079 h 4141098"/>
                <a:gd name="connsiteX18" fmla="*/ 1836587 w 4166658"/>
                <a:gd name="connsiteY18" fmla="*/ 1840977 h 4141098"/>
                <a:gd name="connsiteX19" fmla="*/ 179806 w 4166658"/>
                <a:gd name="connsiteY19" fmla="*/ 4141098 h 4141098"/>
                <a:gd name="connsiteX20" fmla="*/ 1286222 w 4166658"/>
                <a:gd name="connsiteY20" fmla="*/ 4140435 h 4141098"/>
                <a:gd name="connsiteX21" fmla="*/ 1302808 w 4166658"/>
                <a:gd name="connsiteY21" fmla="*/ 3574717 h 4141098"/>
                <a:gd name="connsiteX22" fmla="*/ 1868865 w 4166658"/>
                <a:gd name="connsiteY22" fmla="*/ 2933366 h 4141098"/>
                <a:gd name="connsiteX23" fmla="*/ 4164843 w 4166658"/>
                <a:gd name="connsiteY23" fmla="*/ 2939717 h 4141098"/>
                <a:gd name="connsiteX24" fmla="*/ 4166658 w 4166658"/>
                <a:gd name="connsiteY24"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28622 w 4166658"/>
                <a:gd name="connsiteY3" fmla="*/ 115536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64831 w 4166658"/>
                <a:gd name="connsiteY17" fmla="*/ 1175079 h 4141098"/>
                <a:gd name="connsiteX18" fmla="*/ 1836587 w 4166658"/>
                <a:gd name="connsiteY18" fmla="*/ 1840977 h 4141098"/>
                <a:gd name="connsiteX19" fmla="*/ 179806 w 4166658"/>
                <a:gd name="connsiteY19" fmla="*/ 4141098 h 4141098"/>
                <a:gd name="connsiteX20" fmla="*/ 1286222 w 4166658"/>
                <a:gd name="connsiteY20" fmla="*/ 4140435 h 4141098"/>
                <a:gd name="connsiteX21" fmla="*/ 1302808 w 4166658"/>
                <a:gd name="connsiteY21" fmla="*/ 3574717 h 4141098"/>
                <a:gd name="connsiteX22" fmla="*/ 1868865 w 4166658"/>
                <a:gd name="connsiteY22" fmla="*/ 2933366 h 4141098"/>
                <a:gd name="connsiteX23" fmla="*/ 4164843 w 4166658"/>
                <a:gd name="connsiteY23" fmla="*/ 2939717 h 4141098"/>
                <a:gd name="connsiteX24" fmla="*/ 4166658 w 4166658"/>
                <a:gd name="connsiteY24"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28622 w 4166658"/>
                <a:gd name="connsiteY3" fmla="*/ 115536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64831 w 4166658"/>
                <a:gd name="connsiteY17" fmla="*/ 1175079 h 4141098"/>
                <a:gd name="connsiteX18" fmla="*/ 1836587 w 4166658"/>
                <a:gd name="connsiteY18" fmla="*/ 1840977 h 4141098"/>
                <a:gd name="connsiteX19" fmla="*/ 179806 w 4166658"/>
                <a:gd name="connsiteY19" fmla="*/ 4141098 h 4141098"/>
                <a:gd name="connsiteX20" fmla="*/ 1286222 w 4166658"/>
                <a:gd name="connsiteY20" fmla="*/ 4140435 h 4141098"/>
                <a:gd name="connsiteX21" fmla="*/ 1302808 w 4166658"/>
                <a:gd name="connsiteY21" fmla="*/ 3574717 h 4141098"/>
                <a:gd name="connsiteX22" fmla="*/ 1868865 w 4166658"/>
                <a:gd name="connsiteY22" fmla="*/ 2933366 h 4141098"/>
                <a:gd name="connsiteX23" fmla="*/ 4164843 w 4166658"/>
                <a:gd name="connsiteY23" fmla="*/ 2939717 h 4141098"/>
                <a:gd name="connsiteX24" fmla="*/ 4166658 w 4166658"/>
                <a:gd name="connsiteY24"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28622 w 4166658"/>
                <a:gd name="connsiteY3" fmla="*/ 115536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64831 w 4166658"/>
                <a:gd name="connsiteY17" fmla="*/ 1175079 h 4141098"/>
                <a:gd name="connsiteX18" fmla="*/ 1836587 w 4166658"/>
                <a:gd name="connsiteY18" fmla="*/ 1840977 h 4141098"/>
                <a:gd name="connsiteX19" fmla="*/ 179806 w 4166658"/>
                <a:gd name="connsiteY19" fmla="*/ 4141098 h 4141098"/>
                <a:gd name="connsiteX20" fmla="*/ 1305272 w 4166658"/>
                <a:gd name="connsiteY20" fmla="*/ 4140435 h 4141098"/>
                <a:gd name="connsiteX21" fmla="*/ 1302808 w 4166658"/>
                <a:gd name="connsiteY21" fmla="*/ 3574717 h 4141098"/>
                <a:gd name="connsiteX22" fmla="*/ 1868865 w 4166658"/>
                <a:gd name="connsiteY22" fmla="*/ 2933366 h 4141098"/>
                <a:gd name="connsiteX23" fmla="*/ 4164843 w 4166658"/>
                <a:gd name="connsiteY23" fmla="*/ 2939717 h 4141098"/>
                <a:gd name="connsiteX24" fmla="*/ 4166658 w 4166658"/>
                <a:gd name="connsiteY24"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28622 w 4166658"/>
                <a:gd name="connsiteY3" fmla="*/ 115536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64831 w 4166658"/>
                <a:gd name="connsiteY17" fmla="*/ 1175079 h 4141098"/>
                <a:gd name="connsiteX18" fmla="*/ 1836587 w 4166658"/>
                <a:gd name="connsiteY18" fmla="*/ 1840977 h 4141098"/>
                <a:gd name="connsiteX19" fmla="*/ 179806 w 4166658"/>
                <a:gd name="connsiteY19" fmla="*/ 4141098 h 4141098"/>
                <a:gd name="connsiteX20" fmla="*/ 1305272 w 4166658"/>
                <a:gd name="connsiteY20" fmla="*/ 4140435 h 4141098"/>
                <a:gd name="connsiteX21" fmla="*/ 1302808 w 4166658"/>
                <a:gd name="connsiteY21" fmla="*/ 3574717 h 4141098"/>
                <a:gd name="connsiteX22" fmla="*/ 1868865 w 4166658"/>
                <a:gd name="connsiteY22" fmla="*/ 2933366 h 4141098"/>
                <a:gd name="connsiteX23" fmla="*/ 4164843 w 4166658"/>
                <a:gd name="connsiteY23" fmla="*/ 2939717 h 4141098"/>
                <a:gd name="connsiteX24" fmla="*/ 4166658 w 4166658"/>
                <a:gd name="connsiteY24"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28622 w 4166658"/>
                <a:gd name="connsiteY3" fmla="*/ 115536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64831 w 4166658"/>
                <a:gd name="connsiteY17" fmla="*/ 1175079 h 4141098"/>
                <a:gd name="connsiteX18" fmla="*/ 1836587 w 4166658"/>
                <a:gd name="connsiteY18" fmla="*/ 1840977 h 4141098"/>
                <a:gd name="connsiteX19" fmla="*/ 179806 w 4166658"/>
                <a:gd name="connsiteY19" fmla="*/ 4141098 h 4141098"/>
                <a:gd name="connsiteX20" fmla="*/ 1305272 w 4166658"/>
                <a:gd name="connsiteY20" fmla="*/ 4140435 h 4141098"/>
                <a:gd name="connsiteX21" fmla="*/ 1302808 w 4166658"/>
                <a:gd name="connsiteY21" fmla="*/ 3574717 h 4141098"/>
                <a:gd name="connsiteX22" fmla="*/ 1868865 w 4166658"/>
                <a:gd name="connsiteY22" fmla="*/ 2933366 h 4141098"/>
                <a:gd name="connsiteX23" fmla="*/ 4164843 w 4166658"/>
                <a:gd name="connsiteY23" fmla="*/ 2939717 h 4141098"/>
                <a:gd name="connsiteX24" fmla="*/ 4166658 w 4166658"/>
                <a:gd name="connsiteY24"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28622 w 4166658"/>
                <a:gd name="connsiteY3" fmla="*/ 115536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52131 w 4166658"/>
                <a:gd name="connsiteY17" fmla="*/ 1130629 h 4141098"/>
                <a:gd name="connsiteX18" fmla="*/ 1836587 w 4166658"/>
                <a:gd name="connsiteY18" fmla="*/ 1840977 h 4141098"/>
                <a:gd name="connsiteX19" fmla="*/ 179806 w 4166658"/>
                <a:gd name="connsiteY19" fmla="*/ 4141098 h 4141098"/>
                <a:gd name="connsiteX20" fmla="*/ 1305272 w 4166658"/>
                <a:gd name="connsiteY20" fmla="*/ 4140435 h 4141098"/>
                <a:gd name="connsiteX21" fmla="*/ 1302808 w 4166658"/>
                <a:gd name="connsiteY21" fmla="*/ 3574717 h 4141098"/>
                <a:gd name="connsiteX22" fmla="*/ 1868865 w 4166658"/>
                <a:gd name="connsiteY22" fmla="*/ 2933366 h 4141098"/>
                <a:gd name="connsiteX23" fmla="*/ 4164843 w 4166658"/>
                <a:gd name="connsiteY23" fmla="*/ 2939717 h 4141098"/>
                <a:gd name="connsiteX24" fmla="*/ 4166658 w 4166658"/>
                <a:gd name="connsiteY24"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41322 w 4166658"/>
                <a:gd name="connsiteY3" fmla="*/ 111091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52131 w 4166658"/>
                <a:gd name="connsiteY17" fmla="*/ 1130629 h 4141098"/>
                <a:gd name="connsiteX18" fmla="*/ 1836587 w 4166658"/>
                <a:gd name="connsiteY18" fmla="*/ 1840977 h 4141098"/>
                <a:gd name="connsiteX19" fmla="*/ 179806 w 4166658"/>
                <a:gd name="connsiteY19" fmla="*/ 4141098 h 4141098"/>
                <a:gd name="connsiteX20" fmla="*/ 1305272 w 4166658"/>
                <a:gd name="connsiteY20" fmla="*/ 4140435 h 4141098"/>
                <a:gd name="connsiteX21" fmla="*/ 1302808 w 4166658"/>
                <a:gd name="connsiteY21" fmla="*/ 3574717 h 4141098"/>
                <a:gd name="connsiteX22" fmla="*/ 1868865 w 4166658"/>
                <a:gd name="connsiteY22" fmla="*/ 2933366 h 4141098"/>
                <a:gd name="connsiteX23" fmla="*/ 4164843 w 4166658"/>
                <a:gd name="connsiteY23" fmla="*/ 2939717 h 4141098"/>
                <a:gd name="connsiteX24" fmla="*/ 4166658 w 4166658"/>
                <a:gd name="connsiteY24"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54022 w 4166658"/>
                <a:gd name="connsiteY3" fmla="*/ 112996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52131 w 4166658"/>
                <a:gd name="connsiteY17" fmla="*/ 1130629 h 4141098"/>
                <a:gd name="connsiteX18" fmla="*/ 1836587 w 4166658"/>
                <a:gd name="connsiteY18" fmla="*/ 1840977 h 4141098"/>
                <a:gd name="connsiteX19" fmla="*/ 179806 w 4166658"/>
                <a:gd name="connsiteY19" fmla="*/ 4141098 h 4141098"/>
                <a:gd name="connsiteX20" fmla="*/ 1305272 w 4166658"/>
                <a:gd name="connsiteY20" fmla="*/ 4140435 h 4141098"/>
                <a:gd name="connsiteX21" fmla="*/ 1302808 w 4166658"/>
                <a:gd name="connsiteY21" fmla="*/ 3574717 h 4141098"/>
                <a:gd name="connsiteX22" fmla="*/ 1868865 w 4166658"/>
                <a:gd name="connsiteY22" fmla="*/ 2933366 h 4141098"/>
                <a:gd name="connsiteX23" fmla="*/ 4164843 w 4166658"/>
                <a:gd name="connsiteY23" fmla="*/ 2939717 h 4141098"/>
                <a:gd name="connsiteX24" fmla="*/ 4166658 w 4166658"/>
                <a:gd name="connsiteY24" fmla="*/ 1837538 h 4141098"/>
                <a:gd name="connsiteX0" fmla="*/ 4166658 w 4166658"/>
                <a:gd name="connsiteY0" fmla="*/ 1710538 h 4014098"/>
                <a:gd name="connsiteX1" fmla="*/ 4134908 w 4166658"/>
                <a:gd name="connsiteY1" fmla="*/ 1710538 h 4014098"/>
                <a:gd name="connsiteX2" fmla="*/ 2828622 w 4166658"/>
                <a:gd name="connsiteY2" fmla="*/ 1696024 h 4014098"/>
                <a:gd name="connsiteX3" fmla="*/ 2854022 w 4166658"/>
                <a:gd name="connsiteY3" fmla="*/ 1002967 h 4014098"/>
                <a:gd name="connsiteX4" fmla="*/ 2480279 w 4166658"/>
                <a:gd name="connsiteY4" fmla="*/ 984824 h 4014098"/>
                <a:gd name="connsiteX5" fmla="*/ 2494794 w 4166658"/>
                <a:gd name="connsiteY5" fmla="*/ 534881 h 4014098"/>
                <a:gd name="connsiteX6" fmla="*/ 2625422 w 4166658"/>
                <a:gd name="connsiteY6" fmla="*/ 375224 h 4014098"/>
                <a:gd name="connsiteX7" fmla="*/ 3888165 w 4166658"/>
                <a:gd name="connsiteY7" fmla="*/ 505853 h 4014098"/>
                <a:gd name="connsiteX8" fmla="*/ 4149422 w 4166658"/>
                <a:gd name="connsiteY8" fmla="*/ 244596 h 4014098"/>
                <a:gd name="connsiteX9" fmla="*/ 4062337 w 4166658"/>
                <a:gd name="connsiteY9" fmla="*/ 157510 h 4014098"/>
                <a:gd name="connsiteX10" fmla="*/ 2588796 w 4166658"/>
                <a:gd name="connsiteY10" fmla="*/ 150593 h 4014098"/>
                <a:gd name="connsiteX11" fmla="*/ 2078641 w 4166658"/>
                <a:gd name="connsiteY11" fmla="*/ 151499 h 4014098"/>
                <a:gd name="connsiteX12" fmla="*/ 898222 w 4166658"/>
                <a:gd name="connsiteY12" fmla="*/ 41396 h 4014098"/>
                <a:gd name="connsiteX13" fmla="*/ 491822 w 4166658"/>
                <a:gd name="connsiteY13" fmla="*/ 389738 h 4014098"/>
                <a:gd name="connsiteX14" fmla="*/ 1812622 w 4166658"/>
                <a:gd name="connsiteY14" fmla="*/ 534881 h 4014098"/>
                <a:gd name="connsiteX15" fmla="*/ 2196547 w 4166658"/>
                <a:gd name="connsiteY15" fmla="*/ 574578 h 4014098"/>
                <a:gd name="connsiteX16" fmla="*/ 2151434 w 4166658"/>
                <a:gd name="connsiteY16" fmla="*/ 1007136 h 4014098"/>
                <a:gd name="connsiteX17" fmla="*/ 1852131 w 4166658"/>
                <a:gd name="connsiteY17" fmla="*/ 1003629 h 4014098"/>
                <a:gd name="connsiteX18" fmla="*/ 1836587 w 4166658"/>
                <a:gd name="connsiteY18" fmla="*/ 1713977 h 4014098"/>
                <a:gd name="connsiteX19" fmla="*/ 179806 w 4166658"/>
                <a:gd name="connsiteY19" fmla="*/ 4014098 h 4014098"/>
                <a:gd name="connsiteX20" fmla="*/ 1305272 w 4166658"/>
                <a:gd name="connsiteY20" fmla="*/ 4013435 h 4014098"/>
                <a:gd name="connsiteX21" fmla="*/ 1302808 w 4166658"/>
                <a:gd name="connsiteY21" fmla="*/ 3447717 h 4014098"/>
                <a:gd name="connsiteX22" fmla="*/ 1868865 w 4166658"/>
                <a:gd name="connsiteY22" fmla="*/ 2806366 h 4014098"/>
                <a:gd name="connsiteX23" fmla="*/ 4164843 w 4166658"/>
                <a:gd name="connsiteY23" fmla="*/ 2812717 h 4014098"/>
                <a:gd name="connsiteX24" fmla="*/ 4166658 w 4166658"/>
                <a:gd name="connsiteY24" fmla="*/ 1710538 h 4014098"/>
                <a:gd name="connsiteX0" fmla="*/ 4166658 w 4166658"/>
                <a:gd name="connsiteY0" fmla="*/ 1710538 h 4014098"/>
                <a:gd name="connsiteX1" fmla="*/ 4134908 w 4166658"/>
                <a:gd name="connsiteY1" fmla="*/ 1710538 h 4014098"/>
                <a:gd name="connsiteX2" fmla="*/ 2828622 w 4166658"/>
                <a:gd name="connsiteY2" fmla="*/ 1696024 h 4014098"/>
                <a:gd name="connsiteX3" fmla="*/ 2854022 w 4166658"/>
                <a:gd name="connsiteY3" fmla="*/ 1002967 h 4014098"/>
                <a:gd name="connsiteX4" fmla="*/ 2480279 w 4166658"/>
                <a:gd name="connsiteY4" fmla="*/ 984824 h 4014098"/>
                <a:gd name="connsiteX5" fmla="*/ 2494794 w 4166658"/>
                <a:gd name="connsiteY5" fmla="*/ 534881 h 4014098"/>
                <a:gd name="connsiteX6" fmla="*/ 2625422 w 4166658"/>
                <a:gd name="connsiteY6" fmla="*/ 375224 h 4014098"/>
                <a:gd name="connsiteX7" fmla="*/ 3888165 w 4166658"/>
                <a:gd name="connsiteY7" fmla="*/ 505853 h 4014098"/>
                <a:gd name="connsiteX8" fmla="*/ 4149422 w 4166658"/>
                <a:gd name="connsiteY8" fmla="*/ 244596 h 4014098"/>
                <a:gd name="connsiteX9" fmla="*/ 4062337 w 4166658"/>
                <a:gd name="connsiteY9" fmla="*/ 157510 h 4014098"/>
                <a:gd name="connsiteX10" fmla="*/ 2588796 w 4166658"/>
                <a:gd name="connsiteY10" fmla="*/ 150593 h 4014098"/>
                <a:gd name="connsiteX11" fmla="*/ 2078641 w 4166658"/>
                <a:gd name="connsiteY11" fmla="*/ 151499 h 4014098"/>
                <a:gd name="connsiteX12" fmla="*/ 898222 w 4166658"/>
                <a:gd name="connsiteY12" fmla="*/ 41396 h 4014098"/>
                <a:gd name="connsiteX13" fmla="*/ 491822 w 4166658"/>
                <a:gd name="connsiteY13" fmla="*/ 389738 h 4014098"/>
                <a:gd name="connsiteX14" fmla="*/ 2053922 w 4166658"/>
                <a:gd name="connsiteY14" fmla="*/ 401531 h 4014098"/>
                <a:gd name="connsiteX15" fmla="*/ 2196547 w 4166658"/>
                <a:gd name="connsiteY15" fmla="*/ 574578 h 4014098"/>
                <a:gd name="connsiteX16" fmla="*/ 2151434 w 4166658"/>
                <a:gd name="connsiteY16" fmla="*/ 1007136 h 4014098"/>
                <a:gd name="connsiteX17" fmla="*/ 1852131 w 4166658"/>
                <a:gd name="connsiteY17" fmla="*/ 1003629 h 4014098"/>
                <a:gd name="connsiteX18" fmla="*/ 1836587 w 4166658"/>
                <a:gd name="connsiteY18" fmla="*/ 1713977 h 4014098"/>
                <a:gd name="connsiteX19" fmla="*/ 179806 w 4166658"/>
                <a:gd name="connsiteY19" fmla="*/ 4014098 h 4014098"/>
                <a:gd name="connsiteX20" fmla="*/ 1305272 w 4166658"/>
                <a:gd name="connsiteY20" fmla="*/ 4013435 h 4014098"/>
                <a:gd name="connsiteX21" fmla="*/ 1302808 w 4166658"/>
                <a:gd name="connsiteY21" fmla="*/ 3447717 h 4014098"/>
                <a:gd name="connsiteX22" fmla="*/ 1868865 w 4166658"/>
                <a:gd name="connsiteY22" fmla="*/ 2806366 h 4014098"/>
                <a:gd name="connsiteX23" fmla="*/ 4164843 w 4166658"/>
                <a:gd name="connsiteY23" fmla="*/ 2812717 h 4014098"/>
                <a:gd name="connsiteX24" fmla="*/ 4166658 w 4166658"/>
                <a:gd name="connsiteY24" fmla="*/ 1710538 h 4014098"/>
                <a:gd name="connsiteX0" fmla="*/ 4166658 w 4166658"/>
                <a:gd name="connsiteY0" fmla="*/ 1710538 h 4014098"/>
                <a:gd name="connsiteX1" fmla="*/ 4134908 w 4166658"/>
                <a:gd name="connsiteY1" fmla="*/ 1710538 h 4014098"/>
                <a:gd name="connsiteX2" fmla="*/ 2828622 w 4166658"/>
                <a:gd name="connsiteY2" fmla="*/ 1696024 h 4014098"/>
                <a:gd name="connsiteX3" fmla="*/ 2854022 w 4166658"/>
                <a:gd name="connsiteY3" fmla="*/ 1002967 h 4014098"/>
                <a:gd name="connsiteX4" fmla="*/ 2480279 w 4166658"/>
                <a:gd name="connsiteY4" fmla="*/ 984824 h 4014098"/>
                <a:gd name="connsiteX5" fmla="*/ 2494794 w 4166658"/>
                <a:gd name="connsiteY5" fmla="*/ 534881 h 4014098"/>
                <a:gd name="connsiteX6" fmla="*/ 2625422 w 4166658"/>
                <a:gd name="connsiteY6" fmla="*/ 375224 h 4014098"/>
                <a:gd name="connsiteX7" fmla="*/ 3888165 w 4166658"/>
                <a:gd name="connsiteY7" fmla="*/ 505853 h 4014098"/>
                <a:gd name="connsiteX8" fmla="*/ 4149422 w 4166658"/>
                <a:gd name="connsiteY8" fmla="*/ 244596 h 4014098"/>
                <a:gd name="connsiteX9" fmla="*/ 4062337 w 4166658"/>
                <a:gd name="connsiteY9" fmla="*/ 157510 h 4014098"/>
                <a:gd name="connsiteX10" fmla="*/ 2588796 w 4166658"/>
                <a:gd name="connsiteY10" fmla="*/ 150593 h 4014098"/>
                <a:gd name="connsiteX11" fmla="*/ 2078641 w 4166658"/>
                <a:gd name="connsiteY11" fmla="*/ 151499 h 4014098"/>
                <a:gd name="connsiteX12" fmla="*/ 898222 w 4166658"/>
                <a:gd name="connsiteY12" fmla="*/ 41396 h 4014098"/>
                <a:gd name="connsiteX13" fmla="*/ 523572 w 4166658"/>
                <a:gd name="connsiteY13" fmla="*/ 275438 h 4014098"/>
                <a:gd name="connsiteX14" fmla="*/ 2053922 w 4166658"/>
                <a:gd name="connsiteY14" fmla="*/ 401531 h 4014098"/>
                <a:gd name="connsiteX15" fmla="*/ 2196547 w 4166658"/>
                <a:gd name="connsiteY15" fmla="*/ 574578 h 4014098"/>
                <a:gd name="connsiteX16" fmla="*/ 2151434 w 4166658"/>
                <a:gd name="connsiteY16" fmla="*/ 1007136 h 4014098"/>
                <a:gd name="connsiteX17" fmla="*/ 1852131 w 4166658"/>
                <a:gd name="connsiteY17" fmla="*/ 1003629 h 4014098"/>
                <a:gd name="connsiteX18" fmla="*/ 1836587 w 4166658"/>
                <a:gd name="connsiteY18" fmla="*/ 1713977 h 4014098"/>
                <a:gd name="connsiteX19" fmla="*/ 179806 w 4166658"/>
                <a:gd name="connsiteY19" fmla="*/ 4014098 h 4014098"/>
                <a:gd name="connsiteX20" fmla="*/ 1305272 w 4166658"/>
                <a:gd name="connsiteY20" fmla="*/ 4013435 h 4014098"/>
                <a:gd name="connsiteX21" fmla="*/ 1302808 w 4166658"/>
                <a:gd name="connsiteY21" fmla="*/ 3447717 h 4014098"/>
                <a:gd name="connsiteX22" fmla="*/ 1868865 w 4166658"/>
                <a:gd name="connsiteY22" fmla="*/ 2806366 h 4014098"/>
                <a:gd name="connsiteX23" fmla="*/ 4164843 w 4166658"/>
                <a:gd name="connsiteY23" fmla="*/ 2812717 h 4014098"/>
                <a:gd name="connsiteX24" fmla="*/ 4166658 w 4166658"/>
                <a:gd name="connsiteY24" fmla="*/ 1710538 h 4014098"/>
                <a:gd name="connsiteX0" fmla="*/ 4166658 w 4166658"/>
                <a:gd name="connsiteY0" fmla="*/ 1710538 h 4014098"/>
                <a:gd name="connsiteX1" fmla="*/ 4134908 w 4166658"/>
                <a:gd name="connsiteY1" fmla="*/ 1710538 h 4014098"/>
                <a:gd name="connsiteX2" fmla="*/ 2828622 w 4166658"/>
                <a:gd name="connsiteY2" fmla="*/ 1696024 h 4014098"/>
                <a:gd name="connsiteX3" fmla="*/ 2854022 w 4166658"/>
                <a:gd name="connsiteY3" fmla="*/ 1002967 h 4014098"/>
                <a:gd name="connsiteX4" fmla="*/ 2480279 w 4166658"/>
                <a:gd name="connsiteY4" fmla="*/ 984824 h 4014098"/>
                <a:gd name="connsiteX5" fmla="*/ 2494794 w 4166658"/>
                <a:gd name="connsiteY5" fmla="*/ 534881 h 4014098"/>
                <a:gd name="connsiteX6" fmla="*/ 2625422 w 4166658"/>
                <a:gd name="connsiteY6" fmla="*/ 375224 h 4014098"/>
                <a:gd name="connsiteX7" fmla="*/ 3888165 w 4166658"/>
                <a:gd name="connsiteY7" fmla="*/ 505853 h 4014098"/>
                <a:gd name="connsiteX8" fmla="*/ 4149422 w 4166658"/>
                <a:gd name="connsiteY8" fmla="*/ 244596 h 4014098"/>
                <a:gd name="connsiteX9" fmla="*/ 2588796 w 4166658"/>
                <a:gd name="connsiteY9" fmla="*/ 150593 h 4014098"/>
                <a:gd name="connsiteX10" fmla="*/ 2078641 w 4166658"/>
                <a:gd name="connsiteY10" fmla="*/ 151499 h 4014098"/>
                <a:gd name="connsiteX11" fmla="*/ 898222 w 4166658"/>
                <a:gd name="connsiteY11" fmla="*/ 41396 h 4014098"/>
                <a:gd name="connsiteX12" fmla="*/ 523572 w 4166658"/>
                <a:gd name="connsiteY12" fmla="*/ 275438 h 4014098"/>
                <a:gd name="connsiteX13" fmla="*/ 2053922 w 4166658"/>
                <a:gd name="connsiteY13" fmla="*/ 401531 h 4014098"/>
                <a:gd name="connsiteX14" fmla="*/ 2196547 w 4166658"/>
                <a:gd name="connsiteY14" fmla="*/ 574578 h 4014098"/>
                <a:gd name="connsiteX15" fmla="*/ 2151434 w 4166658"/>
                <a:gd name="connsiteY15" fmla="*/ 1007136 h 4014098"/>
                <a:gd name="connsiteX16" fmla="*/ 1852131 w 4166658"/>
                <a:gd name="connsiteY16" fmla="*/ 1003629 h 4014098"/>
                <a:gd name="connsiteX17" fmla="*/ 1836587 w 4166658"/>
                <a:gd name="connsiteY17" fmla="*/ 1713977 h 4014098"/>
                <a:gd name="connsiteX18" fmla="*/ 179806 w 4166658"/>
                <a:gd name="connsiteY18" fmla="*/ 4014098 h 4014098"/>
                <a:gd name="connsiteX19" fmla="*/ 1305272 w 4166658"/>
                <a:gd name="connsiteY19" fmla="*/ 4013435 h 4014098"/>
                <a:gd name="connsiteX20" fmla="*/ 1302808 w 4166658"/>
                <a:gd name="connsiteY20" fmla="*/ 3447717 h 4014098"/>
                <a:gd name="connsiteX21" fmla="*/ 1868865 w 4166658"/>
                <a:gd name="connsiteY21" fmla="*/ 2806366 h 4014098"/>
                <a:gd name="connsiteX22" fmla="*/ 4164843 w 4166658"/>
                <a:gd name="connsiteY22" fmla="*/ 2812717 h 4014098"/>
                <a:gd name="connsiteX23" fmla="*/ 4166658 w 4166658"/>
                <a:gd name="connsiteY23" fmla="*/ 1710538 h 4014098"/>
                <a:gd name="connsiteX0" fmla="*/ 4166658 w 4166658"/>
                <a:gd name="connsiteY0" fmla="*/ 1710538 h 4014098"/>
                <a:gd name="connsiteX1" fmla="*/ 4134908 w 4166658"/>
                <a:gd name="connsiteY1" fmla="*/ 1710538 h 4014098"/>
                <a:gd name="connsiteX2" fmla="*/ 2828622 w 4166658"/>
                <a:gd name="connsiteY2" fmla="*/ 1696024 h 4014098"/>
                <a:gd name="connsiteX3" fmla="*/ 2854022 w 4166658"/>
                <a:gd name="connsiteY3" fmla="*/ 1002967 h 4014098"/>
                <a:gd name="connsiteX4" fmla="*/ 2480279 w 4166658"/>
                <a:gd name="connsiteY4" fmla="*/ 984824 h 4014098"/>
                <a:gd name="connsiteX5" fmla="*/ 2494794 w 4166658"/>
                <a:gd name="connsiteY5" fmla="*/ 534881 h 4014098"/>
                <a:gd name="connsiteX6" fmla="*/ 2625422 w 4166658"/>
                <a:gd name="connsiteY6" fmla="*/ 375224 h 4014098"/>
                <a:gd name="connsiteX7" fmla="*/ 4149422 w 4166658"/>
                <a:gd name="connsiteY7" fmla="*/ 244596 h 4014098"/>
                <a:gd name="connsiteX8" fmla="*/ 2588796 w 4166658"/>
                <a:gd name="connsiteY8" fmla="*/ 150593 h 4014098"/>
                <a:gd name="connsiteX9" fmla="*/ 2078641 w 4166658"/>
                <a:gd name="connsiteY9" fmla="*/ 151499 h 4014098"/>
                <a:gd name="connsiteX10" fmla="*/ 898222 w 4166658"/>
                <a:gd name="connsiteY10" fmla="*/ 41396 h 4014098"/>
                <a:gd name="connsiteX11" fmla="*/ 523572 w 4166658"/>
                <a:gd name="connsiteY11" fmla="*/ 275438 h 4014098"/>
                <a:gd name="connsiteX12" fmla="*/ 2053922 w 4166658"/>
                <a:gd name="connsiteY12" fmla="*/ 401531 h 4014098"/>
                <a:gd name="connsiteX13" fmla="*/ 2196547 w 4166658"/>
                <a:gd name="connsiteY13" fmla="*/ 574578 h 4014098"/>
                <a:gd name="connsiteX14" fmla="*/ 2151434 w 4166658"/>
                <a:gd name="connsiteY14" fmla="*/ 1007136 h 4014098"/>
                <a:gd name="connsiteX15" fmla="*/ 1852131 w 4166658"/>
                <a:gd name="connsiteY15" fmla="*/ 1003629 h 4014098"/>
                <a:gd name="connsiteX16" fmla="*/ 1836587 w 4166658"/>
                <a:gd name="connsiteY16" fmla="*/ 1713977 h 4014098"/>
                <a:gd name="connsiteX17" fmla="*/ 179806 w 4166658"/>
                <a:gd name="connsiteY17" fmla="*/ 4014098 h 4014098"/>
                <a:gd name="connsiteX18" fmla="*/ 1305272 w 4166658"/>
                <a:gd name="connsiteY18" fmla="*/ 4013435 h 4014098"/>
                <a:gd name="connsiteX19" fmla="*/ 1302808 w 4166658"/>
                <a:gd name="connsiteY19" fmla="*/ 3447717 h 4014098"/>
                <a:gd name="connsiteX20" fmla="*/ 1868865 w 4166658"/>
                <a:gd name="connsiteY20" fmla="*/ 2806366 h 4014098"/>
                <a:gd name="connsiteX21" fmla="*/ 4164843 w 4166658"/>
                <a:gd name="connsiteY21" fmla="*/ 2812717 h 4014098"/>
                <a:gd name="connsiteX22" fmla="*/ 4166658 w 4166658"/>
                <a:gd name="connsiteY22" fmla="*/ 1710538 h 4014098"/>
                <a:gd name="connsiteX0" fmla="*/ 4166658 w 4166658"/>
                <a:gd name="connsiteY0" fmla="*/ 1710538 h 4014098"/>
                <a:gd name="connsiteX1" fmla="*/ 4134908 w 4166658"/>
                <a:gd name="connsiteY1" fmla="*/ 1710538 h 4014098"/>
                <a:gd name="connsiteX2" fmla="*/ 2828622 w 4166658"/>
                <a:gd name="connsiteY2" fmla="*/ 1696024 h 4014098"/>
                <a:gd name="connsiteX3" fmla="*/ 2854022 w 4166658"/>
                <a:gd name="connsiteY3" fmla="*/ 1002967 h 4014098"/>
                <a:gd name="connsiteX4" fmla="*/ 2480279 w 4166658"/>
                <a:gd name="connsiteY4" fmla="*/ 984824 h 4014098"/>
                <a:gd name="connsiteX5" fmla="*/ 2494794 w 4166658"/>
                <a:gd name="connsiteY5" fmla="*/ 534881 h 4014098"/>
                <a:gd name="connsiteX6" fmla="*/ 2625422 w 4166658"/>
                <a:gd name="connsiteY6" fmla="*/ 375224 h 4014098"/>
                <a:gd name="connsiteX7" fmla="*/ 4149422 w 4166658"/>
                <a:gd name="connsiteY7" fmla="*/ 244596 h 4014098"/>
                <a:gd name="connsiteX8" fmla="*/ 2588796 w 4166658"/>
                <a:gd name="connsiteY8" fmla="*/ 150593 h 4014098"/>
                <a:gd name="connsiteX9" fmla="*/ 2078641 w 4166658"/>
                <a:gd name="connsiteY9" fmla="*/ 151499 h 4014098"/>
                <a:gd name="connsiteX10" fmla="*/ 523572 w 4166658"/>
                <a:gd name="connsiteY10" fmla="*/ 275438 h 4014098"/>
                <a:gd name="connsiteX11" fmla="*/ 2053922 w 4166658"/>
                <a:gd name="connsiteY11" fmla="*/ 401531 h 4014098"/>
                <a:gd name="connsiteX12" fmla="*/ 2196547 w 4166658"/>
                <a:gd name="connsiteY12" fmla="*/ 574578 h 4014098"/>
                <a:gd name="connsiteX13" fmla="*/ 2151434 w 4166658"/>
                <a:gd name="connsiteY13" fmla="*/ 1007136 h 4014098"/>
                <a:gd name="connsiteX14" fmla="*/ 1852131 w 4166658"/>
                <a:gd name="connsiteY14" fmla="*/ 1003629 h 4014098"/>
                <a:gd name="connsiteX15" fmla="*/ 1836587 w 4166658"/>
                <a:gd name="connsiteY15" fmla="*/ 1713977 h 4014098"/>
                <a:gd name="connsiteX16" fmla="*/ 179806 w 4166658"/>
                <a:gd name="connsiteY16" fmla="*/ 4014098 h 4014098"/>
                <a:gd name="connsiteX17" fmla="*/ 1305272 w 4166658"/>
                <a:gd name="connsiteY17" fmla="*/ 4013435 h 4014098"/>
                <a:gd name="connsiteX18" fmla="*/ 1302808 w 4166658"/>
                <a:gd name="connsiteY18" fmla="*/ 3447717 h 4014098"/>
                <a:gd name="connsiteX19" fmla="*/ 1868865 w 4166658"/>
                <a:gd name="connsiteY19" fmla="*/ 2806366 h 4014098"/>
                <a:gd name="connsiteX20" fmla="*/ 4164843 w 4166658"/>
                <a:gd name="connsiteY20" fmla="*/ 2812717 h 4014098"/>
                <a:gd name="connsiteX21" fmla="*/ 4166658 w 4166658"/>
                <a:gd name="connsiteY21" fmla="*/ 1710538 h 4014098"/>
                <a:gd name="connsiteX0" fmla="*/ 4166658 w 4166658"/>
                <a:gd name="connsiteY0" fmla="*/ 1710538 h 4014098"/>
                <a:gd name="connsiteX1" fmla="*/ 4134908 w 4166658"/>
                <a:gd name="connsiteY1" fmla="*/ 1710538 h 4014098"/>
                <a:gd name="connsiteX2" fmla="*/ 2828622 w 4166658"/>
                <a:gd name="connsiteY2" fmla="*/ 1696024 h 4014098"/>
                <a:gd name="connsiteX3" fmla="*/ 2854022 w 4166658"/>
                <a:gd name="connsiteY3" fmla="*/ 1002967 h 4014098"/>
                <a:gd name="connsiteX4" fmla="*/ 2480279 w 4166658"/>
                <a:gd name="connsiteY4" fmla="*/ 984824 h 4014098"/>
                <a:gd name="connsiteX5" fmla="*/ 2494794 w 4166658"/>
                <a:gd name="connsiteY5" fmla="*/ 534881 h 4014098"/>
                <a:gd name="connsiteX6" fmla="*/ 2625422 w 4166658"/>
                <a:gd name="connsiteY6" fmla="*/ 375224 h 4014098"/>
                <a:gd name="connsiteX7" fmla="*/ 4149422 w 4166658"/>
                <a:gd name="connsiteY7" fmla="*/ 244596 h 4014098"/>
                <a:gd name="connsiteX8" fmla="*/ 2588796 w 4166658"/>
                <a:gd name="connsiteY8" fmla="*/ 150593 h 4014098"/>
                <a:gd name="connsiteX9" fmla="*/ 2306108 w 4166658"/>
                <a:gd name="connsiteY9" fmla="*/ 18717 h 4014098"/>
                <a:gd name="connsiteX10" fmla="*/ 2078641 w 4166658"/>
                <a:gd name="connsiteY10" fmla="*/ 151499 h 4014098"/>
                <a:gd name="connsiteX11" fmla="*/ 523572 w 4166658"/>
                <a:gd name="connsiteY11" fmla="*/ 275438 h 4014098"/>
                <a:gd name="connsiteX12" fmla="*/ 2053922 w 4166658"/>
                <a:gd name="connsiteY12" fmla="*/ 401531 h 4014098"/>
                <a:gd name="connsiteX13" fmla="*/ 2196547 w 4166658"/>
                <a:gd name="connsiteY13" fmla="*/ 574578 h 4014098"/>
                <a:gd name="connsiteX14" fmla="*/ 2151434 w 4166658"/>
                <a:gd name="connsiteY14" fmla="*/ 1007136 h 4014098"/>
                <a:gd name="connsiteX15" fmla="*/ 1852131 w 4166658"/>
                <a:gd name="connsiteY15" fmla="*/ 1003629 h 4014098"/>
                <a:gd name="connsiteX16" fmla="*/ 1836587 w 4166658"/>
                <a:gd name="connsiteY16" fmla="*/ 1713977 h 4014098"/>
                <a:gd name="connsiteX17" fmla="*/ 179806 w 4166658"/>
                <a:gd name="connsiteY17" fmla="*/ 4014098 h 4014098"/>
                <a:gd name="connsiteX18" fmla="*/ 1305272 w 4166658"/>
                <a:gd name="connsiteY18" fmla="*/ 4013435 h 4014098"/>
                <a:gd name="connsiteX19" fmla="*/ 1302808 w 4166658"/>
                <a:gd name="connsiteY19" fmla="*/ 3447717 h 4014098"/>
                <a:gd name="connsiteX20" fmla="*/ 1868865 w 4166658"/>
                <a:gd name="connsiteY20" fmla="*/ 2806366 h 4014098"/>
                <a:gd name="connsiteX21" fmla="*/ 4164843 w 4166658"/>
                <a:gd name="connsiteY21" fmla="*/ 2812717 h 4014098"/>
                <a:gd name="connsiteX22" fmla="*/ 4166658 w 4166658"/>
                <a:gd name="connsiteY22" fmla="*/ 1710538 h 4014098"/>
                <a:gd name="connsiteX0" fmla="*/ 4166658 w 4166658"/>
                <a:gd name="connsiteY0" fmla="*/ 1710538 h 4014098"/>
                <a:gd name="connsiteX1" fmla="*/ 4134908 w 4166658"/>
                <a:gd name="connsiteY1" fmla="*/ 1710538 h 4014098"/>
                <a:gd name="connsiteX2" fmla="*/ 2828622 w 4166658"/>
                <a:gd name="connsiteY2" fmla="*/ 1696024 h 4014098"/>
                <a:gd name="connsiteX3" fmla="*/ 2854022 w 4166658"/>
                <a:gd name="connsiteY3" fmla="*/ 1002967 h 4014098"/>
                <a:gd name="connsiteX4" fmla="*/ 2480279 w 4166658"/>
                <a:gd name="connsiteY4" fmla="*/ 984824 h 4014098"/>
                <a:gd name="connsiteX5" fmla="*/ 2494794 w 4166658"/>
                <a:gd name="connsiteY5" fmla="*/ 534881 h 4014098"/>
                <a:gd name="connsiteX6" fmla="*/ 2625422 w 4166658"/>
                <a:gd name="connsiteY6" fmla="*/ 375224 h 4014098"/>
                <a:gd name="connsiteX7" fmla="*/ 4149422 w 4166658"/>
                <a:gd name="connsiteY7" fmla="*/ 244596 h 4014098"/>
                <a:gd name="connsiteX8" fmla="*/ 2588796 w 4166658"/>
                <a:gd name="connsiteY8" fmla="*/ 150593 h 4014098"/>
                <a:gd name="connsiteX9" fmla="*/ 2306108 w 4166658"/>
                <a:gd name="connsiteY9" fmla="*/ 18717 h 4014098"/>
                <a:gd name="connsiteX10" fmla="*/ 2078641 w 4166658"/>
                <a:gd name="connsiteY10" fmla="*/ 151499 h 4014098"/>
                <a:gd name="connsiteX11" fmla="*/ 523572 w 4166658"/>
                <a:gd name="connsiteY11" fmla="*/ 275438 h 4014098"/>
                <a:gd name="connsiteX12" fmla="*/ 2053922 w 4166658"/>
                <a:gd name="connsiteY12" fmla="*/ 401531 h 4014098"/>
                <a:gd name="connsiteX13" fmla="*/ 2196547 w 4166658"/>
                <a:gd name="connsiteY13" fmla="*/ 574578 h 4014098"/>
                <a:gd name="connsiteX14" fmla="*/ 2151434 w 4166658"/>
                <a:gd name="connsiteY14" fmla="*/ 1007136 h 4014098"/>
                <a:gd name="connsiteX15" fmla="*/ 1852131 w 4166658"/>
                <a:gd name="connsiteY15" fmla="*/ 1003629 h 4014098"/>
                <a:gd name="connsiteX16" fmla="*/ 1836587 w 4166658"/>
                <a:gd name="connsiteY16" fmla="*/ 1713977 h 4014098"/>
                <a:gd name="connsiteX17" fmla="*/ 179806 w 4166658"/>
                <a:gd name="connsiteY17" fmla="*/ 4014098 h 4014098"/>
                <a:gd name="connsiteX18" fmla="*/ 1305272 w 4166658"/>
                <a:gd name="connsiteY18" fmla="*/ 4013435 h 4014098"/>
                <a:gd name="connsiteX19" fmla="*/ 1302808 w 4166658"/>
                <a:gd name="connsiteY19" fmla="*/ 3447717 h 4014098"/>
                <a:gd name="connsiteX20" fmla="*/ 1868865 w 4166658"/>
                <a:gd name="connsiteY20" fmla="*/ 2806366 h 4014098"/>
                <a:gd name="connsiteX21" fmla="*/ 4164843 w 4166658"/>
                <a:gd name="connsiteY21" fmla="*/ 2812717 h 4014098"/>
                <a:gd name="connsiteX22" fmla="*/ 4166658 w 4166658"/>
                <a:gd name="connsiteY22" fmla="*/ 1710538 h 4014098"/>
                <a:gd name="connsiteX0" fmla="*/ 4166658 w 4166658"/>
                <a:gd name="connsiteY0" fmla="*/ 1710538 h 4014098"/>
                <a:gd name="connsiteX1" fmla="*/ 4134908 w 4166658"/>
                <a:gd name="connsiteY1" fmla="*/ 1710538 h 4014098"/>
                <a:gd name="connsiteX2" fmla="*/ 2828622 w 4166658"/>
                <a:gd name="connsiteY2" fmla="*/ 1696024 h 4014098"/>
                <a:gd name="connsiteX3" fmla="*/ 2854022 w 4166658"/>
                <a:gd name="connsiteY3" fmla="*/ 1002967 h 4014098"/>
                <a:gd name="connsiteX4" fmla="*/ 2480279 w 4166658"/>
                <a:gd name="connsiteY4" fmla="*/ 984824 h 4014098"/>
                <a:gd name="connsiteX5" fmla="*/ 2494794 w 4166658"/>
                <a:gd name="connsiteY5" fmla="*/ 534881 h 4014098"/>
                <a:gd name="connsiteX6" fmla="*/ 2625422 w 4166658"/>
                <a:gd name="connsiteY6" fmla="*/ 375224 h 4014098"/>
                <a:gd name="connsiteX7" fmla="*/ 4149422 w 4166658"/>
                <a:gd name="connsiteY7" fmla="*/ 244596 h 4014098"/>
                <a:gd name="connsiteX8" fmla="*/ 2588796 w 4166658"/>
                <a:gd name="connsiteY8" fmla="*/ 150593 h 4014098"/>
                <a:gd name="connsiteX9" fmla="*/ 2306108 w 4166658"/>
                <a:gd name="connsiteY9" fmla="*/ 18717 h 4014098"/>
                <a:gd name="connsiteX10" fmla="*/ 2078641 w 4166658"/>
                <a:gd name="connsiteY10" fmla="*/ 151499 h 4014098"/>
                <a:gd name="connsiteX11" fmla="*/ 523572 w 4166658"/>
                <a:gd name="connsiteY11" fmla="*/ 275438 h 4014098"/>
                <a:gd name="connsiteX12" fmla="*/ 2053922 w 4166658"/>
                <a:gd name="connsiteY12" fmla="*/ 401531 h 4014098"/>
                <a:gd name="connsiteX13" fmla="*/ 2196547 w 4166658"/>
                <a:gd name="connsiteY13" fmla="*/ 574578 h 4014098"/>
                <a:gd name="connsiteX14" fmla="*/ 2151434 w 4166658"/>
                <a:gd name="connsiteY14" fmla="*/ 1007136 h 4014098"/>
                <a:gd name="connsiteX15" fmla="*/ 1852131 w 4166658"/>
                <a:gd name="connsiteY15" fmla="*/ 1003629 h 4014098"/>
                <a:gd name="connsiteX16" fmla="*/ 1836587 w 4166658"/>
                <a:gd name="connsiteY16" fmla="*/ 1713977 h 4014098"/>
                <a:gd name="connsiteX17" fmla="*/ 179806 w 4166658"/>
                <a:gd name="connsiteY17" fmla="*/ 4014098 h 4014098"/>
                <a:gd name="connsiteX18" fmla="*/ 1305272 w 4166658"/>
                <a:gd name="connsiteY18" fmla="*/ 4013435 h 4014098"/>
                <a:gd name="connsiteX19" fmla="*/ 1302808 w 4166658"/>
                <a:gd name="connsiteY19" fmla="*/ 3447717 h 4014098"/>
                <a:gd name="connsiteX20" fmla="*/ 1868865 w 4166658"/>
                <a:gd name="connsiteY20" fmla="*/ 2806366 h 4014098"/>
                <a:gd name="connsiteX21" fmla="*/ 4164843 w 4166658"/>
                <a:gd name="connsiteY21" fmla="*/ 2812717 h 4014098"/>
                <a:gd name="connsiteX22" fmla="*/ 4166658 w 4166658"/>
                <a:gd name="connsiteY22" fmla="*/ 1710538 h 4014098"/>
                <a:gd name="connsiteX0" fmla="*/ 4166658 w 4166658"/>
                <a:gd name="connsiteY0" fmla="*/ 1710538 h 4014098"/>
                <a:gd name="connsiteX1" fmla="*/ 4134908 w 4166658"/>
                <a:gd name="connsiteY1" fmla="*/ 1710538 h 4014098"/>
                <a:gd name="connsiteX2" fmla="*/ 2828622 w 4166658"/>
                <a:gd name="connsiteY2" fmla="*/ 1696024 h 4014098"/>
                <a:gd name="connsiteX3" fmla="*/ 2854022 w 4166658"/>
                <a:gd name="connsiteY3" fmla="*/ 1002967 h 4014098"/>
                <a:gd name="connsiteX4" fmla="*/ 2480279 w 4166658"/>
                <a:gd name="connsiteY4" fmla="*/ 984824 h 4014098"/>
                <a:gd name="connsiteX5" fmla="*/ 2494794 w 4166658"/>
                <a:gd name="connsiteY5" fmla="*/ 534881 h 4014098"/>
                <a:gd name="connsiteX6" fmla="*/ 2625422 w 4166658"/>
                <a:gd name="connsiteY6" fmla="*/ 375224 h 4014098"/>
                <a:gd name="connsiteX7" fmla="*/ 4149422 w 4166658"/>
                <a:gd name="connsiteY7" fmla="*/ 244596 h 4014098"/>
                <a:gd name="connsiteX8" fmla="*/ 2588796 w 4166658"/>
                <a:gd name="connsiteY8" fmla="*/ 150593 h 4014098"/>
                <a:gd name="connsiteX9" fmla="*/ 2078641 w 4166658"/>
                <a:gd name="connsiteY9" fmla="*/ 151499 h 4014098"/>
                <a:gd name="connsiteX10" fmla="*/ 523572 w 4166658"/>
                <a:gd name="connsiteY10" fmla="*/ 275438 h 4014098"/>
                <a:gd name="connsiteX11" fmla="*/ 2053922 w 4166658"/>
                <a:gd name="connsiteY11" fmla="*/ 401531 h 4014098"/>
                <a:gd name="connsiteX12" fmla="*/ 2196547 w 4166658"/>
                <a:gd name="connsiteY12" fmla="*/ 574578 h 4014098"/>
                <a:gd name="connsiteX13" fmla="*/ 2151434 w 4166658"/>
                <a:gd name="connsiteY13" fmla="*/ 1007136 h 4014098"/>
                <a:gd name="connsiteX14" fmla="*/ 1852131 w 4166658"/>
                <a:gd name="connsiteY14" fmla="*/ 1003629 h 4014098"/>
                <a:gd name="connsiteX15" fmla="*/ 1836587 w 4166658"/>
                <a:gd name="connsiteY15" fmla="*/ 1713977 h 4014098"/>
                <a:gd name="connsiteX16" fmla="*/ 179806 w 4166658"/>
                <a:gd name="connsiteY16" fmla="*/ 4014098 h 4014098"/>
                <a:gd name="connsiteX17" fmla="*/ 1305272 w 4166658"/>
                <a:gd name="connsiteY17" fmla="*/ 4013435 h 4014098"/>
                <a:gd name="connsiteX18" fmla="*/ 1302808 w 4166658"/>
                <a:gd name="connsiteY18" fmla="*/ 3447717 h 4014098"/>
                <a:gd name="connsiteX19" fmla="*/ 1868865 w 4166658"/>
                <a:gd name="connsiteY19" fmla="*/ 2806366 h 4014098"/>
                <a:gd name="connsiteX20" fmla="*/ 4164843 w 4166658"/>
                <a:gd name="connsiteY20" fmla="*/ 2812717 h 4014098"/>
                <a:gd name="connsiteX21" fmla="*/ 4166658 w 4166658"/>
                <a:gd name="connsiteY21" fmla="*/ 1710538 h 4014098"/>
                <a:gd name="connsiteX0" fmla="*/ 4166658 w 4166658"/>
                <a:gd name="connsiteY0" fmla="*/ 1871946 h 4175506"/>
                <a:gd name="connsiteX1" fmla="*/ 4134908 w 4166658"/>
                <a:gd name="connsiteY1" fmla="*/ 1871946 h 4175506"/>
                <a:gd name="connsiteX2" fmla="*/ 2828622 w 4166658"/>
                <a:gd name="connsiteY2" fmla="*/ 1857432 h 4175506"/>
                <a:gd name="connsiteX3" fmla="*/ 2854022 w 4166658"/>
                <a:gd name="connsiteY3" fmla="*/ 1164375 h 4175506"/>
                <a:gd name="connsiteX4" fmla="*/ 2480279 w 4166658"/>
                <a:gd name="connsiteY4" fmla="*/ 1146232 h 4175506"/>
                <a:gd name="connsiteX5" fmla="*/ 2494794 w 4166658"/>
                <a:gd name="connsiteY5" fmla="*/ 696289 h 4175506"/>
                <a:gd name="connsiteX6" fmla="*/ 2625422 w 4166658"/>
                <a:gd name="connsiteY6" fmla="*/ 536632 h 4175506"/>
                <a:gd name="connsiteX7" fmla="*/ 4149422 w 4166658"/>
                <a:gd name="connsiteY7" fmla="*/ 406004 h 4175506"/>
                <a:gd name="connsiteX8" fmla="*/ 2588796 w 4166658"/>
                <a:gd name="connsiteY8" fmla="*/ 312001 h 4175506"/>
                <a:gd name="connsiteX9" fmla="*/ 2078641 w 4166658"/>
                <a:gd name="connsiteY9" fmla="*/ 312907 h 4175506"/>
                <a:gd name="connsiteX10" fmla="*/ 523572 w 4166658"/>
                <a:gd name="connsiteY10" fmla="*/ 436846 h 4175506"/>
                <a:gd name="connsiteX11" fmla="*/ 2053922 w 4166658"/>
                <a:gd name="connsiteY11" fmla="*/ 562939 h 4175506"/>
                <a:gd name="connsiteX12" fmla="*/ 2196547 w 4166658"/>
                <a:gd name="connsiteY12" fmla="*/ 735986 h 4175506"/>
                <a:gd name="connsiteX13" fmla="*/ 2151434 w 4166658"/>
                <a:gd name="connsiteY13" fmla="*/ 1168544 h 4175506"/>
                <a:gd name="connsiteX14" fmla="*/ 1852131 w 4166658"/>
                <a:gd name="connsiteY14" fmla="*/ 1165037 h 4175506"/>
                <a:gd name="connsiteX15" fmla="*/ 1836587 w 4166658"/>
                <a:gd name="connsiteY15" fmla="*/ 1875385 h 4175506"/>
                <a:gd name="connsiteX16" fmla="*/ 179806 w 4166658"/>
                <a:gd name="connsiteY16" fmla="*/ 4175506 h 4175506"/>
                <a:gd name="connsiteX17" fmla="*/ 1305272 w 4166658"/>
                <a:gd name="connsiteY17" fmla="*/ 4174843 h 4175506"/>
                <a:gd name="connsiteX18" fmla="*/ 1302808 w 4166658"/>
                <a:gd name="connsiteY18" fmla="*/ 3609125 h 4175506"/>
                <a:gd name="connsiteX19" fmla="*/ 1868865 w 4166658"/>
                <a:gd name="connsiteY19" fmla="*/ 2967774 h 4175506"/>
                <a:gd name="connsiteX20" fmla="*/ 4164843 w 4166658"/>
                <a:gd name="connsiteY20" fmla="*/ 2974125 h 4175506"/>
                <a:gd name="connsiteX21" fmla="*/ 4166658 w 4166658"/>
                <a:gd name="connsiteY21" fmla="*/ 1871946 h 4175506"/>
                <a:gd name="connsiteX0" fmla="*/ 4166658 w 4166658"/>
                <a:gd name="connsiteY0" fmla="*/ 1871946 h 4175506"/>
                <a:gd name="connsiteX1" fmla="*/ 4134908 w 4166658"/>
                <a:gd name="connsiteY1" fmla="*/ 1871946 h 4175506"/>
                <a:gd name="connsiteX2" fmla="*/ 2828622 w 4166658"/>
                <a:gd name="connsiteY2" fmla="*/ 1857432 h 4175506"/>
                <a:gd name="connsiteX3" fmla="*/ 2854022 w 4166658"/>
                <a:gd name="connsiteY3" fmla="*/ 1164375 h 4175506"/>
                <a:gd name="connsiteX4" fmla="*/ 2480279 w 4166658"/>
                <a:gd name="connsiteY4" fmla="*/ 1146232 h 4175506"/>
                <a:gd name="connsiteX5" fmla="*/ 2494794 w 4166658"/>
                <a:gd name="connsiteY5" fmla="*/ 696289 h 4175506"/>
                <a:gd name="connsiteX6" fmla="*/ 2625422 w 4166658"/>
                <a:gd name="connsiteY6" fmla="*/ 536632 h 4175506"/>
                <a:gd name="connsiteX7" fmla="*/ 4149422 w 4166658"/>
                <a:gd name="connsiteY7" fmla="*/ 406004 h 4175506"/>
                <a:gd name="connsiteX8" fmla="*/ 2588796 w 4166658"/>
                <a:gd name="connsiteY8" fmla="*/ 312001 h 4175506"/>
                <a:gd name="connsiteX9" fmla="*/ 2078641 w 4166658"/>
                <a:gd name="connsiteY9" fmla="*/ 312907 h 4175506"/>
                <a:gd name="connsiteX10" fmla="*/ 523572 w 4166658"/>
                <a:gd name="connsiteY10" fmla="*/ 436846 h 4175506"/>
                <a:gd name="connsiteX11" fmla="*/ 2053922 w 4166658"/>
                <a:gd name="connsiteY11" fmla="*/ 562939 h 4175506"/>
                <a:gd name="connsiteX12" fmla="*/ 2196547 w 4166658"/>
                <a:gd name="connsiteY12" fmla="*/ 735986 h 4175506"/>
                <a:gd name="connsiteX13" fmla="*/ 2151434 w 4166658"/>
                <a:gd name="connsiteY13" fmla="*/ 1168544 h 4175506"/>
                <a:gd name="connsiteX14" fmla="*/ 1852131 w 4166658"/>
                <a:gd name="connsiteY14" fmla="*/ 1165037 h 4175506"/>
                <a:gd name="connsiteX15" fmla="*/ 1836587 w 4166658"/>
                <a:gd name="connsiteY15" fmla="*/ 1875385 h 4175506"/>
                <a:gd name="connsiteX16" fmla="*/ 179806 w 4166658"/>
                <a:gd name="connsiteY16" fmla="*/ 4175506 h 4175506"/>
                <a:gd name="connsiteX17" fmla="*/ 1305272 w 4166658"/>
                <a:gd name="connsiteY17" fmla="*/ 4174843 h 4175506"/>
                <a:gd name="connsiteX18" fmla="*/ 1302808 w 4166658"/>
                <a:gd name="connsiteY18" fmla="*/ 3609125 h 4175506"/>
                <a:gd name="connsiteX19" fmla="*/ 1868865 w 4166658"/>
                <a:gd name="connsiteY19" fmla="*/ 2967774 h 4175506"/>
                <a:gd name="connsiteX20" fmla="*/ 4164843 w 4166658"/>
                <a:gd name="connsiteY20" fmla="*/ 2974125 h 4175506"/>
                <a:gd name="connsiteX21" fmla="*/ 4166658 w 4166658"/>
                <a:gd name="connsiteY21" fmla="*/ 1871946 h 4175506"/>
                <a:gd name="connsiteX0" fmla="*/ 4166658 w 4166658"/>
                <a:gd name="connsiteY0" fmla="*/ 1878296 h 4181856"/>
                <a:gd name="connsiteX1" fmla="*/ 4134908 w 4166658"/>
                <a:gd name="connsiteY1" fmla="*/ 1878296 h 4181856"/>
                <a:gd name="connsiteX2" fmla="*/ 2828622 w 4166658"/>
                <a:gd name="connsiteY2" fmla="*/ 1863782 h 4181856"/>
                <a:gd name="connsiteX3" fmla="*/ 2854022 w 4166658"/>
                <a:gd name="connsiteY3" fmla="*/ 1170725 h 4181856"/>
                <a:gd name="connsiteX4" fmla="*/ 2480279 w 4166658"/>
                <a:gd name="connsiteY4" fmla="*/ 1152582 h 4181856"/>
                <a:gd name="connsiteX5" fmla="*/ 2494794 w 4166658"/>
                <a:gd name="connsiteY5" fmla="*/ 702639 h 4181856"/>
                <a:gd name="connsiteX6" fmla="*/ 2625422 w 4166658"/>
                <a:gd name="connsiteY6" fmla="*/ 542982 h 4181856"/>
                <a:gd name="connsiteX7" fmla="*/ 4149422 w 4166658"/>
                <a:gd name="connsiteY7" fmla="*/ 412354 h 4181856"/>
                <a:gd name="connsiteX8" fmla="*/ 2588796 w 4166658"/>
                <a:gd name="connsiteY8" fmla="*/ 318351 h 4181856"/>
                <a:gd name="connsiteX9" fmla="*/ 2059591 w 4166658"/>
                <a:gd name="connsiteY9" fmla="*/ 312907 h 4181856"/>
                <a:gd name="connsiteX10" fmla="*/ 523572 w 4166658"/>
                <a:gd name="connsiteY10" fmla="*/ 443196 h 4181856"/>
                <a:gd name="connsiteX11" fmla="*/ 2053922 w 4166658"/>
                <a:gd name="connsiteY11" fmla="*/ 569289 h 4181856"/>
                <a:gd name="connsiteX12" fmla="*/ 2196547 w 4166658"/>
                <a:gd name="connsiteY12" fmla="*/ 742336 h 4181856"/>
                <a:gd name="connsiteX13" fmla="*/ 2151434 w 4166658"/>
                <a:gd name="connsiteY13" fmla="*/ 1174894 h 4181856"/>
                <a:gd name="connsiteX14" fmla="*/ 1852131 w 4166658"/>
                <a:gd name="connsiteY14" fmla="*/ 1171387 h 4181856"/>
                <a:gd name="connsiteX15" fmla="*/ 1836587 w 4166658"/>
                <a:gd name="connsiteY15" fmla="*/ 1881735 h 4181856"/>
                <a:gd name="connsiteX16" fmla="*/ 179806 w 4166658"/>
                <a:gd name="connsiteY16" fmla="*/ 4181856 h 4181856"/>
                <a:gd name="connsiteX17" fmla="*/ 1305272 w 4166658"/>
                <a:gd name="connsiteY17" fmla="*/ 4181193 h 4181856"/>
                <a:gd name="connsiteX18" fmla="*/ 1302808 w 4166658"/>
                <a:gd name="connsiteY18" fmla="*/ 3615475 h 4181856"/>
                <a:gd name="connsiteX19" fmla="*/ 1868865 w 4166658"/>
                <a:gd name="connsiteY19" fmla="*/ 2974124 h 4181856"/>
                <a:gd name="connsiteX20" fmla="*/ 4164843 w 4166658"/>
                <a:gd name="connsiteY20" fmla="*/ 2980475 h 4181856"/>
                <a:gd name="connsiteX21" fmla="*/ 4166658 w 4166658"/>
                <a:gd name="connsiteY21" fmla="*/ 1878296 h 4181856"/>
                <a:gd name="connsiteX0" fmla="*/ 4166658 w 4166658"/>
                <a:gd name="connsiteY0" fmla="*/ 1878296 h 4181856"/>
                <a:gd name="connsiteX1" fmla="*/ 4134908 w 4166658"/>
                <a:gd name="connsiteY1" fmla="*/ 1878296 h 4181856"/>
                <a:gd name="connsiteX2" fmla="*/ 2828622 w 4166658"/>
                <a:gd name="connsiteY2" fmla="*/ 1863782 h 4181856"/>
                <a:gd name="connsiteX3" fmla="*/ 2854022 w 4166658"/>
                <a:gd name="connsiteY3" fmla="*/ 1170725 h 4181856"/>
                <a:gd name="connsiteX4" fmla="*/ 2480279 w 4166658"/>
                <a:gd name="connsiteY4" fmla="*/ 1152582 h 4181856"/>
                <a:gd name="connsiteX5" fmla="*/ 2494794 w 4166658"/>
                <a:gd name="connsiteY5" fmla="*/ 702639 h 4181856"/>
                <a:gd name="connsiteX6" fmla="*/ 2625422 w 4166658"/>
                <a:gd name="connsiteY6" fmla="*/ 542982 h 4181856"/>
                <a:gd name="connsiteX7" fmla="*/ 4149422 w 4166658"/>
                <a:gd name="connsiteY7" fmla="*/ 412354 h 4181856"/>
                <a:gd name="connsiteX8" fmla="*/ 2588796 w 4166658"/>
                <a:gd name="connsiteY8" fmla="*/ 318351 h 4181856"/>
                <a:gd name="connsiteX9" fmla="*/ 2059591 w 4166658"/>
                <a:gd name="connsiteY9" fmla="*/ 312907 h 4181856"/>
                <a:gd name="connsiteX10" fmla="*/ 523572 w 4166658"/>
                <a:gd name="connsiteY10" fmla="*/ 443196 h 4181856"/>
                <a:gd name="connsiteX11" fmla="*/ 2053922 w 4166658"/>
                <a:gd name="connsiteY11" fmla="*/ 569289 h 4181856"/>
                <a:gd name="connsiteX12" fmla="*/ 2196547 w 4166658"/>
                <a:gd name="connsiteY12" fmla="*/ 742336 h 4181856"/>
                <a:gd name="connsiteX13" fmla="*/ 2151434 w 4166658"/>
                <a:gd name="connsiteY13" fmla="*/ 1174894 h 4181856"/>
                <a:gd name="connsiteX14" fmla="*/ 1852131 w 4166658"/>
                <a:gd name="connsiteY14" fmla="*/ 1171387 h 4181856"/>
                <a:gd name="connsiteX15" fmla="*/ 1836587 w 4166658"/>
                <a:gd name="connsiteY15" fmla="*/ 1881735 h 4181856"/>
                <a:gd name="connsiteX16" fmla="*/ 179806 w 4166658"/>
                <a:gd name="connsiteY16" fmla="*/ 4181856 h 4181856"/>
                <a:gd name="connsiteX17" fmla="*/ 1305272 w 4166658"/>
                <a:gd name="connsiteY17" fmla="*/ 4181193 h 4181856"/>
                <a:gd name="connsiteX18" fmla="*/ 1302808 w 4166658"/>
                <a:gd name="connsiteY18" fmla="*/ 3615475 h 4181856"/>
                <a:gd name="connsiteX19" fmla="*/ 1868865 w 4166658"/>
                <a:gd name="connsiteY19" fmla="*/ 2974124 h 4181856"/>
                <a:gd name="connsiteX20" fmla="*/ 4164843 w 4166658"/>
                <a:gd name="connsiteY20" fmla="*/ 2980475 h 4181856"/>
                <a:gd name="connsiteX21" fmla="*/ 4166658 w 4166658"/>
                <a:gd name="connsiteY21" fmla="*/ 1878296 h 4181856"/>
                <a:gd name="connsiteX0" fmla="*/ 4166658 w 4166658"/>
                <a:gd name="connsiteY0" fmla="*/ 1878296 h 4181856"/>
                <a:gd name="connsiteX1" fmla="*/ 4134908 w 4166658"/>
                <a:gd name="connsiteY1" fmla="*/ 1878296 h 4181856"/>
                <a:gd name="connsiteX2" fmla="*/ 2828622 w 4166658"/>
                <a:gd name="connsiteY2" fmla="*/ 1863782 h 4181856"/>
                <a:gd name="connsiteX3" fmla="*/ 2854022 w 4166658"/>
                <a:gd name="connsiteY3" fmla="*/ 1170725 h 4181856"/>
                <a:gd name="connsiteX4" fmla="*/ 2480279 w 4166658"/>
                <a:gd name="connsiteY4" fmla="*/ 1152582 h 4181856"/>
                <a:gd name="connsiteX5" fmla="*/ 2494794 w 4166658"/>
                <a:gd name="connsiteY5" fmla="*/ 702639 h 4181856"/>
                <a:gd name="connsiteX6" fmla="*/ 2625422 w 4166658"/>
                <a:gd name="connsiteY6" fmla="*/ 542982 h 4181856"/>
                <a:gd name="connsiteX7" fmla="*/ 4149422 w 4166658"/>
                <a:gd name="connsiteY7" fmla="*/ 412354 h 4181856"/>
                <a:gd name="connsiteX8" fmla="*/ 2588796 w 4166658"/>
                <a:gd name="connsiteY8" fmla="*/ 318351 h 4181856"/>
                <a:gd name="connsiteX9" fmla="*/ 2059591 w 4166658"/>
                <a:gd name="connsiteY9" fmla="*/ 312907 h 4181856"/>
                <a:gd name="connsiteX10" fmla="*/ 523572 w 4166658"/>
                <a:gd name="connsiteY10" fmla="*/ 443196 h 4181856"/>
                <a:gd name="connsiteX11" fmla="*/ 2053922 w 4166658"/>
                <a:gd name="connsiteY11" fmla="*/ 569289 h 4181856"/>
                <a:gd name="connsiteX12" fmla="*/ 2196547 w 4166658"/>
                <a:gd name="connsiteY12" fmla="*/ 742336 h 4181856"/>
                <a:gd name="connsiteX13" fmla="*/ 2151434 w 4166658"/>
                <a:gd name="connsiteY13" fmla="*/ 1174894 h 4181856"/>
                <a:gd name="connsiteX14" fmla="*/ 1852131 w 4166658"/>
                <a:gd name="connsiteY14" fmla="*/ 1171387 h 4181856"/>
                <a:gd name="connsiteX15" fmla="*/ 1836587 w 4166658"/>
                <a:gd name="connsiteY15" fmla="*/ 1881735 h 4181856"/>
                <a:gd name="connsiteX16" fmla="*/ 179806 w 4166658"/>
                <a:gd name="connsiteY16" fmla="*/ 4181856 h 4181856"/>
                <a:gd name="connsiteX17" fmla="*/ 1305272 w 4166658"/>
                <a:gd name="connsiteY17" fmla="*/ 4181193 h 4181856"/>
                <a:gd name="connsiteX18" fmla="*/ 1302808 w 4166658"/>
                <a:gd name="connsiteY18" fmla="*/ 3615475 h 4181856"/>
                <a:gd name="connsiteX19" fmla="*/ 1868865 w 4166658"/>
                <a:gd name="connsiteY19" fmla="*/ 2974124 h 4181856"/>
                <a:gd name="connsiteX20" fmla="*/ 4164843 w 4166658"/>
                <a:gd name="connsiteY20" fmla="*/ 2980475 h 4181856"/>
                <a:gd name="connsiteX21" fmla="*/ 4166658 w 4166658"/>
                <a:gd name="connsiteY21" fmla="*/ 1878296 h 4181856"/>
                <a:gd name="connsiteX0" fmla="*/ 4166658 w 4166658"/>
                <a:gd name="connsiteY0" fmla="*/ 1878296 h 4181856"/>
                <a:gd name="connsiteX1" fmla="*/ 4134908 w 4166658"/>
                <a:gd name="connsiteY1" fmla="*/ 1878296 h 4181856"/>
                <a:gd name="connsiteX2" fmla="*/ 2828622 w 4166658"/>
                <a:gd name="connsiteY2" fmla="*/ 1863782 h 4181856"/>
                <a:gd name="connsiteX3" fmla="*/ 2854022 w 4166658"/>
                <a:gd name="connsiteY3" fmla="*/ 1170725 h 4181856"/>
                <a:gd name="connsiteX4" fmla="*/ 2480279 w 4166658"/>
                <a:gd name="connsiteY4" fmla="*/ 1152582 h 4181856"/>
                <a:gd name="connsiteX5" fmla="*/ 2494794 w 4166658"/>
                <a:gd name="connsiteY5" fmla="*/ 702639 h 4181856"/>
                <a:gd name="connsiteX6" fmla="*/ 2625422 w 4166658"/>
                <a:gd name="connsiteY6" fmla="*/ 542982 h 4181856"/>
                <a:gd name="connsiteX7" fmla="*/ 4149422 w 4166658"/>
                <a:gd name="connsiteY7" fmla="*/ 412354 h 4181856"/>
                <a:gd name="connsiteX8" fmla="*/ 2588796 w 4166658"/>
                <a:gd name="connsiteY8" fmla="*/ 318351 h 4181856"/>
                <a:gd name="connsiteX9" fmla="*/ 2059591 w 4166658"/>
                <a:gd name="connsiteY9" fmla="*/ 312907 h 4181856"/>
                <a:gd name="connsiteX10" fmla="*/ 523572 w 4166658"/>
                <a:gd name="connsiteY10" fmla="*/ 443196 h 4181856"/>
                <a:gd name="connsiteX11" fmla="*/ 2053922 w 4166658"/>
                <a:gd name="connsiteY11" fmla="*/ 569289 h 4181856"/>
                <a:gd name="connsiteX12" fmla="*/ 2196547 w 4166658"/>
                <a:gd name="connsiteY12" fmla="*/ 742336 h 4181856"/>
                <a:gd name="connsiteX13" fmla="*/ 2151434 w 4166658"/>
                <a:gd name="connsiteY13" fmla="*/ 1174894 h 4181856"/>
                <a:gd name="connsiteX14" fmla="*/ 1852131 w 4166658"/>
                <a:gd name="connsiteY14" fmla="*/ 1171387 h 4181856"/>
                <a:gd name="connsiteX15" fmla="*/ 1836587 w 4166658"/>
                <a:gd name="connsiteY15" fmla="*/ 1881735 h 4181856"/>
                <a:gd name="connsiteX16" fmla="*/ 179806 w 4166658"/>
                <a:gd name="connsiteY16" fmla="*/ 4181856 h 4181856"/>
                <a:gd name="connsiteX17" fmla="*/ 1305272 w 4166658"/>
                <a:gd name="connsiteY17" fmla="*/ 4181193 h 4181856"/>
                <a:gd name="connsiteX18" fmla="*/ 1302808 w 4166658"/>
                <a:gd name="connsiteY18" fmla="*/ 3615475 h 4181856"/>
                <a:gd name="connsiteX19" fmla="*/ 1868865 w 4166658"/>
                <a:gd name="connsiteY19" fmla="*/ 2974124 h 4181856"/>
                <a:gd name="connsiteX20" fmla="*/ 4164843 w 4166658"/>
                <a:gd name="connsiteY20" fmla="*/ 2980475 h 4181856"/>
                <a:gd name="connsiteX21" fmla="*/ 4166658 w 4166658"/>
                <a:gd name="connsiteY21" fmla="*/ 1878296 h 4181856"/>
                <a:gd name="connsiteX0" fmla="*/ 4166658 w 4166658"/>
                <a:gd name="connsiteY0" fmla="*/ 1878296 h 4181856"/>
                <a:gd name="connsiteX1" fmla="*/ 4134908 w 4166658"/>
                <a:gd name="connsiteY1" fmla="*/ 1878296 h 4181856"/>
                <a:gd name="connsiteX2" fmla="*/ 2828622 w 4166658"/>
                <a:gd name="connsiteY2" fmla="*/ 1863782 h 4181856"/>
                <a:gd name="connsiteX3" fmla="*/ 2854022 w 4166658"/>
                <a:gd name="connsiteY3" fmla="*/ 1170725 h 4181856"/>
                <a:gd name="connsiteX4" fmla="*/ 2480279 w 4166658"/>
                <a:gd name="connsiteY4" fmla="*/ 1152582 h 4181856"/>
                <a:gd name="connsiteX5" fmla="*/ 2494794 w 4166658"/>
                <a:gd name="connsiteY5" fmla="*/ 702639 h 4181856"/>
                <a:gd name="connsiteX6" fmla="*/ 2625422 w 4166658"/>
                <a:gd name="connsiteY6" fmla="*/ 542982 h 4181856"/>
                <a:gd name="connsiteX7" fmla="*/ 4149422 w 4166658"/>
                <a:gd name="connsiteY7" fmla="*/ 412354 h 4181856"/>
                <a:gd name="connsiteX8" fmla="*/ 2588796 w 4166658"/>
                <a:gd name="connsiteY8" fmla="*/ 318351 h 4181856"/>
                <a:gd name="connsiteX9" fmla="*/ 2059591 w 4166658"/>
                <a:gd name="connsiteY9" fmla="*/ 312907 h 4181856"/>
                <a:gd name="connsiteX10" fmla="*/ 523572 w 4166658"/>
                <a:gd name="connsiteY10" fmla="*/ 443196 h 4181856"/>
                <a:gd name="connsiteX11" fmla="*/ 2053922 w 4166658"/>
                <a:gd name="connsiteY11" fmla="*/ 569289 h 4181856"/>
                <a:gd name="connsiteX12" fmla="*/ 2196547 w 4166658"/>
                <a:gd name="connsiteY12" fmla="*/ 742336 h 4181856"/>
                <a:gd name="connsiteX13" fmla="*/ 2151434 w 4166658"/>
                <a:gd name="connsiteY13" fmla="*/ 1174894 h 4181856"/>
                <a:gd name="connsiteX14" fmla="*/ 1852131 w 4166658"/>
                <a:gd name="connsiteY14" fmla="*/ 1171387 h 4181856"/>
                <a:gd name="connsiteX15" fmla="*/ 1836587 w 4166658"/>
                <a:gd name="connsiteY15" fmla="*/ 1881735 h 4181856"/>
                <a:gd name="connsiteX16" fmla="*/ 179806 w 4166658"/>
                <a:gd name="connsiteY16" fmla="*/ 4181856 h 4181856"/>
                <a:gd name="connsiteX17" fmla="*/ 1305272 w 4166658"/>
                <a:gd name="connsiteY17" fmla="*/ 4181193 h 4181856"/>
                <a:gd name="connsiteX18" fmla="*/ 1302808 w 4166658"/>
                <a:gd name="connsiteY18" fmla="*/ 3615475 h 4181856"/>
                <a:gd name="connsiteX19" fmla="*/ 1868865 w 4166658"/>
                <a:gd name="connsiteY19" fmla="*/ 2974124 h 4181856"/>
                <a:gd name="connsiteX20" fmla="*/ 4164843 w 4166658"/>
                <a:gd name="connsiteY20" fmla="*/ 2980475 h 4181856"/>
                <a:gd name="connsiteX21" fmla="*/ 4166658 w 4166658"/>
                <a:gd name="connsiteY21" fmla="*/ 1878296 h 4181856"/>
                <a:gd name="connsiteX0" fmla="*/ 4166658 w 4166658"/>
                <a:gd name="connsiteY0" fmla="*/ 1923030 h 4226590"/>
                <a:gd name="connsiteX1" fmla="*/ 4134908 w 4166658"/>
                <a:gd name="connsiteY1" fmla="*/ 1923030 h 4226590"/>
                <a:gd name="connsiteX2" fmla="*/ 2828622 w 4166658"/>
                <a:gd name="connsiteY2" fmla="*/ 1908516 h 4226590"/>
                <a:gd name="connsiteX3" fmla="*/ 2854022 w 4166658"/>
                <a:gd name="connsiteY3" fmla="*/ 1215459 h 4226590"/>
                <a:gd name="connsiteX4" fmla="*/ 2480279 w 4166658"/>
                <a:gd name="connsiteY4" fmla="*/ 1197316 h 4226590"/>
                <a:gd name="connsiteX5" fmla="*/ 2494794 w 4166658"/>
                <a:gd name="connsiteY5" fmla="*/ 747373 h 4226590"/>
                <a:gd name="connsiteX6" fmla="*/ 2625422 w 4166658"/>
                <a:gd name="connsiteY6" fmla="*/ 587716 h 4226590"/>
                <a:gd name="connsiteX7" fmla="*/ 4149422 w 4166658"/>
                <a:gd name="connsiteY7" fmla="*/ 457088 h 4226590"/>
                <a:gd name="connsiteX8" fmla="*/ 2588796 w 4166658"/>
                <a:gd name="connsiteY8" fmla="*/ 363085 h 4226590"/>
                <a:gd name="connsiteX9" fmla="*/ 2059591 w 4166658"/>
                <a:gd name="connsiteY9" fmla="*/ 357641 h 4226590"/>
                <a:gd name="connsiteX10" fmla="*/ 523572 w 4166658"/>
                <a:gd name="connsiteY10" fmla="*/ 487930 h 4226590"/>
                <a:gd name="connsiteX11" fmla="*/ 2053922 w 4166658"/>
                <a:gd name="connsiteY11" fmla="*/ 614023 h 4226590"/>
                <a:gd name="connsiteX12" fmla="*/ 2196547 w 4166658"/>
                <a:gd name="connsiteY12" fmla="*/ 787070 h 4226590"/>
                <a:gd name="connsiteX13" fmla="*/ 2151434 w 4166658"/>
                <a:gd name="connsiteY13" fmla="*/ 1219628 h 4226590"/>
                <a:gd name="connsiteX14" fmla="*/ 1852131 w 4166658"/>
                <a:gd name="connsiteY14" fmla="*/ 1216121 h 4226590"/>
                <a:gd name="connsiteX15" fmla="*/ 1836587 w 4166658"/>
                <a:gd name="connsiteY15" fmla="*/ 1926469 h 4226590"/>
                <a:gd name="connsiteX16" fmla="*/ 179806 w 4166658"/>
                <a:gd name="connsiteY16" fmla="*/ 4226590 h 4226590"/>
                <a:gd name="connsiteX17" fmla="*/ 1305272 w 4166658"/>
                <a:gd name="connsiteY17" fmla="*/ 4225927 h 4226590"/>
                <a:gd name="connsiteX18" fmla="*/ 1302808 w 4166658"/>
                <a:gd name="connsiteY18" fmla="*/ 3660209 h 4226590"/>
                <a:gd name="connsiteX19" fmla="*/ 1868865 w 4166658"/>
                <a:gd name="connsiteY19" fmla="*/ 3018858 h 4226590"/>
                <a:gd name="connsiteX20" fmla="*/ 4164843 w 4166658"/>
                <a:gd name="connsiteY20" fmla="*/ 3025209 h 4226590"/>
                <a:gd name="connsiteX21" fmla="*/ 4166658 w 4166658"/>
                <a:gd name="connsiteY21" fmla="*/ 1923030 h 4226590"/>
                <a:gd name="connsiteX0" fmla="*/ 4166658 w 4166658"/>
                <a:gd name="connsiteY0" fmla="*/ 1923030 h 4226590"/>
                <a:gd name="connsiteX1" fmla="*/ 4134908 w 4166658"/>
                <a:gd name="connsiteY1" fmla="*/ 1923030 h 4226590"/>
                <a:gd name="connsiteX2" fmla="*/ 2828622 w 4166658"/>
                <a:gd name="connsiteY2" fmla="*/ 1908516 h 4226590"/>
                <a:gd name="connsiteX3" fmla="*/ 2854022 w 4166658"/>
                <a:gd name="connsiteY3" fmla="*/ 1215459 h 4226590"/>
                <a:gd name="connsiteX4" fmla="*/ 2480279 w 4166658"/>
                <a:gd name="connsiteY4" fmla="*/ 1197316 h 4226590"/>
                <a:gd name="connsiteX5" fmla="*/ 2494794 w 4166658"/>
                <a:gd name="connsiteY5" fmla="*/ 747373 h 4226590"/>
                <a:gd name="connsiteX6" fmla="*/ 2625422 w 4166658"/>
                <a:gd name="connsiteY6" fmla="*/ 587716 h 4226590"/>
                <a:gd name="connsiteX7" fmla="*/ 4149422 w 4166658"/>
                <a:gd name="connsiteY7" fmla="*/ 457088 h 4226590"/>
                <a:gd name="connsiteX8" fmla="*/ 2588796 w 4166658"/>
                <a:gd name="connsiteY8" fmla="*/ 363085 h 4226590"/>
                <a:gd name="connsiteX9" fmla="*/ 2059591 w 4166658"/>
                <a:gd name="connsiteY9" fmla="*/ 357641 h 4226590"/>
                <a:gd name="connsiteX10" fmla="*/ 523572 w 4166658"/>
                <a:gd name="connsiteY10" fmla="*/ 487930 h 4226590"/>
                <a:gd name="connsiteX11" fmla="*/ 2053922 w 4166658"/>
                <a:gd name="connsiteY11" fmla="*/ 614023 h 4226590"/>
                <a:gd name="connsiteX12" fmla="*/ 2196547 w 4166658"/>
                <a:gd name="connsiteY12" fmla="*/ 787070 h 4226590"/>
                <a:gd name="connsiteX13" fmla="*/ 2151434 w 4166658"/>
                <a:gd name="connsiteY13" fmla="*/ 1219628 h 4226590"/>
                <a:gd name="connsiteX14" fmla="*/ 1852131 w 4166658"/>
                <a:gd name="connsiteY14" fmla="*/ 1216121 h 4226590"/>
                <a:gd name="connsiteX15" fmla="*/ 1836587 w 4166658"/>
                <a:gd name="connsiteY15" fmla="*/ 1926469 h 4226590"/>
                <a:gd name="connsiteX16" fmla="*/ 179806 w 4166658"/>
                <a:gd name="connsiteY16" fmla="*/ 4226590 h 4226590"/>
                <a:gd name="connsiteX17" fmla="*/ 1305272 w 4166658"/>
                <a:gd name="connsiteY17" fmla="*/ 4225927 h 4226590"/>
                <a:gd name="connsiteX18" fmla="*/ 1302808 w 4166658"/>
                <a:gd name="connsiteY18" fmla="*/ 3660209 h 4226590"/>
                <a:gd name="connsiteX19" fmla="*/ 1868865 w 4166658"/>
                <a:gd name="connsiteY19" fmla="*/ 3018858 h 4226590"/>
                <a:gd name="connsiteX20" fmla="*/ 4164843 w 4166658"/>
                <a:gd name="connsiteY20" fmla="*/ 3025209 h 4226590"/>
                <a:gd name="connsiteX21" fmla="*/ 4166658 w 4166658"/>
                <a:gd name="connsiteY21" fmla="*/ 1923030 h 4226590"/>
                <a:gd name="connsiteX0" fmla="*/ 4166658 w 4166658"/>
                <a:gd name="connsiteY0" fmla="*/ 1884930 h 4188490"/>
                <a:gd name="connsiteX1" fmla="*/ 4134908 w 4166658"/>
                <a:gd name="connsiteY1" fmla="*/ 1884930 h 4188490"/>
                <a:gd name="connsiteX2" fmla="*/ 2828622 w 4166658"/>
                <a:gd name="connsiteY2" fmla="*/ 1870416 h 4188490"/>
                <a:gd name="connsiteX3" fmla="*/ 2854022 w 4166658"/>
                <a:gd name="connsiteY3" fmla="*/ 1177359 h 4188490"/>
                <a:gd name="connsiteX4" fmla="*/ 2480279 w 4166658"/>
                <a:gd name="connsiteY4" fmla="*/ 1159216 h 4188490"/>
                <a:gd name="connsiteX5" fmla="*/ 2494794 w 4166658"/>
                <a:gd name="connsiteY5" fmla="*/ 709273 h 4188490"/>
                <a:gd name="connsiteX6" fmla="*/ 2625422 w 4166658"/>
                <a:gd name="connsiteY6" fmla="*/ 549616 h 4188490"/>
                <a:gd name="connsiteX7" fmla="*/ 4149422 w 4166658"/>
                <a:gd name="connsiteY7" fmla="*/ 418988 h 4188490"/>
                <a:gd name="connsiteX8" fmla="*/ 2588796 w 4166658"/>
                <a:gd name="connsiteY8" fmla="*/ 324985 h 4188490"/>
                <a:gd name="connsiteX9" fmla="*/ 2059591 w 4166658"/>
                <a:gd name="connsiteY9" fmla="*/ 319541 h 4188490"/>
                <a:gd name="connsiteX10" fmla="*/ 523572 w 4166658"/>
                <a:gd name="connsiteY10" fmla="*/ 449830 h 4188490"/>
                <a:gd name="connsiteX11" fmla="*/ 2053922 w 4166658"/>
                <a:gd name="connsiteY11" fmla="*/ 575923 h 4188490"/>
                <a:gd name="connsiteX12" fmla="*/ 2196547 w 4166658"/>
                <a:gd name="connsiteY12" fmla="*/ 748970 h 4188490"/>
                <a:gd name="connsiteX13" fmla="*/ 2151434 w 4166658"/>
                <a:gd name="connsiteY13" fmla="*/ 1181528 h 4188490"/>
                <a:gd name="connsiteX14" fmla="*/ 1852131 w 4166658"/>
                <a:gd name="connsiteY14" fmla="*/ 1178021 h 4188490"/>
                <a:gd name="connsiteX15" fmla="*/ 1836587 w 4166658"/>
                <a:gd name="connsiteY15" fmla="*/ 1888369 h 4188490"/>
                <a:gd name="connsiteX16" fmla="*/ 179806 w 4166658"/>
                <a:gd name="connsiteY16" fmla="*/ 4188490 h 4188490"/>
                <a:gd name="connsiteX17" fmla="*/ 1305272 w 4166658"/>
                <a:gd name="connsiteY17" fmla="*/ 4187827 h 4188490"/>
                <a:gd name="connsiteX18" fmla="*/ 1302808 w 4166658"/>
                <a:gd name="connsiteY18" fmla="*/ 3622109 h 4188490"/>
                <a:gd name="connsiteX19" fmla="*/ 1868865 w 4166658"/>
                <a:gd name="connsiteY19" fmla="*/ 2980758 h 4188490"/>
                <a:gd name="connsiteX20" fmla="*/ 4164843 w 4166658"/>
                <a:gd name="connsiteY20" fmla="*/ 2987109 h 4188490"/>
                <a:gd name="connsiteX21" fmla="*/ 4166658 w 4166658"/>
                <a:gd name="connsiteY21" fmla="*/ 1884930 h 4188490"/>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0279 w 4166658"/>
                <a:gd name="connsiteY4" fmla="*/ 1171612 h 4200886"/>
                <a:gd name="connsiteX5" fmla="*/ 2494794 w 4166658"/>
                <a:gd name="connsiteY5" fmla="*/ 721669 h 4200886"/>
                <a:gd name="connsiteX6" fmla="*/ 2625422 w 4166658"/>
                <a:gd name="connsiteY6" fmla="*/ 56201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588319 h 4200886"/>
                <a:gd name="connsiteX12" fmla="*/ 2196547 w 4166658"/>
                <a:gd name="connsiteY12" fmla="*/ 761366 h 4200886"/>
                <a:gd name="connsiteX13" fmla="*/ 2151434 w 4166658"/>
                <a:gd name="connsiteY13" fmla="*/ 1193924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0279 w 4166658"/>
                <a:gd name="connsiteY4" fmla="*/ 1171612 h 4200886"/>
                <a:gd name="connsiteX5" fmla="*/ 2494794 w 4166658"/>
                <a:gd name="connsiteY5" fmla="*/ 721669 h 4200886"/>
                <a:gd name="connsiteX6" fmla="*/ 2625422 w 4166658"/>
                <a:gd name="connsiteY6" fmla="*/ 56201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588319 h 4200886"/>
                <a:gd name="connsiteX12" fmla="*/ 2196547 w 4166658"/>
                <a:gd name="connsiteY12" fmla="*/ 761366 h 4200886"/>
                <a:gd name="connsiteX13" fmla="*/ 2151434 w 4166658"/>
                <a:gd name="connsiteY13" fmla="*/ 1193924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0279 w 4166658"/>
                <a:gd name="connsiteY4" fmla="*/ 1171612 h 4200886"/>
                <a:gd name="connsiteX5" fmla="*/ 2494794 w 4166658"/>
                <a:gd name="connsiteY5" fmla="*/ 721669 h 4200886"/>
                <a:gd name="connsiteX6" fmla="*/ 2625422 w 4166658"/>
                <a:gd name="connsiteY6" fmla="*/ 56201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588319 h 4200886"/>
                <a:gd name="connsiteX12" fmla="*/ 2196547 w 4166658"/>
                <a:gd name="connsiteY12" fmla="*/ 761366 h 4200886"/>
                <a:gd name="connsiteX13" fmla="*/ 2151434 w 4166658"/>
                <a:gd name="connsiteY13" fmla="*/ 1193924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0279 w 4166658"/>
                <a:gd name="connsiteY4" fmla="*/ 1171612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588319 h 4200886"/>
                <a:gd name="connsiteX12" fmla="*/ 2196547 w 4166658"/>
                <a:gd name="connsiteY12" fmla="*/ 761366 h 4200886"/>
                <a:gd name="connsiteX13" fmla="*/ 2151434 w 4166658"/>
                <a:gd name="connsiteY13" fmla="*/ 1193924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0279 w 4166658"/>
                <a:gd name="connsiteY4" fmla="*/ 1171612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588319 h 4200886"/>
                <a:gd name="connsiteX12" fmla="*/ 2196547 w 4166658"/>
                <a:gd name="connsiteY12" fmla="*/ 761366 h 4200886"/>
                <a:gd name="connsiteX13" fmla="*/ 2180009 w 4166658"/>
                <a:gd name="connsiteY13" fmla="*/ 1182017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0279 w 4166658"/>
                <a:gd name="connsiteY4" fmla="*/ 1171612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588319 h 4200886"/>
                <a:gd name="connsiteX12" fmla="*/ 2196547 w 4166658"/>
                <a:gd name="connsiteY12" fmla="*/ 761366 h 4200886"/>
                <a:gd name="connsiteX13" fmla="*/ 2177627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588319 h 4200886"/>
                <a:gd name="connsiteX12" fmla="*/ 2196547 w 4166658"/>
                <a:gd name="connsiteY12" fmla="*/ 761366 h 4200886"/>
                <a:gd name="connsiteX13" fmla="*/ 2177627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588319 h 4200886"/>
                <a:gd name="connsiteX12" fmla="*/ 2196547 w 4166658"/>
                <a:gd name="connsiteY12" fmla="*/ 761366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61366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61366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61366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566684 w 4166658"/>
                <a:gd name="connsiteY6" fmla="*/ 598525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566684 w 4166658"/>
                <a:gd name="connsiteY6" fmla="*/ 598525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566684 w 4166658"/>
                <a:gd name="connsiteY6" fmla="*/ 598525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585734 w 4166658"/>
                <a:gd name="connsiteY6" fmla="*/ 591381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585734 w 4166658"/>
                <a:gd name="connsiteY6" fmla="*/ 591381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40528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585734 w 4166658"/>
                <a:gd name="connsiteY6" fmla="*/ 591381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40528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585734 w 4166658"/>
                <a:gd name="connsiteY6" fmla="*/ 591381 h 4200886"/>
                <a:gd name="connsiteX7" fmla="*/ 4149422 w 4166658"/>
                <a:gd name="connsiteY7" fmla="*/ 431384 h 4200886"/>
                <a:gd name="connsiteX8" fmla="*/ 2588796 w 4166658"/>
                <a:gd name="connsiteY8" fmla="*/ 337381 h 4200886"/>
                <a:gd name="connsiteX9" fmla="*/ 2059591 w 4166658"/>
                <a:gd name="connsiteY9" fmla="*/ 320030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40528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585734 w 4166658"/>
                <a:gd name="connsiteY6" fmla="*/ 591381 h 4200886"/>
                <a:gd name="connsiteX7" fmla="*/ 4149422 w 4166658"/>
                <a:gd name="connsiteY7" fmla="*/ 431384 h 4200886"/>
                <a:gd name="connsiteX8" fmla="*/ 2588796 w 4166658"/>
                <a:gd name="connsiteY8" fmla="*/ 337381 h 4200886"/>
                <a:gd name="connsiteX9" fmla="*/ 2059591 w 4166658"/>
                <a:gd name="connsiteY9" fmla="*/ 320030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0203 h 4193763"/>
                <a:gd name="connsiteX1" fmla="*/ 4134908 w 4166658"/>
                <a:gd name="connsiteY1" fmla="*/ 1890203 h 4193763"/>
                <a:gd name="connsiteX2" fmla="*/ 2840528 w 4166658"/>
                <a:gd name="connsiteY2" fmla="*/ 1875689 h 4193763"/>
                <a:gd name="connsiteX3" fmla="*/ 2854022 w 4166658"/>
                <a:gd name="connsiteY3" fmla="*/ 1182632 h 4193763"/>
                <a:gd name="connsiteX4" fmla="*/ 2487423 w 4166658"/>
                <a:gd name="connsiteY4" fmla="*/ 1178777 h 4193763"/>
                <a:gd name="connsiteX5" fmla="*/ 2494794 w 4166658"/>
                <a:gd name="connsiteY5" fmla="*/ 714546 h 4193763"/>
                <a:gd name="connsiteX6" fmla="*/ 2585734 w 4166658"/>
                <a:gd name="connsiteY6" fmla="*/ 584258 h 4193763"/>
                <a:gd name="connsiteX7" fmla="*/ 4154184 w 4166658"/>
                <a:gd name="connsiteY7" fmla="*/ 443311 h 4193763"/>
                <a:gd name="connsiteX8" fmla="*/ 2588796 w 4166658"/>
                <a:gd name="connsiteY8" fmla="*/ 330258 h 4193763"/>
                <a:gd name="connsiteX9" fmla="*/ 2059591 w 4166658"/>
                <a:gd name="connsiteY9" fmla="*/ 312907 h 4193763"/>
                <a:gd name="connsiteX10" fmla="*/ 523572 w 4166658"/>
                <a:gd name="connsiteY10" fmla="*/ 455103 h 4193763"/>
                <a:gd name="connsiteX11" fmla="*/ 2053922 w 4166658"/>
                <a:gd name="connsiteY11" fmla="*/ 595483 h 4193763"/>
                <a:gd name="connsiteX12" fmla="*/ 2196547 w 4166658"/>
                <a:gd name="connsiteY12" fmla="*/ 720906 h 4193763"/>
                <a:gd name="connsiteX13" fmla="*/ 2189533 w 4166658"/>
                <a:gd name="connsiteY13" fmla="*/ 1182038 h 4193763"/>
                <a:gd name="connsiteX14" fmla="*/ 1852131 w 4166658"/>
                <a:gd name="connsiteY14" fmla="*/ 1183294 h 4193763"/>
                <a:gd name="connsiteX15" fmla="*/ 1836587 w 4166658"/>
                <a:gd name="connsiteY15" fmla="*/ 1893642 h 4193763"/>
                <a:gd name="connsiteX16" fmla="*/ 179806 w 4166658"/>
                <a:gd name="connsiteY16" fmla="*/ 4193763 h 4193763"/>
                <a:gd name="connsiteX17" fmla="*/ 1305272 w 4166658"/>
                <a:gd name="connsiteY17" fmla="*/ 4193100 h 4193763"/>
                <a:gd name="connsiteX18" fmla="*/ 1302808 w 4166658"/>
                <a:gd name="connsiteY18" fmla="*/ 3627382 h 4193763"/>
                <a:gd name="connsiteX19" fmla="*/ 1868865 w 4166658"/>
                <a:gd name="connsiteY19" fmla="*/ 2986031 h 4193763"/>
                <a:gd name="connsiteX20" fmla="*/ 4164843 w 4166658"/>
                <a:gd name="connsiteY20" fmla="*/ 2992382 h 4193763"/>
                <a:gd name="connsiteX21" fmla="*/ 4166658 w 4166658"/>
                <a:gd name="connsiteY21" fmla="*/ 1890203 h 4193763"/>
                <a:gd name="connsiteX0" fmla="*/ 4166658 w 4204984"/>
                <a:gd name="connsiteY0" fmla="*/ 1890203 h 4193763"/>
                <a:gd name="connsiteX1" fmla="*/ 4134908 w 4204984"/>
                <a:gd name="connsiteY1" fmla="*/ 1890203 h 4193763"/>
                <a:gd name="connsiteX2" fmla="*/ 2840528 w 4204984"/>
                <a:gd name="connsiteY2" fmla="*/ 1875689 h 4193763"/>
                <a:gd name="connsiteX3" fmla="*/ 2854022 w 4204984"/>
                <a:gd name="connsiteY3" fmla="*/ 1182632 h 4193763"/>
                <a:gd name="connsiteX4" fmla="*/ 2487423 w 4204984"/>
                <a:gd name="connsiteY4" fmla="*/ 1178777 h 4193763"/>
                <a:gd name="connsiteX5" fmla="*/ 2494794 w 4204984"/>
                <a:gd name="connsiteY5" fmla="*/ 714546 h 4193763"/>
                <a:gd name="connsiteX6" fmla="*/ 2585734 w 4204984"/>
                <a:gd name="connsiteY6" fmla="*/ 584258 h 4193763"/>
                <a:gd name="connsiteX7" fmla="*/ 4154184 w 4204984"/>
                <a:gd name="connsiteY7" fmla="*/ 443311 h 4193763"/>
                <a:gd name="connsiteX8" fmla="*/ 2588796 w 4204984"/>
                <a:gd name="connsiteY8" fmla="*/ 330258 h 4193763"/>
                <a:gd name="connsiteX9" fmla="*/ 2059591 w 4204984"/>
                <a:gd name="connsiteY9" fmla="*/ 312907 h 4193763"/>
                <a:gd name="connsiteX10" fmla="*/ 523572 w 4204984"/>
                <a:gd name="connsiteY10" fmla="*/ 455103 h 4193763"/>
                <a:gd name="connsiteX11" fmla="*/ 2053922 w 4204984"/>
                <a:gd name="connsiteY11" fmla="*/ 595483 h 4193763"/>
                <a:gd name="connsiteX12" fmla="*/ 2196547 w 4204984"/>
                <a:gd name="connsiteY12" fmla="*/ 720906 h 4193763"/>
                <a:gd name="connsiteX13" fmla="*/ 2189533 w 4204984"/>
                <a:gd name="connsiteY13" fmla="*/ 1182038 h 4193763"/>
                <a:gd name="connsiteX14" fmla="*/ 1852131 w 4204984"/>
                <a:gd name="connsiteY14" fmla="*/ 1183294 h 4193763"/>
                <a:gd name="connsiteX15" fmla="*/ 1836587 w 4204984"/>
                <a:gd name="connsiteY15" fmla="*/ 1893642 h 4193763"/>
                <a:gd name="connsiteX16" fmla="*/ 179806 w 4204984"/>
                <a:gd name="connsiteY16" fmla="*/ 4193763 h 4193763"/>
                <a:gd name="connsiteX17" fmla="*/ 1305272 w 4204984"/>
                <a:gd name="connsiteY17" fmla="*/ 4193100 h 4193763"/>
                <a:gd name="connsiteX18" fmla="*/ 1302808 w 4204984"/>
                <a:gd name="connsiteY18" fmla="*/ 3627382 h 4193763"/>
                <a:gd name="connsiteX19" fmla="*/ 1868865 w 4204984"/>
                <a:gd name="connsiteY19" fmla="*/ 2986031 h 4193763"/>
                <a:gd name="connsiteX20" fmla="*/ 4164843 w 4204984"/>
                <a:gd name="connsiteY20" fmla="*/ 2992382 h 4193763"/>
                <a:gd name="connsiteX21" fmla="*/ 4166658 w 4204984"/>
                <a:gd name="connsiteY21" fmla="*/ 1890203 h 4193763"/>
                <a:gd name="connsiteX0" fmla="*/ 4166658 w 4204984"/>
                <a:gd name="connsiteY0" fmla="*/ 1890203 h 4193763"/>
                <a:gd name="connsiteX1" fmla="*/ 4134908 w 4204984"/>
                <a:gd name="connsiteY1" fmla="*/ 1890203 h 4193763"/>
                <a:gd name="connsiteX2" fmla="*/ 2840528 w 4204984"/>
                <a:gd name="connsiteY2" fmla="*/ 1875689 h 4193763"/>
                <a:gd name="connsiteX3" fmla="*/ 2854022 w 4204984"/>
                <a:gd name="connsiteY3" fmla="*/ 1182632 h 4193763"/>
                <a:gd name="connsiteX4" fmla="*/ 2487423 w 4204984"/>
                <a:gd name="connsiteY4" fmla="*/ 1178777 h 4193763"/>
                <a:gd name="connsiteX5" fmla="*/ 2494794 w 4204984"/>
                <a:gd name="connsiteY5" fmla="*/ 714546 h 4193763"/>
                <a:gd name="connsiteX6" fmla="*/ 2585734 w 4204984"/>
                <a:gd name="connsiteY6" fmla="*/ 584258 h 4193763"/>
                <a:gd name="connsiteX7" fmla="*/ 4154184 w 4204984"/>
                <a:gd name="connsiteY7" fmla="*/ 443311 h 4193763"/>
                <a:gd name="connsiteX8" fmla="*/ 2588796 w 4204984"/>
                <a:gd name="connsiteY8" fmla="*/ 330258 h 4193763"/>
                <a:gd name="connsiteX9" fmla="*/ 2059591 w 4204984"/>
                <a:gd name="connsiteY9" fmla="*/ 312907 h 4193763"/>
                <a:gd name="connsiteX10" fmla="*/ 523572 w 4204984"/>
                <a:gd name="connsiteY10" fmla="*/ 455103 h 4193763"/>
                <a:gd name="connsiteX11" fmla="*/ 2053922 w 4204984"/>
                <a:gd name="connsiteY11" fmla="*/ 595483 h 4193763"/>
                <a:gd name="connsiteX12" fmla="*/ 2196547 w 4204984"/>
                <a:gd name="connsiteY12" fmla="*/ 720906 h 4193763"/>
                <a:gd name="connsiteX13" fmla="*/ 2189533 w 4204984"/>
                <a:gd name="connsiteY13" fmla="*/ 1182038 h 4193763"/>
                <a:gd name="connsiteX14" fmla="*/ 1852131 w 4204984"/>
                <a:gd name="connsiteY14" fmla="*/ 1183294 h 4193763"/>
                <a:gd name="connsiteX15" fmla="*/ 1836587 w 4204984"/>
                <a:gd name="connsiteY15" fmla="*/ 1893642 h 4193763"/>
                <a:gd name="connsiteX16" fmla="*/ 179806 w 4204984"/>
                <a:gd name="connsiteY16" fmla="*/ 4193763 h 4193763"/>
                <a:gd name="connsiteX17" fmla="*/ 727339 w 4204984"/>
                <a:gd name="connsiteY17" fmla="*/ 4190945 h 4193763"/>
                <a:gd name="connsiteX18" fmla="*/ 1305272 w 4204984"/>
                <a:gd name="connsiteY18" fmla="*/ 4193100 h 4193763"/>
                <a:gd name="connsiteX19" fmla="*/ 1302808 w 4204984"/>
                <a:gd name="connsiteY19" fmla="*/ 3627382 h 4193763"/>
                <a:gd name="connsiteX20" fmla="*/ 1868865 w 4204984"/>
                <a:gd name="connsiteY20" fmla="*/ 2986031 h 4193763"/>
                <a:gd name="connsiteX21" fmla="*/ 4164843 w 4204984"/>
                <a:gd name="connsiteY21" fmla="*/ 2992382 h 4193763"/>
                <a:gd name="connsiteX22" fmla="*/ 4166658 w 4204984"/>
                <a:gd name="connsiteY22" fmla="*/ 1890203 h 4193763"/>
                <a:gd name="connsiteX0" fmla="*/ 4166658 w 4204984"/>
                <a:gd name="connsiteY0" fmla="*/ 1890203 h 4519557"/>
                <a:gd name="connsiteX1" fmla="*/ 4134908 w 4204984"/>
                <a:gd name="connsiteY1" fmla="*/ 1890203 h 4519557"/>
                <a:gd name="connsiteX2" fmla="*/ 2840528 w 4204984"/>
                <a:gd name="connsiteY2" fmla="*/ 1875689 h 4519557"/>
                <a:gd name="connsiteX3" fmla="*/ 2854022 w 4204984"/>
                <a:gd name="connsiteY3" fmla="*/ 1182632 h 4519557"/>
                <a:gd name="connsiteX4" fmla="*/ 2487423 w 4204984"/>
                <a:gd name="connsiteY4" fmla="*/ 1178777 h 4519557"/>
                <a:gd name="connsiteX5" fmla="*/ 2494794 w 4204984"/>
                <a:gd name="connsiteY5" fmla="*/ 714546 h 4519557"/>
                <a:gd name="connsiteX6" fmla="*/ 2585734 w 4204984"/>
                <a:gd name="connsiteY6" fmla="*/ 584258 h 4519557"/>
                <a:gd name="connsiteX7" fmla="*/ 4154184 w 4204984"/>
                <a:gd name="connsiteY7" fmla="*/ 443311 h 4519557"/>
                <a:gd name="connsiteX8" fmla="*/ 2588796 w 4204984"/>
                <a:gd name="connsiteY8" fmla="*/ 330258 h 4519557"/>
                <a:gd name="connsiteX9" fmla="*/ 2059591 w 4204984"/>
                <a:gd name="connsiteY9" fmla="*/ 312907 h 4519557"/>
                <a:gd name="connsiteX10" fmla="*/ 523572 w 4204984"/>
                <a:gd name="connsiteY10" fmla="*/ 455103 h 4519557"/>
                <a:gd name="connsiteX11" fmla="*/ 2053922 w 4204984"/>
                <a:gd name="connsiteY11" fmla="*/ 595483 h 4519557"/>
                <a:gd name="connsiteX12" fmla="*/ 2196547 w 4204984"/>
                <a:gd name="connsiteY12" fmla="*/ 720906 h 4519557"/>
                <a:gd name="connsiteX13" fmla="*/ 2189533 w 4204984"/>
                <a:gd name="connsiteY13" fmla="*/ 1182038 h 4519557"/>
                <a:gd name="connsiteX14" fmla="*/ 1852131 w 4204984"/>
                <a:gd name="connsiteY14" fmla="*/ 1183294 h 4519557"/>
                <a:gd name="connsiteX15" fmla="*/ 1836587 w 4204984"/>
                <a:gd name="connsiteY15" fmla="*/ 1893642 h 4519557"/>
                <a:gd name="connsiteX16" fmla="*/ 179806 w 4204984"/>
                <a:gd name="connsiteY16" fmla="*/ 4193763 h 4519557"/>
                <a:gd name="connsiteX17" fmla="*/ 727339 w 4204984"/>
                <a:gd name="connsiteY17" fmla="*/ 4190945 h 4519557"/>
                <a:gd name="connsiteX18" fmla="*/ 503502 w 4204984"/>
                <a:gd name="connsiteY18" fmla="*/ 4519557 h 4519557"/>
                <a:gd name="connsiteX19" fmla="*/ 1305272 w 4204984"/>
                <a:gd name="connsiteY19" fmla="*/ 4193100 h 4519557"/>
                <a:gd name="connsiteX20" fmla="*/ 1302808 w 4204984"/>
                <a:gd name="connsiteY20" fmla="*/ 3627382 h 4519557"/>
                <a:gd name="connsiteX21" fmla="*/ 1868865 w 4204984"/>
                <a:gd name="connsiteY21" fmla="*/ 2986031 h 4519557"/>
                <a:gd name="connsiteX22" fmla="*/ 4164843 w 4204984"/>
                <a:gd name="connsiteY22" fmla="*/ 2992382 h 4519557"/>
                <a:gd name="connsiteX23" fmla="*/ 4166658 w 4204984"/>
                <a:gd name="connsiteY23" fmla="*/ 1890203 h 4519557"/>
                <a:gd name="connsiteX0" fmla="*/ 4166658 w 4204984"/>
                <a:gd name="connsiteY0" fmla="*/ 1890203 h 4519557"/>
                <a:gd name="connsiteX1" fmla="*/ 4134908 w 4204984"/>
                <a:gd name="connsiteY1" fmla="*/ 1890203 h 4519557"/>
                <a:gd name="connsiteX2" fmla="*/ 2840528 w 4204984"/>
                <a:gd name="connsiteY2" fmla="*/ 1875689 h 4519557"/>
                <a:gd name="connsiteX3" fmla="*/ 2854022 w 4204984"/>
                <a:gd name="connsiteY3" fmla="*/ 1182632 h 4519557"/>
                <a:gd name="connsiteX4" fmla="*/ 2487423 w 4204984"/>
                <a:gd name="connsiteY4" fmla="*/ 1178777 h 4519557"/>
                <a:gd name="connsiteX5" fmla="*/ 2494794 w 4204984"/>
                <a:gd name="connsiteY5" fmla="*/ 714546 h 4519557"/>
                <a:gd name="connsiteX6" fmla="*/ 2585734 w 4204984"/>
                <a:gd name="connsiteY6" fmla="*/ 584258 h 4519557"/>
                <a:gd name="connsiteX7" fmla="*/ 4154184 w 4204984"/>
                <a:gd name="connsiteY7" fmla="*/ 443311 h 4519557"/>
                <a:gd name="connsiteX8" fmla="*/ 2588796 w 4204984"/>
                <a:gd name="connsiteY8" fmla="*/ 330258 h 4519557"/>
                <a:gd name="connsiteX9" fmla="*/ 2059591 w 4204984"/>
                <a:gd name="connsiteY9" fmla="*/ 312907 h 4519557"/>
                <a:gd name="connsiteX10" fmla="*/ 523572 w 4204984"/>
                <a:gd name="connsiteY10" fmla="*/ 455103 h 4519557"/>
                <a:gd name="connsiteX11" fmla="*/ 2053922 w 4204984"/>
                <a:gd name="connsiteY11" fmla="*/ 595483 h 4519557"/>
                <a:gd name="connsiteX12" fmla="*/ 2196547 w 4204984"/>
                <a:gd name="connsiteY12" fmla="*/ 720906 h 4519557"/>
                <a:gd name="connsiteX13" fmla="*/ 2189533 w 4204984"/>
                <a:gd name="connsiteY13" fmla="*/ 1182038 h 4519557"/>
                <a:gd name="connsiteX14" fmla="*/ 1852131 w 4204984"/>
                <a:gd name="connsiteY14" fmla="*/ 1183294 h 4519557"/>
                <a:gd name="connsiteX15" fmla="*/ 1836587 w 4204984"/>
                <a:gd name="connsiteY15" fmla="*/ 1893642 h 4519557"/>
                <a:gd name="connsiteX16" fmla="*/ 179806 w 4204984"/>
                <a:gd name="connsiteY16" fmla="*/ 4193763 h 4519557"/>
                <a:gd name="connsiteX17" fmla="*/ 727339 w 4204984"/>
                <a:gd name="connsiteY17" fmla="*/ 4190945 h 4519557"/>
                <a:gd name="connsiteX18" fmla="*/ 503502 w 4204984"/>
                <a:gd name="connsiteY18" fmla="*/ 4519557 h 4519557"/>
                <a:gd name="connsiteX19" fmla="*/ 748771 w 4204984"/>
                <a:gd name="connsiteY19" fmla="*/ 4188563 h 4519557"/>
                <a:gd name="connsiteX20" fmla="*/ 1305272 w 4204984"/>
                <a:gd name="connsiteY20" fmla="*/ 4193100 h 4519557"/>
                <a:gd name="connsiteX21" fmla="*/ 1302808 w 4204984"/>
                <a:gd name="connsiteY21" fmla="*/ 3627382 h 4519557"/>
                <a:gd name="connsiteX22" fmla="*/ 1868865 w 4204984"/>
                <a:gd name="connsiteY22" fmla="*/ 2986031 h 4519557"/>
                <a:gd name="connsiteX23" fmla="*/ 4164843 w 4204984"/>
                <a:gd name="connsiteY23" fmla="*/ 2992382 h 4519557"/>
                <a:gd name="connsiteX24" fmla="*/ 4166658 w 4204984"/>
                <a:gd name="connsiteY24" fmla="*/ 1890203 h 4519557"/>
                <a:gd name="connsiteX0" fmla="*/ 4166658 w 4204984"/>
                <a:gd name="connsiteY0" fmla="*/ 1890203 h 4660051"/>
                <a:gd name="connsiteX1" fmla="*/ 4134908 w 4204984"/>
                <a:gd name="connsiteY1" fmla="*/ 1890203 h 4660051"/>
                <a:gd name="connsiteX2" fmla="*/ 2840528 w 4204984"/>
                <a:gd name="connsiteY2" fmla="*/ 1875689 h 4660051"/>
                <a:gd name="connsiteX3" fmla="*/ 2854022 w 4204984"/>
                <a:gd name="connsiteY3" fmla="*/ 1182632 h 4660051"/>
                <a:gd name="connsiteX4" fmla="*/ 2487423 w 4204984"/>
                <a:gd name="connsiteY4" fmla="*/ 1178777 h 4660051"/>
                <a:gd name="connsiteX5" fmla="*/ 2494794 w 4204984"/>
                <a:gd name="connsiteY5" fmla="*/ 714546 h 4660051"/>
                <a:gd name="connsiteX6" fmla="*/ 2585734 w 4204984"/>
                <a:gd name="connsiteY6" fmla="*/ 584258 h 4660051"/>
                <a:gd name="connsiteX7" fmla="*/ 4154184 w 4204984"/>
                <a:gd name="connsiteY7" fmla="*/ 443311 h 4660051"/>
                <a:gd name="connsiteX8" fmla="*/ 2588796 w 4204984"/>
                <a:gd name="connsiteY8" fmla="*/ 330258 h 4660051"/>
                <a:gd name="connsiteX9" fmla="*/ 2059591 w 4204984"/>
                <a:gd name="connsiteY9" fmla="*/ 312907 h 4660051"/>
                <a:gd name="connsiteX10" fmla="*/ 523572 w 4204984"/>
                <a:gd name="connsiteY10" fmla="*/ 455103 h 4660051"/>
                <a:gd name="connsiteX11" fmla="*/ 2053922 w 4204984"/>
                <a:gd name="connsiteY11" fmla="*/ 595483 h 4660051"/>
                <a:gd name="connsiteX12" fmla="*/ 2196547 w 4204984"/>
                <a:gd name="connsiteY12" fmla="*/ 720906 h 4660051"/>
                <a:gd name="connsiteX13" fmla="*/ 2189533 w 4204984"/>
                <a:gd name="connsiteY13" fmla="*/ 1182038 h 4660051"/>
                <a:gd name="connsiteX14" fmla="*/ 1852131 w 4204984"/>
                <a:gd name="connsiteY14" fmla="*/ 1183294 h 4660051"/>
                <a:gd name="connsiteX15" fmla="*/ 1836587 w 4204984"/>
                <a:gd name="connsiteY15" fmla="*/ 1893642 h 4660051"/>
                <a:gd name="connsiteX16" fmla="*/ 179806 w 4204984"/>
                <a:gd name="connsiteY16" fmla="*/ 4193763 h 4660051"/>
                <a:gd name="connsiteX17" fmla="*/ 727339 w 4204984"/>
                <a:gd name="connsiteY17" fmla="*/ 4190945 h 4660051"/>
                <a:gd name="connsiteX18" fmla="*/ 503502 w 4204984"/>
                <a:gd name="connsiteY18" fmla="*/ 4519557 h 4660051"/>
                <a:gd name="connsiteX19" fmla="*/ 1065477 w 4204984"/>
                <a:gd name="connsiteY19" fmla="*/ 4660051 h 4660051"/>
                <a:gd name="connsiteX20" fmla="*/ 748771 w 4204984"/>
                <a:gd name="connsiteY20" fmla="*/ 4188563 h 4660051"/>
                <a:gd name="connsiteX21" fmla="*/ 1305272 w 4204984"/>
                <a:gd name="connsiteY21" fmla="*/ 4193100 h 4660051"/>
                <a:gd name="connsiteX22" fmla="*/ 1302808 w 4204984"/>
                <a:gd name="connsiteY22" fmla="*/ 3627382 h 4660051"/>
                <a:gd name="connsiteX23" fmla="*/ 1868865 w 4204984"/>
                <a:gd name="connsiteY23" fmla="*/ 2986031 h 4660051"/>
                <a:gd name="connsiteX24" fmla="*/ 4164843 w 4204984"/>
                <a:gd name="connsiteY24" fmla="*/ 2992382 h 4660051"/>
                <a:gd name="connsiteX25" fmla="*/ 4166658 w 4204984"/>
                <a:gd name="connsiteY25" fmla="*/ 1890203 h 4660051"/>
                <a:gd name="connsiteX0" fmla="*/ 4166658 w 4204984"/>
                <a:gd name="connsiteY0" fmla="*/ 1890203 h 4660051"/>
                <a:gd name="connsiteX1" fmla="*/ 4134908 w 4204984"/>
                <a:gd name="connsiteY1" fmla="*/ 1890203 h 4660051"/>
                <a:gd name="connsiteX2" fmla="*/ 2840528 w 4204984"/>
                <a:gd name="connsiteY2" fmla="*/ 1875689 h 4660051"/>
                <a:gd name="connsiteX3" fmla="*/ 2854022 w 4204984"/>
                <a:gd name="connsiteY3" fmla="*/ 1182632 h 4660051"/>
                <a:gd name="connsiteX4" fmla="*/ 2487423 w 4204984"/>
                <a:gd name="connsiteY4" fmla="*/ 1178777 h 4660051"/>
                <a:gd name="connsiteX5" fmla="*/ 2494794 w 4204984"/>
                <a:gd name="connsiteY5" fmla="*/ 714546 h 4660051"/>
                <a:gd name="connsiteX6" fmla="*/ 2585734 w 4204984"/>
                <a:gd name="connsiteY6" fmla="*/ 584258 h 4660051"/>
                <a:gd name="connsiteX7" fmla="*/ 4154184 w 4204984"/>
                <a:gd name="connsiteY7" fmla="*/ 443311 h 4660051"/>
                <a:gd name="connsiteX8" fmla="*/ 2588796 w 4204984"/>
                <a:gd name="connsiteY8" fmla="*/ 330258 h 4660051"/>
                <a:gd name="connsiteX9" fmla="*/ 2059591 w 4204984"/>
                <a:gd name="connsiteY9" fmla="*/ 312907 h 4660051"/>
                <a:gd name="connsiteX10" fmla="*/ 523572 w 4204984"/>
                <a:gd name="connsiteY10" fmla="*/ 455103 h 4660051"/>
                <a:gd name="connsiteX11" fmla="*/ 2053922 w 4204984"/>
                <a:gd name="connsiteY11" fmla="*/ 595483 h 4660051"/>
                <a:gd name="connsiteX12" fmla="*/ 2196547 w 4204984"/>
                <a:gd name="connsiteY12" fmla="*/ 720906 h 4660051"/>
                <a:gd name="connsiteX13" fmla="*/ 2189533 w 4204984"/>
                <a:gd name="connsiteY13" fmla="*/ 1182038 h 4660051"/>
                <a:gd name="connsiteX14" fmla="*/ 1852131 w 4204984"/>
                <a:gd name="connsiteY14" fmla="*/ 1183294 h 4660051"/>
                <a:gd name="connsiteX15" fmla="*/ 1836587 w 4204984"/>
                <a:gd name="connsiteY15" fmla="*/ 1893642 h 4660051"/>
                <a:gd name="connsiteX16" fmla="*/ 179806 w 4204984"/>
                <a:gd name="connsiteY16" fmla="*/ 4193763 h 4660051"/>
                <a:gd name="connsiteX17" fmla="*/ 727339 w 4204984"/>
                <a:gd name="connsiteY17" fmla="*/ 4190945 h 4660051"/>
                <a:gd name="connsiteX18" fmla="*/ 420158 w 4204984"/>
                <a:gd name="connsiteY18" fmla="*/ 4626713 h 4660051"/>
                <a:gd name="connsiteX19" fmla="*/ 1065477 w 4204984"/>
                <a:gd name="connsiteY19" fmla="*/ 4660051 h 4660051"/>
                <a:gd name="connsiteX20" fmla="*/ 748771 w 4204984"/>
                <a:gd name="connsiteY20" fmla="*/ 4188563 h 4660051"/>
                <a:gd name="connsiteX21" fmla="*/ 1305272 w 4204984"/>
                <a:gd name="connsiteY21" fmla="*/ 4193100 h 4660051"/>
                <a:gd name="connsiteX22" fmla="*/ 1302808 w 4204984"/>
                <a:gd name="connsiteY22" fmla="*/ 3627382 h 4660051"/>
                <a:gd name="connsiteX23" fmla="*/ 1868865 w 4204984"/>
                <a:gd name="connsiteY23" fmla="*/ 2986031 h 4660051"/>
                <a:gd name="connsiteX24" fmla="*/ 4164843 w 4204984"/>
                <a:gd name="connsiteY24" fmla="*/ 2992382 h 4660051"/>
                <a:gd name="connsiteX25" fmla="*/ 4166658 w 4204984"/>
                <a:gd name="connsiteY25" fmla="*/ 1890203 h 4660051"/>
                <a:gd name="connsiteX0" fmla="*/ 4166658 w 4204984"/>
                <a:gd name="connsiteY0" fmla="*/ 1890203 h 5619695"/>
                <a:gd name="connsiteX1" fmla="*/ 4134908 w 4204984"/>
                <a:gd name="connsiteY1" fmla="*/ 1890203 h 5619695"/>
                <a:gd name="connsiteX2" fmla="*/ 2840528 w 4204984"/>
                <a:gd name="connsiteY2" fmla="*/ 1875689 h 5619695"/>
                <a:gd name="connsiteX3" fmla="*/ 2854022 w 4204984"/>
                <a:gd name="connsiteY3" fmla="*/ 1182632 h 5619695"/>
                <a:gd name="connsiteX4" fmla="*/ 2487423 w 4204984"/>
                <a:gd name="connsiteY4" fmla="*/ 1178777 h 5619695"/>
                <a:gd name="connsiteX5" fmla="*/ 2494794 w 4204984"/>
                <a:gd name="connsiteY5" fmla="*/ 714546 h 5619695"/>
                <a:gd name="connsiteX6" fmla="*/ 2585734 w 4204984"/>
                <a:gd name="connsiteY6" fmla="*/ 584258 h 5619695"/>
                <a:gd name="connsiteX7" fmla="*/ 4154184 w 4204984"/>
                <a:gd name="connsiteY7" fmla="*/ 443311 h 5619695"/>
                <a:gd name="connsiteX8" fmla="*/ 2588796 w 4204984"/>
                <a:gd name="connsiteY8" fmla="*/ 330258 h 5619695"/>
                <a:gd name="connsiteX9" fmla="*/ 2059591 w 4204984"/>
                <a:gd name="connsiteY9" fmla="*/ 312907 h 5619695"/>
                <a:gd name="connsiteX10" fmla="*/ 523572 w 4204984"/>
                <a:gd name="connsiteY10" fmla="*/ 455103 h 5619695"/>
                <a:gd name="connsiteX11" fmla="*/ 2053922 w 4204984"/>
                <a:gd name="connsiteY11" fmla="*/ 595483 h 5619695"/>
                <a:gd name="connsiteX12" fmla="*/ 2196547 w 4204984"/>
                <a:gd name="connsiteY12" fmla="*/ 720906 h 5619695"/>
                <a:gd name="connsiteX13" fmla="*/ 2189533 w 4204984"/>
                <a:gd name="connsiteY13" fmla="*/ 1182038 h 5619695"/>
                <a:gd name="connsiteX14" fmla="*/ 1852131 w 4204984"/>
                <a:gd name="connsiteY14" fmla="*/ 1183294 h 5619695"/>
                <a:gd name="connsiteX15" fmla="*/ 1836587 w 4204984"/>
                <a:gd name="connsiteY15" fmla="*/ 1893642 h 5619695"/>
                <a:gd name="connsiteX16" fmla="*/ 179806 w 4204984"/>
                <a:gd name="connsiteY16" fmla="*/ 4193763 h 5619695"/>
                <a:gd name="connsiteX17" fmla="*/ 727339 w 4204984"/>
                <a:gd name="connsiteY17" fmla="*/ 4190945 h 5619695"/>
                <a:gd name="connsiteX18" fmla="*/ 420158 w 4204984"/>
                <a:gd name="connsiteY18" fmla="*/ 4626713 h 5619695"/>
                <a:gd name="connsiteX19" fmla="*/ 751152 w 4204984"/>
                <a:gd name="connsiteY19" fmla="*/ 5619695 h 5619695"/>
                <a:gd name="connsiteX20" fmla="*/ 1065477 w 4204984"/>
                <a:gd name="connsiteY20" fmla="*/ 4660051 h 5619695"/>
                <a:gd name="connsiteX21" fmla="*/ 748771 w 4204984"/>
                <a:gd name="connsiteY21" fmla="*/ 4188563 h 5619695"/>
                <a:gd name="connsiteX22" fmla="*/ 1305272 w 4204984"/>
                <a:gd name="connsiteY22" fmla="*/ 4193100 h 5619695"/>
                <a:gd name="connsiteX23" fmla="*/ 1302808 w 4204984"/>
                <a:gd name="connsiteY23" fmla="*/ 3627382 h 5619695"/>
                <a:gd name="connsiteX24" fmla="*/ 1868865 w 4204984"/>
                <a:gd name="connsiteY24" fmla="*/ 2986031 h 5619695"/>
                <a:gd name="connsiteX25" fmla="*/ 4164843 w 4204984"/>
                <a:gd name="connsiteY25" fmla="*/ 2992382 h 5619695"/>
                <a:gd name="connsiteX26" fmla="*/ 4166658 w 4204984"/>
                <a:gd name="connsiteY26" fmla="*/ 1890203 h 5619695"/>
                <a:gd name="connsiteX0" fmla="*/ 4166658 w 4204984"/>
                <a:gd name="connsiteY0" fmla="*/ 1890203 h 6141188"/>
                <a:gd name="connsiteX1" fmla="*/ 4134908 w 4204984"/>
                <a:gd name="connsiteY1" fmla="*/ 1890203 h 6141188"/>
                <a:gd name="connsiteX2" fmla="*/ 2840528 w 4204984"/>
                <a:gd name="connsiteY2" fmla="*/ 1875689 h 6141188"/>
                <a:gd name="connsiteX3" fmla="*/ 2854022 w 4204984"/>
                <a:gd name="connsiteY3" fmla="*/ 1182632 h 6141188"/>
                <a:gd name="connsiteX4" fmla="*/ 2487423 w 4204984"/>
                <a:gd name="connsiteY4" fmla="*/ 1178777 h 6141188"/>
                <a:gd name="connsiteX5" fmla="*/ 2494794 w 4204984"/>
                <a:gd name="connsiteY5" fmla="*/ 714546 h 6141188"/>
                <a:gd name="connsiteX6" fmla="*/ 2585734 w 4204984"/>
                <a:gd name="connsiteY6" fmla="*/ 584258 h 6141188"/>
                <a:gd name="connsiteX7" fmla="*/ 4154184 w 4204984"/>
                <a:gd name="connsiteY7" fmla="*/ 443311 h 6141188"/>
                <a:gd name="connsiteX8" fmla="*/ 2588796 w 4204984"/>
                <a:gd name="connsiteY8" fmla="*/ 330258 h 6141188"/>
                <a:gd name="connsiteX9" fmla="*/ 2059591 w 4204984"/>
                <a:gd name="connsiteY9" fmla="*/ 312907 h 6141188"/>
                <a:gd name="connsiteX10" fmla="*/ 523572 w 4204984"/>
                <a:gd name="connsiteY10" fmla="*/ 455103 h 6141188"/>
                <a:gd name="connsiteX11" fmla="*/ 2053922 w 4204984"/>
                <a:gd name="connsiteY11" fmla="*/ 595483 h 6141188"/>
                <a:gd name="connsiteX12" fmla="*/ 2196547 w 4204984"/>
                <a:gd name="connsiteY12" fmla="*/ 720906 h 6141188"/>
                <a:gd name="connsiteX13" fmla="*/ 2189533 w 4204984"/>
                <a:gd name="connsiteY13" fmla="*/ 1182038 h 6141188"/>
                <a:gd name="connsiteX14" fmla="*/ 1852131 w 4204984"/>
                <a:gd name="connsiteY14" fmla="*/ 1183294 h 6141188"/>
                <a:gd name="connsiteX15" fmla="*/ 1836587 w 4204984"/>
                <a:gd name="connsiteY15" fmla="*/ 1893642 h 6141188"/>
                <a:gd name="connsiteX16" fmla="*/ 179806 w 4204984"/>
                <a:gd name="connsiteY16" fmla="*/ 4193763 h 6141188"/>
                <a:gd name="connsiteX17" fmla="*/ 727339 w 4204984"/>
                <a:gd name="connsiteY17" fmla="*/ 4190945 h 6141188"/>
                <a:gd name="connsiteX18" fmla="*/ 420158 w 4204984"/>
                <a:gd name="connsiteY18" fmla="*/ 4626713 h 6141188"/>
                <a:gd name="connsiteX19" fmla="*/ 755914 w 4204984"/>
                <a:gd name="connsiteY19" fmla="*/ 6141188 h 6141188"/>
                <a:gd name="connsiteX20" fmla="*/ 1065477 w 4204984"/>
                <a:gd name="connsiteY20" fmla="*/ 4660051 h 6141188"/>
                <a:gd name="connsiteX21" fmla="*/ 748771 w 4204984"/>
                <a:gd name="connsiteY21" fmla="*/ 4188563 h 6141188"/>
                <a:gd name="connsiteX22" fmla="*/ 1305272 w 4204984"/>
                <a:gd name="connsiteY22" fmla="*/ 4193100 h 6141188"/>
                <a:gd name="connsiteX23" fmla="*/ 1302808 w 4204984"/>
                <a:gd name="connsiteY23" fmla="*/ 3627382 h 6141188"/>
                <a:gd name="connsiteX24" fmla="*/ 1868865 w 4204984"/>
                <a:gd name="connsiteY24" fmla="*/ 2986031 h 6141188"/>
                <a:gd name="connsiteX25" fmla="*/ 4164843 w 4204984"/>
                <a:gd name="connsiteY25" fmla="*/ 2992382 h 6141188"/>
                <a:gd name="connsiteX26" fmla="*/ 4166658 w 4204984"/>
                <a:gd name="connsiteY26" fmla="*/ 1890203 h 6141188"/>
                <a:gd name="connsiteX0" fmla="*/ 4166658 w 4204984"/>
                <a:gd name="connsiteY0" fmla="*/ 1890203 h 6166588"/>
                <a:gd name="connsiteX1" fmla="*/ 4134908 w 4204984"/>
                <a:gd name="connsiteY1" fmla="*/ 1890203 h 6166588"/>
                <a:gd name="connsiteX2" fmla="*/ 2840528 w 4204984"/>
                <a:gd name="connsiteY2" fmla="*/ 1875689 h 6166588"/>
                <a:gd name="connsiteX3" fmla="*/ 2854022 w 4204984"/>
                <a:gd name="connsiteY3" fmla="*/ 1182632 h 6166588"/>
                <a:gd name="connsiteX4" fmla="*/ 2487423 w 4204984"/>
                <a:gd name="connsiteY4" fmla="*/ 1178777 h 6166588"/>
                <a:gd name="connsiteX5" fmla="*/ 2494794 w 4204984"/>
                <a:gd name="connsiteY5" fmla="*/ 714546 h 6166588"/>
                <a:gd name="connsiteX6" fmla="*/ 2585734 w 4204984"/>
                <a:gd name="connsiteY6" fmla="*/ 584258 h 6166588"/>
                <a:gd name="connsiteX7" fmla="*/ 4154184 w 4204984"/>
                <a:gd name="connsiteY7" fmla="*/ 443311 h 6166588"/>
                <a:gd name="connsiteX8" fmla="*/ 2588796 w 4204984"/>
                <a:gd name="connsiteY8" fmla="*/ 330258 h 6166588"/>
                <a:gd name="connsiteX9" fmla="*/ 2059591 w 4204984"/>
                <a:gd name="connsiteY9" fmla="*/ 312907 h 6166588"/>
                <a:gd name="connsiteX10" fmla="*/ 523572 w 4204984"/>
                <a:gd name="connsiteY10" fmla="*/ 455103 h 6166588"/>
                <a:gd name="connsiteX11" fmla="*/ 2053922 w 4204984"/>
                <a:gd name="connsiteY11" fmla="*/ 595483 h 6166588"/>
                <a:gd name="connsiteX12" fmla="*/ 2196547 w 4204984"/>
                <a:gd name="connsiteY12" fmla="*/ 720906 h 6166588"/>
                <a:gd name="connsiteX13" fmla="*/ 2189533 w 4204984"/>
                <a:gd name="connsiteY13" fmla="*/ 1182038 h 6166588"/>
                <a:gd name="connsiteX14" fmla="*/ 1852131 w 4204984"/>
                <a:gd name="connsiteY14" fmla="*/ 1183294 h 6166588"/>
                <a:gd name="connsiteX15" fmla="*/ 1836587 w 4204984"/>
                <a:gd name="connsiteY15" fmla="*/ 1893642 h 6166588"/>
                <a:gd name="connsiteX16" fmla="*/ 179806 w 4204984"/>
                <a:gd name="connsiteY16" fmla="*/ 4193763 h 6166588"/>
                <a:gd name="connsiteX17" fmla="*/ 727339 w 4204984"/>
                <a:gd name="connsiteY17" fmla="*/ 4190945 h 6166588"/>
                <a:gd name="connsiteX18" fmla="*/ 420158 w 4204984"/>
                <a:gd name="connsiteY18" fmla="*/ 4626713 h 6166588"/>
                <a:gd name="connsiteX19" fmla="*/ 755914 w 4204984"/>
                <a:gd name="connsiteY19" fmla="*/ 6141188 h 6166588"/>
                <a:gd name="connsiteX20" fmla="*/ 1065477 w 4204984"/>
                <a:gd name="connsiteY20" fmla="*/ 4660051 h 6166588"/>
                <a:gd name="connsiteX21" fmla="*/ 748771 w 4204984"/>
                <a:gd name="connsiteY21" fmla="*/ 4188563 h 6166588"/>
                <a:gd name="connsiteX22" fmla="*/ 1305272 w 4204984"/>
                <a:gd name="connsiteY22" fmla="*/ 4193100 h 6166588"/>
                <a:gd name="connsiteX23" fmla="*/ 1302808 w 4204984"/>
                <a:gd name="connsiteY23" fmla="*/ 3627382 h 6166588"/>
                <a:gd name="connsiteX24" fmla="*/ 1868865 w 4204984"/>
                <a:gd name="connsiteY24" fmla="*/ 2986031 h 6166588"/>
                <a:gd name="connsiteX25" fmla="*/ 4164843 w 4204984"/>
                <a:gd name="connsiteY25" fmla="*/ 2992382 h 6166588"/>
                <a:gd name="connsiteX26" fmla="*/ 4166658 w 4204984"/>
                <a:gd name="connsiteY26" fmla="*/ 1890203 h 6166588"/>
                <a:gd name="connsiteX0" fmla="*/ 4166658 w 4204984"/>
                <a:gd name="connsiteY0" fmla="*/ 1890203 h 6166588"/>
                <a:gd name="connsiteX1" fmla="*/ 4134908 w 4204984"/>
                <a:gd name="connsiteY1" fmla="*/ 1890203 h 6166588"/>
                <a:gd name="connsiteX2" fmla="*/ 2840528 w 4204984"/>
                <a:gd name="connsiteY2" fmla="*/ 1875689 h 6166588"/>
                <a:gd name="connsiteX3" fmla="*/ 2854022 w 4204984"/>
                <a:gd name="connsiteY3" fmla="*/ 1182632 h 6166588"/>
                <a:gd name="connsiteX4" fmla="*/ 2487423 w 4204984"/>
                <a:gd name="connsiteY4" fmla="*/ 1178777 h 6166588"/>
                <a:gd name="connsiteX5" fmla="*/ 2494794 w 4204984"/>
                <a:gd name="connsiteY5" fmla="*/ 714546 h 6166588"/>
                <a:gd name="connsiteX6" fmla="*/ 2585734 w 4204984"/>
                <a:gd name="connsiteY6" fmla="*/ 584258 h 6166588"/>
                <a:gd name="connsiteX7" fmla="*/ 4154184 w 4204984"/>
                <a:gd name="connsiteY7" fmla="*/ 443311 h 6166588"/>
                <a:gd name="connsiteX8" fmla="*/ 2588796 w 4204984"/>
                <a:gd name="connsiteY8" fmla="*/ 330258 h 6166588"/>
                <a:gd name="connsiteX9" fmla="*/ 2059591 w 4204984"/>
                <a:gd name="connsiteY9" fmla="*/ 312907 h 6166588"/>
                <a:gd name="connsiteX10" fmla="*/ 523572 w 4204984"/>
                <a:gd name="connsiteY10" fmla="*/ 455103 h 6166588"/>
                <a:gd name="connsiteX11" fmla="*/ 2053922 w 4204984"/>
                <a:gd name="connsiteY11" fmla="*/ 595483 h 6166588"/>
                <a:gd name="connsiteX12" fmla="*/ 2196547 w 4204984"/>
                <a:gd name="connsiteY12" fmla="*/ 720906 h 6166588"/>
                <a:gd name="connsiteX13" fmla="*/ 2189533 w 4204984"/>
                <a:gd name="connsiteY13" fmla="*/ 1182038 h 6166588"/>
                <a:gd name="connsiteX14" fmla="*/ 1852131 w 4204984"/>
                <a:gd name="connsiteY14" fmla="*/ 1183294 h 6166588"/>
                <a:gd name="connsiteX15" fmla="*/ 1836587 w 4204984"/>
                <a:gd name="connsiteY15" fmla="*/ 1893642 h 6166588"/>
                <a:gd name="connsiteX16" fmla="*/ 179806 w 4204984"/>
                <a:gd name="connsiteY16" fmla="*/ 4193763 h 6166588"/>
                <a:gd name="connsiteX17" fmla="*/ 727339 w 4204984"/>
                <a:gd name="connsiteY17" fmla="*/ 4190945 h 6166588"/>
                <a:gd name="connsiteX18" fmla="*/ 420158 w 4204984"/>
                <a:gd name="connsiteY18" fmla="*/ 4626713 h 6166588"/>
                <a:gd name="connsiteX19" fmla="*/ 755914 w 4204984"/>
                <a:gd name="connsiteY19" fmla="*/ 6141188 h 6166588"/>
                <a:gd name="connsiteX20" fmla="*/ 1065477 w 4204984"/>
                <a:gd name="connsiteY20" fmla="*/ 4660051 h 6166588"/>
                <a:gd name="connsiteX21" fmla="*/ 748771 w 4204984"/>
                <a:gd name="connsiteY21" fmla="*/ 4188563 h 6166588"/>
                <a:gd name="connsiteX22" fmla="*/ 1305272 w 4204984"/>
                <a:gd name="connsiteY22" fmla="*/ 4193100 h 6166588"/>
                <a:gd name="connsiteX23" fmla="*/ 1302808 w 4204984"/>
                <a:gd name="connsiteY23" fmla="*/ 3627382 h 6166588"/>
                <a:gd name="connsiteX24" fmla="*/ 1868865 w 4204984"/>
                <a:gd name="connsiteY24" fmla="*/ 2986031 h 6166588"/>
                <a:gd name="connsiteX25" fmla="*/ 4164843 w 4204984"/>
                <a:gd name="connsiteY25" fmla="*/ 2992382 h 6166588"/>
                <a:gd name="connsiteX26" fmla="*/ 4166658 w 4204984"/>
                <a:gd name="connsiteY26" fmla="*/ 1890203 h 6166588"/>
                <a:gd name="connsiteX0" fmla="*/ 4325143 w 4363469"/>
                <a:gd name="connsiteY0" fmla="*/ 1890203 h 6166588"/>
                <a:gd name="connsiteX1" fmla="*/ 4293393 w 4363469"/>
                <a:gd name="connsiteY1" fmla="*/ 1890203 h 6166588"/>
                <a:gd name="connsiteX2" fmla="*/ 2999013 w 4363469"/>
                <a:gd name="connsiteY2" fmla="*/ 1875689 h 6166588"/>
                <a:gd name="connsiteX3" fmla="*/ 3012507 w 4363469"/>
                <a:gd name="connsiteY3" fmla="*/ 1182632 h 6166588"/>
                <a:gd name="connsiteX4" fmla="*/ 2645908 w 4363469"/>
                <a:gd name="connsiteY4" fmla="*/ 1178777 h 6166588"/>
                <a:gd name="connsiteX5" fmla="*/ 2653279 w 4363469"/>
                <a:gd name="connsiteY5" fmla="*/ 714546 h 6166588"/>
                <a:gd name="connsiteX6" fmla="*/ 2744219 w 4363469"/>
                <a:gd name="connsiteY6" fmla="*/ 584258 h 6166588"/>
                <a:gd name="connsiteX7" fmla="*/ 4312669 w 4363469"/>
                <a:gd name="connsiteY7" fmla="*/ 443311 h 6166588"/>
                <a:gd name="connsiteX8" fmla="*/ 2747281 w 4363469"/>
                <a:gd name="connsiteY8" fmla="*/ 330258 h 6166588"/>
                <a:gd name="connsiteX9" fmla="*/ 2218076 w 4363469"/>
                <a:gd name="connsiteY9" fmla="*/ 312907 h 6166588"/>
                <a:gd name="connsiteX10" fmla="*/ 682057 w 4363469"/>
                <a:gd name="connsiteY10" fmla="*/ 455103 h 6166588"/>
                <a:gd name="connsiteX11" fmla="*/ 2212407 w 4363469"/>
                <a:gd name="connsiteY11" fmla="*/ 595483 h 6166588"/>
                <a:gd name="connsiteX12" fmla="*/ 2355032 w 4363469"/>
                <a:gd name="connsiteY12" fmla="*/ 720906 h 6166588"/>
                <a:gd name="connsiteX13" fmla="*/ 2348018 w 4363469"/>
                <a:gd name="connsiteY13" fmla="*/ 1182038 h 6166588"/>
                <a:gd name="connsiteX14" fmla="*/ 2010616 w 4363469"/>
                <a:gd name="connsiteY14" fmla="*/ 1183294 h 6166588"/>
                <a:gd name="connsiteX15" fmla="*/ 1995072 w 4363469"/>
                <a:gd name="connsiteY15" fmla="*/ 1893642 h 6166588"/>
                <a:gd name="connsiteX16" fmla="*/ 338291 w 4363469"/>
                <a:gd name="connsiteY16" fmla="*/ 4193763 h 6166588"/>
                <a:gd name="connsiteX17" fmla="*/ 885824 w 4363469"/>
                <a:gd name="connsiteY17" fmla="*/ 4190945 h 6166588"/>
                <a:gd name="connsiteX18" fmla="*/ 578643 w 4363469"/>
                <a:gd name="connsiteY18" fmla="*/ 4626713 h 6166588"/>
                <a:gd name="connsiteX19" fmla="*/ 914399 w 4363469"/>
                <a:gd name="connsiteY19" fmla="*/ 6141188 h 6166588"/>
                <a:gd name="connsiteX20" fmla="*/ 1223962 w 4363469"/>
                <a:gd name="connsiteY20" fmla="*/ 4660051 h 6166588"/>
                <a:gd name="connsiteX21" fmla="*/ 907256 w 4363469"/>
                <a:gd name="connsiteY21" fmla="*/ 4188563 h 6166588"/>
                <a:gd name="connsiteX22" fmla="*/ 1463757 w 4363469"/>
                <a:gd name="connsiteY22" fmla="*/ 4193100 h 6166588"/>
                <a:gd name="connsiteX23" fmla="*/ 1461293 w 4363469"/>
                <a:gd name="connsiteY23" fmla="*/ 3627382 h 6166588"/>
                <a:gd name="connsiteX24" fmla="*/ 2027350 w 4363469"/>
                <a:gd name="connsiteY24" fmla="*/ 2986031 h 6166588"/>
                <a:gd name="connsiteX25" fmla="*/ 4323328 w 4363469"/>
                <a:gd name="connsiteY25" fmla="*/ 2992382 h 6166588"/>
                <a:gd name="connsiteX26" fmla="*/ 4325143 w 4363469"/>
                <a:gd name="connsiteY26" fmla="*/ 1890203 h 6166588"/>
                <a:gd name="connsiteX0" fmla="*/ 4325143 w 4363469"/>
                <a:gd name="connsiteY0" fmla="*/ 1890203 h 6166588"/>
                <a:gd name="connsiteX1" fmla="*/ 4293393 w 4363469"/>
                <a:gd name="connsiteY1" fmla="*/ 1890203 h 6166588"/>
                <a:gd name="connsiteX2" fmla="*/ 2999013 w 4363469"/>
                <a:gd name="connsiteY2" fmla="*/ 1875689 h 6166588"/>
                <a:gd name="connsiteX3" fmla="*/ 3012507 w 4363469"/>
                <a:gd name="connsiteY3" fmla="*/ 1182632 h 6166588"/>
                <a:gd name="connsiteX4" fmla="*/ 2645908 w 4363469"/>
                <a:gd name="connsiteY4" fmla="*/ 1178777 h 6166588"/>
                <a:gd name="connsiteX5" fmla="*/ 2653279 w 4363469"/>
                <a:gd name="connsiteY5" fmla="*/ 714546 h 6166588"/>
                <a:gd name="connsiteX6" fmla="*/ 2744219 w 4363469"/>
                <a:gd name="connsiteY6" fmla="*/ 584258 h 6166588"/>
                <a:gd name="connsiteX7" fmla="*/ 4312669 w 4363469"/>
                <a:gd name="connsiteY7" fmla="*/ 443311 h 6166588"/>
                <a:gd name="connsiteX8" fmla="*/ 2747281 w 4363469"/>
                <a:gd name="connsiteY8" fmla="*/ 330258 h 6166588"/>
                <a:gd name="connsiteX9" fmla="*/ 2218076 w 4363469"/>
                <a:gd name="connsiteY9" fmla="*/ 312907 h 6166588"/>
                <a:gd name="connsiteX10" fmla="*/ 682057 w 4363469"/>
                <a:gd name="connsiteY10" fmla="*/ 455103 h 6166588"/>
                <a:gd name="connsiteX11" fmla="*/ 2212407 w 4363469"/>
                <a:gd name="connsiteY11" fmla="*/ 595483 h 6166588"/>
                <a:gd name="connsiteX12" fmla="*/ 2355032 w 4363469"/>
                <a:gd name="connsiteY12" fmla="*/ 720906 h 6166588"/>
                <a:gd name="connsiteX13" fmla="*/ 2348018 w 4363469"/>
                <a:gd name="connsiteY13" fmla="*/ 1182038 h 6166588"/>
                <a:gd name="connsiteX14" fmla="*/ 2010616 w 4363469"/>
                <a:gd name="connsiteY14" fmla="*/ 1183294 h 6166588"/>
                <a:gd name="connsiteX15" fmla="*/ 1995072 w 4363469"/>
                <a:gd name="connsiteY15" fmla="*/ 1893642 h 6166588"/>
                <a:gd name="connsiteX16" fmla="*/ 338291 w 4363469"/>
                <a:gd name="connsiteY16" fmla="*/ 4193763 h 6166588"/>
                <a:gd name="connsiteX17" fmla="*/ 885824 w 4363469"/>
                <a:gd name="connsiteY17" fmla="*/ 4190945 h 6166588"/>
                <a:gd name="connsiteX18" fmla="*/ 578643 w 4363469"/>
                <a:gd name="connsiteY18" fmla="*/ 4626713 h 6166588"/>
                <a:gd name="connsiteX19" fmla="*/ 914399 w 4363469"/>
                <a:gd name="connsiteY19" fmla="*/ 6141188 h 6166588"/>
                <a:gd name="connsiteX20" fmla="*/ 1223962 w 4363469"/>
                <a:gd name="connsiteY20" fmla="*/ 4660051 h 6166588"/>
                <a:gd name="connsiteX21" fmla="*/ 907256 w 4363469"/>
                <a:gd name="connsiteY21" fmla="*/ 4188563 h 6166588"/>
                <a:gd name="connsiteX22" fmla="*/ 1463757 w 4363469"/>
                <a:gd name="connsiteY22" fmla="*/ 4193100 h 6166588"/>
                <a:gd name="connsiteX23" fmla="*/ 1461293 w 4363469"/>
                <a:gd name="connsiteY23" fmla="*/ 3627382 h 6166588"/>
                <a:gd name="connsiteX24" fmla="*/ 2027350 w 4363469"/>
                <a:gd name="connsiteY24" fmla="*/ 2986031 h 6166588"/>
                <a:gd name="connsiteX25" fmla="*/ 4323328 w 4363469"/>
                <a:gd name="connsiteY25" fmla="*/ 2992382 h 6166588"/>
                <a:gd name="connsiteX26" fmla="*/ 4325143 w 4363469"/>
                <a:gd name="connsiteY26" fmla="*/ 1890203 h 6166588"/>
                <a:gd name="connsiteX0" fmla="*/ 4325143 w 4363469"/>
                <a:gd name="connsiteY0" fmla="*/ 1890203 h 6141188"/>
                <a:gd name="connsiteX1" fmla="*/ 4293393 w 4363469"/>
                <a:gd name="connsiteY1" fmla="*/ 1890203 h 6141188"/>
                <a:gd name="connsiteX2" fmla="*/ 2999013 w 4363469"/>
                <a:gd name="connsiteY2" fmla="*/ 1875689 h 6141188"/>
                <a:gd name="connsiteX3" fmla="*/ 3012507 w 4363469"/>
                <a:gd name="connsiteY3" fmla="*/ 1182632 h 6141188"/>
                <a:gd name="connsiteX4" fmla="*/ 2645908 w 4363469"/>
                <a:gd name="connsiteY4" fmla="*/ 1178777 h 6141188"/>
                <a:gd name="connsiteX5" fmla="*/ 2653279 w 4363469"/>
                <a:gd name="connsiteY5" fmla="*/ 714546 h 6141188"/>
                <a:gd name="connsiteX6" fmla="*/ 2744219 w 4363469"/>
                <a:gd name="connsiteY6" fmla="*/ 584258 h 6141188"/>
                <a:gd name="connsiteX7" fmla="*/ 4312669 w 4363469"/>
                <a:gd name="connsiteY7" fmla="*/ 443311 h 6141188"/>
                <a:gd name="connsiteX8" fmla="*/ 2747281 w 4363469"/>
                <a:gd name="connsiteY8" fmla="*/ 330258 h 6141188"/>
                <a:gd name="connsiteX9" fmla="*/ 2218076 w 4363469"/>
                <a:gd name="connsiteY9" fmla="*/ 312907 h 6141188"/>
                <a:gd name="connsiteX10" fmla="*/ 682057 w 4363469"/>
                <a:gd name="connsiteY10" fmla="*/ 455103 h 6141188"/>
                <a:gd name="connsiteX11" fmla="*/ 2212407 w 4363469"/>
                <a:gd name="connsiteY11" fmla="*/ 595483 h 6141188"/>
                <a:gd name="connsiteX12" fmla="*/ 2355032 w 4363469"/>
                <a:gd name="connsiteY12" fmla="*/ 720906 h 6141188"/>
                <a:gd name="connsiteX13" fmla="*/ 2348018 w 4363469"/>
                <a:gd name="connsiteY13" fmla="*/ 1182038 h 6141188"/>
                <a:gd name="connsiteX14" fmla="*/ 2010616 w 4363469"/>
                <a:gd name="connsiteY14" fmla="*/ 1183294 h 6141188"/>
                <a:gd name="connsiteX15" fmla="*/ 1995072 w 4363469"/>
                <a:gd name="connsiteY15" fmla="*/ 1893642 h 6141188"/>
                <a:gd name="connsiteX16" fmla="*/ 338291 w 4363469"/>
                <a:gd name="connsiteY16" fmla="*/ 4193763 h 6141188"/>
                <a:gd name="connsiteX17" fmla="*/ 885824 w 4363469"/>
                <a:gd name="connsiteY17" fmla="*/ 4190945 h 6141188"/>
                <a:gd name="connsiteX18" fmla="*/ 578643 w 4363469"/>
                <a:gd name="connsiteY18" fmla="*/ 4626713 h 6141188"/>
                <a:gd name="connsiteX19" fmla="*/ 914399 w 4363469"/>
                <a:gd name="connsiteY19" fmla="*/ 6141188 h 6141188"/>
                <a:gd name="connsiteX20" fmla="*/ 1223962 w 4363469"/>
                <a:gd name="connsiteY20" fmla="*/ 4660051 h 6141188"/>
                <a:gd name="connsiteX21" fmla="*/ 907256 w 4363469"/>
                <a:gd name="connsiteY21" fmla="*/ 4188563 h 6141188"/>
                <a:gd name="connsiteX22" fmla="*/ 1463757 w 4363469"/>
                <a:gd name="connsiteY22" fmla="*/ 4193100 h 6141188"/>
                <a:gd name="connsiteX23" fmla="*/ 1461293 w 4363469"/>
                <a:gd name="connsiteY23" fmla="*/ 3627382 h 6141188"/>
                <a:gd name="connsiteX24" fmla="*/ 2027350 w 4363469"/>
                <a:gd name="connsiteY24" fmla="*/ 2986031 h 6141188"/>
                <a:gd name="connsiteX25" fmla="*/ 4323328 w 4363469"/>
                <a:gd name="connsiteY25" fmla="*/ 2992382 h 6141188"/>
                <a:gd name="connsiteX26" fmla="*/ 4325143 w 4363469"/>
                <a:gd name="connsiteY26" fmla="*/ 1890203 h 6141188"/>
                <a:gd name="connsiteX0" fmla="*/ 4325143 w 4363469"/>
                <a:gd name="connsiteY0" fmla="*/ 1890203 h 6141188"/>
                <a:gd name="connsiteX1" fmla="*/ 4293393 w 4363469"/>
                <a:gd name="connsiteY1" fmla="*/ 1890203 h 6141188"/>
                <a:gd name="connsiteX2" fmla="*/ 2999013 w 4363469"/>
                <a:gd name="connsiteY2" fmla="*/ 1875689 h 6141188"/>
                <a:gd name="connsiteX3" fmla="*/ 3012507 w 4363469"/>
                <a:gd name="connsiteY3" fmla="*/ 1182632 h 6141188"/>
                <a:gd name="connsiteX4" fmla="*/ 2645908 w 4363469"/>
                <a:gd name="connsiteY4" fmla="*/ 1178777 h 6141188"/>
                <a:gd name="connsiteX5" fmla="*/ 2653279 w 4363469"/>
                <a:gd name="connsiteY5" fmla="*/ 714546 h 6141188"/>
                <a:gd name="connsiteX6" fmla="*/ 2744219 w 4363469"/>
                <a:gd name="connsiteY6" fmla="*/ 584258 h 6141188"/>
                <a:gd name="connsiteX7" fmla="*/ 4312669 w 4363469"/>
                <a:gd name="connsiteY7" fmla="*/ 443311 h 6141188"/>
                <a:gd name="connsiteX8" fmla="*/ 2747281 w 4363469"/>
                <a:gd name="connsiteY8" fmla="*/ 330258 h 6141188"/>
                <a:gd name="connsiteX9" fmla="*/ 2218076 w 4363469"/>
                <a:gd name="connsiteY9" fmla="*/ 312907 h 6141188"/>
                <a:gd name="connsiteX10" fmla="*/ 682057 w 4363469"/>
                <a:gd name="connsiteY10" fmla="*/ 455103 h 6141188"/>
                <a:gd name="connsiteX11" fmla="*/ 2212407 w 4363469"/>
                <a:gd name="connsiteY11" fmla="*/ 595483 h 6141188"/>
                <a:gd name="connsiteX12" fmla="*/ 2355032 w 4363469"/>
                <a:gd name="connsiteY12" fmla="*/ 720906 h 6141188"/>
                <a:gd name="connsiteX13" fmla="*/ 2348018 w 4363469"/>
                <a:gd name="connsiteY13" fmla="*/ 1182038 h 6141188"/>
                <a:gd name="connsiteX14" fmla="*/ 2010616 w 4363469"/>
                <a:gd name="connsiteY14" fmla="*/ 1183294 h 6141188"/>
                <a:gd name="connsiteX15" fmla="*/ 1995072 w 4363469"/>
                <a:gd name="connsiteY15" fmla="*/ 1893642 h 6141188"/>
                <a:gd name="connsiteX16" fmla="*/ 338291 w 4363469"/>
                <a:gd name="connsiteY16" fmla="*/ 4193763 h 6141188"/>
                <a:gd name="connsiteX17" fmla="*/ 885824 w 4363469"/>
                <a:gd name="connsiteY17" fmla="*/ 4190945 h 6141188"/>
                <a:gd name="connsiteX18" fmla="*/ 578643 w 4363469"/>
                <a:gd name="connsiteY18" fmla="*/ 4626713 h 6141188"/>
                <a:gd name="connsiteX19" fmla="*/ 914399 w 4363469"/>
                <a:gd name="connsiteY19" fmla="*/ 6141188 h 6141188"/>
                <a:gd name="connsiteX20" fmla="*/ 1176337 w 4363469"/>
                <a:gd name="connsiteY20" fmla="*/ 4600520 h 6141188"/>
                <a:gd name="connsiteX21" fmla="*/ 907256 w 4363469"/>
                <a:gd name="connsiteY21" fmla="*/ 4188563 h 6141188"/>
                <a:gd name="connsiteX22" fmla="*/ 1463757 w 4363469"/>
                <a:gd name="connsiteY22" fmla="*/ 4193100 h 6141188"/>
                <a:gd name="connsiteX23" fmla="*/ 1461293 w 4363469"/>
                <a:gd name="connsiteY23" fmla="*/ 3627382 h 6141188"/>
                <a:gd name="connsiteX24" fmla="*/ 2027350 w 4363469"/>
                <a:gd name="connsiteY24" fmla="*/ 2986031 h 6141188"/>
                <a:gd name="connsiteX25" fmla="*/ 4323328 w 4363469"/>
                <a:gd name="connsiteY25" fmla="*/ 2992382 h 6141188"/>
                <a:gd name="connsiteX26" fmla="*/ 4325143 w 4363469"/>
                <a:gd name="connsiteY26" fmla="*/ 1890203 h 6141188"/>
                <a:gd name="connsiteX0" fmla="*/ 4325143 w 4363469"/>
                <a:gd name="connsiteY0" fmla="*/ 1890203 h 6141188"/>
                <a:gd name="connsiteX1" fmla="*/ 4293393 w 4363469"/>
                <a:gd name="connsiteY1" fmla="*/ 1890203 h 6141188"/>
                <a:gd name="connsiteX2" fmla="*/ 2999013 w 4363469"/>
                <a:gd name="connsiteY2" fmla="*/ 1875689 h 6141188"/>
                <a:gd name="connsiteX3" fmla="*/ 3012507 w 4363469"/>
                <a:gd name="connsiteY3" fmla="*/ 1182632 h 6141188"/>
                <a:gd name="connsiteX4" fmla="*/ 2645908 w 4363469"/>
                <a:gd name="connsiteY4" fmla="*/ 1178777 h 6141188"/>
                <a:gd name="connsiteX5" fmla="*/ 2653279 w 4363469"/>
                <a:gd name="connsiteY5" fmla="*/ 714546 h 6141188"/>
                <a:gd name="connsiteX6" fmla="*/ 2744219 w 4363469"/>
                <a:gd name="connsiteY6" fmla="*/ 584258 h 6141188"/>
                <a:gd name="connsiteX7" fmla="*/ 4312669 w 4363469"/>
                <a:gd name="connsiteY7" fmla="*/ 443311 h 6141188"/>
                <a:gd name="connsiteX8" fmla="*/ 2747281 w 4363469"/>
                <a:gd name="connsiteY8" fmla="*/ 330258 h 6141188"/>
                <a:gd name="connsiteX9" fmla="*/ 2218076 w 4363469"/>
                <a:gd name="connsiteY9" fmla="*/ 312907 h 6141188"/>
                <a:gd name="connsiteX10" fmla="*/ 682057 w 4363469"/>
                <a:gd name="connsiteY10" fmla="*/ 455103 h 6141188"/>
                <a:gd name="connsiteX11" fmla="*/ 2212407 w 4363469"/>
                <a:gd name="connsiteY11" fmla="*/ 595483 h 6141188"/>
                <a:gd name="connsiteX12" fmla="*/ 2355032 w 4363469"/>
                <a:gd name="connsiteY12" fmla="*/ 720906 h 6141188"/>
                <a:gd name="connsiteX13" fmla="*/ 2348018 w 4363469"/>
                <a:gd name="connsiteY13" fmla="*/ 1182038 h 6141188"/>
                <a:gd name="connsiteX14" fmla="*/ 2010616 w 4363469"/>
                <a:gd name="connsiteY14" fmla="*/ 1183294 h 6141188"/>
                <a:gd name="connsiteX15" fmla="*/ 1995072 w 4363469"/>
                <a:gd name="connsiteY15" fmla="*/ 1893642 h 6141188"/>
                <a:gd name="connsiteX16" fmla="*/ 338291 w 4363469"/>
                <a:gd name="connsiteY16" fmla="*/ 4193763 h 6141188"/>
                <a:gd name="connsiteX17" fmla="*/ 885824 w 4363469"/>
                <a:gd name="connsiteY17" fmla="*/ 4190945 h 6141188"/>
                <a:gd name="connsiteX18" fmla="*/ 578643 w 4363469"/>
                <a:gd name="connsiteY18" fmla="*/ 4626713 h 6141188"/>
                <a:gd name="connsiteX19" fmla="*/ 914399 w 4363469"/>
                <a:gd name="connsiteY19" fmla="*/ 6141188 h 6141188"/>
                <a:gd name="connsiteX20" fmla="*/ 1176337 w 4363469"/>
                <a:gd name="connsiteY20" fmla="*/ 4600520 h 6141188"/>
                <a:gd name="connsiteX21" fmla="*/ 907256 w 4363469"/>
                <a:gd name="connsiteY21" fmla="*/ 4188563 h 6141188"/>
                <a:gd name="connsiteX22" fmla="*/ 1463757 w 4363469"/>
                <a:gd name="connsiteY22" fmla="*/ 4193100 h 6141188"/>
                <a:gd name="connsiteX23" fmla="*/ 1461293 w 4363469"/>
                <a:gd name="connsiteY23" fmla="*/ 3627382 h 6141188"/>
                <a:gd name="connsiteX24" fmla="*/ 2027350 w 4363469"/>
                <a:gd name="connsiteY24" fmla="*/ 2986031 h 6141188"/>
                <a:gd name="connsiteX25" fmla="*/ 4323328 w 4363469"/>
                <a:gd name="connsiteY25" fmla="*/ 2992382 h 6141188"/>
                <a:gd name="connsiteX26" fmla="*/ 4325143 w 4363469"/>
                <a:gd name="connsiteY26" fmla="*/ 1890203 h 6141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363469" h="6141188">
                  <a:moveTo>
                    <a:pt x="4325143" y="1890203"/>
                  </a:moveTo>
                  <a:lnTo>
                    <a:pt x="4293393" y="1890203"/>
                  </a:lnTo>
                  <a:lnTo>
                    <a:pt x="2999013" y="1875689"/>
                  </a:lnTo>
                  <a:lnTo>
                    <a:pt x="3012507" y="1182632"/>
                  </a:lnTo>
                  <a:lnTo>
                    <a:pt x="2645908" y="1178777"/>
                  </a:lnTo>
                  <a:lnTo>
                    <a:pt x="2653279" y="714546"/>
                  </a:lnTo>
                  <a:cubicBezTo>
                    <a:pt x="2707764" y="663481"/>
                    <a:pt x="2716099" y="654070"/>
                    <a:pt x="2744219" y="584258"/>
                  </a:cubicBezTo>
                  <a:cubicBezTo>
                    <a:pt x="3010919" y="674065"/>
                    <a:pt x="4363469" y="884523"/>
                    <a:pt x="4312669" y="443311"/>
                  </a:cubicBezTo>
                  <a:cubicBezTo>
                    <a:pt x="4268710" y="11927"/>
                    <a:pt x="2884109" y="287773"/>
                    <a:pt x="2747281" y="330258"/>
                  </a:cubicBezTo>
                  <a:cubicBezTo>
                    <a:pt x="2681551" y="232192"/>
                    <a:pt x="2479730" y="0"/>
                    <a:pt x="2218076" y="312907"/>
                  </a:cubicBezTo>
                  <a:cubicBezTo>
                    <a:pt x="1820370" y="267437"/>
                    <a:pt x="705113" y="5273"/>
                    <a:pt x="682057" y="455103"/>
                  </a:cubicBezTo>
                  <a:cubicBezTo>
                    <a:pt x="665124" y="643184"/>
                    <a:pt x="979977" y="875714"/>
                    <a:pt x="2212407" y="595483"/>
                  </a:cubicBezTo>
                  <a:cubicBezTo>
                    <a:pt x="2235032" y="644893"/>
                    <a:pt x="2253047" y="666234"/>
                    <a:pt x="2355032" y="720906"/>
                  </a:cubicBezTo>
                  <a:lnTo>
                    <a:pt x="2348018" y="1182038"/>
                  </a:lnTo>
                  <a:lnTo>
                    <a:pt x="2010616" y="1183294"/>
                  </a:lnTo>
                  <a:lnTo>
                    <a:pt x="1995072" y="1893642"/>
                  </a:lnTo>
                  <a:cubicBezTo>
                    <a:pt x="158485" y="1962528"/>
                    <a:pt x="329477" y="3630603"/>
                    <a:pt x="338291" y="4193763"/>
                  </a:cubicBezTo>
                  <a:lnTo>
                    <a:pt x="885824" y="4190945"/>
                  </a:lnTo>
                  <a:lnTo>
                    <a:pt x="578643" y="4626713"/>
                  </a:lnTo>
                  <a:cubicBezTo>
                    <a:pt x="0" y="5374425"/>
                    <a:pt x="219073" y="6095944"/>
                    <a:pt x="914399" y="6141188"/>
                  </a:cubicBezTo>
                  <a:cubicBezTo>
                    <a:pt x="1574799" y="6114201"/>
                    <a:pt x="1804193" y="5332358"/>
                    <a:pt x="1176337" y="4600520"/>
                  </a:cubicBezTo>
                  <a:lnTo>
                    <a:pt x="907256" y="4188563"/>
                  </a:lnTo>
                  <a:lnTo>
                    <a:pt x="1463757" y="4193100"/>
                  </a:lnTo>
                  <a:cubicBezTo>
                    <a:pt x="1462936" y="4004527"/>
                    <a:pt x="1462114" y="3815955"/>
                    <a:pt x="1461293" y="3627382"/>
                  </a:cubicBezTo>
                  <a:cubicBezTo>
                    <a:pt x="1444100" y="3178554"/>
                    <a:pt x="1576803" y="3000848"/>
                    <a:pt x="2027350" y="2986031"/>
                  </a:cubicBezTo>
                  <a:lnTo>
                    <a:pt x="4323328" y="2992382"/>
                  </a:lnTo>
                  <a:lnTo>
                    <a:pt x="4325143" y="1890203"/>
                  </a:lnTo>
                  <a:close/>
                </a:path>
              </a:pathLst>
            </a:custGeom>
            <a:solidFill>
              <a:schemeClr val="tx2"/>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146" name="Picture 3"/>
            <p:cNvPicPr>
              <a:picLocks noChangeArrowheads="1"/>
            </p:cNvPicPr>
            <p:nvPr/>
          </p:nvPicPr>
          <p:blipFill>
            <a:blip r:embed="rId4" cstate="print"/>
            <a:srcRect l="27927" t="11628" r="27927" b="18810"/>
            <a:stretch>
              <a:fillRect/>
            </a:stretch>
          </p:blipFill>
          <p:spPr bwMode="auto">
            <a:xfrm>
              <a:off x="1278534" y="3624140"/>
              <a:ext cx="279400" cy="414534"/>
            </a:xfrm>
            <a:prstGeom prst="rect">
              <a:avLst/>
            </a:prstGeom>
            <a:noFill/>
            <a:ln w="9525">
              <a:noFill/>
              <a:miter lim="800000"/>
              <a:headEnd/>
              <a:tailEnd/>
            </a:ln>
            <a:effectLst/>
          </p:spPr>
        </p:pic>
        <p:pic>
          <p:nvPicPr>
            <p:cNvPr id="147" name="Picture 2" descr="http://clipartsy.com/SVG/WWW/colours/AJ_RECYCLING_SYMBOL_COLOR_COLOUR/aj_recycling_symbol_colour_slate_blue_2_svg_scalable_vector_graphics.png"/>
            <p:cNvPicPr>
              <a:picLocks noChangeAspect="1" noChangeArrowheads="1"/>
            </p:cNvPicPr>
            <p:nvPr/>
          </p:nvPicPr>
          <p:blipFill>
            <a:blip r:embed="rId5" cstate="print">
              <a:lum bright="-40000"/>
            </a:blip>
            <a:srcRect/>
            <a:stretch>
              <a:fillRect/>
            </a:stretch>
          </p:blipFill>
          <p:spPr bwMode="auto">
            <a:xfrm>
              <a:off x="1268375" y="4293213"/>
              <a:ext cx="299719" cy="299719"/>
            </a:xfrm>
            <a:prstGeom prst="rect">
              <a:avLst/>
            </a:prstGeom>
            <a:noFill/>
          </p:spPr>
        </p:pic>
        <p:pic>
          <p:nvPicPr>
            <p:cNvPr id="148" name="Picture 3"/>
            <p:cNvPicPr>
              <a:picLocks noChangeArrowheads="1"/>
            </p:cNvPicPr>
            <p:nvPr/>
          </p:nvPicPr>
          <p:blipFill>
            <a:blip r:embed="rId6" cstate="print">
              <a:clrChange>
                <a:clrFrom>
                  <a:srgbClr val="FFFFFF"/>
                </a:clrFrom>
                <a:clrTo>
                  <a:srgbClr val="FFFFFF">
                    <a:alpha val="0"/>
                  </a:srgbClr>
                </a:clrTo>
              </a:clrChange>
            </a:blip>
            <a:srcRect l="22299" t="22710" r="74437" b="61478"/>
            <a:stretch>
              <a:fillRect/>
            </a:stretch>
          </p:blipFill>
          <p:spPr bwMode="auto">
            <a:xfrm>
              <a:off x="1297544" y="4797430"/>
              <a:ext cx="241381" cy="307313"/>
            </a:xfrm>
            <a:prstGeom prst="rect">
              <a:avLst/>
            </a:prstGeom>
            <a:noFill/>
            <a:ln w="9525">
              <a:noFill/>
              <a:miter lim="800000"/>
              <a:headEnd/>
              <a:tailEnd/>
            </a:ln>
            <a:effectLst/>
          </p:spPr>
        </p:pic>
        <p:grpSp>
          <p:nvGrpSpPr>
            <p:cNvPr id="149" name="Group 81"/>
            <p:cNvGrpSpPr/>
            <p:nvPr/>
          </p:nvGrpSpPr>
          <p:grpSpPr>
            <a:xfrm>
              <a:off x="1310284" y="2088464"/>
              <a:ext cx="215901" cy="308430"/>
              <a:chOff x="1714500" y="781050"/>
              <a:chExt cx="2438400" cy="3619500"/>
            </a:xfrm>
          </p:grpSpPr>
          <p:sp>
            <p:nvSpPr>
              <p:cNvPr id="150" name="Rounded Rectangle 82"/>
              <p:cNvSpPr/>
              <p:nvPr/>
            </p:nvSpPr>
            <p:spPr>
              <a:xfrm>
                <a:off x="1714500" y="781050"/>
                <a:ext cx="2438400" cy="3619500"/>
              </a:xfrm>
              <a:prstGeom prst="roundRect">
                <a:avLst>
                  <a:gd name="adj" fmla="val 6079"/>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1" name="Rounded Rectangle 83"/>
              <p:cNvSpPr/>
              <p:nvPr/>
            </p:nvSpPr>
            <p:spPr>
              <a:xfrm>
                <a:off x="1977844" y="1009652"/>
                <a:ext cx="813173" cy="800097"/>
              </a:xfrm>
              <a:prstGeom prst="roundRect">
                <a:avLst>
                  <a:gd name="adj" fmla="val 2381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 name="Rounded Rectangle 84"/>
              <p:cNvSpPr/>
              <p:nvPr/>
            </p:nvSpPr>
            <p:spPr>
              <a:xfrm>
                <a:off x="3009895" y="1009652"/>
                <a:ext cx="813173" cy="800097"/>
              </a:xfrm>
              <a:prstGeom prst="roundRect">
                <a:avLst>
                  <a:gd name="adj" fmla="val 2381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Rounded Rectangle 85"/>
              <p:cNvSpPr/>
              <p:nvPr/>
            </p:nvSpPr>
            <p:spPr>
              <a:xfrm>
                <a:off x="1977844" y="2032519"/>
                <a:ext cx="813173" cy="800097"/>
              </a:xfrm>
              <a:prstGeom prst="roundRect">
                <a:avLst>
                  <a:gd name="adj" fmla="val 2381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Rounded Rectangle 86"/>
              <p:cNvSpPr/>
              <p:nvPr/>
            </p:nvSpPr>
            <p:spPr>
              <a:xfrm>
                <a:off x="3009895" y="2032519"/>
                <a:ext cx="813173" cy="800097"/>
              </a:xfrm>
              <a:prstGeom prst="roundRect">
                <a:avLst>
                  <a:gd name="adj" fmla="val 2381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55" name="Picture 4"/>
            <p:cNvPicPr>
              <a:picLocks noChangeAspect="1" noChangeArrowheads="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a:off x="1175658" y="5391266"/>
              <a:ext cx="452082" cy="25722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56" name="TextBox 103"/>
            <p:cNvSpPr txBox="1"/>
            <p:nvPr/>
          </p:nvSpPr>
          <p:spPr>
            <a:xfrm>
              <a:off x="1812616" y="5350603"/>
              <a:ext cx="959184" cy="338554"/>
            </a:xfrm>
            <a:prstGeom prst="rect">
              <a:avLst/>
            </a:prstGeom>
            <a:noFill/>
          </p:spPr>
          <p:txBody>
            <a:bodyPr wrap="square" rtlCol="0" anchor="ctr">
              <a:spAutoFit/>
            </a:bodyPr>
            <a:lstStyle>
              <a:defPPr>
                <a:defRPr lang="en-US"/>
              </a:defPPr>
              <a:lvl1pPr>
                <a:lnSpc>
                  <a:spcPct val="80000"/>
                </a:lnSpc>
                <a:spcBef>
                  <a:spcPct val="20000"/>
                </a:spcBef>
                <a:defRPr sz="1000">
                  <a:solidFill>
                    <a:srgbClr val="000000"/>
                  </a:solidFill>
                  <a:latin typeface="Arial" pitchFamily="34" charset="0"/>
                  <a:cs typeface="Arial" pitchFamily="34" charset="0"/>
                </a:defRPr>
              </a:lvl1pPr>
            </a:lstStyle>
            <a:p>
              <a:r>
                <a:rPr lang="en-US" dirty="0"/>
                <a:t>Noise detection</a:t>
              </a:r>
            </a:p>
          </p:txBody>
        </p:sp>
      </p:grpSp>
      <p:sp>
        <p:nvSpPr>
          <p:cNvPr id="4" name="3 Rectángulo"/>
          <p:cNvSpPr/>
          <p:nvPr/>
        </p:nvSpPr>
        <p:spPr>
          <a:xfrm>
            <a:off x="1403648" y="2533258"/>
            <a:ext cx="4365298" cy="369332"/>
          </a:xfrm>
          <a:prstGeom prst="rect">
            <a:avLst/>
          </a:prstGeom>
        </p:spPr>
        <p:txBody>
          <a:bodyPr wrap="none">
            <a:spAutoFit/>
          </a:bodyPr>
          <a:lstStyle/>
          <a:p>
            <a:r>
              <a:rPr lang="en-GB" dirty="0">
                <a:latin typeface="Arial Unicode MS" pitchFamily="34" charset="-128"/>
                <a:ea typeface="Arial Unicode MS" pitchFamily="34" charset="-128"/>
                <a:cs typeface="Arial Unicode MS" pitchFamily="34" charset="-128"/>
                <a:sym typeface="Telefonica Headline Light" pitchFamily="2" charset="0"/>
              </a:rPr>
              <a:t>Green ICT services are part of the model</a:t>
            </a:r>
            <a:endParaRPr lang="en-US" dirty="0"/>
          </a:p>
        </p:txBody>
      </p:sp>
      <p:sp>
        <p:nvSpPr>
          <p:cNvPr id="69" name="Rectangle 1"/>
          <p:cNvSpPr>
            <a:spLocks/>
          </p:cNvSpPr>
          <p:nvPr/>
        </p:nvSpPr>
        <p:spPr bwMode="auto">
          <a:xfrm>
            <a:off x="0" y="0"/>
            <a:ext cx="368300" cy="647700"/>
          </a:xfrm>
          <a:prstGeom prst="rect">
            <a:avLst/>
          </a:prstGeom>
          <a:gradFill rotWithShape="0">
            <a:gsLst>
              <a:gs pos="0">
                <a:srgbClr val="0A1519"/>
              </a:gs>
              <a:gs pos="100000">
                <a:srgbClr val="2A5E77"/>
              </a:gs>
            </a:gsLst>
            <a:lin ang="2700000" scaled="1"/>
          </a:gradFill>
          <a:ln>
            <a:noFill/>
          </a:ln>
          <a:extLst>
            <a:ext uri="{91240B29-F687-4F45-9708-019B960494DF}">
              <a14:hiddenLine xmlns:a14="http://schemas.microsoft.com/office/drawing/2010/main" xmlns="" w="12700">
                <a:solidFill>
                  <a:schemeClr val="tx1"/>
                </a:solidFill>
                <a:miter lim="800000"/>
                <a:headEnd/>
                <a:tailEnd/>
              </a14:hiddenLine>
            </a:ext>
          </a:extLst>
        </p:spPr>
        <p:txBody>
          <a:bodyPr lIns="0" tIns="0" rIns="0" bIns="0"/>
          <a:lstStyle/>
          <a:p>
            <a:endParaRPr lang="es-ES">
              <a:cs typeface="Arial" pitchFamily="34" charset="0"/>
            </a:endParaRPr>
          </a:p>
        </p:txBody>
      </p:sp>
      <p:sp>
        <p:nvSpPr>
          <p:cNvPr id="70" name="Rectangle 9"/>
          <p:cNvSpPr>
            <a:spLocks/>
          </p:cNvSpPr>
          <p:nvPr/>
        </p:nvSpPr>
        <p:spPr bwMode="auto">
          <a:xfrm>
            <a:off x="55563" y="334963"/>
            <a:ext cx="339725" cy="357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chemeClr val="tx1"/>
                </a:solidFill>
                <a:miter lim="800000"/>
                <a:headEnd/>
                <a:tailEnd/>
              </a14:hiddenLine>
            </a:ext>
          </a:extLst>
        </p:spPr>
        <p:txBody>
          <a:bodyPr lIns="38100" tIns="38100" rIns="38100" bIns="38100"/>
          <a:lstStyle/>
          <a:p>
            <a:pPr algn="l"/>
            <a:r>
              <a:rPr lang="en-US" sz="1400" dirty="0" smtClean="0">
                <a:solidFill>
                  <a:srgbClr val="44B5CA"/>
                </a:solidFill>
                <a:ea typeface="MS PGothic" pitchFamily="34" charset="-128"/>
                <a:sym typeface="Telefonica Text Bold"/>
              </a:rPr>
              <a:t>03</a:t>
            </a:r>
            <a:endParaRPr lang="en-US" sz="1400" dirty="0">
              <a:solidFill>
                <a:srgbClr val="44B5CA"/>
              </a:solidFill>
              <a:ea typeface="MS PGothic" pitchFamily="34" charset="-128"/>
              <a:sym typeface="Telefonica Text Bold"/>
            </a:endParaRPr>
          </a:p>
        </p:txBody>
      </p:sp>
    </p:spTree>
    <p:extLst>
      <p:ext uri="{BB962C8B-B14F-4D97-AF65-F5344CB8AC3E}">
        <p14:creationId xmlns:p14="http://schemas.microsoft.com/office/powerpoint/2010/main" xmlns="" val="593953493"/>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p:cNvSpPr/>
          <p:nvPr/>
        </p:nvSpPr>
        <p:spPr bwMode="auto">
          <a:xfrm rot="16200000">
            <a:off x="1054781" y="295720"/>
            <a:ext cx="1066802" cy="2866872"/>
          </a:xfrm>
          <a:prstGeom prst="rect">
            <a:avLst/>
          </a:prstGeom>
          <a:gradFill flip="none" rotWithShape="1">
            <a:gsLst>
              <a:gs pos="0">
                <a:srgbClr val="E9E6DA"/>
              </a:gs>
              <a:gs pos="100000">
                <a:schemeClr val="bg1"/>
              </a:gs>
            </a:gsLst>
            <a:lin ang="0" scaled="1"/>
            <a:tileRect/>
          </a:gradFill>
          <a:ln w="12700" cap="flat">
            <a:noFill/>
            <a:miter lim="800000"/>
            <a:headEnd type="none" w="med" len="med"/>
            <a:tailEnd type="none" w="med" len="med"/>
          </a:ln>
        </p:spPr>
        <p:txBody>
          <a:bodyPr lIns="0" tIns="0" rIns="0" bIns="0"/>
          <a:lstStyle/>
          <a:p>
            <a:pPr marL="0" marR="0" indent="0" algn="ctr" defTabSz="914400" eaLnBrk="1" fontAlgn="auto" latinLnBrk="0" hangingPunct="1">
              <a:lnSpc>
                <a:spcPct val="105000"/>
              </a:lnSpc>
              <a:spcBef>
                <a:spcPts val="0"/>
              </a:spcBef>
              <a:spcAft>
                <a:spcPts val="0"/>
              </a:spcAft>
              <a:buClrTx/>
              <a:buSzTx/>
              <a:buFontTx/>
              <a:buNone/>
              <a:tabLst/>
              <a:defRPr/>
            </a:pPr>
            <a:endParaRPr lang="en-GB" sz="1400" kern="0" dirty="0" smtClean="0">
              <a:solidFill>
                <a:sysClr val="windowText" lastClr="000000"/>
              </a:solidFill>
              <a:latin typeface="Arial" pitchFamily="34" charset="0"/>
              <a:cs typeface="Arial" pitchFamily="34" charset="0"/>
            </a:endParaRPr>
          </a:p>
        </p:txBody>
      </p:sp>
      <p:sp>
        <p:nvSpPr>
          <p:cNvPr id="45" name="Rectangle 44"/>
          <p:cNvSpPr/>
          <p:nvPr/>
        </p:nvSpPr>
        <p:spPr bwMode="auto">
          <a:xfrm rot="5400000">
            <a:off x="4181092" y="4181095"/>
            <a:ext cx="671050" cy="3149389"/>
          </a:xfrm>
          <a:prstGeom prst="rect">
            <a:avLst/>
          </a:prstGeom>
          <a:gradFill flip="none" rotWithShape="1">
            <a:gsLst>
              <a:gs pos="0">
                <a:srgbClr val="E9E6DA"/>
              </a:gs>
              <a:gs pos="100000">
                <a:schemeClr val="bg1"/>
              </a:gs>
            </a:gsLst>
            <a:lin ang="0" scaled="1"/>
            <a:tileRect/>
          </a:gradFill>
          <a:ln w="12700" cap="flat">
            <a:noFill/>
            <a:miter lim="800000"/>
            <a:headEnd type="none" w="med" len="med"/>
            <a:tailEnd type="none" w="med" len="med"/>
          </a:ln>
        </p:spPr>
        <p:txBody>
          <a:bodyPr lIns="0" tIns="0" rIns="0" bIns="0"/>
          <a:lstStyle/>
          <a:p>
            <a:pPr marL="0" marR="0" indent="0" defTabSz="914400" eaLnBrk="1" fontAlgn="auto" latinLnBrk="0" hangingPunct="1">
              <a:lnSpc>
                <a:spcPct val="105000"/>
              </a:lnSpc>
              <a:spcBef>
                <a:spcPts val="0"/>
              </a:spcBef>
              <a:spcAft>
                <a:spcPts val="0"/>
              </a:spcAft>
              <a:buClrTx/>
              <a:buSzTx/>
              <a:buFontTx/>
              <a:buNone/>
              <a:tabLst/>
              <a:defRPr/>
            </a:pPr>
            <a:endParaRPr lang="en-GB" sz="1400" kern="0" smtClean="0">
              <a:solidFill>
                <a:sysClr val="windowText" lastClr="000000"/>
              </a:solidFill>
              <a:latin typeface="Arial" pitchFamily="34" charset="0"/>
              <a:cs typeface="Arial" pitchFamily="34" charset="0"/>
            </a:endParaRPr>
          </a:p>
        </p:txBody>
      </p:sp>
      <p:sp>
        <p:nvSpPr>
          <p:cNvPr id="41" name="Rectangle 40"/>
          <p:cNvSpPr/>
          <p:nvPr/>
        </p:nvSpPr>
        <p:spPr bwMode="auto">
          <a:xfrm rot="5400000">
            <a:off x="6817898" y="2893012"/>
            <a:ext cx="1093078" cy="2855742"/>
          </a:xfrm>
          <a:prstGeom prst="rect">
            <a:avLst/>
          </a:prstGeom>
          <a:gradFill flip="none" rotWithShape="1">
            <a:gsLst>
              <a:gs pos="0">
                <a:srgbClr val="E9E6DA"/>
              </a:gs>
              <a:gs pos="100000">
                <a:schemeClr val="bg1"/>
              </a:gs>
            </a:gsLst>
            <a:lin ang="0" scaled="1"/>
            <a:tileRect/>
          </a:gradFill>
          <a:ln w="12700" cap="flat">
            <a:noFill/>
            <a:miter lim="800000"/>
            <a:headEnd type="none" w="med" len="med"/>
            <a:tailEnd type="none" w="med" len="med"/>
          </a:ln>
        </p:spPr>
        <p:txBody>
          <a:bodyPr lIns="0" tIns="0" rIns="0" bIns="0"/>
          <a:lstStyle/>
          <a:p>
            <a:pPr marL="0" marR="0" indent="0" defTabSz="914400" eaLnBrk="1" fontAlgn="auto" latinLnBrk="0" hangingPunct="1">
              <a:lnSpc>
                <a:spcPct val="105000"/>
              </a:lnSpc>
              <a:spcBef>
                <a:spcPts val="0"/>
              </a:spcBef>
              <a:spcAft>
                <a:spcPts val="0"/>
              </a:spcAft>
              <a:buClrTx/>
              <a:buSzTx/>
              <a:buFontTx/>
              <a:buNone/>
              <a:tabLst/>
              <a:defRPr/>
            </a:pPr>
            <a:endParaRPr lang="en-GB" sz="1400" kern="0" smtClean="0">
              <a:solidFill>
                <a:sysClr val="windowText" lastClr="000000"/>
              </a:solidFill>
              <a:latin typeface="Arial" pitchFamily="34" charset="0"/>
              <a:cs typeface="Arial" pitchFamily="34" charset="0"/>
            </a:endParaRPr>
          </a:p>
        </p:txBody>
      </p:sp>
      <p:sp>
        <p:nvSpPr>
          <p:cNvPr id="39" name="Rectangle 38"/>
          <p:cNvSpPr/>
          <p:nvPr/>
        </p:nvSpPr>
        <p:spPr bwMode="auto">
          <a:xfrm rot="5400000">
            <a:off x="1232573" y="2974621"/>
            <a:ext cx="907855" cy="2619831"/>
          </a:xfrm>
          <a:prstGeom prst="rect">
            <a:avLst/>
          </a:prstGeom>
          <a:gradFill flip="none" rotWithShape="1">
            <a:gsLst>
              <a:gs pos="0">
                <a:srgbClr val="E9E6DA"/>
              </a:gs>
              <a:gs pos="100000">
                <a:schemeClr val="bg1"/>
              </a:gs>
            </a:gsLst>
            <a:lin ang="0" scaled="1"/>
            <a:tileRect/>
          </a:gradFill>
          <a:ln w="12700" cap="flat">
            <a:noFill/>
            <a:miter lim="800000"/>
            <a:headEnd type="none" w="med" len="med"/>
            <a:tailEnd type="none" w="med" len="med"/>
          </a:ln>
        </p:spPr>
        <p:txBody>
          <a:bodyPr lIns="0" tIns="0" rIns="0" bIns="0"/>
          <a:lstStyle/>
          <a:p>
            <a:pPr marL="0" marR="0" indent="0" defTabSz="914400" eaLnBrk="1" fontAlgn="auto" latinLnBrk="0" hangingPunct="1">
              <a:lnSpc>
                <a:spcPct val="105000"/>
              </a:lnSpc>
              <a:spcBef>
                <a:spcPts val="0"/>
              </a:spcBef>
              <a:spcAft>
                <a:spcPts val="0"/>
              </a:spcAft>
              <a:buClrTx/>
              <a:buSzTx/>
              <a:buFontTx/>
              <a:buNone/>
              <a:tabLst/>
              <a:defRPr/>
            </a:pPr>
            <a:endParaRPr lang="en-GB" sz="1400" kern="0" smtClean="0">
              <a:solidFill>
                <a:sysClr val="windowText" lastClr="000000"/>
              </a:solidFill>
              <a:latin typeface="Arial" pitchFamily="34" charset="0"/>
              <a:cs typeface="Arial" pitchFamily="34" charset="0"/>
            </a:endParaRPr>
          </a:p>
        </p:txBody>
      </p:sp>
      <p:sp>
        <p:nvSpPr>
          <p:cNvPr id="37" name="Oval 36"/>
          <p:cNvSpPr/>
          <p:nvPr/>
        </p:nvSpPr>
        <p:spPr>
          <a:xfrm>
            <a:off x="2602523" y="1350496"/>
            <a:ext cx="3722262" cy="3782092"/>
          </a:xfrm>
          <a:prstGeom prst="ellipse">
            <a:avLst/>
          </a:prstGeom>
          <a:gradFill flip="none" rotWithShape="1">
            <a:gsLst>
              <a:gs pos="0">
                <a:schemeClr val="accent1">
                  <a:tint val="100000"/>
                  <a:shade val="100000"/>
                  <a:satMod val="130000"/>
                </a:schemeClr>
              </a:gs>
              <a:gs pos="100000">
                <a:schemeClr val="accent1">
                  <a:lumMod val="40000"/>
                  <a:lumOff val="60000"/>
                </a:schemeClr>
              </a:gs>
            </a:gsLst>
            <a:path path="circle">
              <a:fillToRect l="50000" t="50000" r="50000" b="50000"/>
            </a:path>
            <a:tileRect/>
          </a:gradFill>
          <a:effectLst>
            <a:outerShdw blurRad="40000" dist="23000" dir="5400000" rotWithShape="0">
              <a:srgbClr val="000000">
                <a:alpha val="35000"/>
              </a:srgbClr>
            </a:outerShdw>
            <a:softEdge rad="3175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itchFamily="34" charset="0"/>
              <a:cs typeface="Arial" pitchFamily="34" charset="0"/>
            </a:endParaRPr>
          </a:p>
        </p:txBody>
      </p:sp>
      <p:sp>
        <p:nvSpPr>
          <p:cNvPr id="38" name="Rectangle 37"/>
          <p:cNvSpPr/>
          <p:nvPr/>
        </p:nvSpPr>
        <p:spPr bwMode="auto">
          <a:xfrm rot="16200000">
            <a:off x="6843388" y="20555"/>
            <a:ext cx="907855" cy="3383895"/>
          </a:xfrm>
          <a:prstGeom prst="rect">
            <a:avLst/>
          </a:prstGeom>
          <a:gradFill flip="none" rotWithShape="1">
            <a:gsLst>
              <a:gs pos="0">
                <a:srgbClr val="E9E6DA"/>
              </a:gs>
              <a:gs pos="100000">
                <a:schemeClr val="bg1"/>
              </a:gs>
            </a:gsLst>
            <a:lin ang="0" scaled="1"/>
            <a:tileRect/>
          </a:gradFill>
          <a:ln w="12700" cap="flat">
            <a:noFill/>
            <a:miter lim="800000"/>
            <a:headEnd type="none" w="med" len="med"/>
            <a:tailEnd type="none" w="med" len="med"/>
          </a:ln>
        </p:spPr>
        <p:txBody>
          <a:bodyPr lIns="0" tIns="0" rIns="0" bIns="0"/>
          <a:lstStyle/>
          <a:p>
            <a:pPr marL="0" marR="0" indent="0" defTabSz="914400" eaLnBrk="1" fontAlgn="auto" latinLnBrk="0" hangingPunct="1">
              <a:lnSpc>
                <a:spcPct val="105000"/>
              </a:lnSpc>
              <a:spcBef>
                <a:spcPts val="0"/>
              </a:spcBef>
              <a:spcAft>
                <a:spcPts val="0"/>
              </a:spcAft>
              <a:buClrTx/>
              <a:buSzTx/>
              <a:buFontTx/>
              <a:buNone/>
              <a:tabLst/>
              <a:defRPr/>
            </a:pPr>
            <a:endParaRPr lang="en-GB" sz="1400" kern="0" smtClean="0">
              <a:solidFill>
                <a:sysClr val="windowText" lastClr="000000"/>
              </a:solidFill>
              <a:latin typeface="Arial" pitchFamily="34" charset="0"/>
              <a:cs typeface="Arial" pitchFamily="34" charset="0"/>
            </a:endParaRPr>
          </a:p>
        </p:txBody>
      </p:sp>
      <p:sp>
        <p:nvSpPr>
          <p:cNvPr id="44" name="Rounded Rectangle 36"/>
          <p:cNvSpPr/>
          <p:nvPr/>
        </p:nvSpPr>
        <p:spPr bwMode="auto">
          <a:xfrm>
            <a:off x="154744" y="2032894"/>
            <a:ext cx="2866872" cy="562707"/>
          </a:xfrm>
          <a:prstGeom prst="rect">
            <a:avLst/>
          </a:prstGeom>
          <a:gradFill flip="none" rotWithShape="1">
            <a:gsLst>
              <a:gs pos="0">
                <a:schemeClr val="accent1">
                  <a:shade val="80000"/>
                  <a:hueOff val="142326"/>
                  <a:satOff val="-21352"/>
                  <a:lumOff val="11468"/>
                  <a:shade val="30000"/>
                  <a:satMod val="115000"/>
                </a:schemeClr>
              </a:gs>
              <a:gs pos="50000">
                <a:schemeClr val="accent1">
                  <a:shade val="80000"/>
                  <a:hueOff val="142326"/>
                  <a:satOff val="-21352"/>
                  <a:lumOff val="11468"/>
                  <a:shade val="67500"/>
                  <a:satMod val="115000"/>
                </a:schemeClr>
              </a:gs>
              <a:gs pos="100000">
                <a:schemeClr val="accent1">
                  <a:shade val="80000"/>
                  <a:hueOff val="142326"/>
                  <a:satOff val="-21352"/>
                  <a:lumOff val="11468"/>
                  <a:shade val="100000"/>
                  <a:satMod val="115000"/>
                </a:schemeClr>
              </a:gs>
            </a:gsLst>
            <a:lin ang="0" scaled="1"/>
            <a:tileRect/>
          </a:gradFill>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shade val="80000"/>
              <a:hueOff val="142326"/>
              <a:satOff val="-21352"/>
              <a:lumOff val="11468"/>
              <a:alphaOff val="0"/>
            </a:schemeClr>
          </a:fillRef>
          <a:effectRef idx="0">
            <a:schemeClr val="accent1">
              <a:shade val="80000"/>
              <a:hueOff val="142326"/>
              <a:satOff val="-21352"/>
              <a:lumOff val="11468"/>
              <a:alphaOff val="0"/>
            </a:schemeClr>
          </a:effectRef>
          <a:fontRef idx="minor">
            <a:schemeClr val="lt1"/>
          </a:fontRef>
        </p:style>
        <p:txBody>
          <a:bodyPr anchor="ctr"/>
          <a:lstStyle/>
          <a:p>
            <a:r>
              <a:rPr lang="en-GB" dirty="0" smtClean="0">
                <a:solidFill>
                  <a:schemeClr val="tx2">
                    <a:lumMod val="75000"/>
                    <a:lumOff val="25000"/>
                  </a:schemeClr>
                </a:solidFill>
                <a:latin typeface="Arial" pitchFamily="34" charset="0"/>
                <a:cs typeface="Arial" pitchFamily="34" charset="0"/>
              </a:rPr>
              <a:t>Reduce carbon emissions</a:t>
            </a:r>
            <a:endParaRPr lang="en-GB" dirty="0">
              <a:solidFill>
                <a:schemeClr val="tx2">
                  <a:lumMod val="75000"/>
                  <a:lumOff val="25000"/>
                </a:schemeClr>
              </a:solidFill>
              <a:latin typeface="Arial" pitchFamily="34" charset="0"/>
              <a:cs typeface="Arial" pitchFamily="34" charset="0"/>
            </a:endParaRPr>
          </a:p>
        </p:txBody>
      </p:sp>
      <p:sp>
        <p:nvSpPr>
          <p:cNvPr id="35" name="TextBox 4"/>
          <p:cNvSpPr txBox="1">
            <a:spLocks noChangeArrowheads="1"/>
          </p:cNvSpPr>
          <p:nvPr/>
        </p:nvSpPr>
        <p:spPr bwMode="auto">
          <a:xfrm>
            <a:off x="140680" y="1211271"/>
            <a:ext cx="2960312" cy="830997"/>
          </a:xfrm>
          <a:prstGeom prst="rect">
            <a:avLst/>
          </a:prstGeom>
          <a:noFill/>
          <a:ln w="9525">
            <a:noFill/>
            <a:miter lim="800000"/>
            <a:headEnd/>
            <a:tailEnd/>
          </a:ln>
        </p:spPr>
        <p:txBody>
          <a:bodyPr wrap="square">
            <a:spAutoFit/>
          </a:bodyPr>
          <a:lstStyle/>
          <a:p>
            <a:r>
              <a:rPr lang="en-GB" sz="1200" dirty="0" smtClean="0">
                <a:latin typeface="Arial" pitchFamily="34" charset="0"/>
                <a:cs typeface="Arial" pitchFamily="34" charset="0"/>
              </a:rPr>
              <a:t>Reduce carbon emission with a better traffic management that reduces on-road time, congestions by optimising routes and with tips to improve driving skills.</a:t>
            </a:r>
            <a:endParaRPr lang="en-GB" sz="1200" dirty="0">
              <a:latin typeface="Arial" pitchFamily="34" charset="0"/>
              <a:cs typeface="Arial" pitchFamily="34" charset="0"/>
            </a:endParaRPr>
          </a:p>
        </p:txBody>
      </p:sp>
      <p:sp>
        <p:nvSpPr>
          <p:cNvPr id="32" name="Rounded Rectangle 36"/>
          <p:cNvSpPr/>
          <p:nvPr/>
        </p:nvSpPr>
        <p:spPr bwMode="auto">
          <a:xfrm>
            <a:off x="5605368" y="2053896"/>
            <a:ext cx="3383895" cy="583775"/>
          </a:xfrm>
          <a:prstGeom prst="rect">
            <a:avLst/>
          </a:prstGeom>
          <a:gradFill flip="none" rotWithShape="1">
            <a:gsLst>
              <a:gs pos="0">
                <a:schemeClr val="accent1">
                  <a:shade val="80000"/>
                  <a:hueOff val="142326"/>
                  <a:satOff val="-21352"/>
                  <a:lumOff val="11468"/>
                  <a:shade val="30000"/>
                  <a:satMod val="115000"/>
                </a:schemeClr>
              </a:gs>
              <a:gs pos="50000">
                <a:schemeClr val="accent1">
                  <a:shade val="80000"/>
                  <a:hueOff val="142326"/>
                  <a:satOff val="-21352"/>
                  <a:lumOff val="11468"/>
                  <a:shade val="67500"/>
                  <a:satMod val="115000"/>
                </a:schemeClr>
              </a:gs>
              <a:gs pos="100000">
                <a:schemeClr val="accent1">
                  <a:shade val="80000"/>
                  <a:hueOff val="142326"/>
                  <a:satOff val="-21352"/>
                  <a:lumOff val="11468"/>
                  <a:shade val="100000"/>
                  <a:satMod val="115000"/>
                </a:schemeClr>
              </a:gs>
            </a:gsLst>
            <a:lin ang="0" scaled="1"/>
            <a:tileRect/>
          </a:gradFill>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shade val="80000"/>
              <a:hueOff val="142326"/>
              <a:satOff val="-21352"/>
              <a:lumOff val="11468"/>
              <a:alphaOff val="0"/>
            </a:schemeClr>
          </a:fillRef>
          <a:effectRef idx="0">
            <a:schemeClr val="accent1">
              <a:shade val="80000"/>
              <a:hueOff val="142326"/>
              <a:satOff val="-21352"/>
              <a:lumOff val="11468"/>
              <a:alphaOff val="0"/>
            </a:schemeClr>
          </a:effectRef>
          <a:fontRef idx="minor">
            <a:schemeClr val="lt1"/>
          </a:fontRef>
        </p:style>
        <p:txBody>
          <a:bodyPr anchor="ctr"/>
          <a:lstStyle/>
          <a:p>
            <a:pPr algn="r"/>
            <a:r>
              <a:rPr lang="en-GB" dirty="0" smtClean="0">
                <a:solidFill>
                  <a:schemeClr val="tx2">
                    <a:lumMod val="75000"/>
                    <a:lumOff val="25000"/>
                  </a:schemeClr>
                </a:solidFill>
                <a:latin typeface="Arial" pitchFamily="34" charset="0"/>
                <a:cs typeface="Arial" pitchFamily="34" charset="0"/>
              </a:rPr>
              <a:t>Efficient use of limited resources</a:t>
            </a:r>
          </a:p>
        </p:txBody>
      </p:sp>
      <p:sp>
        <p:nvSpPr>
          <p:cNvPr id="40" name="TextBox 4"/>
          <p:cNvSpPr txBox="1">
            <a:spLocks noChangeArrowheads="1"/>
          </p:cNvSpPr>
          <p:nvPr/>
        </p:nvSpPr>
        <p:spPr bwMode="auto">
          <a:xfrm>
            <a:off x="5556740" y="1190863"/>
            <a:ext cx="3657600" cy="830997"/>
          </a:xfrm>
          <a:prstGeom prst="rect">
            <a:avLst/>
          </a:prstGeom>
          <a:noFill/>
          <a:ln w="9525">
            <a:noFill/>
            <a:miter lim="800000"/>
            <a:headEnd/>
            <a:tailEnd/>
          </a:ln>
        </p:spPr>
        <p:txBody>
          <a:bodyPr wrap="square">
            <a:spAutoFit/>
          </a:bodyPr>
          <a:lstStyle/>
          <a:p>
            <a:r>
              <a:rPr lang="en-GB" sz="1200" dirty="0" smtClean="0">
                <a:latin typeface="Arial" pitchFamily="34" charset="0"/>
                <a:cs typeface="Arial" pitchFamily="34" charset="0"/>
              </a:rPr>
              <a:t>Optimise the use of limited resources (water, electricity) thanks to a better insight on the consumption,  remote control and automated solutions</a:t>
            </a:r>
            <a:endParaRPr lang="en-GB" sz="1200" dirty="0">
              <a:latin typeface="Arial" pitchFamily="34" charset="0"/>
              <a:cs typeface="Arial" pitchFamily="34" charset="0"/>
            </a:endParaRPr>
          </a:p>
        </p:txBody>
      </p:sp>
      <p:sp>
        <p:nvSpPr>
          <p:cNvPr id="33" name="Rounded Rectangle 36"/>
          <p:cNvSpPr/>
          <p:nvPr/>
        </p:nvSpPr>
        <p:spPr bwMode="auto">
          <a:xfrm>
            <a:off x="379827" y="3234508"/>
            <a:ext cx="2602523" cy="721020"/>
          </a:xfrm>
          <a:prstGeom prst="rect">
            <a:avLst/>
          </a:prstGeom>
          <a:gradFill flip="none" rotWithShape="1">
            <a:gsLst>
              <a:gs pos="0">
                <a:schemeClr val="accent1">
                  <a:shade val="80000"/>
                  <a:hueOff val="142326"/>
                  <a:satOff val="-21352"/>
                  <a:lumOff val="11468"/>
                  <a:shade val="30000"/>
                  <a:satMod val="115000"/>
                </a:schemeClr>
              </a:gs>
              <a:gs pos="50000">
                <a:schemeClr val="accent1">
                  <a:shade val="80000"/>
                  <a:hueOff val="142326"/>
                  <a:satOff val="-21352"/>
                  <a:lumOff val="11468"/>
                  <a:shade val="67500"/>
                  <a:satMod val="115000"/>
                </a:schemeClr>
              </a:gs>
              <a:gs pos="100000">
                <a:schemeClr val="accent1">
                  <a:shade val="80000"/>
                  <a:hueOff val="142326"/>
                  <a:satOff val="-21352"/>
                  <a:lumOff val="11468"/>
                  <a:shade val="100000"/>
                  <a:satMod val="115000"/>
                </a:schemeClr>
              </a:gs>
            </a:gsLst>
            <a:lin ang="0" scaled="1"/>
            <a:tileRect/>
          </a:gradFill>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shade val="80000"/>
              <a:hueOff val="142326"/>
              <a:satOff val="-21352"/>
              <a:lumOff val="11468"/>
              <a:alphaOff val="0"/>
            </a:schemeClr>
          </a:fillRef>
          <a:effectRef idx="0">
            <a:schemeClr val="accent1">
              <a:shade val="80000"/>
              <a:hueOff val="142326"/>
              <a:satOff val="-21352"/>
              <a:lumOff val="11468"/>
              <a:alphaOff val="0"/>
            </a:schemeClr>
          </a:effectRef>
          <a:fontRef idx="minor">
            <a:schemeClr val="lt1"/>
          </a:fontRef>
        </p:style>
        <p:txBody>
          <a:bodyPr anchor="ctr"/>
          <a:lstStyle/>
          <a:p>
            <a:r>
              <a:rPr lang="en-GB" dirty="0" smtClean="0">
                <a:solidFill>
                  <a:schemeClr val="tx2">
                    <a:lumMod val="75000"/>
                    <a:lumOff val="25000"/>
                  </a:schemeClr>
                </a:solidFill>
                <a:latin typeface="Arial" pitchFamily="34" charset="0"/>
                <a:cs typeface="Arial" pitchFamily="34" charset="0"/>
              </a:rPr>
              <a:t>Improve environment </a:t>
            </a:r>
          </a:p>
          <a:p>
            <a:r>
              <a:rPr lang="en-GB" dirty="0" smtClean="0">
                <a:solidFill>
                  <a:schemeClr val="tx2">
                    <a:lumMod val="75000"/>
                    <a:lumOff val="25000"/>
                  </a:schemeClr>
                </a:solidFill>
                <a:latin typeface="Arial" pitchFamily="34" charset="0"/>
                <a:cs typeface="Arial" pitchFamily="34" charset="0"/>
              </a:rPr>
              <a:t>indicators</a:t>
            </a:r>
          </a:p>
        </p:txBody>
      </p:sp>
      <p:sp>
        <p:nvSpPr>
          <p:cNvPr id="61" name="TextBox 4"/>
          <p:cNvSpPr txBox="1">
            <a:spLocks noChangeArrowheads="1"/>
          </p:cNvSpPr>
          <p:nvPr/>
        </p:nvSpPr>
        <p:spPr bwMode="auto">
          <a:xfrm>
            <a:off x="407961" y="4001607"/>
            <a:ext cx="2588456" cy="646331"/>
          </a:xfrm>
          <a:prstGeom prst="rect">
            <a:avLst/>
          </a:prstGeom>
          <a:noFill/>
          <a:ln w="9525">
            <a:noFill/>
            <a:miter lim="800000"/>
            <a:headEnd/>
            <a:tailEnd/>
          </a:ln>
        </p:spPr>
        <p:txBody>
          <a:bodyPr wrap="square">
            <a:spAutoFit/>
          </a:bodyPr>
          <a:lstStyle/>
          <a:p>
            <a:r>
              <a:rPr lang="en-GB" sz="1200" dirty="0" smtClean="0">
                <a:latin typeface="Arial" pitchFamily="34" charset="0"/>
                <a:cs typeface="Arial" pitchFamily="34" charset="0"/>
              </a:rPr>
              <a:t>Reduce noise levels and improve air quality thanks to a smart traffic systems that reduce congestions,  </a:t>
            </a:r>
            <a:endParaRPr lang="en-GB" sz="1200" dirty="0">
              <a:latin typeface="Arial" pitchFamily="34" charset="0"/>
              <a:cs typeface="Arial" pitchFamily="34" charset="0"/>
            </a:endParaRPr>
          </a:p>
        </p:txBody>
      </p:sp>
      <p:sp>
        <p:nvSpPr>
          <p:cNvPr id="36" name="Rounded Rectangle 36"/>
          <p:cNvSpPr/>
          <p:nvPr/>
        </p:nvSpPr>
        <p:spPr bwMode="auto">
          <a:xfrm>
            <a:off x="5992838" y="3229156"/>
            <a:ext cx="2799471" cy="555051"/>
          </a:xfrm>
          <a:prstGeom prst="rect">
            <a:avLst/>
          </a:prstGeom>
          <a:gradFill flip="none" rotWithShape="1">
            <a:gsLst>
              <a:gs pos="0">
                <a:schemeClr val="accent1">
                  <a:shade val="80000"/>
                  <a:hueOff val="142326"/>
                  <a:satOff val="-21352"/>
                  <a:lumOff val="11468"/>
                  <a:shade val="30000"/>
                  <a:satMod val="115000"/>
                </a:schemeClr>
              </a:gs>
              <a:gs pos="50000">
                <a:schemeClr val="accent1">
                  <a:shade val="80000"/>
                  <a:hueOff val="142326"/>
                  <a:satOff val="-21352"/>
                  <a:lumOff val="11468"/>
                  <a:shade val="67500"/>
                  <a:satMod val="115000"/>
                </a:schemeClr>
              </a:gs>
              <a:gs pos="100000">
                <a:schemeClr val="accent1">
                  <a:shade val="80000"/>
                  <a:hueOff val="142326"/>
                  <a:satOff val="-21352"/>
                  <a:lumOff val="11468"/>
                  <a:shade val="100000"/>
                  <a:satMod val="115000"/>
                </a:schemeClr>
              </a:gs>
            </a:gsLst>
            <a:lin ang="0" scaled="1"/>
            <a:tileRect/>
          </a:gradFill>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shade val="80000"/>
              <a:hueOff val="142326"/>
              <a:satOff val="-21352"/>
              <a:lumOff val="11468"/>
              <a:alphaOff val="0"/>
            </a:schemeClr>
          </a:fillRef>
          <a:effectRef idx="0">
            <a:schemeClr val="accent1">
              <a:shade val="80000"/>
              <a:hueOff val="142326"/>
              <a:satOff val="-21352"/>
              <a:lumOff val="11468"/>
              <a:alphaOff val="0"/>
            </a:schemeClr>
          </a:effectRef>
          <a:fontRef idx="minor">
            <a:schemeClr val="lt1"/>
          </a:fontRef>
        </p:style>
        <p:txBody>
          <a:bodyPr anchor="ctr"/>
          <a:lstStyle/>
          <a:p>
            <a:r>
              <a:rPr lang="en-GB" dirty="0" smtClean="0">
                <a:latin typeface="Arial" pitchFamily="34" charset="0"/>
                <a:cs typeface="Arial" pitchFamily="34" charset="0"/>
              </a:rPr>
              <a:t>Green Credentials</a:t>
            </a:r>
          </a:p>
        </p:txBody>
      </p:sp>
      <p:sp>
        <p:nvSpPr>
          <p:cNvPr id="68" name="TextBox 4"/>
          <p:cNvSpPr txBox="1">
            <a:spLocks noChangeArrowheads="1"/>
          </p:cNvSpPr>
          <p:nvPr/>
        </p:nvSpPr>
        <p:spPr bwMode="auto">
          <a:xfrm>
            <a:off x="5936566" y="3822718"/>
            <a:ext cx="2813539" cy="830997"/>
          </a:xfrm>
          <a:prstGeom prst="rect">
            <a:avLst/>
          </a:prstGeom>
          <a:noFill/>
          <a:ln w="9525">
            <a:noFill/>
            <a:miter lim="800000"/>
            <a:headEnd/>
            <a:tailEnd/>
          </a:ln>
        </p:spPr>
        <p:txBody>
          <a:bodyPr wrap="square">
            <a:spAutoFit/>
          </a:bodyPr>
          <a:lstStyle/>
          <a:p>
            <a:r>
              <a:rPr lang="en-GB" sz="1200" dirty="0" smtClean="0">
                <a:latin typeface="Arial" pitchFamily="34" charset="0"/>
                <a:cs typeface="Arial" pitchFamily="34" charset="0"/>
              </a:rPr>
              <a:t>Provide city councils with a green speech based on sustainability measures already implemented as part of their marketing strategy</a:t>
            </a:r>
            <a:endParaRPr lang="en-GB" sz="1200" dirty="0">
              <a:latin typeface="Arial" pitchFamily="34" charset="0"/>
              <a:cs typeface="Arial" pitchFamily="34" charset="0"/>
            </a:endParaRPr>
          </a:p>
        </p:txBody>
      </p:sp>
      <p:pic>
        <p:nvPicPr>
          <p:cNvPr id="502788" name="Picture 4" descr="http://icons.iconarchive.com/icons/benjigarner/softdimension/256/Audacity-icon.png"/>
          <p:cNvPicPr>
            <a:picLocks noChangeAspect="1" noChangeArrowheads="1"/>
          </p:cNvPicPr>
          <p:nvPr/>
        </p:nvPicPr>
        <p:blipFill>
          <a:blip r:embed="rId3" cstate="print"/>
          <a:srcRect/>
          <a:stretch>
            <a:fillRect/>
          </a:stretch>
        </p:blipFill>
        <p:spPr bwMode="auto">
          <a:xfrm>
            <a:off x="2851478" y="3328993"/>
            <a:ext cx="432000" cy="432000"/>
          </a:xfrm>
          <a:prstGeom prst="rect">
            <a:avLst/>
          </a:prstGeom>
          <a:noFill/>
        </p:spPr>
      </p:pic>
      <p:sp>
        <p:nvSpPr>
          <p:cNvPr id="26" name="Rounded Rectangle 36"/>
          <p:cNvSpPr/>
          <p:nvPr/>
        </p:nvSpPr>
        <p:spPr bwMode="auto">
          <a:xfrm>
            <a:off x="2933690" y="4889044"/>
            <a:ext cx="3157620" cy="527012"/>
          </a:xfrm>
          <a:prstGeom prst="rect">
            <a:avLst/>
          </a:prstGeom>
          <a:gradFill flip="none" rotWithShape="1">
            <a:gsLst>
              <a:gs pos="0">
                <a:schemeClr val="accent1">
                  <a:shade val="80000"/>
                  <a:hueOff val="142326"/>
                  <a:satOff val="-21352"/>
                  <a:lumOff val="11468"/>
                  <a:shade val="30000"/>
                  <a:satMod val="115000"/>
                </a:schemeClr>
              </a:gs>
              <a:gs pos="50000">
                <a:schemeClr val="accent1">
                  <a:shade val="80000"/>
                  <a:hueOff val="142326"/>
                  <a:satOff val="-21352"/>
                  <a:lumOff val="11468"/>
                  <a:shade val="67500"/>
                  <a:satMod val="115000"/>
                </a:schemeClr>
              </a:gs>
              <a:gs pos="100000">
                <a:schemeClr val="accent1">
                  <a:shade val="80000"/>
                  <a:hueOff val="142326"/>
                  <a:satOff val="-21352"/>
                  <a:lumOff val="11468"/>
                  <a:shade val="100000"/>
                  <a:satMod val="115000"/>
                </a:schemeClr>
              </a:gs>
            </a:gsLst>
            <a:lin ang="0" scaled="1"/>
            <a:tileRect/>
          </a:gradFill>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shade val="80000"/>
              <a:hueOff val="142326"/>
              <a:satOff val="-21352"/>
              <a:lumOff val="11468"/>
              <a:alphaOff val="0"/>
            </a:schemeClr>
          </a:fillRef>
          <a:effectRef idx="0">
            <a:schemeClr val="accent1">
              <a:shade val="80000"/>
              <a:hueOff val="142326"/>
              <a:satOff val="-21352"/>
              <a:lumOff val="11468"/>
              <a:alphaOff val="0"/>
            </a:schemeClr>
          </a:effectRef>
          <a:fontRef idx="minor">
            <a:schemeClr val="lt1"/>
          </a:fontRef>
        </p:style>
        <p:txBody>
          <a:bodyPr anchor="ctr"/>
          <a:lstStyle/>
          <a:p>
            <a:r>
              <a:rPr lang="en-GB" dirty="0" smtClean="0">
                <a:solidFill>
                  <a:schemeClr val="tx2">
                    <a:lumMod val="75000"/>
                    <a:lumOff val="25000"/>
                  </a:schemeClr>
                </a:solidFill>
                <a:latin typeface="Arial" pitchFamily="34" charset="0"/>
                <a:cs typeface="Arial" pitchFamily="34" charset="0"/>
              </a:rPr>
              <a:t>Optimisation of the use of time</a:t>
            </a:r>
          </a:p>
        </p:txBody>
      </p:sp>
      <p:sp>
        <p:nvSpPr>
          <p:cNvPr id="31" name="TextBox 4"/>
          <p:cNvSpPr txBox="1">
            <a:spLocks noChangeArrowheads="1"/>
          </p:cNvSpPr>
          <p:nvPr/>
        </p:nvSpPr>
        <p:spPr bwMode="auto">
          <a:xfrm>
            <a:off x="2957251" y="5418231"/>
            <a:ext cx="3134060" cy="646331"/>
          </a:xfrm>
          <a:prstGeom prst="rect">
            <a:avLst/>
          </a:prstGeom>
          <a:noFill/>
          <a:ln w="9525">
            <a:noFill/>
            <a:miter lim="800000"/>
            <a:headEnd/>
            <a:tailEnd/>
          </a:ln>
        </p:spPr>
        <p:txBody>
          <a:bodyPr wrap="square">
            <a:spAutoFit/>
          </a:bodyPr>
          <a:lstStyle/>
          <a:p>
            <a:r>
              <a:rPr lang="en-GB" sz="1200" dirty="0" smtClean="0">
                <a:latin typeface="Arial" pitchFamily="34" charset="0"/>
                <a:cs typeface="Arial" pitchFamily="34" charset="0"/>
              </a:rPr>
              <a:t>Reduce the time spent in roads thanks to smart traffic systems and smart parking solutions.</a:t>
            </a:r>
            <a:endParaRPr lang="en-GB" sz="1200" dirty="0">
              <a:latin typeface="Arial" pitchFamily="34" charset="0"/>
              <a:cs typeface="Arial" pitchFamily="34" charset="0"/>
            </a:endParaRPr>
          </a:p>
        </p:txBody>
      </p:sp>
      <p:pic>
        <p:nvPicPr>
          <p:cNvPr id="108547" name="Picture 3" descr="http://awinninghabit.com/files/2012/01/happy-face_happyface_smiley_2400x2400.jpg"/>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4266546" y="4455253"/>
            <a:ext cx="396000" cy="396000"/>
          </a:xfrm>
          <a:prstGeom prst="rect">
            <a:avLst/>
          </a:prstGeom>
          <a:noFill/>
        </p:spPr>
      </p:pic>
      <p:sp>
        <p:nvSpPr>
          <p:cNvPr id="34" name="TextBox 4"/>
          <p:cNvSpPr txBox="1">
            <a:spLocks noChangeArrowheads="1"/>
          </p:cNvSpPr>
          <p:nvPr/>
        </p:nvSpPr>
        <p:spPr bwMode="auto">
          <a:xfrm>
            <a:off x="3533294" y="2312150"/>
            <a:ext cx="1904920" cy="738664"/>
          </a:xfrm>
          <a:prstGeom prst="rect">
            <a:avLst/>
          </a:prstGeom>
          <a:noFill/>
          <a:ln w="9525">
            <a:noFill/>
            <a:miter lim="800000"/>
            <a:headEnd/>
            <a:tailEnd/>
          </a:ln>
        </p:spPr>
        <p:txBody>
          <a:bodyPr wrap="square">
            <a:spAutoFit/>
          </a:bodyPr>
          <a:lstStyle/>
          <a:p>
            <a:pPr algn="ctr"/>
            <a:r>
              <a:rPr lang="en-GB" sz="1400" b="1" dirty="0" smtClean="0">
                <a:solidFill>
                  <a:schemeClr val="accent5">
                    <a:lumMod val="50000"/>
                  </a:schemeClr>
                </a:solidFill>
                <a:latin typeface="Arial" pitchFamily="34" charset="0"/>
                <a:cs typeface="Arial" pitchFamily="34" charset="0"/>
              </a:rPr>
              <a:t>SUSTAINABILITY AND QUALITY OF LIFE</a:t>
            </a:r>
            <a:endParaRPr lang="en-GB" sz="1400" b="1" dirty="0">
              <a:solidFill>
                <a:schemeClr val="accent5">
                  <a:lumMod val="50000"/>
                </a:schemeClr>
              </a:solidFill>
              <a:latin typeface="Arial" pitchFamily="34" charset="0"/>
              <a:cs typeface="Arial" pitchFamily="34" charset="0"/>
            </a:endParaRPr>
          </a:p>
        </p:txBody>
      </p:sp>
      <p:pic>
        <p:nvPicPr>
          <p:cNvPr id="502790" name="Picture 6" descr="http://www.easyvectors.com/assets/images/vectors/afbig/factory-clip-art.jpg"/>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flipH="1">
            <a:off x="2841397" y="1803751"/>
            <a:ext cx="691896" cy="720725"/>
          </a:xfrm>
          <a:prstGeom prst="rect">
            <a:avLst/>
          </a:prstGeom>
          <a:noFill/>
        </p:spPr>
      </p:pic>
      <p:pic>
        <p:nvPicPr>
          <p:cNvPr id="43" name="Picture 3"/>
          <p:cNvPicPr>
            <a:picLocks noChangeAspect="1" noChangeArrowheads="1"/>
          </p:cNvPicPr>
          <p:nvPr/>
        </p:nvPicPr>
        <p:blipFill>
          <a:blip r:embed="rId6" cstate="print">
            <a:clrChange>
              <a:clrFrom>
                <a:srgbClr val="FFFFFF"/>
              </a:clrFrom>
              <a:clrTo>
                <a:srgbClr val="FFFFFF">
                  <a:alpha val="0"/>
                </a:srgbClr>
              </a:clrTo>
            </a:clrChange>
          </a:blip>
          <a:srcRect l="23983" t="24341" r="74698" b="69502"/>
          <a:stretch>
            <a:fillRect/>
          </a:stretch>
        </p:blipFill>
        <p:spPr bwMode="auto">
          <a:xfrm>
            <a:off x="5447418" y="2174514"/>
            <a:ext cx="281987" cy="421531"/>
          </a:xfrm>
          <a:prstGeom prst="rect">
            <a:avLst/>
          </a:prstGeom>
          <a:noFill/>
          <a:ln w="9525">
            <a:noFill/>
            <a:miter lim="800000"/>
            <a:headEnd/>
            <a:tailEnd/>
          </a:ln>
          <a:effectLst/>
        </p:spPr>
      </p:pic>
      <p:pic>
        <p:nvPicPr>
          <p:cNvPr id="42" name="Picture 41"/>
          <p:cNvPicPr>
            <a:picLocks noChangeAspect="1"/>
          </p:cNvPicPr>
          <p:nvPr/>
        </p:nvPicPr>
        <p:blipFill>
          <a:blip r:embed="rId7" cstate="print">
            <a:biLevel thresh="50000"/>
          </a:blip>
          <a:srcRect l="25134" r="27380" b="43016"/>
          <a:stretch>
            <a:fillRect/>
          </a:stretch>
        </p:blipFill>
        <p:spPr bwMode="auto">
          <a:xfrm>
            <a:off x="5590686" y="3335451"/>
            <a:ext cx="444500" cy="514579"/>
          </a:xfrm>
          <a:prstGeom prst="rect">
            <a:avLst/>
          </a:prstGeom>
          <a:noFill/>
        </p:spPr>
      </p:pic>
      <p:sp>
        <p:nvSpPr>
          <p:cNvPr id="27" name="AutoShape 2"/>
          <p:cNvSpPr>
            <a:spLocks noChangeArrowheads="1"/>
          </p:cNvSpPr>
          <p:nvPr/>
        </p:nvSpPr>
        <p:spPr bwMode="auto">
          <a:xfrm>
            <a:off x="312739" y="19226"/>
            <a:ext cx="8618537" cy="897683"/>
          </a:xfrm>
          <a:prstGeom prst="roundRect">
            <a:avLst>
              <a:gd name="adj" fmla="val 16667"/>
            </a:avLst>
          </a:prstGeom>
          <a:noFill/>
          <a:ln w="9525" algn="ctr">
            <a:noFill/>
            <a:round/>
            <a:headEnd/>
            <a:tailEnd/>
          </a:ln>
        </p:spPr>
        <p:txBody>
          <a:bodyPr lIns="36000" tIns="36000" rIns="36000" bIns="36000">
            <a:spAutoFit/>
          </a:bodyPr>
          <a:lstStyle/>
          <a:p>
            <a:pPr defTabSz="457200"/>
            <a:r>
              <a:rPr lang="en-GB" sz="2400" b="1" dirty="0" smtClean="0">
                <a:solidFill>
                  <a:schemeClr val="tx2"/>
                </a:solidFill>
                <a:latin typeface="Arial" pitchFamily="34" charset="0"/>
                <a:ea typeface="Arial Unicode MS" pitchFamily="34" charset="-128"/>
                <a:cs typeface="Arial" pitchFamily="34" charset="0"/>
              </a:rPr>
              <a:t>Green Smart Cities are meant to improve sustainability and quality of life</a:t>
            </a:r>
            <a:endParaRPr lang="en-GB" sz="2400" b="1" dirty="0">
              <a:solidFill>
                <a:schemeClr val="tx2"/>
              </a:solidFill>
              <a:latin typeface="Arial" pitchFamily="34" charset="0"/>
              <a:ea typeface="Arial Unicode MS" pitchFamily="34" charset="-128"/>
              <a:cs typeface="Arial" pitchFamily="34" charset="0"/>
            </a:endParaRPr>
          </a:p>
        </p:txBody>
      </p:sp>
      <p:pic>
        <p:nvPicPr>
          <p:cNvPr id="28" name="6 Imagen" descr="greentechicon.jpg"/>
          <p:cNvPicPr>
            <a:picLocks noChangeAspect="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8152831" y="3081846"/>
            <a:ext cx="614859" cy="81615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0" name="Rectangle 1"/>
          <p:cNvSpPr>
            <a:spLocks/>
          </p:cNvSpPr>
          <p:nvPr/>
        </p:nvSpPr>
        <p:spPr bwMode="auto">
          <a:xfrm>
            <a:off x="0" y="0"/>
            <a:ext cx="368300" cy="647700"/>
          </a:xfrm>
          <a:prstGeom prst="rect">
            <a:avLst/>
          </a:prstGeom>
          <a:gradFill rotWithShape="0">
            <a:gsLst>
              <a:gs pos="0">
                <a:srgbClr val="0A1519"/>
              </a:gs>
              <a:gs pos="100000">
                <a:srgbClr val="2A5E77"/>
              </a:gs>
            </a:gsLst>
            <a:lin ang="2700000" scaled="1"/>
          </a:gradFill>
          <a:ln>
            <a:noFill/>
          </a:ln>
          <a:extLst>
            <a:ext uri="{91240B29-F687-4F45-9708-019B960494DF}">
              <a14:hiddenLine xmlns:a14="http://schemas.microsoft.com/office/drawing/2010/main" xmlns="" w="12700">
                <a:solidFill>
                  <a:schemeClr val="tx1"/>
                </a:solidFill>
                <a:miter lim="800000"/>
                <a:headEnd/>
                <a:tailEnd/>
              </a14:hiddenLine>
            </a:ext>
          </a:extLst>
        </p:spPr>
        <p:txBody>
          <a:bodyPr lIns="0" tIns="0" rIns="0" bIns="0"/>
          <a:lstStyle/>
          <a:p>
            <a:endParaRPr lang="es-ES">
              <a:cs typeface="Arial" pitchFamily="34" charset="0"/>
            </a:endParaRPr>
          </a:p>
        </p:txBody>
      </p:sp>
      <p:sp>
        <p:nvSpPr>
          <p:cNvPr id="47" name="Rectangle 9"/>
          <p:cNvSpPr>
            <a:spLocks/>
          </p:cNvSpPr>
          <p:nvPr/>
        </p:nvSpPr>
        <p:spPr bwMode="auto">
          <a:xfrm>
            <a:off x="55563" y="334963"/>
            <a:ext cx="339725" cy="357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chemeClr val="tx1"/>
                </a:solidFill>
                <a:miter lim="800000"/>
                <a:headEnd/>
                <a:tailEnd/>
              </a14:hiddenLine>
            </a:ext>
          </a:extLst>
        </p:spPr>
        <p:txBody>
          <a:bodyPr lIns="38100" tIns="38100" rIns="38100" bIns="38100"/>
          <a:lstStyle/>
          <a:p>
            <a:pPr algn="l"/>
            <a:r>
              <a:rPr lang="en-US" sz="1400" dirty="0" smtClean="0">
                <a:solidFill>
                  <a:srgbClr val="44B5CA"/>
                </a:solidFill>
                <a:ea typeface="MS PGothic" pitchFamily="34" charset="-128"/>
                <a:sym typeface="Telefonica Text Bold"/>
              </a:rPr>
              <a:t>03</a:t>
            </a:r>
            <a:endParaRPr lang="en-US" sz="1400" dirty="0">
              <a:solidFill>
                <a:srgbClr val="44B5CA"/>
              </a:solidFill>
              <a:ea typeface="MS PGothic" pitchFamily="34" charset="-128"/>
              <a:sym typeface="Telefonica Text Bold"/>
            </a:endParaRPr>
          </a:p>
        </p:txBody>
      </p:sp>
      <p:pic>
        <p:nvPicPr>
          <p:cNvPr id="48" name="Picture 2"/>
          <p:cNvPicPr>
            <a:picLocks noChangeAspect="1" noChangeArrowheads="1"/>
          </p:cNvPicPr>
          <p:nvPr/>
        </p:nvPicPr>
        <p:blipFill>
          <a:blip r:embed="rId9" cstate="print">
            <a:extLst>
              <a:ext uri="{28A0092B-C50C-407E-A947-70E740481C1C}">
                <a14:useLocalDpi xmlns:a14="http://schemas.microsoft.com/office/drawing/2010/main" xmlns="" val="0"/>
              </a:ext>
            </a:extLst>
          </a:blip>
          <a:srcRect/>
          <a:stretch>
            <a:fillRect/>
          </a:stretch>
        </p:blipFill>
        <p:spPr bwMode="auto">
          <a:xfrm>
            <a:off x="3280614" y="2797233"/>
            <a:ext cx="2545897" cy="137352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167651514"/>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1 Marcador de número de diapositiva"/>
          <p:cNvSpPr>
            <a:spLocks noGrp="1"/>
          </p:cNvSpPr>
          <p:nvPr>
            <p:ph type="sldNum" sz="quarter" idx="4294967295"/>
          </p:nvPr>
        </p:nvSpPr>
        <p:spPr>
          <a:xfrm>
            <a:off x="457200" y="6356352"/>
            <a:ext cx="2133600" cy="365125"/>
          </a:xfrm>
          <a:prstGeom prst="rect">
            <a:avLst/>
          </a:prstGeom>
        </p:spPr>
        <p:txBody>
          <a:bodyPr/>
          <a:lstStyle/>
          <a:p>
            <a:pPr>
              <a:defRPr/>
            </a:pPr>
            <a:fld id="{3A2D1CAA-D845-445B-8DC0-373649863AB5}" type="slidenum">
              <a:rPr lang="es-ES"/>
              <a:pPr>
                <a:defRPr/>
              </a:pPr>
              <a:t>18</a:t>
            </a:fld>
            <a:endParaRPr lang="es-ES"/>
          </a:p>
        </p:txBody>
      </p:sp>
      <p:pic>
        <p:nvPicPr>
          <p:cNvPr id="11267" name="Picture 1"/>
          <p:cNvPicPr>
            <a:picLocks noChangeArrowheads="1"/>
          </p:cNvPicPr>
          <p:nvPr/>
        </p:nvPicPr>
        <p:blipFill>
          <a:blip r:embed="rId3" cstate="print">
            <a:extLst>
              <a:ext uri="{28A0092B-C50C-407E-A947-70E740481C1C}">
                <a14:useLocalDpi xmlns:a14="http://schemas.microsoft.com/office/drawing/2010/main" xmlns="" val="0"/>
              </a:ext>
            </a:extLst>
          </a:blip>
          <a:srcRect t="1167" r="1167"/>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1268" name="Picture 2"/>
          <p:cNvPicPr>
            <a:picLocks noChangeAspect="1" noChangeArrowheads="1"/>
          </p:cNvPicPr>
          <p:nvPr/>
        </p:nvPicPr>
        <p:blipFill>
          <a:blip r:embed="rId4" cstate="print">
            <a:extLst>
              <a:ext uri="{28A0092B-C50C-407E-A947-70E740481C1C}">
                <a14:useLocalDpi xmlns:a14="http://schemas.microsoft.com/office/drawing/2010/main" xmlns="" val="0"/>
              </a:ext>
            </a:extLst>
          </a:blip>
          <a:srcRect t="1169" r="1740"/>
          <a:stretch>
            <a:fillRect/>
          </a:stretch>
        </p:blipFill>
        <p:spPr bwMode="auto">
          <a:xfrm>
            <a:off x="0" y="3"/>
            <a:ext cx="9144000" cy="6850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25400">
                <a:solidFill>
                  <a:srgbClr val="000000"/>
                </a:solidFill>
                <a:round/>
                <a:headEnd/>
                <a:tailEnd/>
              </a14:hiddenLine>
            </a:ext>
          </a:extLst>
        </p:spPr>
      </p:pic>
      <p:sp>
        <p:nvSpPr>
          <p:cNvPr id="11269" name="Rectangle 3"/>
          <p:cNvSpPr>
            <a:spLocks/>
          </p:cNvSpPr>
          <p:nvPr/>
        </p:nvSpPr>
        <p:spPr bwMode="auto">
          <a:xfrm>
            <a:off x="471406" y="188915"/>
            <a:ext cx="4142656" cy="2008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26788" tIns="26788" rIns="26788" bIns="26788" anchor="ctr"/>
          <a:lstStyle/>
          <a:p>
            <a:pPr algn="l" defTabSz="642938" eaLnBrk="1" hangingPunct="1"/>
            <a:r>
              <a:rPr lang="en-GB" sz="13800" b="0" dirty="0" smtClean="0">
                <a:solidFill>
                  <a:srgbClr val="44B5CA"/>
                </a:solidFill>
                <a:latin typeface="Telefonica Headline Light" pitchFamily="2" charset="0"/>
                <a:ea typeface="ヒラギノ角ゴ ProN W3"/>
                <a:cs typeface="Arial" pitchFamily="34" charset="0"/>
                <a:sym typeface="Arial" pitchFamily="34" charset="0"/>
              </a:rPr>
              <a:t>04</a:t>
            </a:r>
            <a:endParaRPr lang="en-GB" sz="13800" b="0" dirty="0">
              <a:solidFill>
                <a:srgbClr val="44B5CA"/>
              </a:solidFill>
              <a:latin typeface="Telefonica Headline Light" pitchFamily="2" charset="0"/>
              <a:ea typeface="ヒラギノ角ゴ ProN W3"/>
              <a:cs typeface="Arial" pitchFamily="34" charset="0"/>
              <a:sym typeface="Arial" pitchFamily="34" charset="0"/>
            </a:endParaRPr>
          </a:p>
        </p:txBody>
      </p:sp>
      <p:sp>
        <p:nvSpPr>
          <p:cNvPr id="11270" name="Rectangle 4"/>
          <p:cNvSpPr>
            <a:spLocks/>
          </p:cNvSpPr>
          <p:nvPr/>
        </p:nvSpPr>
        <p:spPr bwMode="auto">
          <a:xfrm>
            <a:off x="449186" y="2062163"/>
            <a:ext cx="6427071" cy="1231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26788" tIns="26788" rIns="26788" bIns="26788"/>
          <a:lstStyle/>
          <a:p>
            <a:pPr algn="l" defTabSz="642938" eaLnBrk="1" hangingPunct="1"/>
            <a:r>
              <a:rPr lang="en-US" sz="4100" b="0" dirty="0" smtClean="0">
                <a:solidFill>
                  <a:srgbClr val="FFFFFF"/>
                </a:solidFill>
                <a:latin typeface="Telefonica Headline Light" pitchFamily="2" charset="0"/>
                <a:ea typeface="ヒラギノ角ゴ ProN W3"/>
                <a:cs typeface="Arial" pitchFamily="34" charset="0"/>
                <a:sym typeface="Arial" pitchFamily="34" charset="0"/>
              </a:rPr>
              <a:t>Challenges for greener &amp; smarter cities</a:t>
            </a:r>
            <a:endParaRPr lang="en-US" sz="4100" b="0" dirty="0">
              <a:solidFill>
                <a:srgbClr val="FFFFFF"/>
              </a:solidFill>
              <a:latin typeface="Telefonica Headline Light" pitchFamily="2" charset="0"/>
              <a:ea typeface="ヒラギノ角ゴ ProN W3"/>
              <a:cs typeface="Arial" pitchFamily="34" charset="0"/>
              <a:sym typeface="Arial" pitchFamily="34" charset="0"/>
            </a:endParaRPr>
          </a:p>
        </p:txBody>
      </p:sp>
    </p:spTree>
    <p:extLst>
      <p:ext uri="{BB962C8B-B14F-4D97-AF65-F5344CB8AC3E}">
        <p14:creationId xmlns:p14="http://schemas.microsoft.com/office/powerpoint/2010/main" xmlns="" val="764304468"/>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88644" name="Group 68"/>
          <p:cNvGraphicFramePr>
            <a:graphicFrameLocks noGrp="1"/>
          </p:cNvGraphicFramePr>
          <p:nvPr>
            <p:extLst>
              <p:ext uri="{D42A27DB-BD31-4B8C-83A1-F6EECF244321}">
                <p14:modId xmlns:p14="http://schemas.microsoft.com/office/powerpoint/2010/main" xmlns="" val="1812953484"/>
              </p:ext>
            </p:extLst>
          </p:nvPr>
        </p:nvGraphicFramePr>
        <p:xfrm>
          <a:off x="211102" y="1268413"/>
          <a:ext cx="8731320" cy="4673600"/>
        </p:xfrm>
        <a:graphic>
          <a:graphicData uri="http://schemas.openxmlformats.org/drawingml/2006/table">
            <a:tbl>
              <a:tblPr/>
              <a:tblGrid>
                <a:gridCol w="4720405"/>
                <a:gridCol w="4010915"/>
              </a:tblGrid>
              <a:tr h="1543050">
                <a:tc>
                  <a:txBody>
                    <a:bodyPr/>
                    <a:lstStyle/>
                    <a:p>
                      <a:pPr marL="261938" marR="0" lvl="0" indent="-174625" algn="l" defTabSz="914400" rtl="0" eaLnBrk="1" fontAlgn="base" latinLnBrk="0" hangingPunct="1">
                        <a:lnSpc>
                          <a:spcPct val="100000"/>
                        </a:lnSpc>
                        <a:spcBef>
                          <a:spcPts val="500"/>
                        </a:spcBef>
                        <a:spcAft>
                          <a:spcPct val="0"/>
                        </a:spcAft>
                        <a:buClr>
                          <a:srgbClr val="4CB1DB"/>
                        </a:buClr>
                        <a:buSzPct val="50000"/>
                        <a:buFont typeface="Wingdings" pitchFamily="2" charset="2"/>
                        <a:buChar char="l"/>
                        <a:tabLst>
                          <a:tab pos="914400" algn="l"/>
                        </a:tabLst>
                      </a:pPr>
                      <a:r>
                        <a:rPr kumimoji="0" lang="en-GB" sz="1700" b="0" i="0" u="none" strike="noStrike" cap="none" normalizeH="0" baseline="0" dirty="0" smtClean="0">
                          <a:ln>
                            <a:noFill/>
                          </a:ln>
                          <a:solidFill>
                            <a:schemeClr val="tx1"/>
                          </a:solidFill>
                          <a:effectLst/>
                          <a:latin typeface="Arial" pitchFamily="34" charset="0"/>
                          <a:ea typeface="ヒラギノ角ゴ ProN W3" pitchFamily="2" charset="-128"/>
                          <a:cs typeface="Arial" pitchFamily="34" charset="0"/>
                          <a:sym typeface="Telefonica Text" pitchFamily="2" charset="0"/>
                        </a:rPr>
                        <a:t>Need for accelerating </a:t>
                      </a:r>
                      <a:r>
                        <a:rPr kumimoji="0" lang="en-GB" sz="1700" b="1" i="0" u="none" strike="noStrike" cap="none" normalizeH="0" baseline="0" dirty="0" smtClean="0">
                          <a:ln>
                            <a:noFill/>
                          </a:ln>
                          <a:solidFill>
                            <a:schemeClr val="tx1"/>
                          </a:solidFill>
                          <a:effectLst/>
                          <a:latin typeface="Arial" pitchFamily="34" charset="0"/>
                          <a:ea typeface="ヒラギノ角ゴ ProN W3" pitchFamily="2" charset="-128"/>
                          <a:cs typeface="Arial" pitchFamily="34" charset="0"/>
                          <a:sym typeface="Telefonica Text" pitchFamily="2" charset="0"/>
                        </a:rPr>
                        <a:t>innovation</a:t>
                      </a:r>
                      <a:r>
                        <a:rPr kumimoji="0" lang="en-GB" sz="1700" b="0" i="0" u="none" strike="noStrike" cap="none" normalizeH="0" baseline="0" dirty="0" smtClean="0">
                          <a:ln>
                            <a:noFill/>
                          </a:ln>
                          <a:solidFill>
                            <a:schemeClr val="tx1"/>
                          </a:solidFill>
                          <a:effectLst/>
                          <a:latin typeface="Arial" pitchFamily="34" charset="0"/>
                          <a:ea typeface="ヒラギノ角ゴ ProN W3" pitchFamily="2" charset="-128"/>
                          <a:cs typeface="Arial" pitchFamily="34" charset="0"/>
                          <a:sym typeface="Telefonica Text" pitchFamily="2" charset="0"/>
                        </a:rPr>
                        <a:t> </a:t>
                      </a:r>
                    </a:p>
                    <a:p>
                      <a:pPr marL="261938" marR="0" lvl="0" indent="-174625" algn="l" defTabSz="914400" rtl="0" eaLnBrk="1" fontAlgn="base" latinLnBrk="0" hangingPunct="1">
                        <a:lnSpc>
                          <a:spcPct val="100000"/>
                        </a:lnSpc>
                        <a:spcBef>
                          <a:spcPts val="500"/>
                        </a:spcBef>
                        <a:spcAft>
                          <a:spcPct val="0"/>
                        </a:spcAft>
                        <a:buClr>
                          <a:srgbClr val="4CB1DB"/>
                        </a:buClr>
                        <a:buSzPct val="50000"/>
                        <a:buFont typeface="Wingdings" pitchFamily="2" charset="2"/>
                        <a:buChar char="l"/>
                        <a:tabLst>
                          <a:tab pos="914400" algn="l"/>
                        </a:tabLst>
                      </a:pPr>
                      <a:r>
                        <a:rPr kumimoji="0" lang="en-GB" sz="1700" b="0" i="0" u="none" strike="noStrike" cap="none" normalizeH="0" baseline="0" dirty="0" smtClean="0">
                          <a:ln>
                            <a:noFill/>
                          </a:ln>
                          <a:solidFill>
                            <a:schemeClr val="tx1"/>
                          </a:solidFill>
                          <a:effectLst/>
                          <a:latin typeface="Arial" pitchFamily="34" charset="0"/>
                          <a:ea typeface="ヒラギノ角ゴ ProN W3" pitchFamily="2" charset="-128"/>
                          <a:cs typeface="Arial" pitchFamily="34" charset="0"/>
                          <a:sym typeface="Telefonica Text" pitchFamily="2" charset="0"/>
                        </a:rPr>
                        <a:t>Demand of a Green ICT </a:t>
                      </a:r>
                      <a:r>
                        <a:rPr kumimoji="0" lang="en-GB" sz="1700" b="1" i="0" u="none" strike="noStrike" cap="none" normalizeH="0" baseline="0" dirty="0" smtClean="0">
                          <a:ln>
                            <a:noFill/>
                          </a:ln>
                          <a:solidFill>
                            <a:schemeClr val="tx1"/>
                          </a:solidFill>
                          <a:effectLst/>
                          <a:latin typeface="Arial" pitchFamily="34" charset="0"/>
                          <a:ea typeface="ヒラギノ角ゴ ProN W3" pitchFamily="2" charset="-128"/>
                          <a:cs typeface="Arial" pitchFamily="34" charset="0"/>
                          <a:sym typeface="Telefonica Text" pitchFamily="2" charset="0"/>
                        </a:rPr>
                        <a:t>solutions portfolio</a:t>
                      </a:r>
                      <a:r>
                        <a:rPr kumimoji="0" lang="en-GB" sz="1700" b="0" i="0" u="none" strike="noStrike" cap="none" normalizeH="0" baseline="0" dirty="0" smtClean="0">
                          <a:ln>
                            <a:noFill/>
                          </a:ln>
                          <a:solidFill>
                            <a:schemeClr val="tx1"/>
                          </a:solidFill>
                          <a:effectLst/>
                          <a:latin typeface="Arial" pitchFamily="34" charset="0"/>
                          <a:ea typeface="ヒラギノ角ゴ ProN W3" pitchFamily="2" charset="-128"/>
                          <a:cs typeface="Arial" pitchFamily="34" charset="0"/>
                          <a:sym typeface="Telefonica Text" pitchFamily="2" charset="0"/>
                        </a:rPr>
                        <a:t> </a:t>
                      </a:r>
                    </a:p>
                    <a:p>
                      <a:pPr marL="261938" marR="0" lvl="0" indent="-174625" algn="l" defTabSz="914400" rtl="0" eaLnBrk="1" fontAlgn="base" latinLnBrk="0" hangingPunct="1">
                        <a:lnSpc>
                          <a:spcPct val="100000"/>
                        </a:lnSpc>
                        <a:spcBef>
                          <a:spcPts val="500"/>
                        </a:spcBef>
                        <a:spcAft>
                          <a:spcPct val="0"/>
                        </a:spcAft>
                        <a:buClr>
                          <a:srgbClr val="4CB1DB"/>
                        </a:buClr>
                        <a:buSzPct val="50000"/>
                        <a:buFont typeface="Wingdings" pitchFamily="2" charset="2"/>
                        <a:buChar char="l"/>
                        <a:tabLst>
                          <a:tab pos="914400" algn="l"/>
                        </a:tabLst>
                      </a:pPr>
                      <a:r>
                        <a:rPr kumimoji="0" lang="en-GB" sz="1700" b="1" i="0" u="none" strike="noStrike" cap="none" normalizeH="0" baseline="0" dirty="0" smtClean="0">
                          <a:ln>
                            <a:noFill/>
                          </a:ln>
                          <a:solidFill>
                            <a:schemeClr val="tx1"/>
                          </a:solidFill>
                          <a:effectLst/>
                          <a:latin typeface="Arial" pitchFamily="34" charset="0"/>
                          <a:ea typeface="ヒラギノ角ゴ ProN W3" pitchFamily="2" charset="-128"/>
                          <a:cs typeface="Arial" pitchFamily="34" charset="0"/>
                          <a:sym typeface="Telefonica Text" pitchFamily="2" charset="0"/>
                        </a:rPr>
                        <a:t>Leveraging</a:t>
                      </a:r>
                      <a:r>
                        <a:rPr kumimoji="0" lang="en-GB" sz="1700" b="0" i="0" u="none" strike="noStrike" cap="none" normalizeH="0" baseline="0" dirty="0" smtClean="0">
                          <a:ln>
                            <a:noFill/>
                          </a:ln>
                          <a:solidFill>
                            <a:schemeClr val="tx1"/>
                          </a:solidFill>
                          <a:effectLst/>
                          <a:latin typeface="Arial" pitchFamily="34" charset="0"/>
                          <a:ea typeface="ヒラギノ角ゴ ProN W3" pitchFamily="2" charset="-128"/>
                          <a:cs typeface="Arial" pitchFamily="34" charset="0"/>
                          <a:sym typeface="Telefonica Text" pitchFamily="2" charset="0"/>
                        </a:rPr>
                        <a:t> the</a:t>
                      </a:r>
                      <a:r>
                        <a:rPr kumimoji="0" lang="en-GB" sz="1700" b="1" i="0" u="none" strike="noStrike" cap="none" normalizeH="0" baseline="0" dirty="0" smtClean="0">
                          <a:ln>
                            <a:noFill/>
                          </a:ln>
                          <a:solidFill>
                            <a:schemeClr val="tx1"/>
                          </a:solidFill>
                          <a:effectLst/>
                          <a:latin typeface="Arial" pitchFamily="34" charset="0"/>
                          <a:ea typeface="ヒラギノ角ゴ ProN W3" pitchFamily="2" charset="-128"/>
                          <a:cs typeface="Arial" pitchFamily="34" charset="0"/>
                          <a:sym typeface="Telefonica Text" pitchFamily="2" charset="0"/>
                        </a:rPr>
                        <a:t> interest of  customers</a:t>
                      </a:r>
                    </a:p>
                    <a:p>
                      <a:pPr marL="261938" marR="0" lvl="0" indent="-174625" algn="l" defTabSz="914400" rtl="0" eaLnBrk="1" fontAlgn="base" latinLnBrk="0" hangingPunct="1">
                        <a:lnSpc>
                          <a:spcPct val="100000"/>
                        </a:lnSpc>
                        <a:spcBef>
                          <a:spcPts val="500"/>
                        </a:spcBef>
                        <a:spcAft>
                          <a:spcPct val="0"/>
                        </a:spcAft>
                        <a:buClr>
                          <a:srgbClr val="4CB1DB"/>
                        </a:buClr>
                        <a:buSzPct val="50000"/>
                        <a:buFont typeface="Wingdings" pitchFamily="2" charset="2"/>
                        <a:buChar char="l"/>
                        <a:tabLst>
                          <a:tab pos="914400" algn="l"/>
                        </a:tabLst>
                      </a:pPr>
                      <a:r>
                        <a:rPr kumimoji="0" lang="en-GB" sz="1700" b="0" i="0" u="none" strike="noStrike" cap="none" normalizeH="0" baseline="0" dirty="0" err="1" smtClean="0">
                          <a:ln>
                            <a:noFill/>
                          </a:ln>
                          <a:solidFill>
                            <a:schemeClr val="tx1"/>
                          </a:solidFill>
                          <a:effectLst/>
                          <a:latin typeface="Arial" pitchFamily="34" charset="0"/>
                          <a:ea typeface="ヒラギノ角ゴ ProN W3" pitchFamily="2" charset="-128"/>
                          <a:cs typeface="Arial" pitchFamily="34" charset="0"/>
                          <a:sym typeface="Telefonica Text" pitchFamily="2" charset="0"/>
                        </a:rPr>
                        <a:t>Demostrate</a:t>
                      </a:r>
                      <a:r>
                        <a:rPr kumimoji="0" lang="en-GB" sz="1700" b="0" i="0" u="none" strike="noStrike" cap="none" normalizeH="0" baseline="0" dirty="0" smtClean="0">
                          <a:ln>
                            <a:noFill/>
                          </a:ln>
                          <a:solidFill>
                            <a:schemeClr val="tx1"/>
                          </a:solidFill>
                          <a:effectLst/>
                          <a:latin typeface="Arial" pitchFamily="34" charset="0"/>
                          <a:ea typeface="ヒラギノ角ゴ ProN W3" pitchFamily="2" charset="-128"/>
                          <a:cs typeface="Arial" pitchFamily="34" charset="0"/>
                          <a:sym typeface="Telefonica Text" pitchFamily="2" charset="0"/>
                        </a:rPr>
                        <a:t> that </a:t>
                      </a:r>
                      <a:r>
                        <a:rPr kumimoji="0" lang="en-GB" sz="1700" b="1" i="0" u="none" strike="noStrike" cap="none" normalizeH="0" baseline="0" dirty="0" smtClean="0">
                          <a:ln>
                            <a:noFill/>
                          </a:ln>
                          <a:solidFill>
                            <a:schemeClr val="tx1"/>
                          </a:solidFill>
                          <a:effectLst/>
                          <a:latin typeface="Arial" pitchFamily="34" charset="0"/>
                          <a:ea typeface="ヒラギノ角ゴ ProN W3" pitchFamily="2" charset="-128"/>
                          <a:cs typeface="Arial" pitchFamily="34" charset="0"/>
                          <a:sym typeface="Telefonica Text" pitchFamily="2" charset="0"/>
                        </a:rPr>
                        <a:t>Green ICT solutions </a:t>
                      </a:r>
                      <a:r>
                        <a:rPr kumimoji="0" lang="en-GB" sz="1700" b="0" i="0" u="none" strike="noStrike" cap="none" normalizeH="0" baseline="0" dirty="0" smtClean="0">
                          <a:ln>
                            <a:noFill/>
                          </a:ln>
                          <a:solidFill>
                            <a:schemeClr val="tx1"/>
                          </a:solidFill>
                          <a:effectLst/>
                          <a:latin typeface="Arial" pitchFamily="34" charset="0"/>
                          <a:ea typeface="ヒラギノ角ゴ ProN W3" pitchFamily="2" charset="-128"/>
                          <a:cs typeface="Arial" pitchFamily="34" charset="0"/>
                          <a:sym typeface="Telefonica Text" pitchFamily="2" charset="0"/>
                        </a:rPr>
                        <a:t>are good business </a:t>
                      </a:r>
                    </a:p>
                  </a:txBody>
                  <a:tcPr marL="50800" marR="50800" marT="50800" marB="50800" anchor="ctr" horzOverflow="overflow">
                    <a:lnL>
                      <a:noFill/>
                    </a:lnL>
                    <a:lnR>
                      <a:noFill/>
                    </a:lnR>
                    <a:lnT w="12700" cap="flat" cmpd="sng" algn="ctr">
                      <a:solidFill>
                        <a:schemeClr val="tx1"/>
                      </a:solidFill>
                      <a:prstDash val="sysDot"/>
                      <a:round/>
                      <a:headEnd type="none" w="med" len="med"/>
                      <a:tailEnd type="none" w="med" len="med"/>
                    </a:lnT>
                    <a:lnB w="12700" cap="flat" cmpd="sng" algn="ctr">
                      <a:solidFill>
                        <a:srgbClr val="0C3F51"/>
                      </a:solidFill>
                      <a:prstDash val="sysDot"/>
                      <a:round/>
                      <a:headEnd type="none" w="med" len="med"/>
                      <a:tailEnd type="none" w="med" len="med"/>
                    </a:lnB>
                    <a:lnTlToBr>
                      <a:noFill/>
                    </a:lnTlToBr>
                    <a:lnBlToTr>
                      <a:noFill/>
                    </a:lnBlToTr>
                    <a:solidFill>
                      <a:schemeClr val="accent1">
                        <a:alpha val="0"/>
                      </a:schemeClr>
                    </a:solidFill>
                  </a:tcPr>
                </a:tc>
                <a:tc>
                  <a:txBody>
                    <a:bodyPr/>
                    <a:lstStyle/>
                    <a:p>
                      <a:pPr marL="261938" marR="0" lvl="0" indent="-174625" algn="l" defTabSz="914400" rtl="0" eaLnBrk="1" fontAlgn="base" latinLnBrk="0" hangingPunct="1">
                        <a:lnSpc>
                          <a:spcPct val="100000"/>
                        </a:lnSpc>
                        <a:spcBef>
                          <a:spcPts val="600"/>
                        </a:spcBef>
                        <a:spcAft>
                          <a:spcPct val="0"/>
                        </a:spcAft>
                        <a:buClr>
                          <a:srgbClr val="4CB1DB"/>
                        </a:buClr>
                        <a:buSzPct val="100000"/>
                        <a:buFont typeface="Telefonica Text" pitchFamily="2" charset="0"/>
                        <a:buChar char="•"/>
                        <a:tabLst>
                          <a:tab pos="914400" algn="l"/>
                        </a:tabLst>
                      </a:pPr>
                      <a:endParaRPr kumimoji="0" lang="en-GB" sz="1700" b="1" i="0" u="none" strike="noStrike" cap="none" normalizeH="0" baseline="0" smtClean="0">
                        <a:ln>
                          <a:noFill/>
                        </a:ln>
                        <a:solidFill>
                          <a:srgbClr val="0C3F51"/>
                        </a:solidFill>
                        <a:effectLst/>
                        <a:latin typeface="Telefonica Text" pitchFamily="2" charset="0"/>
                        <a:ea typeface="ヒラギノ角ゴ ProN W3" pitchFamily="2" charset="-128"/>
                        <a:cs typeface="MS PGothic"/>
                        <a:sym typeface="Telefonica Text Bold"/>
                      </a:endParaRPr>
                    </a:p>
                  </a:txBody>
                  <a:tcPr marL="50800" marR="50800" marT="50800" marB="50800" anchor="ctr" horzOverflow="overflow">
                    <a:lnL>
                      <a:noFill/>
                    </a:lnL>
                    <a:lnR>
                      <a:noFill/>
                    </a:lnR>
                    <a:lnT w="12700" cap="flat" cmpd="sng" algn="ctr">
                      <a:solidFill>
                        <a:schemeClr val="tx1"/>
                      </a:solidFill>
                      <a:prstDash val="sysDot"/>
                      <a:round/>
                      <a:headEnd type="none" w="med" len="med"/>
                      <a:tailEnd type="none" w="med" len="med"/>
                    </a:lnT>
                    <a:lnB w="12700" cap="flat" cmpd="sng" algn="ctr">
                      <a:solidFill>
                        <a:srgbClr val="0C3F51"/>
                      </a:solidFill>
                      <a:prstDash val="sysDot"/>
                      <a:round/>
                      <a:headEnd type="none" w="med" len="med"/>
                      <a:tailEnd type="none" w="med" len="med"/>
                    </a:lnB>
                    <a:lnTlToBr>
                      <a:noFill/>
                    </a:lnTlToBr>
                    <a:lnBlToTr>
                      <a:noFill/>
                    </a:lnBlToTr>
                    <a:solidFill>
                      <a:schemeClr val="accent1">
                        <a:alpha val="0"/>
                      </a:schemeClr>
                    </a:solidFill>
                  </a:tcPr>
                </a:tc>
              </a:tr>
              <a:tr h="1543050">
                <a:tc>
                  <a:txBody>
                    <a:bodyPr/>
                    <a:lstStyle/>
                    <a:p>
                      <a:pPr marL="261938" marR="0" lvl="0" indent="-174625" algn="l" defTabSz="914400" rtl="0" eaLnBrk="1" fontAlgn="base" latinLnBrk="0" hangingPunct="1">
                        <a:lnSpc>
                          <a:spcPct val="100000"/>
                        </a:lnSpc>
                        <a:spcBef>
                          <a:spcPct val="0"/>
                        </a:spcBef>
                        <a:spcAft>
                          <a:spcPct val="0"/>
                        </a:spcAft>
                        <a:buClr>
                          <a:srgbClr val="61B8CD"/>
                        </a:buClr>
                        <a:buSzPct val="50000"/>
                        <a:buFont typeface="Wingdings" pitchFamily="2" charset="2"/>
                        <a:buChar char="l"/>
                        <a:tabLst>
                          <a:tab pos="914400" algn="l"/>
                        </a:tabLst>
                      </a:pPr>
                      <a:r>
                        <a:rPr kumimoji="0" lang="en-GB" sz="1700" b="0" i="0" u="none" strike="noStrike" cap="none" normalizeH="0" baseline="0" dirty="0" smtClean="0">
                          <a:ln>
                            <a:noFill/>
                          </a:ln>
                          <a:solidFill>
                            <a:schemeClr val="tx1"/>
                          </a:solidFill>
                          <a:effectLst/>
                          <a:latin typeface="Arial" pitchFamily="34" charset="0"/>
                          <a:ea typeface="ヒラギノ角ゴ ProN W3" pitchFamily="2" charset="-128"/>
                          <a:cs typeface="Arial" pitchFamily="34" charset="0"/>
                          <a:sym typeface="Telefonica Text" pitchFamily="2" charset="0"/>
                        </a:rPr>
                        <a:t>Increase the </a:t>
                      </a:r>
                      <a:r>
                        <a:rPr kumimoji="0" lang="en-GB" sz="1700" b="1" i="0" u="none" strike="noStrike" cap="none" normalizeH="0" baseline="0" dirty="0" smtClean="0">
                          <a:ln>
                            <a:noFill/>
                          </a:ln>
                          <a:solidFill>
                            <a:schemeClr val="tx1"/>
                          </a:solidFill>
                          <a:effectLst/>
                          <a:latin typeface="Arial" pitchFamily="34" charset="0"/>
                          <a:ea typeface="ヒラギノ角ゴ ProN W3" pitchFamily="2" charset="-128"/>
                          <a:cs typeface="Arial" pitchFamily="34" charset="0"/>
                          <a:sym typeface="Telefonica Text" pitchFamily="2" charset="0"/>
                        </a:rPr>
                        <a:t>sustainability and profitability of the business.</a:t>
                      </a:r>
                    </a:p>
                    <a:p>
                      <a:pPr marL="261938" marR="0" lvl="0" indent="-174625" algn="l" defTabSz="914400" rtl="0" eaLnBrk="1" fontAlgn="base" latinLnBrk="0" hangingPunct="1">
                        <a:lnSpc>
                          <a:spcPct val="100000"/>
                        </a:lnSpc>
                        <a:spcBef>
                          <a:spcPct val="0"/>
                        </a:spcBef>
                        <a:spcAft>
                          <a:spcPct val="0"/>
                        </a:spcAft>
                        <a:buClr>
                          <a:srgbClr val="61B8CD"/>
                        </a:buClr>
                        <a:buSzPct val="50000"/>
                        <a:buFont typeface="Wingdings" pitchFamily="2" charset="2"/>
                        <a:buChar char="l"/>
                        <a:tabLst>
                          <a:tab pos="914400" algn="l"/>
                        </a:tabLst>
                      </a:pPr>
                      <a:r>
                        <a:rPr kumimoji="0" lang="en-GB" sz="1700" b="1" i="0" u="none" strike="noStrike" cap="none" normalizeH="0" baseline="0" dirty="0" smtClean="0">
                          <a:ln>
                            <a:noFill/>
                          </a:ln>
                          <a:solidFill>
                            <a:schemeClr val="tx1"/>
                          </a:solidFill>
                          <a:effectLst/>
                          <a:latin typeface="Arial" pitchFamily="34" charset="0"/>
                          <a:ea typeface="ヒラギノ角ゴ ProN W3" pitchFamily="2" charset="-128"/>
                          <a:cs typeface="Arial" pitchFamily="34" charset="0"/>
                          <a:sym typeface="Telefonica Text" pitchFamily="2" charset="0"/>
                        </a:rPr>
                        <a:t>Standards to incentivize competition</a:t>
                      </a:r>
                    </a:p>
                    <a:p>
                      <a:pPr marL="261938" marR="0" lvl="0" indent="-174625" algn="l" defTabSz="914400" rtl="0" eaLnBrk="1" fontAlgn="base" latinLnBrk="0" hangingPunct="1">
                        <a:lnSpc>
                          <a:spcPct val="100000"/>
                        </a:lnSpc>
                        <a:spcBef>
                          <a:spcPct val="0"/>
                        </a:spcBef>
                        <a:spcAft>
                          <a:spcPct val="0"/>
                        </a:spcAft>
                        <a:buClr>
                          <a:srgbClr val="61B8CD"/>
                        </a:buClr>
                        <a:buSzPct val="50000"/>
                        <a:buFont typeface="Wingdings" pitchFamily="2" charset="2"/>
                        <a:buChar char="l"/>
                        <a:tabLst>
                          <a:tab pos="914400" algn="l"/>
                        </a:tabLst>
                        <a:defRPr/>
                      </a:pPr>
                      <a:r>
                        <a:rPr kumimoji="0" lang="en-GB" sz="1700" b="0" i="0" u="none" strike="noStrike" cap="none" normalizeH="0" baseline="0" dirty="0" smtClean="0">
                          <a:ln>
                            <a:noFill/>
                          </a:ln>
                          <a:solidFill>
                            <a:schemeClr val="tx1"/>
                          </a:solidFill>
                          <a:effectLst/>
                          <a:latin typeface="Arial" pitchFamily="34" charset="0"/>
                          <a:ea typeface="ヒラギノ角ゴ ProN W3" pitchFamily="2" charset="-128"/>
                          <a:cs typeface="Arial" pitchFamily="34" charset="0"/>
                          <a:sym typeface="Telefonica Text" pitchFamily="2" charset="0"/>
                        </a:rPr>
                        <a:t>Establish a </a:t>
                      </a:r>
                      <a:r>
                        <a:rPr kumimoji="0" lang="en-GB" sz="1700" b="1" i="0" u="none" strike="noStrike" cap="none" normalizeH="0" baseline="0" dirty="0" smtClean="0">
                          <a:ln>
                            <a:noFill/>
                          </a:ln>
                          <a:solidFill>
                            <a:schemeClr val="tx1"/>
                          </a:solidFill>
                          <a:effectLst/>
                          <a:latin typeface="Arial" pitchFamily="34" charset="0"/>
                          <a:ea typeface="ヒラギノ角ゴ ProN W3" pitchFamily="2" charset="-128"/>
                          <a:cs typeface="Arial" pitchFamily="34" charset="0"/>
                          <a:sym typeface="Telefonica Text" pitchFamily="2" charset="0"/>
                        </a:rPr>
                        <a:t>more simple and balanced distribution </a:t>
                      </a:r>
                      <a:endParaRPr kumimoji="0" lang="en-GB" sz="1700" b="0" i="0" u="none" strike="noStrike" cap="none" normalizeH="0" baseline="0" dirty="0" smtClean="0">
                        <a:ln>
                          <a:noFill/>
                        </a:ln>
                        <a:solidFill>
                          <a:schemeClr val="tx1"/>
                        </a:solidFill>
                        <a:effectLst/>
                        <a:latin typeface="Arial" pitchFamily="34" charset="0"/>
                        <a:ea typeface="ヒラギノ角ゴ ProN W3" pitchFamily="2" charset="-128"/>
                        <a:cs typeface="Arial" pitchFamily="34" charset="0"/>
                        <a:sym typeface="Telefonica Text" pitchFamily="2" charset="0"/>
                      </a:endParaRPr>
                    </a:p>
                  </a:txBody>
                  <a:tcPr marL="50800" marR="50800" marT="50800" marB="50800" anchor="ctr" horzOverflow="overflow">
                    <a:lnL>
                      <a:noFill/>
                    </a:lnL>
                    <a:lnR>
                      <a:noFill/>
                    </a:lnR>
                    <a:lnT w="12700" cap="flat" cmpd="sng" algn="ctr">
                      <a:solidFill>
                        <a:srgbClr val="0C3F51"/>
                      </a:solidFill>
                      <a:prstDash val="sysDot"/>
                      <a:round/>
                      <a:headEnd type="none" w="med" len="med"/>
                      <a:tailEnd type="none" w="med" len="med"/>
                    </a:lnT>
                    <a:lnB w="12700" cap="flat" cmpd="sng" algn="ctr">
                      <a:solidFill>
                        <a:srgbClr val="0C3F51"/>
                      </a:solidFill>
                      <a:prstDash val="sysDot"/>
                      <a:round/>
                      <a:headEnd type="none" w="med" len="med"/>
                      <a:tailEnd type="none" w="med" len="med"/>
                    </a:lnB>
                    <a:lnTlToBr>
                      <a:noFill/>
                    </a:lnTlToBr>
                    <a:lnBlToTr>
                      <a:noFill/>
                    </a:lnBlToTr>
                    <a:solidFill>
                      <a:schemeClr val="accent1">
                        <a:alpha val="0"/>
                      </a:schemeClr>
                    </a:solidFill>
                  </a:tcPr>
                </a:tc>
                <a:tc>
                  <a:txBody>
                    <a:bodyPr/>
                    <a:lstStyle/>
                    <a:p>
                      <a:pPr marL="261938" marR="0" lvl="0" indent="-174625" algn="l" defTabSz="914400" rtl="0" eaLnBrk="1" fontAlgn="base" latinLnBrk="0" hangingPunct="1">
                        <a:lnSpc>
                          <a:spcPct val="100000"/>
                        </a:lnSpc>
                        <a:spcBef>
                          <a:spcPct val="0"/>
                        </a:spcBef>
                        <a:spcAft>
                          <a:spcPct val="0"/>
                        </a:spcAft>
                        <a:buClr>
                          <a:srgbClr val="61B8CD"/>
                        </a:buClr>
                        <a:buSzPct val="100000"/>
                        <a:buFont typeface="Arial" pitchFamily="34" charset="0"/>
                        <a:buChar char="•"/>
                        <a:tabLst>
                          <a:tab pos="914400" algn="l"/>
                        </a:tabLst>
                      </a:pPr>
                      <a:endParaRPr kumimoji="0" lang="en-GB" sz="1700" b="0" i="0" u="none" strike="noStrike" cap="none" normalizeH="0" baseline="0" smtClean="0">
                        <a:ln>
                          <a:noFill/>
                        </a:ln>
                        <a:solidFill>
                          <a:schemeClr val="tx1"/>
                        </a:solidFill>
                        <a:effectLst/>
                        <a:latin typeface="Telefonica Text" pitchFamily="2" charset="0"/>
                        <a:ea typeface="ヒラギノ角ゴ ProN W3" pitchFamily="2" charset="-128"/>
                        <a:cs typeface="MS PGothic"/>
                        <a:sym typeface="Telefonica Text" pitchFamily="2" charset="0"/>
                      </a:endParaRPr>
                    </a:p>
                  </a:txBody>
                  <a:tcPr marL="50800" marR="50800" marT="50800" marB="50800" anchor="ctr" horzOverflow="overflow">
                    <a:lnL>
                      <a:noFill/>
                    </a:lnL>
                    <a:lnR>
                      <a:noFill/>
                    </a:lnR>
                    <a:lnT w="12700" cap="flat" cmpd="sng" algn="ctr">
                      <a:solidFill>
                        <a:srgbClr val="0C3F51"/>
                      </a:solidFill>
                      <a:prstDash val="sysDot"/>
                      <a:round/>
                      <a:headEnd type="none" w="med" len="med"/>
                      <a:tailEnd type="none" w="med" len="med"/>
                    </a:lnT>
                    <a:lnB w="12700" cap="flat" cmpd="sng" algn="ctr">
                      <a:solidFill>
                        <a:srgbClr val="0C3F51"/>
                      </a:solidFill>
                      <a:prstDash val="sysDot"/>
                      <a:round/>
                      <a:headEnd type="none" w="med" len="med"/>
                      <a:tailEnd type="none" w="med" len="med"/>
                    </a:lnB>
                    <a:lnTlToBr>
                      <a:noFill/>
                    </a:lnTlToBr>
                    <a:lnBlToTr>
                      <a:noFill/>
                    </a:lnBlToTr>
                    <a:solidFill>
                      <a:schemeClr val="accent1">
                        <a:alpha val="0"/>
                      </a:schemeClr>
                    </a:solidFill>
                  </a:tcPr>
                </a:tc>
              </a:tr>
              <a:tr h="1543050">
                <a:tc>
                  <a:txBody>
                    <a:bodyPr/>
                    <a:lstStyle/>
                    <a:p>
                      <a:pPr marL="261938" marR="0" lvl="0" indent="-174625" algn="l" defTabSz="914400" rtl="0" eaLnBrk="1" fontAlgn="base" latinLnBrk="0" hangingPunct="1">
                        <a:lnSpc>
                          <a:spcPct val="100000"/>
                        </a:lnSpc>
                        <a:spcBef>
                          <a:spcPct val="0"/>
                        </a:spcBef>
                        <a:spcAft>
                          <a:spcPct val="0"/>
                        </a:spcAft>
                        <a:buClr>
                          <a:srgbClr val="61B8CD"/>
                        </a:buClr>
                        <a:buSzPct val="50000"/>
                        <a:buFont typeface="Wingdings" pitchFamily="2" charset="2"/>
                        <a:buChar char="l"/>
                        <a:tabLst/>
                      </a:pPr>
                      <a:r>
                        <a:rPr kumimoji="0" lang="en-GB" sz="1700" b="0" i="0" u="none" strike="noStrike" cap="none" normalizeH="0" baseline="0" dirty="0" smtClean="0">
                          <a:ln>
                            <a:noFill/>
                          </a:ln>
                          <a:solidFill>
                            <a:schemeClr val="tx1"/>
                          </a:solidFill>
                          <a:effectLst/>
                          <a:latin typeface="Arial" pitchFamily="34" charset="0"/>
                          <a:ea typeface="ヒラギノ角ゴ ProN W3" pitchFamily="2" charset="-128"/>
                          <a:cs typeface="Arial" pitchFamily="34" charset="0"/>
                          <a:sym typeface="Telefonica Text" pitchFamily="2" charset="0"/>
                        </a:rPr>
                        <a:t>Technology is there, what is required are business models. </a:t>
                      </a:r>
                    </a:p>
                    <a:p>
                      <a:pPr marL="261938" marR="0" lvl="0" indent="-174625" algn="l" defTabSz="914400" rtl="0" eaLnBrk="1" fontAlgn="base" latinLnBrk="0" hangingPunct="1">
                        <a:lnSpc>
                          <a:spcPct val="100000"/>
                        </a:lnSpc>
                        <a:spcBef>
                          <a:spcPct val="0"/>
                        </a:spcBef>
                        <a:spcAft>
                          <a:spcPct val="0"/>
                        </a:spcAft>
                        <a:buClr>
                          <a:srgbClr val="61B8CD"/>
                        </a:buClr>
                        <a:buSzPct val="50000"/>
                        <a:buFont typeface="Wingdings" pitchFamily="2" charset="2"/>
                        <a:buChar char="l"/>
                        <a:tabLst/>
                      </a:pPr>
                      <a:r>
                        <a:rPr kumimoji="0" lang="en-GB" sz="1700" b="0" i="0" u="none" strike="noStrike" cap="none" normalizeH="0" baseline="0" dirty="0" smtClean="0">
                          <a:ln>
                            <a:noFill/>
                          </a:ln>
                          <a:solidFill>
                            <a:schemeClr val="tx1"/>
                          </a:solidFill>
                          <a:effectLst/>
                          <a:latin typeface="Arial" pitchFamily="34" charset="0"/>
                          <a:ea typeface="ヒラギノ角ゴ ProN W3" pitchFamily="2" charset="-128"/>
                          <a:cs typeface="Arial" pitchFamily="34" charset="0"/>
                          <a:sym typeface="Telefonica Text" pitchFamily="2" charset="0"/>
                        </a:rPr>
                        <a:t>Lack of standards to assess benefits.</a:t>
                      </a:r>
                    </a:p>
                  </a:txBody>
                  <a:tcPr marL="50800" marR="50800" marT="50800" marB="50800" anchor="ctr" horzOverflow="overflow">
                    <a:lnL>
                      <a:noFill/>
                    </a:lnL>
                    <a:lnR>
                      <a:noFill/>
                    </a:lnR>
                    <a:lnT w="12700" cap="flat" cmpd="sng" algn="ctr">
                      <a:solidFill>
                        <a:srgbClr val="0C3F51"/>
                      </a:solidFill>
                      <a:prstDash val="sysDot"/>
                      <a:round/>
                      <a:headEnd type="none" w="med" len="med"/>
                      <a:tailEnd type="none" w="med" len="med"/>
                    </a:lnT>
                    <a:lnB w="12700" cap="flat" cmpd="sng" algn="ctr">
                      <a:solidFill>
                        <a:srgbClr val="0C3F51"/>
                      </a:solidFill>
                      <a:prstDash val="sysDot"/>
                      <a:round/>
                      <a:headEnd type="none" w="med" len="med"/>
                      <a:tailEnd type="none" w="med" len="med"/>
                    </a:lnB>
                    <a:lnTlToBr>
                      <a:noFill/>
                    </a:lnTlToBr>
                    <a:lnBlToTr>
                      <a:noFill/>
                    </a:lnBlToTr>
                    <a:solidFill>
                      <a:schemeClr val="accent1">
                        <a:alpha val="0"/>
                      </a:schemeClr>
                    </a:solidFill>
                  </a:tcPr>
                </a:tc>
                <a:tc>
                  <a:txBody>
                    <a:bodyPr/>
                    <a:lstStyle/>
                    <a:p>
                      <a:pPr marL="261938" marR="0" lvl="0" indent="-174625" algn="l" defTabSz="914400" rtl="0" eaLnBrk="1" fontAlgn="base" latinLnBrk="0" hangingPunct="1">
                        <a:lnSpc>
                          <a:spcPct val="100000"/>
                        </a:lnSpc>
                        <a:spcBef>
                          <a:spcPct val="0"/>
                        </a:spcBef>
                        <a:spcAft>
                          <a:spcPct val="0"/>
                        </a:spcAft>
                        <a:buClr>
                          <a:srgbClr val="61B8CD"/>
                        </a:buClr>
                        <a:buSzPct val="100000"/>
                        <a:buFont typeface="Arial" pitchFamily="34" charset="0"/>
                        <a:buChar char="•"/>
                        <a:tabLst/>
                      </a:pPr>
                      <a:endParaRPr kumimoji="0" lang="en-GB" sz="1700" b="1" i="0" u="none" strike="noStrike" cap="none" normalizeH="0" baseline="0" dirty="0" smtClean="0">
                        <a:ln>
                          <a:noFill/>
                        </a:ln>
                        <a:solidFill>
                          <a:schemeClr val="tx1"/>
                        </a:solidFill>
                        <a:effectLst/>
                        <a:latin typeface="Telefonica Text" pitchFamily="2" charset="0"/>
                        <a:ea typeface="ヒラギノ角ゴ ProN W3" pitchFamily="2" charset="-128"/>
                        <a:cs typeface="MS PGothic"/>
                        <a:sym typeface="Telefonica Text" pitchFamily="2" charset="0"/>
                      </a:endParaRPr>
                    </a:p>
                  </a:txBody>
                  <a:tcPr marL="50800" marR="50800" marT="50800" marB="50800" anchor="ctr" horzOverflow="overflow">
                    <a:lnL>
                      <a:noFill/>
                    </a:lnL>
                    <a:lnR>
                      <a:noFill/>
                    </a:lnR>
                    <a:lnT w="12700" cap="flat" cmpd="sng" algn="ctr">
                      <a:solidFill>
                        <a:srgbClr val="0C3F51"/>
                      </a:solidFill>
                      <a:prstDash val="sysDot"/>
                      <a:round/>
                      <a:headEnd type="none" w="med" len="med"/>
                      <a:tailEnd type="none" w="med" len="med"/>
                    </a:lnT>
                    <a:lnB w="12700" cap="flat" cmpd="sng" algn="ctr">
                      <a:solidFill>
                        <a:srgbClr val="0C3F51"/>
                      </a:solidFill>
                      <a:prstDash val="sysDot"/>
                      <a:round/>
                      <a:headEnd type="none" w="med" len="med"/>
                      <a:tailEnd type="none" w="med" len="med"/>
                    </a:lnB>
                    <a:lnTlToBr>
                      <a:noFill/>
                    </a:lnTlToBr>
                    <a:lnBlToTr>
                      <a:noFill/>
                    </a:lnBlToTr>
                    <a:solidFill>
                      <a:schemeClr val="accent1">
                        <a:alpha val="0"/>
                      </a:schemeClr>
                    </a:solidFill>
                  </a:tcPr>
                </a:tc>
              </a:tr>
            </a:tbl>
          </a:graphicData>
        </a:graphic>
      </p:graphicFrame>
      <p:sp>
        <p:nvSpPr>
          <p:cNvPr id="29712" name="15 Rectángulo redondeado"/>
          <p:cNvSpPr>
            <a:spLocks noChangeArrowheads="1"/>
          </p:cNvSpPr>
          <p:nvPr/>
        </p:nvSpPr>
        <p:spPr bwMode="auto">
          <a:xfrm>
            <a:off x="5245778" y="1619250"/>
            <a:ext cx="3571255" cy="900113"/>
          </a:xfrm>
          <a:prstGeom prst="roundRect">
            <a:avLst>
              <a:gd name="adj" fmla="val 16667"/>
            </a:avLst>
          </a:prstGeom>
          <a:gradFill rotWithShape="0">
            <a:gsLst>
              <a:gs pos="0">
                <a:srgbClr val="8BC3F1"/>
              </a:gs>
              <a:gs pos="7771">
                <a:srgbClr val="6E8DAA"/>
              </a:gs>
              <a:gs pos="18652">
                <a:srgbClr val="345C7D"/>
              </a:gs>
              <a:gs pos="100000">
                <a:srgbClr val="162E3E"/>
              </a:gs>
            </a:gsLst>
            <a:lin ang="5400000" scaled="1"/>
          </a:gradFill>
          <a:ln w="12700">
            <a:noFill/>
            <a:miter lim="800000"/>
            <a:headEnd/>
            <a:tailEnd/>
          </a:ln>
          <a:effectLst>
            <a:outerShdw dist="38099" dir="5400000" algn="ctr" rotWithShape="0">
              <a:srgbClr val="1F88BA">
                <a:alpha val="79999"/>
              </a:srgbClr>
            </a:outerShdw>
          </a:effectLst>
        </p:spPr>
        <p:txBody>
          <a:bodyPr lIns="0" tIns="0" rIns="0" bIns="0" anchor="ctr" anchorCtr="1"/>
          <a:lstStyle/>
          <a:p>
            <a:pPr>
              <a:defRPr/>
            </a:pPr>
            <a:r>
              <a:rPr lang="es-ES" sz="1800" dirty="0" err="1" smtClean="0">
                <a:solidFill>
                  <a:schemeClr val="bg1"/>
                </a:solidFill>
              </a:rPr>
              <a:t>Market</a:t>
            </a:r>
            <a:r>
              <a:rPr lang="es-ES" sz="1800" dirty="0" smtClean="0">
                <a:solidFill>
                  <a:schemeClr val="bg1"/>
                </a:solidFill>
              </a:rPr>
              <a:t> </a:t>
            </a:r>
            <a:r>
              <a:rPr lang="es-ES" sz="1800" dirty="0" err="1" smtClean="0">
                <a:solidFill>
                  <a:schemeClr val="bg1"/>
                </a:solidFill>
              </a:rPr>
              <a:t>Challenges</a:t>
            </a:r>
            <a:endParaRPr lang="es-ES" sz="1800" dirty="0">
              <a:solidFill>
                <a:schemeClr val="bg1"/>
              </a:solidFill>
            </a:endParaRPr>
          </a:p>
        </p:txBody>
      </p:sp>
      <p:sp>
        <p:nvSpPr>
          <p:cNvPr id="29713" name="15 Rectángulo redondeado"/>
          <p:cNvSpPr>
            <a:spLocks noChangeArrowheads="1"/>
          </p:cNvSpPr>
          <p:nvPr/>
        </p:nvSpPr>
        <p:spPr bwMode="auto">
          <a:xfrm>
            <a:off x="5245778" y="3163888"/>
            <a:ext cx="3571255" cy="900112"/>
          </a:xfrm>
          <a:prstGeom prst="roundRect">
            <a:avLst>
              <a:gd name="adj" fmla="val 16667"/>
            </a:avLst>
          </a:prstGeom>
          <a:gradFill rotWithShape="0">
            <a:gsLst>
              <a:gs pos="0">
                <a:srgbClr val="8BC3F1"/>
              </a:gs>
              <a:gs pos="7771">
                <a:srgbClr val="6E8DAA"/>
              </a:gs>
              <a:gs pos="18652">
                <a:srgbClr val="345C7D"/>
              </a:gs>
              <a:gs pos="100000">
                <a:srgbClr val="162E3E"/>
              </a:gs>
            </a:gsLst>
            <a:lin ang="5400000" scaled="1"/>
          </a:gradFill>
          <a:ln w="12700">
            <a:noFill/>
            <a:miter lim="800000"/>
            <a:headEnd/>
            <a:tailEnd/>
          </a:ln>
          <a:effectLst>
            <a:outerShdw dist="38099" dir="5400000" algn="ctr" rotWithShape="0">
              <a:srgbClr val="1F88BA">
                <a:alpha val="79999"/>
              </a:srgbClr>
            </a:outerShdw>
          </a:effectLst>
        </p:spPr>
        <p:txBody>
          <a:bodyPr lIns="0" tIns="0" rIns="0" bIns="0" anchor="ctr" anchorCtr="1"/>
          <a:lstStyle/>
          <a:p>
            <a:pPr>
              <a:defRPr/>
            </a:pPr>
            <a:r>
              <a:rPr lang="en-GB" sz="1800" dirty="0" smtClean="0">
                <a:solidFill>
                  <a:schemeClr val="bg1"/>
                </a:solidFill>
              </a:rPr>
              <a:t>Regulatory Challenges</a:t>
            </a:r>
            <a:endParaRPr lang="en-GB" sz="1800" dirty="0">
              <a:solidFill>
                <a:schemeClr val="bg1"/>
              </a:solidFill>
            </a:endParaRPr>
          </a:p>
        </p:txBody>
      </p:sp>
      <p:sp>
        <p:nvSpPr>
          <p:cNvPr id="29714" name="15 Rectángulo redondeado"/>
          <p:cNvSpPr>
            <a:spLocks noChangeArrowheads="1"/>
          </p:cNvSpPr>
          <p:nvPr/>
        </p:nvSpPr>
        <p:spPr bwMode="auto">
          <a:xfrm>
            <a:off x="5245778" y="4695828"/>
            <a:ext cx="1728487" cy="900113"/>
          </a:xfrm>
          <a:prstGeom prst="roundRect">
            <a:avLst>
              <a:gd name="adj" fmla="val 16667"/>
            </a:avLst>
          </a:prstGeom>
          <a:gradFill rotWithShape="0">
            <a:gsLst>
              <a:gs pos="0">
                <a:srgbClr val="FDBF35"/>
              </a:gs>
              <a:gs pos="11398">
                <a:srgbClr val="EC9319"/>
              </a:gs>
              <a:gs pos="100000">
                <a:srgbClr val="9C5F13"/>
              </a:gs>
            </a:gsLst>
            <a:lin ang="5400000" scaled="1"/>
          </a:gradFill>
          <a:ln w="12700" algn="ctr">
            <a:noFill/>
            <a:miter lim="800000"/>
            <a:headEnd/>
            <a:tailEnd/>
          </a:ln>
          <a:effectLst>
            <a:outerShdw dist="38099" dir="5400000" algn="ctr" rotWithShape="0">
              <a:srgbClr val="3E1600">
                <a:alpha val="79999"/>
              </a:srgbClr>
            </a:outerShdw>
          </a:effectLst>
        </p:spPr>
        <p:txBody>
          <a:bodyPr lIns="0" tIns="0" rIns="0" bIns="0" anchor="ctr" anchorCtr="1"/>
          <a:lstStyle/>
          <a:p>
            <a:pPr defTabSz="642938" eaLnBrk="1" fontAlgn="ctr" hangingPunct="1">
              <a:defRPr/>
            </a:pPr>
            <a:r>
              <a:rPr lang="es-ES" sz="1800" dirty="0" err="1" smtClean="0">
                <a:solidFill>
                  <a:schemeClr val="bg1"/>
                </a:solidFill>
              </a:rPr>
              <a:t>Technology</a:t>
            </a:r>
            <a:endParaRPr lang="es-ES" sz="1800" dirty="0">
              <a:solidFill>
                <a:schemeClr val="bg1"/>
              </a:solidFill>
            </a:endParaRPr>
          </a:p>
        </p:txBody>
      </p:sp>
      <p:sp>
        <p:nvSpPr>
          <p:cNvPr id="29715" name="15 Rectángulo redondeado"/>
          <p:cNvSpPr>
            <a:spLocks noChangeArrowheads="1"/>
          </p:cNvSpPr>
          <p:nvPr/>
        </p:nvSpPr>
        <p:spPr bwMode="auto">
          <a:xfrm>
            <a:off x="7090132" y="4695828"/>
            <a:ext cx="1726900" cy="900113"/>
          </a:xfrm>
          <a:prstGeom prst="roundRect">
            <a:avLst>
              <a:gd name="adj" fmla="val 16667"/>
            </a:avLst>
          </a:prstGeom>
          <a:gradFill rotWithShape="0">
            <a:gsLst>
              <a:gs pos="0">
                <a:srgbClr val="FDBF35"/>
              </a:gs>
              <a:gs pos="11398">
                <a:srgbClr val="EC9319"/>
              </a:gs>
              <a:gs pos="100000">
                <a:srgbClr val="9C5F13"/>
              </a:gs>
            </a:gsLst>
            <a:lin ang="5400000" scaled="1"/>
          </a:gradFill>
          <a:ln w="12700" algn="ctr">
            <a:noFill/>
            <a:miter lim="800000"/>
            <a:headEnd/>
            <a:tailEnd/>
          </a:ln>
          <a:effectLst>
            <a:outerShdw dist="38099" dir="5400000" algn="ctr" rotWithShape="0">
              <a:srgbClr val="3E1600">
                <a:alpha val="79999"/>
              </a:srgbClr>
            </a:outerShdw>
          </a:effectLst>
        </p:spPr>
        <p:txBody>
          <a:bodyPr lIns="0" tIns="0" rIns="0" bIns="0" anchor="ctr" anchorCtr="1"/>
          <a:lstStyle/>
          <a:p>
            <a:pPr defTabSz="642938" eaLnBrk="1" fontAlgn="ctr" hangingPunct="1">
              <a:defRPr/>
            </a:pPr>
            <a:r>
              <a:rPr lang="es-ES" sz="1800" dirty="0" err="1" smtClean="0">
                <a:solidFill>
                  <a:schemeClr val="bg1"/>
                </a:solidFill>
              </a:rPr>
              <a:t>Standards</a:t>
            </a:r>
            <a:endParaRPr lang="es-ES" sz="1800" dirty="0">
              <a:solidFill>
                <a:schemeClr val="bg1"/>
              </a:solidFill>
            </a:endParaRPr>
          </a:p>
        </p:txBody>
      </p:sp>
      <p:sp>
        <p:nvSpPr>
          <p:cNvPr id="10" name="Rectangle 48"/>
          <p:cNvSpPr>
            <a:spLocks/>
          </p:cNvSpPr>
          <p:nvPr/>
        </p:nvSpPr>
        <p:spPr bwMode="auto">
          <a:xfrm>
            <a:off x="515241" y="210177"/>
            <a:ext cx="8680530" cy="3864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26788" tIns="26788" rIns="26788" bIns="26788">
            <a:spAutoFit/>
          </a:bodyPr>
          <a:lstStyle/>
          <a:p>
            <a:pPr algn="l" defTabSz="642938" eaLnBrk="1" hangingPunct="1">
              <a:lnSpc>
                <a:spcPct val="90000"/>
              </a:lnSpc>
            </a:pPr>
            <a:r>
              <a:rPr lang="en-GB" sz="2400" b="1" dirty="0" smtClean="0">
                <a:solidFill>
                  <a:schemeClr val="tx2">
                    <a:lumMod val="75000"/>
                    <a:lumOff val="25000"/>
                  </a:schemeClr>
                </a:solidFill>
                <a:latin typeface="Arial Unicode MS" pitchFamily="34" charset="-128"/>
                <a:ea typeface="Arial Unicode MS" pitchFamily="34" charset="-128"/>
                <a:cs typeface="Arial Unicode MS" pitchFamily="34" charset="-128"/>
                <a:sym typeface="Telefonica Headline Light" pitchFamily="2" charset="0"/>
              </a:rPr>
              <a:t>Different types of challenges…</a:t>
            </a:r>
            <a:endParaRPr lang="en-GB" sz="2400" b="1" dirty="0">
              <a:solidFill>
                <a:schemeClr val="tx2">
                  <a:lumMod val="75000"/>
                  <a:lumOff val="25000"/>
                </a:schemeClr>
              </a:solidFill>
              <a:latin typeface="Arial Unicode MS" pitchFamily="34" charset="-128"/>
              <a:ea typeface="Arial Unicode MS" pitchFamily="34" charset="-128"/>
              <a:cs typeface="Arial Unicode MS" pitchFamily="34" charset="-128"/>
              <a:sym typeface="Telefonica Headline Light" pitchFamily="2" charset="0"/>
            </a:endParaRPr>
          </a:p>
        </p:txBody>
      </p:sp>
      <p:sp>
        <p:nvSpPr>
          <p:cNvPr id="11" name="Rectangle 1"/>
          <p:cNvSpPr>
            <a:spLocks/>
          </p:cNvSpPr>
          <p:nvPr/>
        </p:nvSpPr>
        <p:spPr bwMode="auto">
          <a:xfrm>
            <a:off x="0" y="0"/>
            <a:ext cx="368300" cy="647700"/>
          </a:xfrm>
          <a:prstGeom prst="rect">
            <a:avLst/>
          </a:prstGeom>
          <a:gradFill rotWithShape="0">
            <a:gsLst>
              <a:gs pos="0">
                <a:srgbClr val="0A1519"/>
              </a:gs>
              <a:gs pos="100000">
                <a:srgbClr val="2A5E77"/>
              </a:gs>
            </a:gsLst>
            <a:lin ang="2700000" scaled="1"/>
          </a:gradFill>
          <a:ln>
            <a:noFill/>
          </a:ln>
          <a:extLst>
            <a:ext uri="{91240B29-F687-4F45-9708-019B960494DF}">
              <a14:hiddenLine xmlns:a14="http://schemas.microsoft.com/office/drawing/2010/main" xmlns="" w="12700">
                <a:solidFill>
                  <a:schemeClr val="tx1"/>
                </a:solidFill>
                <a:miter lim="800000"/>
                <a:headEnd/>
                <a:tailEnd/>
              </a14:hiddenLine>
            </a:ext>
          </a:extLst>
        </p:spPr>
        <p:txBody>
          <a:bodyPr lIns="0" tIns="0" rIns="0" bIns="0"/>
          <a:lstStyle/>
          <a:p>
            <a:endParaRPr lang="es-ES">
              <a:cs typeface="Arial" pitchFamily="34" charset="0"/>
            </a:endParaRPr>
          </a:p>
        </p:txBody>
      </p:sp>
      <p:sp>
        <p:nvSpPr>
          <p:cNvPr id="12" name="Rectangle 9"/>
          <p:cNvSpPr>
            <a:spLocks/>
          </p:cNvSpPr>
          <p:nvPr/>
        </p:nvSpPr>
        <p:spPr bwMode="auto">
          <a:xfrm>
            <a:off x="55563" y="334963"/>
            <a:ext cx="339725" cy="357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chemeClr val="tx1"/>
                </a:solidFill>
                <a:miter lim="800000"/>
                <a:headEnd/>
                <a:tailEnd/>
              </a14:hiddenLine>
            </a:ext>
          </a:extLst>
        </p:spPr>
        <p:txBody>
          <a:bodyPr lIns="38100" tIns="38100" rIns="38100" bIns="38100"/>
          <a:lstStyle/>
          <a:p>
            <a:pPr algn="l"/>
            <a:r>
              <a:rPr lang="en-US" sz="1400" dirty="0" smtClean="0">
                <a:solidFill>
                  <a:srgbClr val="44B5CA"/>
                </a:solidFill>
                <a:ea typeface="MS PGothic" pitchFamily="34" charset="-128"/>
                <a:sym typeface="Telefonica Text Bold"/>
              </a:rPr>
              <a:t>04</a:t>
            </a:r>
            <a:endParaRPr lang="en-US" sz="1400" dirty="0">
              <a:solidFill>
                <a:srgbClr val="44B5CA"/>
              </a:solidFill>
              <a:ea typeface="MS PGothic" pitchFamily="34" charset="-128"/>
              <a:sym typeface="Telefonica Text Bold"/>
            </a:endParaRPr>
          </a:p>
        </p:txBody>
      </p:sp>
    </p:spTree>
    <p:extLst>
      <p:ext uri="{BB962C8B-B14F-4D97-AF65-F5344CB8AC3E}">
        <p14:creationId xmlns:p14="http://schemas.microsoft.com/office/powerpoint/2010/main" xmlns="" val="1196417297"/>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2" name="1 Grupo"/>
          <p:cNvGrpSpPr/>
          <p:nvPr/>
        </p:nvGrpSpPr>
        <p:grpSpPr>
          <a:xfrm>
            <a:off x="4370200" y="3078032"/>
            <a:ext cx="1964770" cy="2903099"/>
            <a:chOff x="4563271" y="160338"/>
            <a:chExt cx="4312488" cy="6330950"/>
          </a:xfrm>
        </p:grpSpPr>
        <p:pic>
          <p:nvPicPr>
            <p:cNvPr id="15363" name="Picture 1"/>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4563271" y="160338"/>
              <a:ext cx="4312488" cy="63309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pic>
        <p:grpSp>
          <p:nvGrpSpPr>
            <p:cNvPr id="15391" name="Group 113"/>
            <p:cNvGrpSpPr>
              <a:grpSpLocks/>
            </p:cNvGrpSpPr>
            <p:nvPr/>
          </p:nvGrpSpPr>
          <p:grpSpPr bwMode="auto">
            <a:xfrm>
              <a:off x="4617237" y="836613"/>
              <a:ext cx="4250587" cy="4964112"/>
              <a:chOff x="0" y="0"/>
              <a:chExt cx="3808" cy="4448"/>
            </a:xfrm>
          </p:grpSpPr>
          <p:sp>
            <p:nvSpPr>
              <p:cNvPr id="15406" name="AutoShape 51"/>
              <p:cNvSpPr>
                <a:spLocks/>
              </p:cNvSpPr>
              <p:nvPr/>
            </p:nvSpPr>
            <p:spPr bwMode="auto">
              <a:xfrm>
                <a:off x="2443" y="1046"/>
                <a:ext cx="16" cy="2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600"/>
                  <a:gd name="T52" fmla="*/ 0 h 21600"/>
                  <a:gd name="T53" fmla="*/ 21600 w 21600"/>
                  <a:gd name="T54" fmla="*/ 21600 h 2160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600" h="21600">
                    <a:moveTo>
                      <a:pt x="0" y="6171"/>
                    </a:moveTo>
                    <a:lnTo>
                      <a:pt x="2700" y="6171"/>
                    </a:lnTo>
                    <a:lnTo>
                      <a:pt x="2700" y="12343"/>
                    </a:lnTo>
                    <a:lnTo>
                      <a:pt x="0" y="12343"/>
                    </a:lnTo>
                    <a:lnTo>
                      <a:pt x="0" y="6171"/>
                    </a:lnTo>
                    <a:close/>
                    <a:moveTo>
                      <a:pt x="13500" y="0"/>
                    </a:moveTo>
                    <a:lnTo>
                      <a:pt x="18900" y="0"/>
                    </a:lnTo>
                    <a:lnTo>
                      <a:pt x="18900" y="12343"/>
                    </a:lnTo>
                    <a:lnTo>
                      <a:pt x="21600" y="12343"/>
                    </a:lnTo>
                    <a:lnTo>
                      <a:pt x="21600" y="18514"/>
                    </a:lnTo>
                    <a:lnTo>
                      <a:pt x="13500" y="18514"/>
                    </a:lnTo>
                    <a:lnTo>
                      <a:pt x="13500" y="21600"/>
                    </a:lnTo>
                    <a:lnTo>
                      <a:pt x="8100" y="18514"/>
                    </a:lnTo>
                    <a:lnTo>
                      <a:pt x="8100" y="6171"/>
                    </a:lnTo>
                    <a:lnTo>
                      <a:pt x="13500" y="6171"/>
                    </a:lnTo>
                    <a:lnTo>
                      <a:pt x="13500" y="0"/>
                    </a:lnTo>
                    <a:close/>
                    <a:moveTo>
                      <a:pt x="13500" y="0"/>
                    </a:moveTo>
                  </a:path>
                </a:pathLst>
              </a:custGeom>
              <a:solidFill>
                <a:srgbClr val="00BACF"/>
              </a:solidFill>
              <a:ln w="12700">
                <a:solidFill>
                  <a:srgbClr val="FFFFFF"/>
                </a:solidFill>
                <a:round/>
                <a:headEnd/>
                <a:tailEnd/>
              </a:ln>
            </p:spPr>
            <p:txBody>
              <a:bodyPr lIns="0" tIns="0" rIns="0" bIns="0"/>
              <a:lstStyle/>
              <a:p>
                <a:endParaRPr lang="es-ES"/>
              </a:p>
            </p:txBody>
          </p:sp>
          <p:sp>
            <p:nvSpPr>
              <p:cNvPr id="15407" name="AutoShape 52"/>
              <p:cNvSpPr>
                <a:spLocks/>
              </p:cNvSpPr>
              <p:nvPr/>
            </p:nvSpPr>
            <p:spPr bwMode="auto">
              <a:xfrm>
                <a:off x="2025" y="1003"/>
                <a:ext cx="629" cy="53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1600"/>
                  <a:gd name="T166" fmla="*/ 0 h 21600"/>
                  <a:gd name="T167" fmla="*/ 21600 w 21600"/>
                  <a:gd name="T168" fmla="*/ 21600 h 216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1600" h="21600">
                    <a:moveTo>
                      <a:pt x="0" y="5488"/>
                    </a:moveTo>
                    <a:lnTo>
                      <a:pt x="198" y="5488"/>
                    </a:lnTo>
                    <a:lnTo>
                      <a:pt x="198" y="5721"/>
                    </a:lnTo>
                    <a:lnTo>
                      <a:pt x="0" y="5721"/>
                    </a:lnTo>
                    <a:lnTo>
                      <a:pt x="0" y="5488"/>
                    </a:lnTo>
                    <a:close/>
                    <a:moveTo>
                      <a:pt x="2081" y="934"/>
                    </a:moveTo>
                    <a:lnTo>
                      <a:pt x="2180" y="934"/>
                    </a:lnTo>
                    <a:lnTo>
                      <a:pt x="2180" y="1751"/>
                    </a:lnTo>
                    <a:lnTo>
                      <a:pt x="2576" y="1751"/>
                    </a:lnTo>
                    <a:lnTo>
                      <a:pt x="2576" y="2569"/>
                    </a:lnTo>
                    <a:lnTo>
                      <a:pt x="2774" y="2569"/>
                    </a:lnTo>
                    <a:lnTo>
                      <a:pt x="2774" y="3036"/>
                    </a:lnTo>
                    <a:lnTo>
                      <a:pt x="2576" y="3269"/>
                    </a:lnTo>
                    <a:lnTo>
                      <a:pt x="2576" y="3386"/>
                    </a:lnTo>
                    <a:lnTo>
                      <a:pt x="2378" y="3386"/>
                    </a:lnTo>
                    <a:lnTo>
                      <a:pt x="2378" y="3619"/>
                    </a:lnTo>
                    <a:lnTo>
                      <a:pt x="2180" y="3853"/>
                    </a:lnTo>
                    <a:lnTo>
                      <a:pt x="2180" y="4086"/>
                    </a:lnTo>
                    <a:lnTo>
                      <a:pt x="2081" y="4203"/>
                    </a:lnTo>
                    <a:lnTo>
                      <a:pt x="1883" y="4203"/>
                    </a:lnTo>
                    <a:lnTo>
                      <a:pt x="1883" y="4670"/>
                    </a:lnTo>
                    <a:lnTo>
                      <a:pt x="2081" y="4670"/>
                    </a:lnTo>
                    <a:lnTo>
                      <a:pt x="2081" y="4904"/>
                    </a:lnTo>
                    <a:lnTo>
                      <a:pt x="2180" y="4904"/>
                    </a:lnTo>
                    <a:lnTo>
                      <a:pt x="2180" y="5021"/>
                    </a:lnTo>
                    <a:lnTo>
                      <a:pt x="2378" y="5021"/>
                    </a:lnTo>
                    <a:lnTo>
                      <a:pt x="2576" y="5254"/>
                    </a:lnTo>
                    <a:lnTo>
                      <a:pt x="2576" y="5838"/>
                    </a:lnTo>
                    <a:lnTo>
                      <a:pt x="2873" y="5838"/>
                    </a:lnTo>
                    <a:lnTo>
                      <a:pt x="3270" y="5721"/>
                    </a:lnTo>
                    <a:lnTo>
                      <a:pt x="3468" y="5488"/>
                    </a:lnTo>
                    <a:lnTo>
                      <a:pt x="3468" y="5254"/>
                    </a:lnTo>
                    <a:lnTo>
                      <a:pt x="3567" y="5254"/>
                    </a:lnTo>
                    <a:lnTo>
                      <a:pt x="3567" y="4904"/>
                    </a:lnTo>
                    <a:lnTo>
                      <a:pt x="3468" y="4670"/>
                    </a:lnTo>
                    <a:lnTo>
                      <a:pt x="3468" y="4203"/>
                    </a:lnTo>
                    <a:lnTo>
                      <a:pt x="3270" y="4203"/>
                    </a:lnTo>
                    <a:lnTo>
                      <a:pt x="3270" y="3619"/>
                    </a:lnTo>
                    <a:lnTo>
                      <a:pt x="3072" y="3619"/>
                    </a:lnTo>
                    <a:lnTo>
                      <a:pt x="3072" y="3386"/>
                    </a:lnTo>
                    <a:lnTo>
                      <a:pt x="2873" y="3269"/>
                    </a:lnTo>
                    <a:lnTo>
                      <a:pt x="2873" y="2218"/>
                    </a:lnTo>
                    <a:lnTo>
                      <a:pt x="3270" y="2218"/>
                    </a:lnTo>
                    <a:lnTo>
                      <a:pt x="3468" y="1985"/>
                    </a:lnTo>
                    <a:lnTo>
                      <a:pt x="3567" y="1985"/>
                    </a:lnTo>
                    <a:lnTo>
                      <a:pt x="3765" y="1751"/>
                    </a:lnTo>
                    <a:lnTo>
                      <a:pt x="4161" y="1751"/>
                    </a:lnTo>
                    <a:lnTo>
                      <a:pt x="4261" y="1635"/>
                    </a:lnTo>
                    <a:lnTo>
                      <a:pt x="4459" y="1635"/>
                    </a:lnTo>
                    <a:lnTo>
                      <a:pt x="4855" y="1401"/>
                    </a:lnTo>
                    <a:lnTo>
                      <a:pt x="5152" y="1401"/>
                    </a:lnTo>
                    <a:lnTo>
                      <a:pt x="5152" y="1168"/>
                    </a:lnTo>
                    <a:lnTo>
                      <a:pt x="5648" y="1168"/>
                    </a:lnTo>
                    <a:lnTo>
                      <a:pt x="5648" y="934"/>
                    </a:lnTo>
                    <a:lnTo>
                      <a:pt x="5846" y="1168"/>
                    </a:lnTo>
                    <a:lnTo>
                      <a:pt x="6539" y="1168"/>
                    </a:lnTo>
                    <a:lnTo>
                      <a:pt x="6539" y="1401"/>
                    </a:lnTo>
                    <a:lnTo>
                      <a:pt x="7431" y="1401"/>
                    </a:lnTo>
                    <a:lnTo>
                      <a:pt x="7927" y="1985"/>
                    </a:lnTo>
                    <a:lnTo>
                      <a:pt x="7927" y="2452"/>
                    </a:lnTo>
                    <a:lnTo>
                      <a:pt x="8125" y="2452"/>
                    </a:lnTo>
                    <a:lnTo>
                      <a:pt x="8125" y="2802"/>
                    </a:lnTo>
                    <a:lnTo>
                      <a:pt x="8323" y="2802"/>
                    </a:lnTo>
                    <a:lnTo>
                      <a:pt x="8323" y="3036"/>
                    </a:lnTo>
                    <a:lnTo>
                      <a:pt x="8620" y="3036"/>
                    </a:lnTo>
                    <a:lnTo>
                      <a:pt x="8818" y="3269"/>
                    </a:lnTo>
                    <a:lnTo>
                      <a:pt x="9017" y="3036"/>
                    </a:lnTo>
                    <a:lnTo>
                      <a:pt x="9809" y="3036"/>
                    </a:lnTo>
                    <a:lnTo>
                      <a:pt x="10007" y="2802"/>
                    </a:lnTo>
                    <a:lnTo>
                      <a:pt x="11593" y="2802"/>
                    </a:lnTo>
                    <a:lnTo>
                      <a:pt x="11593" y="3036"/>
                    </a:lnTo>
                    <a:lnTo>
                      <a:pt x="11692" y="3269"/>
                    </a:lnTo>
                    <a:lnTo>
                      <a:pt x="11692" y="3386"/>
                    </a:lnTo>
                    <a:lnTo>
                      <a:pt x="11890" y="3386"/>
                    </a:lnTo>
                    <a:lnTo>
                      <a:pt x="11890" y="3619"/>
                    </a:lnTo>
                    <a:lnTo>
                      <a:pt x="12088" y="3619"/>
                    </a:lnTo>
                    <a:lnTo>
                      <a:pt x="12286" y="3853"/>
                    </a:lnTo>
                    <a:lnTo>
                      <a:pt x="13673" y="3853"/>
                    </a:lnTo>
                    <a:lnTo>
                      <a:pt x="13772" y="3619"/>
                    </a:lnTo>
                    <a:lnTo>
                      <a:pt x="14169" y="3619"/>
                    </a:lnTo>
                    <a:lnTo>
                      <a:pt x="14169" y="3386"/>
                    </a:lnTo>
                    <a:lnTo>
                      <a:pt x="14466" y="3386"/>
                    </a:lnTo>
                    <a:lnTo>
                      <a:pt x="14664" y="3269"/>
                    </a:lnTo>
                    <a:lnTo>
                      <a:pt x="15160" y="3269"/>
                    </a:lnTo>
                    <a:lnTo>
                      <a:pt x="15160" y="3036"/>
                    </a:lnTo>
                    <a:lnTo>
                      <a:pt x="14367" y="3036"/>
                    </a:lnTo>
                    <a:lnTo>
                      <a:pt x="14367" y="2802"/>
                    </a:lnTo>
                    <a:lnTo>
                      <a:pt x="15853" y="2802"/>
                    </a:lnTo>
                    <a:lnTo>
                      <a:pt x="16051" y="2569"/>
                    </a:lnTo>
                    <a:lnTo>
                      <a:pt x="18132" y="2569"/>
                    </a:lnTo>
                    <a:lnTo>
                      <a:pt x="18132" y="2802"/>
                    </a:lnTo>
                    <a:lnTo>
                      <a:pt x="17835" y="2802"/>
                    </a:lnTo>
                    <a:lnTo>
                      <a:pt x="17637" y="3036"/>
                    </a:lnTo>
                    <a:lnTo>
                      <a:pt x="16547" y="3036"/>
                    </a:lnTo>
                    <a:lnTo>
                      <a:pt x="16547" y="3386"/>
                    </a:lnTo>
                    <a:lnTo>
                      <a:pt x="16943" y="3386"/>
                    </a:lnTo>
                    <a:lnTo>
                      <a:pt x="16943" y="3853"/>
                    </a:lnTo>
                    <a:lnTo>
                      <a:pt x="17240" y="3853"/>
                    </a:lnTo>
                    <a:lnTo>
                      <a:pt x="17240" y="4203"/>
                    </a:lnTo>
                    <a:lnTo>
                      <a:pt x="17439" y="4437"/>
                    </a:lnTo>
                    <a:lnTo>
                      <a:pt x="17637" y="4437"/>
                    </a:lnTo>
                    <a:lnTo>
                      <a:pt x="17637" y="4203"/>
                    </a:lnTo>
                    <a:lnTo>
                      <a:pt x="17835" y="4086"/>
                    </a:lnTo>
                    <a:lnTo>
                      <a:pt x="17934" y="4086"/>
                    </a:lnTo>
                    <a:lnTo>
                      <a:pt x="17934" y="4203"/>
                    </a:lnTo>
                    <a:lnTo>
                      <a:pt x="18132" y="4203"/>
                    </a:lnTo>
                    <a:lnTo>
                      <a:pt x="18132" y="4437"/>
                    </a:lnTo>
                    <a:lnTo>
                      <a:pt x="18330" y="4437"/>
                    </a:lnTo>
                    <a:lnTo>
                      <a:pt x="18330" y="4670"/>
                    </a:lnTo>
                    <a:lnTo>
                      <a:pt x="18528" y="4670"/>
                    </a:lnTo>
                    <a:lnTo>
                      <a:pt x="18528" y="4437"/>
                    </a:lnTo>
                    <a:lnTo>
                      <a:pt x="18628" y="4437"/>
                    </a:lnTo>
                    <a:lnTo>
                      <a:pt x="18628" y="4203"/>
                    </a:lnTo>
                    <a:lnTo>
                      <a:pt x="18826" y="4203"/>
                    </a:lnTo>
                    <a:lnTo>
                      <a:pt x="18826" y="4437"/>
                    </a:lnTo>
                    <a:lnTo>
                      <a:pt x="19024" y="4437"/>
                    </a:lnTo>
                    <a:lnTo>
                      <a:pt x="19024" y="4670"/>
                    </a:lnTo>
                    <a:lnTo>
                      <a:pt x="19222" y="4670"/>
                    </a:lnTo>
                    <a:lnTo>
                      <a:pt x="19222" y="4904"/>
                    </a:lnTo>
                    <a:lnTo>
                      <a:pt x="19519" y="4904"/>
                    </a:lnTo>
                    <a:lnTo>
                      <a:pt x="19519" y="5021"/>
                    </a:lnTo>
                    <a:lnTo>
                      <a:pt x="19916" y="5021"/>
                    </a:lnTo>
                    <a:lnTo>
                      <a:pt x="19916" y="5254"/>
                    </a:lnTo>
                    <a:lnTo>
                      <a:pt x="20015" y="5254"/>
                    </a:lnTo>
                    <a:lnTo>
                      <a:pt x="19916" y="5488"/>
                    </a:lnTo>
                    <a:lnTo>
                      <a:pt x="19717" y="5488"/>
                    </a:lnTo>
                    <a:lnTo>
                      <a:pt x="19519" y="5721"/>
                    </a:lnTo>
                    <a:lnTo>
                      <a:pt x="19519" y="6305"/>
                    </a:lnTo>
                    <a:lnTo>
                      <a:pt x="19321" y="6305"/>
                    </a:lnTo>
                    <a:lnTo>
                      <a:pt x="19321" y="6655"/>
                    </a:lnTo>
                    <a:lnTo>
                      <a:pt x="18826" y="6655"/>
                    </a:lnTo>
                    <a:lnTo>
                      <a:pt x="18826" y="6889"/>
                    </a:lnTo>
                    <a:lnTo>
                      <a:pt x="19024" y="6889"/>
                    </a:lnTo>
                    <a:lnTo>
                      <a:pt x="19024" y="7122"/>
                    </a:lnTo>
                    <a:lnTo>
                      <a:pt x="19321" y="7122"/>
                    </a:lnTo>
                    <a:lnTo>
                      <a:pt x="19321" y="6889"/>
                    </a:lnTo>
                    <a:lnTo>
                      <a:pt x="20015" y="6889"/>
                    </a:lnTo>
                    <a:lnTo>
                      <a:pt x="20213" y="6655"/>
                    </a:lnTo>
                    <a:lnTo>
                      <a:pt x="21105" y="6655"/>
                    </a:lnTo>
                    <a:lnTo>
                      <a:pt x="21600" y="7356"/>
                    </a:lnTo>
                    <a:lnTo>
                      <a:pt x="21402" y="7356"/>
                    </a:lnTo>
                    <a:lnTo>
                      <a:pt x="21402" y="7472"/>
                    </a:lnTo>
                    <a:lnTo>
                      <a:pt x="21204" y="7472"/>
                    </a:lnTo>
                    <a:lnTo>
                      <a:pt x="21204" y="7706"/>
                    </a:lnTo>
                    <a:lnTo>
                      <a:pt x="20906" y="7706"/>
                    </a:lnTo>
                    <a:lnTo>
                      <a:pt x="20906" y="7939"/>
                    </a:lnTo>
                    <a:lnTo>
                      <a:pt x="20708" y="7939"/>
                    </a:lnTo>
                    <a:lnTo>
                      <a:pt x="20609" y="8056"/>
                    </a:lnTo>
                    <a:lnTo>
                      <a:pt x="20411" y="8056"/>
                    </a:lnTo>
                    <a:lnTo>
                      <a:pt x="20213" y="8290"/>
                    </a:lnTo>
                    <a:lnTo>
                      <a:pt x="20213" y="8523"/>
                    </a:lnTo>
                    <a:lnTo>
                      <a:pt x="20015" y="8523"/>
                    </a:lnTo>
                    <a:lnTo>
                      <a:pt x="20015" y="8874"/>
                    </a:lnTo>
                    <a:lnTo>
                      <a:pt x="20213" y="8874"/>
                    </a:lnTo>
                    <a:lnTo>
                      <a:pt x="20213" y="9341"/>
                    </a:lnTo>
                    <a:lnTo>
                      <a:pt x="20708" y="9341"/>
                    </a:lnTo>
                    <a:lnTo>
                      <a:pt x="20708" y="9691"/>
                    </a:lnTo>
                    <a:lnTo>
                      <a:pt x="20609" y="9691"/>
                    </a:lnTo>
                    <a:lnTo>
                      <a:pt x="20609" y="9924"/>
                    </a:lnTo>
                    <a:lnTo>
                      <a:pt x="20213" y="9924"/>
                    </a:lnTo>
                    <a:lnTo>
                      <a:pt x="20213" y="10158"/>
                    </a:lnTo>
                    <a:lnTo>
                      <a:pt x="19321" y="10158"/>
                    </a:lnTo>
                    <a:lnTo>
                      <a:pt x="19321" y="10975"/>
                    </a:lnTo>
                    <a:lnTo>
                      <a:pt x="19519" y="10975"/>
                    </a:lnTo>
                    <a:lnTo>
                      <a:pt x="19519" y="11325"/>
                    </a:lnTo>
                    <a:lnTo>
                      <a:pt x="19222" y="11325"/>
                    </a:lnTo>
                    <a:lnTo>
                      <a:pt x="19222" y="11559"/>
                    </a:lnTo>
                    <a:lnTo>
                      <a:pt x="19024" y="11559"/>
                    </a:lnTo>
                    <a:lnTo>
                      <a:pt x="19024" y="11792"/>
                    </a:lnTo>
                    <a:lnTo>
                      <a:pt x="20015" y="12960"/>
                    </a:lnTo>
                    <a:lnTo>
                      <a:pt x="20015" y="13427"/>
                    </a:lnTo>
                    <a:lnTo>
                      <a:pt x="20213" y="13427"/>
                    </a:lnTo>
                    <a:lnTo>
                      <a:pt x="20213" y="13777"/>
                    </a:lnTo>
                    <a:lnTo>
                      <a:pt x="20015" y="13777"/>
                    </a:lnTo>
                    <a:lnTo>
                      <a:pt x="20015" y="14011"/>
                    </a:lnTo>
                    <a:lnTo>
                      <a:pt x="19916" y="14011"/>
                    </a:lnTo>
                    <a:lnTo>
                      <a:pt x="19916" y="14244"/>
                    </a:lnTo>
                    <a:lnTo>
                      <a:pt x="19717" y="14244"/>
                    </a:lnTo>
                    <a:lnTo>
                      <a:pt x="19717" y="14478"/>
                    </a:lnTo>
                    <a:lnTo>
                      <a:pt x="19222" y="14478"/>
                    </a:lnTo>
                    <a:lnTo>
                      <a:pt x="19024" y="14595"/>
                    </a:lnTo>
                    <a:lnTo>
                      <a:pt x="18826" y="14595"/>
                    </a:lnTo>
                    <a:lnTo>
                      <a:pt x="18528" y="14828"/>
                    </a:lnTo>
                    <a:lnTo>
                      <a:pt x="18330" y="15062"/>
                    </a:lnTo>
                    <a:lnTo>
                      <a:pt x="17141" y="15062"/>
                    </a:lnTo>
                    <a:lnTo>
                      <a:pt x="16745" y="15412"/>
                    </a:lnTo>
                    <a:lnTo>
                      <a:pt x="16745" y="16112"/>
                    </a:lnTo>
                    <a:lnTo>
                      <a:pt x="16547" y="16229"/>
                    </a:lnTo>
                    <a:lnTo>
                      <a:pt x="16547" y="16112"/>
                    </a:lnTo>
                    <a:lnTo>
                      <a:pt x="16448" y="16112"/>
                    </a:lnTo>
                    <a:lnTo>
                      <a:pt x="16448" y="15879"/>
                    </a:lnTo>
                    <a:lnTo>
                      <a:pt x="16250" y="15645"/>
                    </a:lnTo>
                    <a:lnTo>
                      <a:pt x="16051" y="15645"/>
                    </a:lnTo>
                    <a:lnTo>
                      <a:pt x="16051" y="15412"/>
                    </a:lnTo>
                    <a:lnTo>
                      <a:pt x="15754" y="15412"/>
                    </a:lnTo>
                    <a:lnTo>
                      <a:pt x="15754" y="15645"/>
                    </a:lnTo>
                    <a:lnTo>
                      <a:pt x="15556" y="15645"/>
                    </a:lnTo>
                    <a:lnTo>
                      <a:pt x="15556" y="15412"/>
                    </a:lnTo>
                    <a:lnTo>
                      <a:pt x="14664" y="15412"/>
                    </a:lnTo>
                    <a:lnTo>
                      <a:pt x="14466" y="15295"/>
                    </a:lnTo>
                    <a:lnTo>
                      <a:pt x="14367" y="15295"/>
                    </a:lnTo>
                    <a:lnTo>
                      <a:pt x="14367" y="15062"/>
                    </a:lnTo>
                    <a:lnTo>
                      <a:pt x="13971" y="15062"/>
                    </a:lnTo>
                    <a:lnTo>
                      <a:pt x="13971" y="14828"/>
                    </a:lnTo>
                    <a:lnTo>
                      <a:pt x="13673" y="14828"/>
                    </a:lnTo>
                    <a:lnTo>
                      <a:pt x="13673" y="15062"/>
                    </a:lnTo>
                    <a:lnTo>
                      <a:pt x="13772" y="15062"/>
                    </a:lnTo>
                    <a:lnTo>
                      <a:pt x="13772" y="15412"/>
                    </a:lnTo>
                    <a:lnTo>
                      <a:pt x="13971" y="15412"/>
                    </a:lnTo>
                    <a:lnTo>
                      <a:pt x="13971" y="15645"/>
                    </a:lnTo>
                    <a:lnTo>
                      <a:pt x="14367" y="15645"/>
                    </a:lnTo>
                    <a:lnTo>
                      <a:pt x="14367" y="15879"/>
                    </a:lnTo>
                    <a:lnTo>
                      <a:pt x="14466" y="16112"/>
                    </a:lnTo>
                    <a:lnTo>
                      <a:pt x="14466" y="16930"/>
                    </a:lnTo>
                    <a:lnTo>
                      <a:pt x="14664" y="16930"/>
                    </a:lnTo>
                    <a:lnTo>
                      <a:pt x="14664" y="17046"/>
                    </a:lnTo>
                    <a:lnTo>
                      <a:pt x="14862" y="17280"/>
                    </a:lnTo>
                    <a:lnTo>
                      <a:pt x="14862" y="18097"/>
                    </a:lnTo>
                    <a:lnTo>
                      <a:pt x="15061" y="18097"/>
                    </a:lnTo>
                    <a:lnTo>
                      <a:pt x="15061" y="18331"/>
                    </a:lnTo>
                    <a:lnTo>
                      <a:pt x="15853" y="18331"/>
                    </a:lnTo>
                    <a:lnTo>
                      <a:pt x="15853" y="18681"/>
                    </a:lnTo>
                    <a:lnTo>
                      <a:pt x="15556" y="18681"/>
                    </a:lnTo>
                    <a:lnTo>
                      <a:pt x="15556" y="18915"/>
                    </a:lnTo>
                    <a:lnTo>
                      <a:pt x="15160" y="18915"/>
                    </a:lnTo>
                    <a:lnTo>
                      <a:pt x="15160" y="19148"/>
                    </a:lnTo>
                    <a:lnTo>
                      <a:pt x="14862" y="19148"/>
                    </a:lnTo>
                    <a:lnTo>
                      <a:pt x="14862" y="19498"/>
                    </a:lnTo>
                    <a:lnTo>
                      <a:pt x="14664" y="19498"/>
                    </a:lnTo>
                    <a:lnTo>
                      <a:pt x="14664" y="19965"/>
                    </a:lnTo>
                    <a:lnTo>
                      <a:pt x="14466" y="19965"/>
                    </a:lnTo>
                    <a:lnTo>
                      <a:pt x="14466" y="20082"/>
                    </a:lnTo>
                    <a:lnTo>
                      <a:pt x="14367" y="20316"/>
                    </a:lnTo>
                    <a:lnTo>
                      <a:pt x="14367" y="20082"/>
                    </a:lnTo>
                    <a:lnTo>
                      <a:pt x="14169" y="20082"/>
                    </a:lnTo>
                    <a:lnTo>
                      <a:pt x="13971" y="20316"/>
                    </a:lnTo>
                    <a:lnTo>
                      <a:pt x="13673" y="20316"/>
                    </a:lnTo>
                    <a:lnTo>
                      <a:pt x="13673" y="20549"/>
                    </a:lnTo>
                    <a:lnTo>
                      <a:pt x="13277" y="20549"/>
                    </a:lnTo>
                    <a:lnTo>
                      <a:pt x="12980" y="20899"/>
                    </a:lnTo>
                    <a:lnTo>
                      <a:pt x="12980" y="21133"/>
                    </a:lnTo>
                    <a:lnTo>
                      <a:pt x="12782" y="21133"/>
                    </a:lnTo>
                    <a:lnTo>
                      <a:pt x="12782" y="21366"/>
                    </a:lnTo>
                    <a:lnTo>
                      <a:pt x="12583" y="21366"/>
                    </a:lnTo>
                    <a:lnTo>
                      <a:pt x="12583" y="21600"/>
                    </a:lnTo>
                    <a:lnTo>
                      <a:pt x="12286" y="21600"/>
                    </a:lnTo>
                    <a:lnTo>
                      <a:pt x="12286" y="21366"/>
                    </a:lnTo>
                    <a:lnTo>
                      <a:pt x="12385" y="21366"/>
                    </a:lnTo>
                    <a:lnTo>
                      <a:pt x="12385" y="20899"/>
                    </a:lnTo>
                    <a:lnTo>
                      <a:pt x="12286" y="20899"/>
                    </a:lnTo>
                    <a:lnTo>
                      <a:pt x="12286" y="21133"/>
                    </a:lnTo>
                    <a:lnTo>
                      <a:pt x="11890" y="21133"/>
                    </a:lnTo>
                    <a:lnTo>
                      <a:pt x="11890" y="21366"/>
                    </a:lnTo>
                    <a:lnTo>
                      <a:pt x="11593" y="21366"/>
                    </a:lnTo>
                    <a:lnTo>
                      <a:pt x="11593" y="21600"/>
                    </a:lnTo>
                    <a:lnTo>
                      <a:pt x="11196" y="21600"/>
                    </a:lnTo>
                    <a:lnTo>
                      <a:pt x="11196" y="21366"/>
                    </a:lnTo>
                    <a:lnTo>
                      <a:pt x="11097" y="21366"/>
                    </a:lnTo>
                    <a:lnTo>
                      <a:pt x="11097" y="21133"/>
                    </a:lnTo>
                    <a:lnTo>
                      <a:pt x="10701" y="21133"/>
                    </a:lnTo>
                    <a:lnTo>
                      <a:pt x="10701" y="20899"/>
                    </a:lnTo>
                    <a:lnTo>
                      <a:pt x="10503" y="20783"/>
                    </a:lnTo>
                    <a:lnTo>
                      <a:pt x="10404" y="20783"/>
                    </a:lnTo>
                    <a:lnTo>
                      <a:pt x="10404" y="20316"/>
                    </a:lnTo>
                    <a:lnTo>
                      <a:pt x="10206" y="20316"/>
                    </a:lnTo>
                    <a:lnTo>
                      <a:pt x="10206" y="19965"/>
                    </a:lnTo>
                    <a:lnTo>
                      <a:pt x="10007" y="19732"/>
                    </a:lnTo>
                    <a:lnTo>
                      <a:pt x="10007" y="18915"/>
                    </a:lnTo>
                    <a:lnTo>
                      <a:pt x="9809" y="18915"/>
                    </a:lnTo>
                    <a:lnTo>
                      <a:pt x="9809" y="18681"/>
                    </a:lnTo>
                    <a:lnTo>
                      <a:pt x="9710" y="18564"/>
                    </a:lnTo>
                    <a:lnTo>
                      <a:pt x="9710" y="18331"/>
                    </a:lnTo>
                    <a:lnTo>
                      <a:pt x="9512" y="18331"/>
                    </a:lnTo>
                    <a:lnTo>
                      <a:pt x="9512" y="18097"/>
                    </a:lnTo>
                    <a:lnTo>
                      <a:pt x="9116" y="17747"/>
                    </a:lnTo>
                    <a:lnTo>
                      <a:pt x="9116" y="17514"/>
                    </a:lnTo>
                    <a:lnTo>
                      <a:pt x="8818" y="17514"/>
                    </a:lnTo>
                    <a:lnTo>
                      <a:pt x="9512" y="16696"/>
                    </a:lnTo>
                    <a:lnTo>
                      <a:pt x="9710" y="16696"/>
                    </a:lnTo>
                    <a:lnTo>
                      <a:pt x="9710" y="16229"/>
                    </a:lnTo>
                    <a:lnTo>
                      <a:pt x="9512" y="16229"/>
                    </a:lnTo>
                    <a:lnTo>
                      <a:pt x="9512" y="16112"/>
                    </a:lnTo>
                    <a:lnTo>
                      <a:pt x="9314" y="16112"/>
                    </a:lnTo>
                    <a:lnTo>
                      <a:pt x="9314" y="15879"/>
                    </a:lnTo>
                    <a:lnTo>
                      <a:pt x="9116" y="15879"/>
                    </a:lnTo>
                    <a:lnTo>
                      <a:pt x="9116" y="15645"/>
                    </a:lnTo>
                    <a:lnTo>
                      <a:pt x="9017" y="15645"/>
                    </a:lnTo>
                    <a:lnTo>
                      <a:pt x="9017" y="15062"/>
                    </a:lnTo>
                    <a:lnTo>
                      <a:pt x="8818" y="14828"/>
                    </a:lnTo>
                    <a:lnTo>
                      <a:pt x="8818" y="12843"/>
                    </a:lnTo>
                    <a:lnTo>
                      <a:pt x="9017" y="12610"/>
                    </a:lnTo>
                    <a:lnTo>
                      <a:pt x="9017" y="12376"/>
                    </a:lnTo>
                    <a:lnTo>
                      <a:pt x="9116" y="12376"/>
                    </a:lnTo>
                    <a:lnTo>
                      <a:pt x="9116" y="12026"/>
                    </a:lnTo>
                    <a:lnTo>
                      <a:pt x="9314" y="12026"/>
                    </a:lnTo>
                    <a:lnTo>
                      <a:pt x="9314" y="11559"/>
                    </a:lnTo>
                    <a:lnTo>
                      <a:pt x="9512" y="11325"/>
                    </a:lnTo>
                    <a:lnTo>
                      <a:pt x="9314" y="11209"/>
                    </a:lnTo>
                    <a:lnTo>
                      <a:pt x="9116" y="11209"/>
                    </a:lnTo>
                    <a:lnTo>
                      <a:pt x="8818" y="10975"/>
                    </a:lnTo>
                    <a:lnTo>
                      <a:pt x="8323" y="10975"/>
                    </a:lnTo>
                    <a:lnTo>
                      <a:pt x="8125" y="11209"/>
                    </a:lnTo>
                    <a:lnTo>
                      <a:pt x="6936" y="11209"/>
                    </a:lnTo>
                    <a:lnTo>
                      <a:pt x="6936" y="11325"/>
                    </a:lnTo>
                    <a:lnTo>
                      <a:pt x="6242" y="11325"/>
                    </a:lnTo>
                    <a:lnTo>
                      <a:pt x="6242" y="11209"/>
                    </a:lnTo>
                    <a:lnTo>
                      <a:pt x="6044" y="11209"/>
                    </a:lnTo>
                    <a:lnTo>
                      <a:pt x="6044" y="10975"/>
                    </a:lnTo>
                    <a:lnTo>
                      <a:pt x="5846" y="10975"/>
                    </a:lnTo>
                    <a:lnTo>
                      <a:pt x="5846" y="10742"/>
                    </a:lnTo>
                    <a:lnTo>
                      <a:pt x="5648" y="10508"/>
                    </a:lnTo>
                    <a:lnTo>
                      <a:pt x="5648" y="10391"/>
                    </a:lnTo>
                    <a:lnTo>
                      <a:pt x="5549" y="10391"/>
                    </a:lnTo>
                    <a:lnTo>
                      <a:pt x="5549" y="10158"/>
                    </a:lnTo>
                    <a:lnTo>
                      <a:pt x="5350" y="10158"/>
                    </a:lnTo>
                    <a:lnTo>
                      <a:pt x="5350" y="9924"/>
                    </a:lnTo>
                    <a:lnTo>
                      <a:pt x="5152" y="9691"/>
                    </a:lnTo>
                    <a:lnTo>
                      <a:pt x="4855" y="9691"/>
                    </a:lnTo>
                    <a:lnTo>
                      <a:pt x="4657" y="9574"/>
                    </a:lnTo>
                    <a:lnTo>
                      <a:pt x="3765" y="9574"/>
                    </a:lnTo>
                    <a:lnTo>
                      <a:pt x="3567" y="9691"/>
                    </a:lnTo>
                    <a:lnTo>
                      <a:pt x="2180" y="9691"/>
                    </a:lnTo>
                    <a:lnTo>
                      <a:pt x="2180" y="9574"/>
                    </a:lnTo>
                    <a:lnTo>
                      <a:pt x="2081" y="9574"/>
                    </a:lnTo>
                    <a:lnTo>
                      <a:pt x="2081" y="9341"/>
                    </a:lnTo>
                    <a:lnTo>
                      <a:pt x="1883" y="9341"/>
                    </a:lnTo>
                    <a:lnTo>
                      <a:pt x="1883" y="8874"/>
                    </a:lnTo>
                    <a:lnTo>
                      <a:pt x="1585" y="8874"/>
                    </a:lnTo>
                    <a:lnTo>
                      <a:pt x="1585" y="8757"/>
                    </a:lnTo>
                    <a:lnTo>
                      <a:pt x="1387" y="8757"/>
                    </a:lnTo>
                    <a:lnTo>
                      <a:pt x="1387" y="8523"/>
                    </a:lnTo>
                    <a:lnTo>
                      <a:pt x="1585" y="8523"/>
                    </a:lnTo>
                    <a:lnTo>
                      <a:pt x="1585" y="8290"/>
                    </a:lnTo>
                    <a:lnTo>
                      <a:pt x="1387" y="8290"/>
                    </a:lnTo>
                    <a:lnTo>
                      <a:pt x="1387" y="8056"/>
                    </a:lnTo>
                    <a:lnTo>
                      <a:pt x="1585" y="7939"/>
                    </a:lnTo>
                    <a:lnTo>
                      <a:pt x="1585" y="7122"/>
                    </a:lnTo>
                    <a:lnTo>
                      <a:pt x="1387" y="7122"/>
                    </a:lnTo>
                    <a:lnTo>
                      <a:pt x="1387" y="6655"/>
                    </a:lnTo>
                    <a:lnTo>
                      <a:pt x="1189" y="6655"/>
                    </a:lnTo>
                    <a:lnTo>
                      <a:pt x="1189" y="6305"/>
                    </a:lnTo>
                    <a:lnTo>
                      <a:pt x="991" y="6071"/>
                    </a:lnTo>
                    <a:lnTo>
                      <a:pt x="991" y="5721"/>
                    </a:lnTo>
                    <a:lnTo>
                      <a:pt x="694" y="5721"/>
                    </a:lnTo>
                    <a:lnTo>
                      <a:pt x="694" y="5488"/>
                    </a:lnTo>
                    <a:lnTo>
                      <a:pt x="198" y="5488"/>
                    </a:lnTo>
                    <a:lnTo>
                      <a:pt x="198" y="5021"/>
                    </a:lnTo>
                    <a:lnTo>
                      <a:pt x="297" y="5021"/>
                    </a:lnTo>
                    <a:lnTo>
                      <a:pt x="495" y="4904"/>
                    </a:lnTo>
                    <a:lnTo>
                      <a:pt x="495" y="4670"/>
                    </a:lnTo>
                    <a:lnTo>
                      <a:pt x="694" y="4437"/>
                    </a:lnTo>
                    <a:lnTo>
                      <a:pt x="694" y="3269"/>
                    </a:lnTo>
                    <a:lnTo>
                      <a:pt x="991" y="2802"/>
                    </a:lnTo>
                    <a:lnTo>
                      <a:pt x="991" y="2569"/>
                    </a:lnTo>
                    <a:lnTo>
                      <a:pt x="1189" y="2452"/>
                    </a:lnTo>
                    <a:lnTo>
                      <a:pt x="1189" y="2218"/>
                    </a:lnTo>
                    <a:lnTo>
                      <a:pt x="1387" y="1985"/>
                    </a:lnTo>
                    <a:lnTo>
                      <a:pt x="1684" y="1985"/>
                    </a:lnTo>
                    <a:lnTo>
                      <a:pt x="1883" y="1751"/>
                    </a:lnTo>
                    <a:lnTo>
                      <a:pt x="1883" y="1401"/>
                    </a:lnTo>
                    <a:lnTo>
                      <a:pt x="2081" y="1401"/>
                    </a:lnTo>
                    <a:lnTo>
                      <a:pt x="2081" y="934"/>
                    </a:lnTo>
                    <a:close/>
                    <a:moveTo>
                      <a:pt x="2180" y="817"/>
                    </a:moveTo>
                    <a:lnTo>
                      <a:pt x="2576" y="817"/>
                    </a:lnTo>
                    <a:lnTo>
                      <a:pt x="2378" y="934"/>
                    </a:lnTo>
                    <a:lnTo>
                      <a:pt x="2180" y="934"/>
                    </a:lnTo>
                    <a:lnTo>
                      <a:pt x="2180" y="817"/>
                    </a:lnTo>
                    <a:close/>
                    <a:moveTo>
                      <a:pt x="2774" y="584"/>
                    </a:moveTo>
                    <a:lnTo>
                      <a:pt x="3072" y="584"/>
                    </a:lnTo>
                    <a:lnTo>
                      <a:pt x="2873" y="817"/>
                    </a:lnTo>
                    <a:lnTo>
                      <a:pt x="2774" y="817"/>
                    </a:lnTo>
                    <a:lnTo>
                      <a:pt x="2774" y="584"/>
                    </a:lnTo>
                    <a:close/>
                    <a:moveTo>
                      <a:pt x="4954" y="0"/>
                    </a:moveTo>
                    <a:lnTo>
                      <a:pt x="5549" y="0"/>
                    </a:lnTo>
                    <a:lnTo>
                      <a:pt x="5549" y="584"/>
                    </a:lnTo>
                    <a:lnTo>
                      <a:pt x="5648" y="817"/>
                    </a:lnTo>
                    <a:lnTo>
                      <a:pt x="5648" y="934"/>
                    </a:lnTo>
                    <a:lnTo>
                      <a:pt x="5549" y="817"/>
                    </a:lnTo>
                    <a:lnTo>
                      <a:pt x="5350" y="934"/>
                    </a:lnTo>
                    <a:lnTo>
                      <a:pt x="4954" y="934"/>
                    </a:lnTo>
                    <a:lnTo>
                      <a:pt x="4954" y="584"/>
                    </a:lnTo>
                    <a:lnTo>
                      <a:pt x="4855" y="584"/>
                    </a:lnTo>
                    <a:lnTo>
                      <a:pt x="4855" y="117"/>
                    </a:lnTo>
                    <a:lnTo>
                      <a:pt x="4954" y="117"/>
                    </a:lnTo>
                    <a:lnTo>
                      <a:pt x="4954" y="0"/>
                    </a:lnTo>
                    <a:close/>
                    <a:moveTo>
                      <a:pt x="4954" y="0"/>
                    </a:moveTo>
                  </a:path>
                </a:pathLst>
              </a:custGeom>
              <a:solidFill>
                <a:srgbClr val="00BACF"/>
              </a:solidFill>
              <a:ln w="12700">
                <a:solidFill>
                  <a:srgbClr val="FFFFFF"/>
                </a:solidFill>
                <a:round/>
                <a:headEnd/>
                <a:tailEnd/>
              </a:ln>
            </p:spPr>
            <p:txBody>
              <a:bodyPr lIns="0" tIns="0" rIns="0" bIns="0"/>
              <a:lstStyle/>
              <a:p>
                <a:endParaRPr lang="es-ES"/>
              </a:p>
            </p:txBody>
          </p:sp>
          <p:sp>
            <p:nvSpPr>
              <p:cNvPr id="15408" name="Freeform 53"/>
              <p:cNvSpPr>
                <a:spLocks/>
              </p:cNvSpPr>
              <p:nvPr/>
            </p:nvSpPr>
            <p:spPr bwMode="auto">
              <a:xfrm>
                <a:off x="2708" y="3000"/>
                <a:ext cx="248" cy="25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1600"/>
                  <a:gd name="T169" fmla="*/ 0 h 21600"/>
                  <a:gd name="T170" fmla="*/ 21600 w 21600"/>
                  <a:gd name="T171" fmla="*/ 21600 h 216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1600" h="21600">
                    <a:moveTo>
                      <a:pt x="5777" y="0"/>
                    </a:moveTo>
                    <a:lnTo>
                      <a:pt x="7033" y="0"/>
                    </a:lnTo>
                    <a:lnTo>
                      <a:pt x="7033" y="248"/>
                    </a:lnTo>
                    <a:lnTo>
                      <a:pt x="7535" y="248"/>
                    </a:lnTo>
                    <a:lnTo>
                      <a:pt x="8037" y="745"/>
                    </a:lnTo>
                    <a:lnTo>
                      <a:pt x="8037" y="1241"/>
                    </a:lnTo>
                    <a:lnTo>
                      <a:pt x="8791" y="1241"/>
                    </a:lnTo>
                    <a:lnTo>
                      <a:pt x="8791" y="1738"/>
                    </a:lnTo>
                    <a:lnTo>
                      <a:pt x="9293" y="1986"/>
                    </a:lnTo>
                    <a:lnTo>
                      <a:pt x="9795" y="1986"/>
                    </a:lnTo>
                    <a:lnTo>
                      <a:pt x="9795" y="2483"/>
                    </a:lnTo>
                    <a:lnTo>
                      <a:pt x="10047" y="2483"/>
                    </a:lnTo>
                    <a:lnTo>
                      <a:pt x="10047" y="4221"/>
                    </a:lnTo>
                    <a:lnTo>
                      <a:pt x="11051" y="4221"/>
                    </a:lnTo>
                    <a:lnTo>
                      <a:pt x="11051" y="3724"/>
                    </a:lnTo>
                    <a:lnTo>
                      <a:pt x="11805" y="3724"/>
                    </a:lnTo>
                    <a:lnTo>
                      <a:pt x="11805" y="3476"/>
                    </a:lnTo>
                    <a:lnTo>
                      <a:pt x="12307" y="3476"/>
                    </a:lnTo>
                    <a:lnTo>
                      <a:pt x="12307" y="3724"/>
                    </a:lnTo>
                    <a:lnTo>
                      <a:pt x="12809" y="3724"/>
                    </a:lnTo>
                    <a:lnTo>
                      <a:pt x="12809" y="4221"/>
                    </a:lnTo>
                    <a:lnTo>
                      <a:pt x="13312" y="4221"/>
                    </a:lnTo>
                    <a:lnTo>
                      <a:pt x="13312" y="5214"/>
                    </a:lnTo>
                    <a:lnTo>
                      <a:pt x="14065" y="5214"/>
                    </a:lnTo>
                    <a:lnTo>
                      <a:pt x="14065" y="5462"/>
                    </a:lnTo>
                    <a:lnTo>
                      <a:pt x="15823" y="5462"/>
                    </a:lnTo>
                    <a:lnTo>
                      <a:pt x="15823" y="6455"/>
                    </a:lnTo>
                    <a:lnTo>
                      <a:pt x="16326" y="6455"/>
                    </a:lnTo>
                    <a:lnTo>
                      <a:pt x="16326" y="6952"/>
                    </a:lnTo>
                    <a:lnTo>
                      <a:pt x="16828" y="6952"/>
                    </a:lnTo>
                    <a:lnTo>
                      <a:pt x="17079" y="7200"/>
                    </a:lnTo>
                    <a:lnTo>
                      <a:pt x="17581" y="7200"/>
                    </a:lnTo>
                    <a:lnTo>
                      <a:pt x="17581" y="7697"/>
                    </a:lnTo>
                    <a:lnTo>
                      <a:pt x="18335" y="7697"/>
                    </a:lnTo>
                    <a:lnTo>
                      <a:pt x="18335" y="8193"/>
                    </a:lnTo>
                    <a:lnTo>
                      <a:pt x="18837" y="8193"/>
                    </a:lnTo>
                    <a:lnTo>
                      <a:pt x="18837" y="8938"/>
                    </a:lnTo>
                    <a:lnTo>
                      <a:pt x="19340" y="8938"/>
                    </a:lnTo>
                    <a:lnTo>
                      <a:pt x="19340" y="9434"/>
                    </a:lnTo>
                    <a:lnTo>
                      <a:pt x="19842" y="9434"/>
                    </a:lnTo>
                    <a:lnTo>
                      <a:pt x="19842" y="9931"/>
                    </a:lnTo>
                    <a:lnTo>
                      <a:pt x="20093" y="10179"/>
                    </a:lnTo>
                    <a:lnTo>
                      <a:pt x="20093" y="10676"/>
                    </a:lnTo>
                    <a:lnTo>
                      <a:pt x="21098" y="10676"/>
                    </a:lnTo>
                    <a:lnTo>
                      <a:pt x="21098" y="11172"/>
                    </a:lnTo>
                    <a:lnTo>
                      <a:pt x="21600" y="11172"/>
                    </a:lnTo>
                    <a:lnTo>
                      <a:pt x="21600" y="11669"/>
                    </a:lnTo>
                    <a:lnTo>
                      <a:pt x="21098" y="11669"/>
                    </a:lnTo>
                    <a:lnTo>
                      <a:pt x="21098" y="11917"/>
                    </a:lnTo>
                    <a:lnTo>
                      <a:pt x="20093" y="12910"/>
                    </a:lnTo>
                    <a:lnTo>
                      <a:pt x="20093" y="15393"/>
                    </a:lnTo>
                    <a:lnTo>
                      <a:pt x="20595" y="15393"/>
                    </a:lnTo>
                    <a:lnTo>
                      <a:pt x="20595" y="16883"/>
                    </a:lnTo>
                    <a:lnTo>
                      <a:pt x="20093" y="17131"/>
                    </a:lnTo>
                    <a:lnTo>
                      <a:pt x="20093" y="17628"/>
                    </a:lnTo>
                    <a:lnTo>
                      <a:pt x="19842" y="18124"/>
                    </a:lnTo>
                    <a:lnTo>
                      <a:pt x="19340" y="18124"/>
                    </a:lnTo>
                    <a:lnTo>
                      <a:pt x="19340" y="18869"/>
                    </a:lnTo>
                    <a:lnTo>
                      <a:pt x="18837" y="19366"/>
                    </a:lnTo>
                    <a:lnTo>
                      <a:pt x="17581" y="19366"/>
                    </a:lnTo>
                    <a:lnTo>
                      <a:pt x="17581" y="19862"/>
                    </a:lnTo>
                    <a:lnTo>
                      <a:pt x="17079" y="19862"/>
                    </a:lnTo>
                    <a:lnTo>
                      <a:pt x="17079" y="20359"/>
                    </a:lnTo>
                    <a:lnTo>
                      <a:pt x="16828" y="20607"/>
                    </a:lnTo>
                    <a:lnTo>
                      <a:pt x="16326" y="20607"/>
                    </a:lnTo>
                    <a:lnTo>
                      <a:pt x="15823" y="21103"/>
                    </a:lnTo>
                    <a:lnTo>
                      <a:pt x="15070" y="21103"/>
                    </a:lnTo>
                    <a:lnTo>
                      <a:pt x="15070" y="21600"/>
                    </a:lnTo>
                    <a:lnTo>
                      <a:pt x="14065" y="21600"/>
                    </a:lnTo>
                    <a:lnTo>
                      <a:pt x="13563" y="21103"/>
                    </a:lnTo>
                    <a:lnTo>
                      <a:pt x="12809" y="21103"/>
                    </a:lnTo>
                    <a:lnTo>
                      <a:pt x="12809" y="20607"/>
                    </a:lnTo>
                    <a:lnTo>
                      <a:pt x="11805" y="20607"/>
                    </a:lnTo>
                    <a:lnTo>
                      <a:pt x="11553" y="21103"/>
                    </a:lnTo>
                    <a:lnTo>
                      <a:pt x="9293" y="21103"/>
                    </a:lnTo>
                    <a:lnTo>
                      <a:pt x="8791" y="20607"/>
                    </a:lnTo>
                    <a:lnTo>
                      <a:pt x="8288" y="20607"/>
                    </a:lnTo>
                    <a:lnTo>
                      <a:pt x="6530" y="19862"/>
                    </a:lnTo>
                    <a:lnTo>
                      <a:pt x="6279" y="19366"/>
                    </a:lnTo>
                    <a:lnTo>
                      <a:pt x="2763" y="19366"/>
                    </a:lnTo>
                    <a:lnTo>
                      <a:pt x="2763" y="18869"/>
                    </a:lnTo>
                    <a:lnTo>
                      <a:pt x="502" y="16883"/>
                    </a:lnTo>
                    <a:lnTo>
                      <a:pt x="0" y="16883"/>
                    </a:lnTo>
                    <a:lnTo>
                      <a:pt x="0" y="15890"/>
                    </a:lnTo>
                    <a:lnTo>
                      <a:pt x="502" y="15890"/>
                    </a:lnTo>
                    <a:lnTo>
                      <a:pt x="502" y="14152"/>
                    </a:lnTo>
                    <a:lnTo>
                      <a:pt x="1005" y="14152"/>
                    </a:lnTo>
                    <a:lnTo>
                      <a:pt x="1005" y="13655"/>
                    </a:lnTo>
                    <a:lnTo>
                      <a:pt x="1256" y="13655"/>
                    </a:lnTo>
                    <a:lnTo>
                      <a:pt x="1256" y="13407"/>
                    </a:lnTo>
                    <a:lnTo>
                      <a:pt x="1758" y="13407"/>
                    </a:lnTo>
                    <a:lnTo>
                      <a:pt x="1758" y="8441"/>
                    </a:lnTo>
                    <a:lnTo>
                      <a:pt x="1256" y="8441"/>
                    </a:lnTo>
                    <a:lnTo>
                      <a:pt x="1256" y="7697"/>
                    </a:lnTo>
                    <a:lnTo>
                      <a:pt x="1758" y="7697"/>
                    </a:lnTo>
                    <a:lnTo>
                      <a:pt x="1758" y="7200"/>
                    </a:lnTo>
                    <a:lnTo>
                      <a:pt x="2260" y="7200"/>
                    </a:lnTo>
                    <a:lnTo>
                      <a:pt x="2260" y="5462"/>
                    </a:lnTo>
                    <a:lnTo>
                      <a:pt x="2763" y="5462"/>
                    </a:lnTo>
                    <a:lnTo>
                      <a:pt x="2763" y="3724"/>
                    </a:lnTo>
                    <a:lnTo>
                      <a:pt x="3014" y="3476"/>
                    </a:lnTo>
                    <a:lnTo>
                      <a:pt x="3014" y="2483"/>
                    </a:lnTo>
                    <a:lnTo>
                      <a:pt x="2763" y="2483"/>
                    </a:lnTo>
                    <a:lnTo>
                      <a:pt x="2763" y="1986"/>
                    </a:lnTo>
                    <a:lnTo>
                      <a:pt x="3014" y="1738"/>
                    </a:lnTo>
                    <a:lnTo>
                      <a:pt x="3014" y="1241"/>
                    </a:lnTo>
                    <a:lnTo>
                      <a:pt x="3516" y="1241"/>
                    </a:lnTo>
                    <a:lnTo>
                      <a:pt x="3516" y="248"/>
                    </a:lnTo>
                    <a:lnTo>
                      <a:pt x="4521" y="248"/>
                    </a:lnTo>
                    <a:lnTo>
                      <a:pt x="4521" y="745"/>
                    </a:lnTo>
                    <a:lnTo>
                      <a:pt x="5777" y="745"/>
                    </a:lnTo>
                    <a:lnTo>
                      <a:pt x="5777" y="0"/>
                    </a:lnTo>
                    <a:close/>
                    <a:moveTo>
                      <a:pt x="5777" y="0"/>
                    </a:moveTo>
                  </a:path>
                </a:pathLst>
              </a:custGeom>
              <a:solidFill>
                <a:srgbClr val="00BACF"/>
              </a:solidFill>
              <a:ln w="12700">
                <a:solidFill>
                  <a:srgbClr val="FFFFFF"/>
                </a:solidFill>
                <a:round/>
                <a:headEnd/>
                <a:tailEnd/>
              </a:ln>
            </p:spPr>
            <p:txBody>
              <a:bodyPr lIns="0" tIns="0" rIns="0" bIns="0"/>
              <a:lstStyle/>
              <a:p>
                <a:endParaRPr lang="es-ES"/>
              </a:p>
            </p:txBody>
          </p:sp>
          <p:sp>
            <p:nvSpPr>
              <p:cNvPr id="15409" name="AutoShape 54"/>
              <p:cNvSpPr>
                <a:spLocks/>
              </p:cNvSpPr>
              <p:nvPr/>
            </p:nvSpPr>
            <p:spPr bwMode="auto">
              <a:xfrm>
                <a:off x="1655" y="1565"/>
                <a:ext cx="586" cy="86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w 21600"/>
                  <a:gd name="T117" fmla="*/ 0 h 21600"/>
                  <a:gd name="T118" fmla="*/ 0 w 21600"/>
                  <a:gd name="T119" fmla="*/ 0 h 21600"/>
                  <a:gd name="T120" fmla="*/ 0 w 21600"/>
                  <a:gd name="T121" fmla="*/ 0 h 21600"/>
                  <a:gd name="T122" fmla="*/ 0 w 21600"/>
                  <a:gd name="T123" fmla="*/ 0 h 21600"/>
                  <a:gd name="T124" fmla="*/ 0 w 21600"/>
                  <a:gd name="T125" fmla="*/ 0 h 2160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1600"/>
                  <a:gd name="T190" fmla="*/ 0 h 21600"/>
                  <a:gd name="T191" fmla="*/ 21600 w 21600"/>
                  <a:gd name="T192" fmla="*/ 21600 h 2160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1600" h="21600">
                    <a:moveTo>
                      <a:pt x="18195" y="10981"/>
                    </a:moveTo>
                    <a:lnTo>
                      <a:pt x="18408" y="10981"/>
                    </a:lnTo>
                    <a:lnTo>
                      <a:pt x="18408" y="11125"/>
                    </a:lnTo>
                    <a:lnTo>
                      <a:pt x="18195" y="11125"/>
                    </a:lnTo>
                    <a:lnTo>
                      <a:pt x="18195" y="10981"/>
                    </a:lnTo>
                    <a:close/>
                    <a:moveTo>
                      <a:pt x="10428" y="0"/>
                    </a:moveTo>
                    <a:lnTo>
                      <a:pt x="10853" y="0"/>
                    </a:lnTo>
                    <a:lnTo>
                      <a:pt x="10853" y="144"/>
                    </a:lnTo>
                    <a:lnTo>
                      <a:pt x="10960" y="144"/>
                    </a:lnTo>
                    <a:lnTo>
                      <a:pt x="10960" y="289"/>
                    </a:lnTo>
                    <a:lnTo>
                      <a:pt x="11172" y="289"/>
                    </a:lnTo>
                    <a:lnTo>
                      <a:pt x="11385" y="361"/>
                    </a:lnTo>
                    <a:lnTo>
                      <a:pt x="11385" y="506"/>
                    </a:lnTo>
                    <a:lnTo>
                      <a:pt x="11598" y="506"/>
                    </a:lnTo>
                    <a:lnTo>
                      <a:pt x="11598" y="650"/>
                    </a:lnTo>
                    <a:lnTo>
                      <a:pt x="11917" y="650"/>
                    </a:lnTo>
                    <a:lnTo>
                      <a:pt x="11917" y="1011"/>
                    </a:lnTo>
                    <a:lnTo>
                      <a:pt x="12343" y="1300"/>
                    </a:lnTo>
                    <a:lnTo>
                      <a:pt x="12449" y="1300"/>
                    </a:lnTo>
                    <a:lnTo>
                      <a:pt x="12875" y="1517"/>
                    </a:lnTo>
                    <a:lnTo>
                      <a:pt x="13088" y="1517"/>
                    </a:lnTo>
                    <a:lnTo>
                      <a:pt x="13088" y="1662"/>
                    </a:lnTo>
                    <a:lnTo>
                      <a:pt x="13194" y="1662"/>
                    </a:lnTo>
                    <a:lnTo>
                      <a:pt x="13194" y="1806"/>
                    </a:lnTo>
                    <a:lnTo>
                      <a:pt x="13407" y="1806"/>
                    </a:lnTo>
                    <a:lnTo>
                      <a:pt x="13407" y="2023"/>
                    </a:lnTo>
                    <a:lnTo>
                      <a:pt x="13194" y="2023"/>
                    </a:lnTo>
                    <a:lnTo>
                      <a:pt x="13194" y="2167"/>
                    </a:lnTo>
                    <a:lnTo>
                      <a:pt x="13939" y="2167"/>
                    </a:lnTo>
                    <a:lnTo>
                      <a:pt x="14152" y="2312"/>
                    </a:lnTo>
                    <a:lnTo>
                      <a:pt x="14152" y="2817"/>
                    </a:lnTo>
                    <a:lnTo>
                      <a:pt x="14365" y="2890"/>
                    </a:lnTo>
                    <a:lnTo>
                      <a:pt x="14897" y="2890"/>
                    </a:lnTo>
                    <a:lnTo>
                      <a:pt x="14897" y="2817"/>
                    </a:lnTo>
                    <a:lnTo>
                      <a:pt x="15109" y="2817"/>
                    </a:lnTo>
                    <a:lnTo>
                      <a:pt x="15109" y="2890"/>
                    </a:lnTo>
                    <a:lnTo>
                      <a:pt x="15322" y="2890"/>
                    </a:lnTo>
                    <a:lnTo>
                      <a:pt x="15322" y="3034"/>
                    </a:lnTo>
                    <a:lnTo>
                      <a:pt x="15429" y="3034"/>
                    </a:lnTo>
                    <a:lnTo>
                      <a:pt x="15429" y="2890"/>
                    </a:lnTo>
                    <a:lnTo>
                      <a:pt x="15854" y="2890"/>
                    </a:lnTo>
                    <a:lnTo>
                      <a:pt x="15854" y="2817"/>
                    </a:lnTo>
                    <a:lnTo>
                      <a:pt x="16173" y="2817"/>
                    </a:lnTo>
                    <a:lnTo>
                      <a:pt x="16173" y="2673"/>
                    </a:lnTo>
                    <a:lnTo>
                      <a:pt x="16705" y="2673"/>
                    </a:lnTo>
                    <a:lnTo>
                      <a:pt x="16918" y="2817"/>
                    </a:lnTo>
                    <a:lnTo>
                      <a:pt x="17663" y="2817"/>
                    </a:lnTo>
                    <a:lnTo>
                      <a:pt x="17663" y="2673"/>
                    </a:lnTo>
                    <a:lnTo>
                      <a:pt x="18089" y="2673"/>
                    </a:lnTo>
                    <a:lnTo>
                      <a:pt x="18195" y="2817"/>
                    </a:lnTo>
                    <a:lnTo>
                      <a:pt x="18195" y="2890"/>
                    </a:lnTo>
                    <a:lnTo>
                      <a:pt x="18940" y="2890"/>
                    </a:lnTo>
                    <a:lnTo>
                      <a:pt x="18940" y="3034"/>
                    </a:lnTo>
                    <a:lnTo>
                      <a:pt x="19153" y="3034"/>
                    </a:lnTo>
                    <a:lnTo>
                      <a:pt x="19153" y="3395"/>
                    </a:lnTo>
                    <a:lnTo>
                      <a:pt x="18940" y="3395"/>
                    </a:lnTo>
                    <a:lnTo>
                      <a:pt x="18940" y="3540"/>
                    </a:lnTo>
                    <a:lnTo>
                      <a:pt x="18833" y="3540"/>
                    </a:lnTo>
                    <a:lnTo>
                      <a:pt x="18833" y="3829"/>
                    </a:lnTo>
                    <a:lnTo>
                      <a:pt x="18621" y="3829"/>
                    </a:lnTo>
                    <a:lnTo>
                      <a:pt x="18408" y="3901"/>
                    </a:lnTo>
                    <a:lnTo>
                      <a:pt x="18408" y="4045"/>
                    </a:lnTo>
                    <a:lnTo>
                      <a:pt x="18195" y="4045"/>
                    </a:lnTo>
                    <a:lnTo>
                      <a:pt x="18195" y="4551"/>
                    </a:lnTo>
                    <a:lnTo>
                      <a:pt x="18408" y="4551"/>
                    </a:lnTo>
                    <a:lnTo>
                      <a:pt x="18408" y="4407"/>
                    </a:lnTo>
                    <a:lnTo>
                      <a:pt x="18833" y="4407"/>
                    </a:lnTo>
                    <a:lnTo>
                      <a:pt x="18940" y="4551"/>
                    </a:lnTo>
                    <a:lnTo>
                      <a:pt x="18940" y="4696"/>
                    </a:lnTo>
                    <a:lnTo>
                      <a:pt x="19153" y="4696"/>
                    </a:lnTo>
                    <a:lnTo>
                      <a:pt x="19153" y="4912"/>
                    </a:lnTo>
                    <a:lnTo>
                      <a:pt x="19366" y="4912"/>
                    </a:lnTo>
                    <a:lnTo>
                      <a:pt x="19366" y="5057"/>
                    </a:lnTo>
                    <a:lnTo>
                      <a:pt x="18833" y="5057"/>
                    </a:lnTo>
                    <a:lnTo>
                      <a:pt x="18833" y="4768"/>
                    </a:lnTo>
                    <a:lnTo>
                      <a:pt x="18089" y="4768"/>
                    </a:lnTo>
                    <a:lnTo>
                      <a:pt x="18089" y="4912"/>
                    </a:lnTo>
                    <a:lnTo>
                      <a:pt x="17876" y="4912"/>
                    </a:lnTo>
                    <a:lnTo>
                      <a:pt x="17663" y="5057"/>
                    </a:lnTo>
                    <a:lnTo>
                      <a:pt x="17450" y="5057"/>
                    </a:lnTo>
                    <a:lnTo>
                      <a:pt x="17450" y="5201"/>
                    </a:lnTo>
                    <a:lnTo>
                      <a:pt x="17344" y="5201"/>
                    </a:lnTo>
                    <a:lnTo>
                      <a:pt x="17344" y="5057"/>
                    </a:lnTo>
                    <a:lnTo>
                      <a:pt x="17131" y="5057"/>
                    </a:lnTo>
                    <a:lnTo>
                      <a:pt x="16918" y="5201"/>
                    </a:lnTo>
                    <a:lnTo>
                      <a:pt x="16599" y="5201"/>
                    </a:lnTo>
                    <a:lnTo>
                      <a:pt x="16173" y="5274"/>
                    </a:lnTo>
                    <a:lnTo>
                      <a:pt x="15854" y="5274"/>
                    </a:lnTo>
                    <a:lnTo>
                      <a:pt x="15429" y="5563"/>
                    </a:lnTo>
                    <a:lnTo>
                      <a:pt x="15109" y="5707"/>
                    </a:lnTo>
                    <a:lnTo>
                      <a:pt x="14897" y="5707"/>
                    </a:lnTo>
                    <a:lnTo>
                      <a:pt x="14897" y="5779"/>
                    </a:lnTo>
                    <a:lnTo>
                      <a:pt x="14684" y="5779"/>
                    </a:lnTo>
                    <a:lnTo>
                      <a:pt x="14365" y="6068"/>
                    </a:lnTo>
                    <a:lnTo>
                      <a:pt x="14365" y="6574"/>
                    </a:lnTo>
                    <a:lnTo>
                      <a:pt x="14152" y="6718"/>
                    </a:lnTo>
                    <a:lnTo>
                      <a:pt x="14152" y="6791"/>
                    </a:lnTo>
                    <a:lnTo>
                      <a:pt x="13939" y="6791"/>
                    </a:lnTo>
                    <a:lnTo>
                      <a:pt x="13939" y="7585"/>
                    </a:lnTo>
                    <a:lnTo>
                      <a:pt x="13833" y="7585"/>
                    </a:lnTo>
                    <a:lnTo>
                      <a:pt x="13620" y="7730"/>
                    </a:lnTo>
                    <a:lnTo>
                      <a:pt x="13407" y="7730"/>
                    </a:lnTo>
                    <a:lnTo>
                      <a:pt x="13407" y="7802"/>
                    </a:lnTo>
                    <a:lnTo>
                      <a:pt x="13194" y="7802"/>
                    </a:lnTo>
                    <a:lnTo>
                      <a:pt x="13088" y="7946"/>
                    </a:lnTo>
                    <a:lnTo>
                      <a:pt x="13088" y="8091"/>
                    </a:lnTo>
                    <a:lnTo>
                      <a:pt x="12875" y="8091"/>
                    </a:lnTo>
                    <a:lnTo>
                      <a:pt x="12875" y="8308"/>
                    </a:lnTo>
                    <a:lnTo>
                      <a:pt x="13088" y="8308"/>
                    </a:lnTo>
                    <a:lnTo>
                      <a:pt x="13088" y="8597"/>
                    </a:lnTo>
                    <a:lnTo>
                      <a:pt x="12662" y="8597"/>
                    </a:lnTo>
                    <a:lnTo>
                      <a:pt x="12662" y="8741"/>
                    </a:lnTo>
                    <a:lnTo>
                      <a:pt x="12449" y="8741"/>
                    </a:lnTo>
                    <a:lnTo>
                      <a:pt x="12449" y="8813"/>
                    </a:lnTo>
                    <a:lnTo>
                      <a:pt x="12662" y="8813"/>
                    </a:lnTo>
                    <a:lnTo>
                      <a:pt x="13088" y="9102"/>
                    </a:lnTo>
                    <a:lnTo>
                      <a:pt x="13088" y="9319"/>
                    </a:lnTo>
                    <a:lnTo>
                      <a:pt x="13194" y="9464"/>
                    </a:lnTo>
                    <a:lnTo>
                      <a:pt x="13194" y="9753"/>
                    </a:lnTo>
                    <a:lnTo>
                      <a:pt x="13407" y="9825"/>
                    </a:lnTo>
                    <a:lnTo>
                      <a:pt x="13620" y="9825"/>
                    </a:lnTo>
                    <a:lnTo>
                      <a:pt x="13620" y="10114"/>
                    </a:lnTo>
                    <a:lnTo>
                      <a:pt x="13939" y="10114"/>
                    </a:lnTo>
                    <a:lnTo>
                      <a:pt x="13939" y="10330"/>
                    </a:lnTo>
                    <a:lnTo>
                      <a:pt x="14152" y="10330"/>
                    </a:lnTo>
                    <a:lnTo>
                      <a:pt x="14152" y="10475"/>
                    </a:lnTo>
                    <a:lnTo>
                      <a:pt x="14365" y="10475"/>
                    </a:lnTo>
                    <a:lnTo>
                      <a:pt x="14365" y="10619"/>
                    </a:lnTo>
                    <a:lnTo>
                      <a:pt x="14152" y="10619"/>
                    </a:lnTo>
                    <a:lnTo>
                      <a:pt x="14152" y="10836"/>
                    </a:lnTo>
                    <a:lnTo>
                      <a:pt x="13939" y="10836"/>
                    </a:lnTo>
                    <a:lnTo>
                      <a:pt x="13833" y="10981"/>
                    </a:lnTo>
                    <a:lnTo>
                      <a:pt x="15109" y="10981"/>
                    </a:lnTo>
                    <a:lnTo>
                      <a:pt x="15109" y="11125"/>
                    </a:lnTo>
                    <a:lnTo>
                      <a:pt x="15429" y="11125"/>
                    </a:lnTo>
                    <a:lnTo>
                      <a:pt x="15429" y="11342"/>
                    </a:lnTo>
                    <a:lnTo>
                      <a:pt x="15641" y="11342"/>
                    </a:lnTo>
                    <a:lnTo>
                      <a:pt x="15641" y="11703"/>
                    </a:lnTo>
                    <a:lnTo>
                      <a:pt x="15961" y="11703"/>
                    </a:lnTo>
                    <a:lnTo>
                      <a:pt x="16173" y="11631"/>
                    </a:lnTo>
                    <a:lnTo>
                      <a:pt x="16386" y="11631"/>
                    </a:lnTo>
                    <a:lnTo>
                      <a:pt x="16599" y="11703"/>
                    </a:lnTo>
                    <a:lnTo>
                      <a:pt x="16918" y="11703"/>
                    </a:lnTo>
                    <a:lnTo>
                      <a:pt x="17131" y="11631"/>
                    </a:lnTo>
                    <a:lnTo>
                      <a:pt x="17344" y="11631"/>
                    </a:lnTo>
                    <a:lnTo>
                      <a:pt x="17450" y="11486"/>
                    </a:lnTo>
                    <a:lnTo>
                      <a:pt x="17663" y="11486"/>
                    </a:lnTo>
                    <a:lnTo>
                      <a:pt x="17663" y="11342"/>
                    </a:lnTo>
                    <a:lnTo>
                      <a:pt x="17876" y="11197"/>
                    </a:lnTo>
                    <a:lnTo>
                      <a:pt x="18089" y="11197"/>
                    </a:lnTo>
                    <a:lnTo>
                      <a:pt x="18089" y="11125"/>
                    </a:lnTo>
                    <a:lnTo>
                      <a:pt x="18195" y="11125"/>
                    </a:lnTo>
                    <a:lnTo>
                      <a:pt x="18195" y="11197"/>
                    </a:lnTo>
                    <a:lnTo>
                      <a:pt x="18408" y="11197"/>
                    </a:lnTo>
                    <a:lnTo>
                      <a:pt x="18408" y="11486"/>
                    </a:lnTo>
                    <a:lnTo>
                      <a:pt x="18195" y="11486"/>
                    </a:lnTo>
                    <a:lnTo>
                      <a:pt x="18195" y="12859"/>
                    </a:lnTo>
                    <a:lnTo>
                      <a:pt x="18833" y="12859"/>
                    </a:lnTo>
                    <a:lnTo>
                      <a:pt x="18833" y="13003"/>
                    </a:lnTo>
                    <a:lnTo>
                      <a:pt x="18940" y="13003"/>
                    </a:lnTo>
                    <a:lnTo>
                      <a:pt x="18940" y="12859"/>
                    </a:lnTo>
                    <a:lnTo>
                      <a:pt x="19366" y="12859"/>
                    </a:lnTo>
                    <a:lnTo>
                      <a:pt x="19366" y="12714"/>
                    </a:lnTo>
                    <a:lnTo>
                      <a:pt x="20110" y="12714"/>
                    </a:lnTo>
                    <a:lnTo>
                      <a:pt x="20110" y="12859"/>
                    </a:lnTo>
                    <a:lnTo>
                      <a:pt x="20323" y="13003"/>
                    </a:lnTo>
                    <a:lnTo>
                      <a:pt x="20323" y="13148"/>
                    </a:lnTo>
                    <a:lnTo>
                      <a:pt x="20430" y="13148"/>
                    </a:lnTo>
                    <a:lnTo>
                      <a:pt x="20430" y="13365"/>
                    </a:lnTo>
                    <a:lnTo>
                      <a:pt x="20642" y="13365"/>
                    </a:lnTo>
                    <a:lnTo>
                      <a:pt x="20642" y="13509"/>
                    </a:lnTo>
                    <a:lnTo>
                      <a:pt x="21068" y="13726"/>
                    </a:lnTo>
                    <a:lnTo>
                      <a:pt x="21068" y="14015"/>
                    </a:lnTo>
                    <a:lnTo>
                      <a:pt x="21174" y="14015"/>
                    </a:lnTo>
                    <a:lnTo>
                      <a:pt x="21174" y="14159"/>
                    </a:lnTo>
                    <a:lnTo>
                      <a:pt x="21387" y="14231"/>
                    </a:lnTo>
                    <a:lnTo>
                      <a:pt x="21387" y="14520"/>
                    </a:lnTo>
                    <a:lnTo>
                      <a:pt x="21600" y="14520"/>
                    </a:lnTo>
                    <a:lnTo>
                      <a:pt x="21600" y="14665"/>
                    </a:lnTo>
                    <a:lnTo>
                      <a:pt x="21387" y="14737"/>
                    </a:lnTo>
                    <a:lnTo>
                      <a:pt x="21387" y="14882"/>
                    </a:lnTo>
                    <a:lnTo>
                      <a:pt x="21174" y="14882"/>
                    </a:lnTo>
                    <a:lnTo>
                      <a:pt x="21174" y="15026"/>
                    </a:lnTo>
                    <a:lnTo>
                      <a:pt x="21068" y="15171"/>
                    </a:lnTo>
                    <a:lnTo>
                      <a:pt x="21068" y="16254"/>
                    </a:lnTo>
                    <a:lnTo>
                      <a:pt x="21174" y="16399"/>
                    </a:lnTo>
                    <a:lnTo>
                      <a:pt x="21174" y="16688"/>
                    </a:lnTo>
                    <a:lnTo>
                      <a:pt x="21068" y="16760"/>
                    </a:lnTo>
                    <a:lnTo>
                      <a:pt x="21068" y="16904"/>
                    </a:lnTo>
                    <a:lnTo>
                      <a:pt x="20855" y="16904"/>
                    </a:lnTo>
                    <a:lnTo>
                      <a:pt x="20642" y="17049"/>
                    </a:lnTo>
                    <a:lnTo>
                      <a:pt x="20642" y="17193"/>
                    </a:lnTo>
                    <a:lnTo>
                      <a:pt x="20430" y="17193"/>
                    </a:lnTo>
                    <a:lnTo>
                      <a:pt x="20430" y="17699"/>
                    </a:lnTo>
                    <a:lnTo>
                      <a:pt x="20642" y="17699"/>
                    </a:lnTo>
                    <a:lnTo>
                      <a:pt x="20855" y="17771"/>
                    </a:lnTo>
                    <a:lnTo>
                      <a:pt x="20855" y="17916"/>
                    </a:lnTo>
                    <a:lnTo>
                      <a:pt x="20642" y="17916"/>
                    </a:lnTo>
                    <a:lnTo>
                      <a:pt x="20642" y="18060"/>
                    </a:lnTo>
                    <a:lnTo>
                      <a:pt x="20430" y="18060"/>
                    </a:lnTo>
                    <a:lnTo>
                      <a:pt x="20430" y="18421"/>
                    </a:lnTo>
                    <a:lnTo>
                      <a:pt x="20642" y="18421"/>
                    </a:lnTo>
                    <a:lnTo>
                      <a:pt x="20642" y="18638"/>
                    </a:lnTo>
                    <a:lnTo>
                      <a:pt x="20855" y="18638"/>
                    </a:lnTo>
                    <a:lnTo>
                      <a:pt x="20855" y="19072"/>
                    </a:lnTo>
                    <a:lnTo>
                      <a:pt x="21387" y="19072"/>
                    </a:lnTo>
                    <a:lnTo>
                      <a:pt x="21387" y="19144"/>
                    </a:lnTo>
                    <a:lnTo>
                      <a:pt x="21174" y="19288"/>
                    </a:lnTo>
                    <a:lnTo>
                      <a:pt x="21068" y="19288"/>
                    </a:lnTo>
                    <a:lnTo>
                      <a:pt x="21068" y="19433"/>
                    </a:lnTo>
                    <a:lnTo>
                      <a:pt x="20855" y="19433"/>
                    </a:lnTo>
                    <a:lnTo>
                      <a:pt x="20855" y="19577"/>
                    </a:lnTo>
                    <a:lnTo>
                      <a:pt x="20642" y="19577"/>
                    </a:lnTo>
                    <a:lnTo>
                      <a:pt x="20642" y="19794"/>
                    </a:lnTo>
                    <a:lnTo>
                      <a:pt x="20323" y="19938"/>
                    </a:lnTo>
                    <a:lnTo>
                      <a:pt x="19898" y="20155"/>
                    </a:lnTo>
                    <a:lnTo>
                      <a:pt x="19898" y="20300"/>
                    </a:lnTo>
                    <a:lnTo>
                      <a:pt x="20110" y="20300"/>
                    </a:lnTo>
                    <a:lnTo>
                      <a:pt x="20110" y="20444"/>
                    </a:lnTo>
                    <a:lnTo>
                      <a:pt x="19685" y="20661"/>
                    </a:lnTo>
                    <a:lnTo>
                      <a:pt x="19578" y="20661"/>
                    </a:lnTo>
                    <a:lnTo>
                      <a:pt x="19578" y="21094"/>
                    </a:lnTo>
                    <a:lnTo>
                      <a:pt x="19685" y="21094"/>
                    </a:lnTo>
                    <a:lnTo>
                      <a:pt x="19685" y="21167"/>
                    </a:lnTo>
                    <a:lnTo>
                      <a:pt x="19578" y="21167"/>
                    </a:lnTo>
                    <a:lnTo>
                      <a:pt x="19578" y="21311"/>
                    </a:lnTo>
                    <a:lnTo>
                      <a:pt x="19153" y="21311"/>
                    </a:lnTo>
                    <a:lnTo>
                      <a:pt x="19153" y="21456"/>
                    </a:lnTo>
                    <a:lnTo>
                      <a:pt x="18833" y="21456"/>
                    </a:lnTo>
                    <a:lnTo>
                      <a:pt x="18621" y="21600"/>
                    </a:lnTo>
                    <a:lnTo>
                      <a:pt x="18621" y="21456"/>
                    </a:lnTo>
                    <a:lnTo>
                      <a:pt x="18408" y="21456"/>
                    </a:lnTo>
                    <a:lnTo>
                      <a:pt x="18195" y="21311"/>
                    </a:lnTo>
                    <a:lnTo>
                      <a:pt x="18195" y="21167"/>
                    </a:lnTo>
                    <a:lnTo>
                      <a:pt x="17876" y="21167"/>
                    </a:lnTo>
                    <a:lnTo>
                      <a:pt x="17876" y="21094"/>
                    </a:lnTo>
                    <a:lnTo>
                      <a:pt x="17663" y="21094"/>
                    </a:lnTo>
                    <a:lnTo>
                      <a:pt x="17663" y="20950"/>
                    </a:lnTo>
                    <a:lnTo>
                      <a:pt x="17344" y="20950"/>
                    </a:lnTo>
                    <a:lnTo>
                      <a:pt x="17344" y="20805"/>
                    </a:lnTo>
                    <a:lnTo>
                      <a:pt x="16918" y="20805"/>
                    </a:lnTo>
                    <a:lnTo>
                      <a:pt x="16918" y="20661"/>
                    </a:lnTo>
                    <a:lnTo>
                      <a:pt x="16705" y="20589"/>
                    </a:lnTo>
                    <a:lnTo>
                      <a:pt x="16705" y="20300"/>
                    </a:lnTo>
                    <a:lnTo>
                      <a:pt x="16599" y="20155"/>
                    </a:lnTo>
                    <a:lnTo>
                      <a:pt x="16386" y="20155"/>
                    </a:lnTo>
                    <a:lnTo>
                      <a:pt x="16386" y="20083"/>
                    </a:lnTo>
                    <a:lnTo>
                      <a:pt x="15961" y="20083"/>
                    </a:lnTo>
                    <a:lnTo>
                      <a:pt x="15854" y="19938"/>
                    </a:lnTo>
                    <a:lnTo>
                      <a:pt x="15854" y="19794"/>
                    </a:lnTo>
                    <a:lnTo>
                      <a:pt x="15429" y="19794"/>
                    </a:lnTo>
                    <a:lnTo>
                      <a:pt x="15429" y="19649"/>
                    </a:lnTo>
                    <a:lnTo>
                      <a:pt x="15322" y="19649"/>
                    </a:lnTo>
                    <a:lnTo>
                      <a:pt x="15109" y="19577"/>
                    </a:lnTo>
                    <a:lnTo>
                      <a:pt x="14684" y="19577"/>
                    </a:lnTo>
                    <a:lnTo>
                      <a:pt x="14684" y="19433"/>
                    </a:lnTo>
                    <a:lnTo>
                      <a:pt x="14365" y="19433"/>
                    </a:lnTo>
                    <a:lnTo>
                      <a:pt x="14365" y="19288"/>
                    </a:lnTo>
                    <a:lnTo>
                      <a:pt x="13833" y="19288"/>
                    </a:lnTo>
                    <a:lnTo>
                      <a:pt x="13833" y="19144"/>
                    </a:lnTo>
                    <a:lnTo>
                      <a:pt x="13620" y="19144"/>
                    </a:lnTo>
                    <a:lnTo>
                      <a:pt x="13194" y="19072"/>
                    </a:lnTo>
                    <a:lnTo>
                      <a:pt x="13088" y="19072"/>
                    </a:lnTo>
                    <a:lnTo>
                      <a:pt x="12662" y="18783"/>
                    </a:lnTo>
                    <a:lnTo>
                      <a:pt x="12343" y="18783"/>
                    </a:lnTo>
                    <a:lnTo>
                      <a:pt x="11917" y="18566"/>
                    </a:lnTo>
                    <a:lnTo>
                      <a:pt x="11704" y="18566"/>
                    </a:lnTo>
                    <a:lnTo>
                      <a:pt x="11704" y="18421"/>
                    </a:lnTo>
                    <a:lnTo>
                      <a:pt x="11598" y="18421"/>
                    </a:lnTo>
                    <a:lnTo>
                      <a:pt x="11172" y="18277"/>
                    </a:lnTo>
                    <a:lnTo>
                      <a:pt x="10960" y="18132"/>
                    </a:lnTo>
                    <a:lnTo>
                      <a:pt x="10853" y="18132"/>
                    </a:lnTo>
                    <a:lnTo>
                      <a:pt x="10640" y="18060"/>
                    </a:lnTo>
                    <a:lnTo>
                      <a:pt x="10640" y="17916"/>
                    </a:lnTo>
                    <a:lnTo>
                      <a:pt x="10428" y="17916"/>
                    </a:lnTo>
                    <a:lnTo>
                      <a:pt x="10428" y="17771"/>
                    </a:lnTo>
                    <a:lnTo>
                      <a:pt x="10215" y="17771"/>
                    </a:lnTo>
                    <a:lnTo>
                      <a:pt x="10215" y="17699"/>
                    </a:lnTo>
                    <a:lnTo>
                      <a:pt x="10108" y="17699"/>
                    </a:lnTo>
                    <a:lnTo>
                      <a:pt x="10108" y="17555"/>
                    </a:lnTo>
                    <a:lnTo>
                      <a:pt x="9896" y="17410"/>
                    </a:lnTo>
                    <a:lnTo>
                      <a:pt x="9683" y="17410"/>
                    </a:lnTo>
                    <a:lnTo>
                      <a:pt x="9683" y="17266"/>
                    </a:lnTo>
                    <a:lnTo>
                      <a:pt x="9470" y="17266"/>
                    </a:lnTo>
                    <a:lnTo>
                      <a:pt x="9364" y="17193"/>
                    </a:lnTo>
                    <a:lnTo>
                      <a:pt x="9151" y="17193"/>
                    </a:lnTo>
                    <a:lnTo>
                      <a:pt x="9151" y="17049"/>
                    </a:lnTo>
                    <a:lnTo>
                      <a:pt x="8938" y="17049"/>
                    </a:lnTo>
                    <a:lnTo>
                      <a:pt x="8938" y="16688"/>
                    </a:lnTo>
                    <a:lnTo>
                      <a:pt x="8725" y="16688"/>
                    </a:lnTo>
                    <a:lnTo>
                      <a:pt x="8725" y="16543"/>
                    </a:lnTo>
                    <a:lnTo>
                      <a:pt x="8619" y="16543"/>
                    </a:lnTo>
                    <a:lnTo>
                      <a:pt x="8619" y="16399"/>
                    </a:lnTo>
                    <a:lnTo>
                      <a:pt x="8406" y="16399"/>
                    </a:lnTo>
                    <a:lnTo>
                      <a:pt x="8406" y="16182"/>
                    </a:lnTo>
                    <a:lnTo>
                      <a:pt x="8725" y="15893"/>
                    </a:lnTo>
                    <a:lnTo>
                      <a:pt x="8725" y="15676"/>
                    </a:lnTo>
                    <a:lnTo>
                      <a:pt x="8619" y="15532"/>
                    </a:lnTo>
                    <a:lnTo>
                      <a:pt x="8619" y="15387"/>
                    </a:lnTo>
                    <a:lnTo>
                      <a:pt x="8406" y="15387"/>
                    </a:lnTo>
                    <a:lnTo>
                      <a:pt x="8406" y="15243"/>
                    </a:lnTo>
                    <a:lnTo>
                      <a:pt x="8193" y="15171"/>
                    </a:lnTo>
                    <a:lnTo>
                      <a:pt x="8193" y="15026"/>
                    </a:lnTo>
                    <a:lnTo>
                      <a:pt x="7980" y="14882"/>
                    </a:lnTo>
                    <a:lnTo>
                      <a:pt x="7980" y="14737"/>
                    </a:lnTo>
                    <a:lnTo>
                      <a:pt x="7874" y="14737"/>
                    </a:lnTo>
                    <a:lnTo>
                      <a:pt x="7661" y="14665"/>
                    </a:lnTo>
                    <a:lnTo>
                      <a:pt x="7448" y="14376"/>
                    </a:lnTo>
                    <a:lnTo>
                      <a:pt x="7235" y="14231"/>
                    </a:lnTo>
                    <a:lnTo>
                      <a:pt x="7235" y="14159"/>
                    </a:lnTo>
                    <a:lnTo>
                      <a:pt x="7129" y="14015"/>
                    </a:lnTo>
                    <a:lnTo>
                      <a:pt x="7129" y="13654"/>
                    </a:lnTo>
                    <a:lnTo>
                      <a:pt x="6916" y="13654"/>
                    </a:lnTo>
                    <a:lnTo>
                      <a:pt x="6916" y="13509"/>
                    </a:lnTo>
                    <a:lnTo>
                      <a:pt x="6703" y="13509"/>
                    </a:lnTo>
                    <a:lnTo>
                      <a:pt x="6703" y="13365"/>
                    </a:lnTo>
                    <a:lnTo>
                      <a:pt x="6491" y="13365"/>
                    </a:lnTo>
                    <a:lnTo>
                      <a:pt x="6491" y="13220"/>
                    </a:lnTo>
                    <a:lnTo>
                      <a:pt x="6384" y="13220"/>
                    </a:lnTo>
                    <a:lnTo>
                      <a:pt x="6384" y="13148"/>
                    </a:lnTo>
                    <a:lnTo>
                      <a:pt x="6171" y="13148"/>
                    </a:lnTo>
                    <a:lnTo>
                      <a:pt x="6171" y="12642"/>
                    </a:lnTo>
                    <a:lnTo>
                      <a:pt x="5746" y="12353"/>
                    </a:lnTo>
                    <a:lnTo>
                      <a:pt x="5639" y="12136"/>
                    </a:lnTo>
                    <a:lnTo>
                      <a:pt x="5639" y="11847"/>
                    </a:lnTo>
                    <a:lnTo>
                      <a:pt x="5427" y="11847"/>
                    </a:lnTo>
                    <a:lnTo>
                      <a:pt x="5427" y="11631"/>
                    </a:lnTo>
                    <a:lnTo>
                      <a:pt x="5214" y="11486"/>
                    </a:lnTo>
                    <a:lnTo>
                      <a:pt x="5107" y="11197"/>
                    </a:lnTo>
                    <a:lnTo>
                      <a:pt x="5107" y="11125"/>
                    </a:lnTo>
                    <a:lnTo>
                      <a:pt x="4895" y="11125"/>
                    </a:lnTo>
                    <a:lnTo>
                      <a:pt x="4895" y="10836"/>
                    </a:lnTo>
                    <a:lnTo>
                      <a:pt x="4682" y="10764"/>
                    </a:lnTo>
                    <a:lnTo>
                      <a:pt x="4682" y="10619"/>
                    </a:lnTo>
                    <a:lnTo>
                      <a:pt x="4469" y="10475"/>
                    </a:lnTo>
                    <a:lnTo>
                      <a:pt x="4469" y="10258"/>
                    </a:lnTo>
                    <a:lnTo>
                      <a:pt x="4363" y="10258"/>
                    </a:lnTo>
                    <a:lnTo>
                      <a:pt x="4363" y="10114"/>
                    </a:lnTo>
                    <a:lnTo>
                      <a:pt x="4150" y="9969"/>
                    </a:lnTo>
                    <a:lnTo>
                      <a:pt x="4150" y="9753"/>
                    </a:lnTo>
                    <a:lnTo>
                      <a:pt x="3405" y="9247"/>
                    </a:lnTo>
                    <a:lnTo>
                      <a:pt x="3405" y="9102"/>
                    </a:lnTo>
                    <a:lnTo>
                      <a:pt x="3192" y="8958"/>
                    </a:lnTo>
                    <a:lnTo>
                      <a:pt x="3192" y="8813"/>
                    </a:lnTo>
                    <a:lnTo>
                      <a:pt x="2979" y="8813"/>
                    </a:lnTo>
                    <a:lnTo>
                      <a:pt x="2979" y="8597"/>
                    </a:lnTo>
                    <a:lnTo>
                      <a:pt x="2873" y="8597"/>
                    </a:lnTo>
                    <a:lnTo>
                      <a:pt x="2873" y="8452"/>
                    </a:lnTo>
                    <a:lnTo>
                      <a:pt x="2447" y="8235"/>
                    </a:lnTo>
                    <a:lnTo>
                      <a:pt x="2234" y="7946"/>
                    </a:lnTo>
                    <a:lnTo>
                      <a:pt x="2234" y="7802"/>
                    </a:lnTo>
                    <a:lnTo>
                      <a:pt x="2128" y="7802"/>
                    </a:lnTo>
                    <a:lnTo>
                      <a:pt x="1702" y="7585"/>
                    </a:lnTo>
                    <a:lnTo>
                      <a:pt x="1383" y="7441"/>
                    </a:lnTo>
                    <a:lnTo>
                      <a:pt x="1170" y="7296"/>
                    </a:lnTo>
                    <a:lnTo>
                      <a:pt x="745" y="7296"/>
                    </a:lnTo>
                    <a:lnTo>
                      <a:pt x="638" y="7224"/>
                    </a:lnTo>
                    <a:lnTo>
                      <a:pt x="426" y="7224"/>
                    </a:lnTo>
                    <a:lnTo>
                      <a:pt x="213" y="7080"/>
                    </a:lnTo>
                    <a:lnTo>
                      <a:pt x="638" y="6791"/>
                    </a:lnTo>
                    <a:lnTo>
                      <a:pt x="745" y="6791"/>
                    </a:lnTo>
                    <a:lnTo>
                      <a:pt x="745" y="6574"/>
                    </a:lnTo>
                    <a:lnTo>
                      <a:pt x="638" y="6574"/>
                    </a:lnTo>
                    <a:lnTo>
                      <a:pt x="638" y="6285"/>
                    </a:lnTo>
                    <a:lnTo>
                      <a:pt x="426" y="6285"/>
                    </a:lnTo>
                    <a:lnTo>
                      <a:pt x="213" y="6213"/>
                    </a:lnTo>
                    <a:lnTo>
                      <a:pt x="213" y="5779"/>
                    </a:lnTo>
                    <a:lnTo>
                      <a:pt x="0" y="5779"/>
                    </a:lnTo>
                    <a:lnTo>
                      <a:pt x="0" y="5057"/>
                    </a:lnTo>
                    <a:lnTo>
                      <a:pt x="638" y="4696"/>
                    </a:lnTo>
                    <a:lnTo>
                      <a:pt x="638" y="4551"/>
                    </a:lnTo>
                    <a:lnTo>
                      <a:pt x="958" y="4407"/>
                    </a:lnTo>
                    <a:lnTo>
                      <a:pt x="1702" y="3901"/>
                    </a:lnTo>
                    <a:lnTo>
                      <a:pt x="1702" y="4190"/>
                    </a:lnTo>
                    <a:lnTo>
                      <a:pt x="1915" y="4334"/>
                    </a:lnTo>
                    <a:lnTo>
                      <a:pt x="1915" y="4551"/>
                    </a:lnTo>
                    <a:lnTo>
                      <a:pt x="1702" y="4551"/>
                    </a:lnTo>
                    <a:lnTo>
                      <a:pt x="1702" y="4696"/>
                    </a:lnTo>
                    <a:lnTo>
                      <a:pt x="1383" y="4696"/>
                    </a:lnTo>
                    <a:lnTo>
                      <a:pt x="1383" y="4912"/>
                    </a:lnTo>
                    <a:lnTo>
                      <a:pt x="1490" y="4912"/>
                    </a:lnTo>
                    <a:lnTo>
                      <a:pt x="1383" y="5057"/>
                    </a:lnTo>
                    <a:lnTo>
                      <a:pt x="1383" y="5201"/>
                    </a:lnTo>
                    <a:lnTo>
                      <a:pt x="1915" y="5201"/>
                    </a:lnTo>
                    <a:lnTo>
                      <a:pt x="1915" y="5057"/>
                    </a:lnTo>
                    <a:lnTo>
                      <a:pt x="2447" y="5057"/>
                    </a:lnTo>
                    <a:lnTo>
                      <a:pt x="2447" y="5201"/>
                    </a:lnTo>
                    <a:lnTo>
                      <a:pt x="2979" y="5201"/>
                    </a:lnTo>
                    <a:lnTo>
                      <a:pt x="2979" y="5274"/>
                    </a:lnTo>
                    <a:lnTo>
                      <a:pt x="3192" y="5418"/>
                    </a:lnTo>
                    <a:lnTo>
                      <a:pt x="3192" y="5707"/>
                    </a:lnTo>
                    <a:lnTo>
                      <a:pt x="3618" y="5707"/>
                    </a:lnTo>
                    <a:lnTo>
                      <a:pt x="3618" y="5779"/>
                    </a:lnTo>
                    <a:lnTo>
                      <a:pt x="3937" y="5779"/>
                    </a:lnTo>
                    <a:lnTo>
                      <a:pt x="3937" y="5707"/>
                    </a:lnTo>
                    <a:lnTo>
                      <a:pt x="4150" y="5707"/>
                    </a:lnTo>
                    <a:lnTo>
                      <a:pt x="4150" y="5563"/>
                    </a:lnTo>
                    <a:lnTo>
                      <a:pt x="4363" y="5563"/>
                    </a:lnTo>
                    <a:lnTo>
                      <a:pt x="4363" y="5418"/>
                    </a:lnTo>
                    <a:lnTo>
                      <a:pt x="4682" y="5201"/>
                    </a:lnTo>
                    <a:lnTo>
                      <a:pt x="4682" y="4912"/>
                    </a:lnTo>
                    <a:lnTo>
                      <a:pt x="4895" y="4912"/>
                    </a:lnTo>
                    <a:lnTo>
                      <a:pt x="4895" y="4551"/>
                    </a:lnTo>
                    <a:lnTo>
                      <a:pt x="5107" y="4407"/>
                    </a:lnTo>
                    <a:lnTo>
                      <a:pt x="5107" y="4045"/>
                    </a:lnTo>
                    <a:lnTo>
                      <a:pt x="5427" y="4045"/>
                    </a:lnTo>
                    <a:lnTo>
                      <a:pt x="5427" y="3829"/>
                    </a:lnTo>
                    <a:lnTo>
                      <a:pt x="5639" y="3829"/>
                    </a:lnTo>
                    <a:lnTo>
                      <a:pt x="5639" y="3684"/>
                    </a:lnTo>
                    <a:lnTo>
                      <a:pt x="5746" y="3684"/>
                    </a:lnTo>
                    <a:lnTo>
                      <a:pt x="5746" y="3540"/>
                    </a:lnTo>
                    <a:lnTo>
                      <a:pt x="5959" y="3540"/>
                    </a:lnTo>
                    <a:lnTo>
                      <a:pt x="5959" y="3395"/>
                    </a:lnTo>
                    <a:lnTo>
                      <a:pt x="6491" y="3395"/>
                    </a:lnTo>
                    <a:lnTo>
                      <a:pt x="6491" y="3323"/>
                    </a:lnTo>
                    <a:lnTo>
                      <a:pt x="7129" y="3323"/>
                    </a:lnTo>
                    <a:lnTo>
                      <a:pt x="7235" y="3179"/>
                    </a:lnTo>
                    <a:lnTo>
                      <a:pt x="7448" y="3179"/>
                    </a:lnTo>
                    <a:lnTo>
                      <a:pt x="7661" y="3034"/>
                    </a:lnTo>
                    <a:lnTo>
                      <a:pt x="7980" y="3034"/>
                    </a:lnTo>
                    <a:lnTo>
                      <a:pt x="8406" y="2817"/>
                    </a:lnTo>
                    <a:lnTo>
                      <a:pt x="8406" y="2673"/>
                    </a:lnTo>
                    <a:lnTo>
                      <a:pt x="8619" y="2673"/>
                    </a:lnTo>
                    <a:lnTo>
                      <a:pt x="9151" y="2312"/>
                    </a:lnTo>
                    <a:lnTo>
                      <a:pt x="9364" y="2312"/>
                    </a:lnTo>
                    <a:lnTo>
                      <a:pt x="9364" y="2167"/>
                    </a:lnTo>
                    <a:lnTo>
                      <a:pt x="9896" y="1806"/>
                    </a:lnTo>
                    <a:lnTo>
                      <a:pt x="9896" y="1662"/>
                    </a:lnTo>
                    <a:lnTo>
                      <a:pt x="10108" y="1662"/>
                    </a:lnTo>
                    <a:lnTo>
                      <a:pt x="10108" y="1373"/>
                    </a:lnTo>
                    <a:lnTo>
                      <a:pt x="10215" y="1373"/>
                    </a:lnTo>
                    <a:lnTo>
                      <a:pt x="10215" y="1300"/>
                    </a:lnTo>
                    <a:lnTo>
                      <a:pt x="10428" y="1156"/>
                    </a:lnTo>
                    <a:lnTo>
                      <a:pt x="10428" y="867"/>
                    </a:lnTo>
                    <a:lnTo>
                      <a:pt x="10215" y="867"/>
                    </a:lnTo>
                    <a:lnTo>
                      <a:pt x="10215" y="650"/>
                    </a:lnTo>
                    <a:lnTo>
                      <a:pt x="10108" y="650"/>
                    </a:lnTo>
                    <a:lnTo>
                      <a:pt x="10108" y="361"/>
                    </a:lnTo>
                    <a:lnTo>
                      <a:pt x="9896" y="361"/>
                    </a:lnTo>
                    <a:lnTo>
                      <a:pt x="9896" y="289"/>
                    </a:lnTo>
                    <a:lnTo>
                      <a:pt x="9683" y="289"/>
                    </a:lnTo>
                    <a:lnTo>
                      <a:pt x="9683" y="144"/>
                    </a:lnTo>
                    <a:lnTo>
                      <a:pt x="10428" y="144"/>
                    </a:lnTo>
                    <a:lnTo>
                      <a:pt x="10428" y="0"/>
                    </a:lnTo>
                    <a:close/>
                    <a:moveTo>
                      <a:pt x="10428" y="0"/>
                    </a:moveTo>
                  </a:path>
                </a:pathLst>
              </a:custGeom>
              <a:solidFill>
                <a:srgbClr val="00BACF"/>
              </a:solidFill>
              <a:ln w="12700">
                <a:solidFill>
                  <a:srgbClr val="FFFFFF"/>
                </a:solidFill>
                <a:round/>
                <a:headEnd/>
                <a:tailEnd/>
              </a:ln>
            </p:spPr>
            <p:txBody>
              <a:bodyPr lIns="0" tIns="0" rIns="0" bIns="0"/>
              <a:lstStyle/>
              <a:p>
                <a:endParaRPr lang="es-ES"/>
              </a:p>
            </p:txBody>
          </p:sp>
          <p:sp>
            <p:nvSpPr>
              <p:cNvPr id="15410" name="AutoShape 55"/>
              <p:cNvSpPr>
                <a:spLocks/>
              </p:cNvSpPr>
              <p:nvPr/>
            </p:nvSpPr>
            <p:spPr bwMode="auto">
              <a:xfrm>
                <a:off x="2593" y="4171"/>
                <a:ext cx="87" cy="55"/>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1600"/>
                  <a:gd name="T148" fmla="*/ 0 h 21600"/>
                  <a:gd name="T149" fmla="*/ 21600 w 21600"/>
                  <a:gd name="T150" fmla="*/ 21600 h 2160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1600" h="21600">
                    <a:moveTo>
                      <a:pt x="5040" y="7958"/>
                    </a:moveTo>
                    <a:lnTo>
                      <a:pt x="6480" y="7958"/>
                    </a:lnTo>
                    <a:lnTo>
                      <a:pt x="6480" y="10232"/>
                    </a:lnTo>
                    <a:lnTo>
                      <a:pt x="5040" y="10232"/>
                    </a:lnTo>
                    <a:lnTo>
                      <a:pt x="5040" y="7958"/>
                    </a:lnTo>
                    <a:close/>
                    <a:moveTo>
                      <a:pt x="18720" y="0"/>
                    </a:moveTo>
                    <a:lnTo>
                      <a:pt x="20160" y="0"/>
                    </a:lnTo>
                    <a:lnTo>
                      <a:pt x="20160" y="2274"/>
                    </a:lnTo>
                    <a:lnTo>
                      <a:pt x="21600" y="2274"/>
                    </a:lnTo>
                    <a:lnTo>
                      <a:pt x="21600" y="4547"/>
                    </a:lnTo>
                    <a:lnTo>
                      <a:pt x="20160" y="4547"/>
                    </a:lnTo>
                    <a:lnTo>
                      <a:pt x="20160" y="5684"/>
                    </a:lnTo>
                    <a:lnTo>
                      <a:pt x="18720" y="5684"/>
                    </a:lnTo>
                    <a:lnTo>
                      <a:pt x="18720" y="7958"/>
                    </a:lnTo>
                    <a:lnTo>
                      <a:pt x="16560" y="7958"/>
                    </a:lnTo>
                    <a:lnTo>
                      <a:pt x="16560" y="10232"/>
                    </a:lnTo>
                    <a:lnTo>
                      <a:pt x="13680" y="13642"/>
                    </a:lnTo>
                    <a:lnTo>
                      <a:pt x="13680" y="15916"/>
                    </a:lnTo>
                    <a:lnTo>
                      <a:pt x="8640" y="15916"/>
                    </a:lnTo>
                    <a:lnTo>
                      <a:pt x="8640" y="20463"/>
                    </a:lnTo>
                    <a:lnTo>
                      <a:pt x="6480" y="20463"/>
                    </a:lnTo>
                    <a:lnTo>
                      <a:pt x="5040" y="21600"/>
                    </a:lnTo>
                    <a:lnTo>
                      <a:pt x="3600" y="21600"/>
                    </a:lnTo>
                    <a:lnTo>
                      <a:pt x="3600" y="20463"/>
                    </a:lnTo>
                    <a:lnTo>
                      <a:pt x="2880" y="20463"/>
                    </a:lnTo>
                    <a:lnTo>
                      <a:pt x="0" y="15916"/>
                    </a:lnTo>
                    <a:lnTo>
                      <a:pt x="2880" y="15916"/>
                    </a:lnTo>
                    <a:lnTo>
                      <a:pt x="3600" y="13642"/>
                    </a:lnTo>
                    <a:lnTo>
                      <a:pt x="3600" y="15916"/>
                    </a:lnTo>
                    <a:lnTo>
                      <a:pt x="6480" y="15916"/>
                    </a:lnTo>
                    <a:lnTo>
                      <a:pt x="6480" y="12505"/>
                    </a:lnTo>
                    <a:lnTo>
                      <a:pt x="7920" y="10232"/>
                    </a:lnTo>
                    <a:lnTo>
                      <a:pt x="7920" y="7958"/>
                    </a:lnTo>
                    <a:lnTo>
                      <a:pt x="8640" y="7958"/>
                    </a:lnTo>
                    <a:lnTo>
                      <a:pt x="7920" y="5684"/>
                    </a:lnTo>
                    <a:lnTo>
                      <a:pt x="6480" y="5684"/>
                    </a:lnTo>
                    <a:lnTo>
                      <a:pt x="6480" y="2274"/>
                    </a:lnTo>
                    <a:lnTo>
                      <a:pt x="7920" y="2274"/>
                    </a:lnTo>
                    <a:lnTo>
                      <a:pt x="7920" y="4547"/>
                    </a:lnTo>
                    <a:lnTo>
                      <a:pt x="8640" y="4547"/>
                    </a:lnTo>
                    <a:lnTo>
                      <a:pt x="10080" y="2274"/>
                    </a:lnTo>
                    <a:lnTo>
                      <a:pt x="17280" y="2274"/>
                    </a:lnTo>
                    <a:lnTo>
                      <a:pt x="18720" y="0"/>
                    </a:lnTo>
                    <a:close/>
                    <a:moveTo>
                      <a:pt x="5040" y="0"/>
                    </a:moveTo>
                    <a:lnTo>
                      <a:pt x="6480" y="0"/>
                    </a:lnTo>
                    <a:lnTo>
                      <a:pt x="6480" y="2274"/>
                    </a:lnTo>
                    <a:lnTo>
                      <a:pt x="5040" y="2274"/>
                    </a:lnTo>
                    <a:lnTo>
                      <a:pt x="5040" y="0"/>
                    </a:lnTo>
                    <a:close/>
                    <a:moveTo>
                      <a:pt x="5040" y="0"/>
                    </a:moveTo>
                  </a:path>
                </a:pathLst>
              </a:custGeom>
              <a:solidFill>
                <a:srgbClr val="00BACF"/>
              </a:solidFill>
              <a:ln w="12700">
                <a:solidFill>
                  <a:srgbClr val="FFFFFF"/>
                </a:solidFill>
                <a:round/>
                <a:headEnd/>
                <a:tailEnd/>
              </a:ln>
            </p:spPr>
            <p:txBody>
              <a:bodyPr lIns="0" tIns="0" rIns="0" bIns="0"/>
              <a:lstStyle/>
              <a:p>
                <a:endParaRPr lang="es-ES"/>
              </a:p>
            </p:txBody>
          </p:sp>
          <p:sp>
            <p:nvSpPr>
              <p:cNvPr id="15411" name="AutoShape 56"/>
              <p:cNvSpPr>
                <a:spLocks/>
              </p:cNvSpPr>
              <p:nvPr/>
            </p:nvSpPr>
            <p:spPr bwMode="auto">
              <a:xfrm>
                <a:off x="2654" y="4168"/>
                <a:ext cx="95" cy="65"/>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600"/>
                  <a:gd name="T118" fmla="*/ 0 h 21600"/>
                  <a:gd name="T119" fmla="*/ 21600 w 21600"/>
                  <a:gd name="T120" fmla="*/ 21600 h 2160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600" h="21600">
                    <a:moveTo>
                      <a:pt x="17018" y="4500"/>
                    </a:moveTo>
                    <a:lnTo>
                      <a:pt x="17018" y="5400"/>
                    </a:lnTo>
                    <a:lnTo>
                      <a:pt x="18327" y="5400"/>
                    </a:lnTo>
                    <a:lnTo>
                      <a:pt x="18327" y="4500"/>
                    </a:lnTo>
                    <a:lnTo>
                      <a:pt x="17018" y="4500"/>
                    </a:lnTo>
                    <a:close/>
                    <a:moveTo>
                      <a:pt x="9164" y="900"/>
                    </a:moveTo>
                    <a:lnTo>
                      <a:pt x="15055" y="900"/>
                    </a:lnTo>
                    <a:lnTo>
                      <a:pt x="15055" y="2700"/>
                    </a:lnTo>
                    <a:lnTo>
                      <a:pt x="12436" y="2700"/>
                    </a:lnTo>
                    <a:lnTo>
                      <a:pt x="12436" y="4500"/>
                    </a:lnTo>
                    <a:lnTo>
                      <a:pt x="13745" y="4500"/>
                    </a:lnTo>
                    <a:lnTo>
                      <a:pt x="13745" y="5400"/>
                    </a:lnTo>
                    <a:lnTo>
                      <a:pt x="15709" y="5400"/>
                    </a:lnTo>
                    <a:lnTo>
                      <a:pt x="15709" y="4500"/>
                    </a:lnTo>
                    <a:lnTo>
                      <a:pt x="15055" y="4500"/>
                    </a:lnTo>
                    <a:lnTo>
                      <a:pt x="15709" y="2700"/>
                    </a:lnTo>
                    <a:lnTo>
                      <a:pt x="17018" y="2700"/>
                    </a:lnTo>
                    <a:lnTo>
                      <a:pt x="17018" y="900"/>
                    </a:lnTo>
                    <a:lnTo>
                      <a:pt x="18327" y="900"/>
                    </a:lnTo>
                    <a:lnTo>
                      <a:pt x="20291" y="4500"/>
                    </a:lnTo>
                    <a:lnTo>
                      <a:pt x="20291" y="5400"/>
                    </a:lnTo>
                    <a:lnTo>
                      <a:pt x="19636" y="5400"/>
                    </a:lnTo>
                    <a:lnTo>
                      <a:pt x="19636" y="7200"/>
                    </a:lnTo>
                    <a:lnTo>
                      <a:pt x="21600" y="7200"/>
                    </a:lnTo>
                    <a:lnTo>
                      <a:pt x="21600" y="9000"/>
                    </a:lnTo>
                    <a:lnTo>
                      <a:pt x="17018" y="9000"/>
                    </a:lnTo>
                    <a:lnTo>
                      <a:pt x="15709" y="10800"/>
                    </a:lnTo>
                    <a:lnTo>
                      <a:pt x="15709" y="11700"/>
                    </a:lnTo>
                    <a:lnTo>
                      <a:pt x="10473" y="11700"/>
                    </a:lnTo>
                    <a:lnTo>
                      <a:pt x="9164" y="10800"/>
                    </a:lnTo>
                    <a:lnTo>
                      <a:pt x="7855" y="10800"/>
                    </a:lnTo>
                    <a:lnTo>
                      <a:pt x="7855" y="11700"/>
                    </a:lnTo>
                    <a:lnTo>
                      <a:pt x="10473" y="11700"/>
                    </a:lnTo>
                    <a:lnTo>
                      <a:pt x="10473" y="13500"/>
                    </a:lnTo>
                    <a:lnTo>
                      <a:pt x="11127" y="13500"/>
                    </a:lnTo>
                    <a:lnTo>
                      <a:pt x="11127" y="15300"/>
                    </a:lnTo>
                    <a:lnTo>
                      <a:pt x="6545" y="15300"/>
                    </a:lnTo>
                    <a:lnTo>
                      <a:pt x="6545" y="13500"/>
                    </a:lnTo>
                    <a:lnTo>
                      <a:pt x="5891" y="13500"/>
                    </a:lnTo>
                    <a:lnTo>
                      <a:pt x="5891" y="15300"/>
                    </a:lnTo>
                    <a:lnTo>
                      <a:pt x="6545" y="15300"/>
                    </a:lnTo>
                    <a:lnTo>
                      <a:pt x="6545" y="18000"/>
                    </a:lnTo>
                    <a:lnTo>
                      <a:pt x="4582" y="18000"/>
                    </a:lnTo>
                    <a:lnTo>
                      <a:pt x="4582" y="17100"/>
                    </a:lnTo>
                    <a:lnTo>
                      <a:pt x="3273" y="17100"/>
                    </a:lnTo>
                    <a:lnTo>
                      <a:pt x="3273" y="18000"/>
                    </a:lnTo>
                    <a:lnTo>
                      <a:pt x="4582" y="19800"/>
                    </a:lnTo>
                    <a:lnTo>
                      <a:pt x="4582" y="21600"/>
                    </a:lnTo>
                    <a:lnTo>
                      <a:pt x="3273" y="21600"/>
                    </a:lnTo>
                    <a:lnTo>
                      <a:pt x="3273" y="19800"/>
                    </a:lnTo>
                    <a:lnTo>
                      <a:pt x="1964" y="18000"/>
                    </a:lnTo>
                    <a:lnTo>
                      <a:pt x="1309" y="18000"/>
                    </a:lnTo>
                    <a:lnTo>
                      <a:pt x="1309" y="17100"/>
                    </a:lnTo>
                    <a:lnTo>
                      <a:pt x="0" y="17100"/>
                    </a:lnTo>
                    <a:lnTo>
                      <a:pt x="0" y="15300"/>
                    </a:lnTo>
                    <a:lnTo>
                      <a:pt x="1309" y="13500"/>
                    </a:lnTo>
                    <a:lnTo>
                      <a:pt x="1964" y="13500"/>
                    </a:lnTo>
                    <a:lnTo>
                      <a:pt x="1964" y="11700"/>
                    </a:lnTo>
                    <a:lnTo>
                      <a:pt x="3273" y="10800"/>
                    </a:lnTo>
                    <a:lnTo>
                      <a:pt x="4582" y="10800"/>
                    </a:lnTo>
                    <a:lnTo>
                      <a:pt x="4582" y="9000"/>
                    </a:lnTo>
                    <a:lnTo>
                      <a:pt x="5891" y="9000"/>
                    </a:lnTo>
                    <a:lnTo>
                      <a:pt x="6545" y="7200"/>
                    </a:lnTo>
                    <a:lnTo>
                      <a:pt x="6545" y="9000"/>
                    </a:lnTo>
                    <a:lnTo>
                      <a:pt x="7855" y="9000"/>
                    </a:lnTo>
                    <a:lnTo>
                      <a:pt x="7855" y="7200"/>
                    </a:lnTo>
                    <a:lnTo>
                      <a:pt x="6545" y="5400"/>
                    </a:lnTo>
                    <a:lnTo>
                      <a:pt x="7855" y="5400"/>
                    </a:lnTo>
                    <a:lnTo>
                      <a:pt x="7855" y="4500"/>
                    </a:lnTo>
                    <a:lnTo>
                      <a:pt x="6545" y="4500"/>
                    </a:lnTo>
                    <a:lnTo>
                      <a:pt x="6545" y="2700"/>
                    </a:lnTo>
                    <a:lnTo>
                      <a:pt x="9164" y="2700"/>
                    </a:lnTo>
                    <a:lnTo>
                      <a:pt x="9164" y="900"/>
                    </a:lnTo>
                    <a:close/>
                    <a:moveTo>
                      <a:pt x="7855" y="0"/>
                    </a:moveTo>
                    <a:lnTo>
                      <a:pt x="9164" y="0"/>
                    </a:lnTo>
                    <a:lnTo>
                      <a:pt x="9164" y="900"/>
                    </a:lnTo>
                    <a:lnTo>
                      <a:pt x="7855" y="0"/>
                    </a:lnTo>
                    <a:close/>
                    <a:moveTo>
                      <a:pt x="7855" y="0"/>
                    </a:moveTo>
                  </a:path>
                </a:pathLst>
              </a:custGeom>
              <a:solidFill>
                <a:srgbClr val="00BACF"/>
              </a:solidFill>
              <a:ln w="12700">
                <a:solidFill>
                  <a:srgbClr val="FFFFFF"/>
                </a:solidFill>
                <a:round/>
                <a:headEnd/>
                <a:tailEnd/>
              </a:ln>
            </p:spPr>
            <p:txBody>
              <a:bodyPr lIns="0" tIns="0" rIns="0" bIns="0"/>
              <a:lstStyle/>
              <a:p>
                <a:endParaRPr lang="es-ES"/>
              </a:p>
            </p:txBody>
          </p:sp>
          <p:sp>
            <p:nvSpPr>
              <p:cNvPr id="15412" name="Freeform 57"/>
              <p:cNvSpPr>
                <a:spLocks/>
              </p:cNvSpPr>
              <p:nvPr/>
            </p:nvSpPr>
            <p:spPr bwMode="auto">
              <a:xfrm>
                <a:off x="1673" y="1499"/>
                <a:ext cx="265" cy="29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1600"/>
                  <a:gd name="T166" fmla="*/ 0 h 21600"/>
                  <a:gd name="T167" fmla="*/ 21600 w 21600"/>
                  <a:gd name="T168" fmla="*/ 21600 h 216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1600" h="21600">
                    <a:moveTo>
                      <a:pt x="8217" y="0"/>
                    </a:moveTo>
                    <a:lnTo>
                      <a:pt x="8452" y="0"/>
                    </a:lnTo>
                    <a:lnTo>
                      <a:pt x="8452" y="419"/>
                    </a:lnTo>
                    <a:lnTo>
                      <a:pt x="8922" y="419"/>
                    </a:lnTo>
                    <a:lnTo>
                      <a:pt x="9861" y="1258"/>
                    </a:lnTo>
                    <a:lnTo>
                      <a:pt x="10096" y="1258"/>
                    </a:lnTo>
                    <a:lnTo>
                      <a:pt x="10096" y="1468"/>
                    </a:lnTo>
                    <a:lnTo>
                      <a:pt x="10565" y="1468"/>
                    </a:lnTo>
                    <a:lnTo>
                      <a:pt x="10565" y="1887"/>
                    </a:lnTo>
                    <a:lnTo>
                      <a:pt x="12209" y="1887"/>
                    </a:lnTo>
                    <a:lnTo>
                      <a:pt x="12913" y="2726"/>
                    </a:lnTo>
                    <a:lnTo>
                      <a:pt x="12913" y="2936"/>
                    </a:lnTo>
                    <a:lnTo>
                      <a:pt x="13383" y="2936"/>
                    </a:lnTo>
                    <a:lnTo>
                      <a:pt x="13383" y="3775"/>
                    </a:lnTo>
                    <a:lnTo>
                      <a:pt x="15496" y="3775"/>
                    </a:lnTo>
                    <a:lnTo>
                      <a:pt x="15496" y="4194"/>
                    </a:lnTo>
                    <a:lnTo>
                      <a:pt x="16670" y="4194"/>
                    </a:lnTo>
                    <a:lnTo>
                      <a:pt x="17139" y="3775"/>
                    </a:lnTo>
                    <a:lnTo>
                      <a:pt x="18783" y="3775"/>
                    </a:lnTo>
                    <a:lnTo>
                      <a:pt x="18783" y="4194"/>
                    </a:lnTo>
                    <a:lnTo>
                      <a:pt x="19487" y="4194"/>
                    </a:lnTo>
                    <a:lnTo>
                      <a:pt x="19487" y="4404"/>
                    </a:lnTo>
                    <a:lnTo>
                      <a:pt x="20426" y="4404"/>
                    </a:lnTo>
                    <a:lnTo>
                      <a:pt x="20426" y="4823"/>
                    </a:lnTo>
                    <a:lnTo>
                      <a:pt x="20896" y="4823"/>
                    </a:lnTo>
                    <a:lnTo>
                      <a:pt x="20896" y="5243"/>
                    </a:lnTo>
                    <a:lnTo>
                      <a:pt x="19487" y="5243"/>
                    </a:lnTo>
                    <a:lnTo>
                      <a:pt x="19487" y="5662"/>
                    </a:lnTo>
                    <a:lnTo>
                      <a:pt x="20426" y="5662"/>
                    </a:lnTo>
                    <a:lnTo>
                      <a:pt x="20426" y="5872"/>
                    </a:lnTo>
                    <a:lnTo>
                      <a:pt x="20896" y="5872"/>
                    </a:lnTo>
                    <a:lnTo>
                      <a:pt x="20896" y="6711"/>
                    </a:lnTo>
                    <a:lnTo>
                      <a:pt x="21130" y="6711"/>
                    </a:lnTo>
                    <a:lnTo>
                      <a:pt x="21130" y="7340"/>
                    </a:lnTo>
                    <a:lnTo>
                      <a:pt x="21600" y="7759"/>
                    </a:lnTo>
                    <a:lnTo>
                      <a:pt x="21600" y="8179"/>
                    </a:lnTo>
                    <a:lnTo>
                      <a:pt x="21130" y="8179"/>
                    </a:lnTo>
                    <a:lnTo>
                      <a:pt x="21130" y="8598"/>
                    </a:lnTo>
                    <a:lnTo>
                      <a:pt x="20896" y="8598"/>
                    </a:lnTo>
                    <a:lnTo>
                      <a:pt x="20896" y="9647"/>
                    </a:lnTo>
                    <a:lnTo>
                      <a:pt x="20426" y="9647"/>
                    </a:lnTo>
                    <a:lnTo>
                      <a:pt x="20426" y="10066"/>
                    </a:lnTo>
                    <a:lnTo>
                      <a:pt x="19957" y="10066"/>
                    </a:lnTo>
                    <a:lnTo>
                      <a:pt x="19957" y="10276"/>
                    </a:lnTo>
                    <a:lnTo>
                      <a:pt x="19487" y="10276"/>
                    </a:lnTo>
                    <a:lnTo>
                      <a:pt x="19487" y="10695"/>
                    </a:lnTo>
                    <a:lnTo>
                      <a:pt x="17843" y="12163"/>
                    </a:lnTo>
                    <a:lnTo>
                      <a:pt x="17609" y="12163"/>
                    </a:lnTo>
                    <a:lnTo>
                      <a:pt x="17609" y="12583"/>
                    </a:lnTo>
                    <a:lnTo>
                      <a:pt x="17139" y="12583"/>
                    </a:lnTo>
                    <a:lnTo>
                      <a:pt x="17139" y="13002"/>
                    </a:lnTo>
                    <a:lnTo>
                      <a:pt x="16200" y="13631"/>
                    </a:lnTo>
                    <a:lnTo>
                      <a:pt x="15026" y="13631"/>
                    </a:lnTo>
                    <a:lnTo>
                      <a:pt x="15026" y="14050"/>
                    </a:lnTo>
                    <a:lnTo>
                      <a:pt x="14557" y="14050"/>
                    </a:lnTo>
                    <a:lnTo>
                      <a:pt x="14322" y="14470"/>
                    </a:lnTo>
                    <a:lnTo>
                      <a:pt x="12913" y="14470"/>
                    </a:lnTo>
                    <a:lnTo>
                      <a:pt x="12678" y="14680"/>
                    </a:lnTo>
                    <a:lnTo>
                      <a:pt x="11739" y="14680"/>
                    </a:lnTo>
                    <a:lnTo>
                      <a:pt x="11270" y="15099"/>
                    </a:lnTo>
                    <a:lnTo>
                      <a:pt x="11270" y="15518"/>
                    </a:lnTo>
                    <a:lnTo>
                      <a:pt x="11035" y="15518"/>
                    </a:lnTo>
                    <a:lnTo>
                      <a:pt x="10565" y="15938"/>
                    </a:lnTo>
                    <a:lnTo>
                      <a:pt x="10565" y="16567"/>
                    </a:lnTo>
                    <a:lnTo>
                      <a:pt x="9861" y="16567"/>
                    </a:lnTo>
                    <a:lnTo>
                      <a:pt x="9861" y="17616"/>
                    </a:lnTo>
                    <a:lnTo>
                      <a:pt x="9391" y="18035"/>
                    </a:lnTo>
                    <a:lnTo>
                      <a:pt x="9391" y="19084"/>
                    </a:lnTo>
                    <a:lnTo>
                      <a:pt x="8922" y="19084"/>
                    </a:lnTo>
                    <a:lnTo>
                      <a:pt x="8922" y="19922"/>
                    </a:lnTo>
                    <a:lnTo>
                      <a:pt x="8452" y="19922"/>
                    </a:lnTo>
                    <a:lnTo>
                      <a:pt x="8452" y="20132"/>
                    </a:lnTo>
                    <a:lnTo>
                      <a:pt x="8217" y="20132"/>
                    </a:lnTo>
                    <a:lnTo>
                      <a:pt x="8217" y="20551"/>
                    </a:lnTo>
                    <a:lnTo>
                      <a:pt x="7278" y="21390"/>
                    </a:lnTo>
                    <a:lnTo>
                      <a:pt x="7278" y="21600"/>
                    </a:lnTo>
                    <a:lnTo>
                      <a:pt x="6574" y="21600"/>
                    </a:lnTo>
                    <a:lnTo>
                      <a:pt x="6574" y="21390"/>
                    </a:lnTo>
                    <a:lnTo>
                      <a:pt x="6104" y="21390"/>
                    </a:lnTo>
                    <a:lnTo>
                      <a:pt x="6104" y="20971"/>
                    </a:lnTo>
                    <a:lnTo>
                      <a:pt x="5635" y="20971"/>
                    </a:lnTo>
                    <a:lnTo>
                      <a:pt x="5635" y="20551"/>
                    </a:lnTo>
                    <a:lnTo>
                      <a:pt x="5165" y="20132"/>
                    </a:lnTo>
                    <a:lnTo>
                      <a:pt x="5165" y="19922"/>
                    </a:lnTo>
                    <a:lnTo>
                      <a:pt x="3991" y="19922"/>
                    </a:lnTo>
                    <a:lnTo>
                      <a:pt x="3991" y="19503"/>
                    </a:lnTo>
                    <a:lnTo>
                      <a:pt x="3522" y="19503"/>
                    </a:lnTo>
                    <a:lnTo>
                      <a:pt x="3522" y="19084"/>
                    </a:lnTo>
                    <a:lnTo>
                      <a:pt x="3287" y="19084"/>
                    </a:lnTo>
                    <a:lnTo>
                      <a:pt x="2817" y="19503"/>
                    </a:lnTo>
                    <a:lnTo>
                      <a:pt x="2817" y="19922"/>
                    </a:lnTo>
                    <a:lnTo>
                      <a:pt x="1878" y="19922"/>
                    </a:lnTo>
                    <a:lnTo>
                      <a:pt x="1878" y="18664"/>
                    </a:lnTo>
                    <a:lnTo>
                      <a:pt x="1643" y="18664"/>
                    </a:lnTo>
                    <a:lnTo>
                      <a:pt x="1643" y="18454"/>
                    </a:lnTo>
                    <a:lnTo>
                      <a:pt x="2348" y="18454"/>
                    </a:lnTo>
                    <a:lnTo>
                      <a:pt x="2348" y="18035"/>
                    </a:lnTo>
                    <a:lnTo>
                      <a:pt x="3287" y="18035"/>
                    </a:lnTo>
                    <a:lnTo>
                      <a:pt x="3287" y="17616"/>
                    </a:lnTo>
                    <a:lnTo>
                      <a:pt x="2817" y="17616"/>
                    </a:lnTo>
                    <a:lnTo>
                      <a:pt x="2817" y="16986"/>
                    </a:lnTo>
                    <a:lnTo>
                      <a:pt x="2348" y="16986"/>
                    </a:lnTo>
                    <a:lnTo>
                      <a:pt x="2348" y="16148"/>
                    </a:lnTo>
                    <a:lnTo>
                      <a:pt x="3287" y="16148"/>
                    </a:lnTo>
                    <a:lnTo>
                      <a:pt x="3287" y="15938"/>
                    </a:lnTo>
                    <a:lnTo>
                      <a:pt x="3522" y="15938"/>
                    </a:lnTo>
                    <a:lnTo>
                      <a:pt x="3991" y="15518"/>
                    </a:lnTo>
                    <a:lnTo>
                      <a:pt x="3991" y="14680"/>
                    </a:lnTo>
                    <a:lnTo>
                      <a:pt x="4461" y="14470"/>
                    </a:lnTo>
                    <a:lnTo>
                      <a:pt x="4461" y="13002"/>
                    </a:lnTo>
                    <a:lnTo>
                      <a:pt x="3991" y="13002"/>
                    </a:lnTo>
                    <a:lnTo>
                      <a:pt x="3991" y="13631"/>
                    </a:lnTo>
                    <a:lnTo>
                      <a:pt x="3522" y="13631"/>
                    </a:lnTo>
                    <a:lnTo>
                      <a:pt x="3522" y="13002"/>
                    </a:lnTo>
                    <a:lnTo>
                      <a:pt x="3287" y="13002"/>
                    </a:lnTo>
                    <a:lnTo>
                      <a:pt x="3287" y="13631"/>
                    </a:lnTo>
                    <a:lnTo>
                      <a:pt x="2817" y="13631"/>
                    </a:lnTo>
                    <a:lnTo>
                      <a:pt x="2817" y="14050"/>
                    </a:lnTo>
                    <a:lnTo>
                      <a:pt x="1878" y="14050"/>
                    </a:lnTo>
                    <a:lnTo>
                      <a:pt x="1878" y="13631"/>
                    </a:lnTo>
                    <a:lnTo>
                      <a:pt x="1643" y="13212"/>
                    </a:lnTo>
                    <a:lnTo>
                      <a:pt x="1174" y="13212"/>
                    </a:lnTo>
                    <a:lnTo>
                      <a:pt x="704" y="13002"/>
                    </a:lnTo>
                    <a:lnTo>
                      <a:pt x="235" y="13002"/>
                    </a:lnTo>
                    <a:lnTo>
                      <a:pt x="235" y="12583"/>
                    </a:lnTo>
                    <a:lnTo>
                      <a:pt x="0" y="12583"/>
                    </a:lnTo>
                    <a:lnTo>
                      <a:pt x="0" y="12163"/>
                    </a:lnTo>
                    <a:lnTo>
                      <a:pt x="704" y="12163"/>
                    </a:lnTo>
                    <a:lnTo>
                      <a:pt x="704" y="10695"/>
                    </a:lnTo>
                    <a:lnTo>
                      <a:pt x="235" y="10276"/>
                    </a:lnTo>
                    <a:lnTo>
                      <a:pt x="704" y="10066"/>
                    </a:lnTo>
                    <a:lnTo>
                      <a:pt x="704" y="9227"/>
                    </a:lnTo>
                    <a:lnTo>
                      <a:pt x="235" y="9227"/>
                    </a:lnTo>
                    <a:lnTo>
                      <a:pt x="235" y="8179"/>
                    </a:lnTo>
                    <a:lnTo>
                      <a:pt x="704" y="8179"/>
                    </a:lnTo>
                    <a:lnTo>
                      <a:pt x="1643" y="7340"/>
                    </a:lnTo>
                    <a:lnTo>
                      <a:pt x="1878" y="7340"/>
                    </a:lnTo>
                    <a:lnTo>
                      <a:pt x="1878" y="6711"/>
                    </a:lnTo>
                    <a:lnTo>
                      <a:pt x="1643" y="6291"/>
                    </a:lnTo>
                    <a:lnTo>
                      <a:pt x="1643" y="5872"/>
                    </a:lnTo>
                    <a:lnTo>
                      <a:pt x="1878" y="5872"/>
                    </a:lnTo>
                    <a:lnTo>
                      <a:pt x="1878" y="5662"/>
                    </a:lnTo>
                    <a:lnTo>
                      <a:pt x="2348" y="5662"/>
                    </a:lnTo>
                    <a:lnTo>
                      <a:pt x="2348" y="5243"/>
                    </a:lnTo>
                    <a:lnTo>
                      <a:pt x="2817" y="5243"/>
                    </a:lnTo>
                    <a:lnTo>
                      <a:pt x="3287" y="4823"/>
                    </a:lnTo>
                    <a:lnTo>
                      <a:pt x="3287" y="4194"/>
                    </a:lnTo>
                    <a:lnTo>
                      <a:pt x="3522" y="4194"/>
                    </a:lnTo>
                    <a:lnTo>
                      <a:pt x="3522" y="3355"/>
                    </a:lnTo>
                    <a:lnTo>
                      <a:pt x="3287" y="3355"/>
                    </a:lnTo>
                    <a:lnTo>
                      <a:pt x="3287" y="2936"/>
                    </a:lnTo>
                    <a:lnTo>
                      <a:pt x="3522" y="2936"/>
                    </a:lnTo>
                    <a:lnTo>
                      <a:pt x="3522" y="2726"/>
                    </a:lnTo>
                    <a:lnTo>
                      <a:pt x="3287" y="2726"/>
                    </a:lnTo>
                    <a:lnTo>
                      <a:pt x="3287" y="2307"/>
                    </a:lnTo>
                    <a:lnTo>
                      <a:pt x="3522" y="2307"/>
                    </a:lnTo>
                    <a:lnTo>
                      <a:pt x="3522" y="1887"/>
                    </a:lnTo>
                    <a:lnTo>
                      <a:pt x="4930" y="1887"/>
                    </a:lnTo>
                    <a:lnTo>
                      <a:pt x="5165" y="1468"/>
                    </a:lnTo>
                    <a:lnTo>
                      <a:pt x="5635" y="1468"/>
                    </a:lnTo>
                    <a:lnTo>
                      <a:pt x="5635" y="1258"/>
                    </a:lnTo>
                    <a:lnTo>
                      <a:pt x="6809" y="1258"/>
                    </a:lnTo>
                    <a:lnTo>
                      <a:pt x="7278" y="839"/>
                    </a:lnTo>
                    <a:lnTo>
                      <a:pt x="7748" y="839"/>
                    </a:lnTo>
                    <a:lnTo>
                      <a:pt x="7748" y="419"/>
                    </a:lnTo>
                    <a:lnTo>
                      <a:pt x="8217" y="0"/>
                    </a:lnTo>
                    <a:close/>
                    <a:moveTo>
                      <a:pt x="8217" y="0"/>
                    </a:moveTo>
                  </a:path>
                </a:pathLst>
              </a:custGeom>
              <a:solidFill>
                <a:srgbClr val="00BACF"/>
              </a:solidFill>
              <a:ln w="12700">
                <a:solidFill>
                  <a:srgbClr val="FFFFFF"/>
                </a:solidFill>
                <a:round/>
                <a:headEnd/>
                <a:tailEnd/>
              </a:ln>
            </p:spPr>
            <p:txBody>
              <a:bodyPr lIns="0" tIns="0" rIns="0" bIns="0"/>
              <a:lstStyle/>
              <a:p>
                <a:endParaRPr lang="es-ES"/>
              </a:p>
            </p:txBody>
          </p:sp>
          <p:sp>
            <p:nvSpPr>
              <p:cNvPr id="15413" name="AutoShape 58"/>
              <p:cNvSpPr>
                <a:spLocks/>
              </p:cNvSpPr>
              <p:nvPr/>
            </p:nvSpPr>
            <p:spPr bwMode="auto">
              <a:xfrm>
                <a:off x="1762" y="985"/>
                <a:ext cx="566" cy="77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w 21600"/>
                  <a:gd name="T117" fmla="*/ 0 h 216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1600"/>
                  <a:gd name="T178" fmla="*/ 0 h 21600"/>
                  <a:gd name="T179" fmla="*/ 21600 w 21600"/>
                  <a:gd name="T180" fmla="*/ 21600 h 216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1600" h="21600">
                    <a:moveTo>
                      <a:pt x="21159" y="14319"/>
                    </a:moveTo>
                    <a:lnTo>
                      <a:pt x="21380" y="14319"/>
                    </a:lnTo>
                    <a:lnTo>
                      <a:pt x="21380" y="14562"/>
                    </a:lnTo>
                    <a:lnTo>
                      <a:pt x="21600" y="14724"/>
                    </a:lnTo>
                    <a:lnTo>
                      <a:pt x="21159" y="14724"/>
                    </a:lnTo>
                    <a:lnTo>
                      <a:pt x="21159" y="14319"/>
                    </a:lnTo>
                    <a:close/>
                    <a:moveTo>
                      <a:pt x="12894" y="0"/>
                    </a:moveTo>
                    <a:lnTo>
                      <a:pt x="13224" y="0"/>
                    </a:lnTo>
                    <a:lnTo>
                      <a:pt x="13665" y="324"/>
                    </a:lnTo>
                    <a:lnTo>
                      <a:pt x="13886" y="324"/>
                    </a:lnTo>
                    <a:lnTo>
                      <a:pt x="13886" y="728"/>
                    </a:lnTo>
                    <a:lnTo>
                      <a:pt x="13665" y="728"/>
                    </a:lnTo>
                    <a:lnTo>
                      <a:pt x="13445" y="890"/>
                    </a:lnTo>
                    <a:lnTo>
                      <a:pt x="13114" y="890"/>
                    </a:lnTo>
                    <a:lnTo>
                      <a:pt x="12894" y="1052"/>
                    </a:lnTo>
                    <a:lnTo>
                      <a:pt x="12453" y="1052"/>
                    </a:lnTo>
                    <a:lnTo>
                      <a:pt x="12453" y="1133"/>
                    </a:lnTo>
                    <a:lnTo>
                      <a:pt x="12343" y="1133"/>
                    </a:lnTo>
                    <a:lnTo>
                      <a:pt x="12343" y="1294"/>
                    </a:lnTo>
                    <a:lnTo>
                      <a:pt x="12122" y="1456"/>
                    </a:lnTo>
                    <a:lnTo>
                      <a:pt x="12122" y="1699"/>
                    </a:lnTo>
                    <a:lnTo>
                      <a:pt x="11902" y="1699"/>
                    </a:lnTo>
                    <a:lnTo>
                      <a:pt x="11902" y="1861"/>
                    </a:lnTo>
                    <a:lnTo>
                      <a:pt x="11351" y="1861"/>
                    </a:lnTo>
                    <a:lnTo>
                      <a:pt x="11351" y="2184"/>
                    </a:lnTo>
                    <a:lnTo>
                      <a:pt x="11131" y="2184"/>
                    </a:lnTo>
                    <a:lnTo>
                      <a:pt x="11131" y="2427"/>
                    </a:lnTo>
                    <a:lnTo>
                      <a:pt x="11020" y="2427"/>
                    </a:lnTo>
                    <a:lnTo>
                      <a:pt x="11020" y="2589"/>
                    </a:lnTo>
                    <a:lnTo>
                      <a:pt x="10800" y="2751"/>
                    </a:lnTo>
                    <a:lnTo>
                      <a:pt x="10800" y="3560"/>
                    </a:lnTo>
                    <a:lnTo>
                      <a:pt x="10359" y="3883"/>
                    </a:lnTo>
                    <a:lnTo>
                      <a:pt x="10359" y="3964"/>
                    </a:lnTo>
                    <a:lnTo>
                      <a:pt x="10249" y="3964"/>
                    </a:lnTo>
                    <a:lnTo>
                      <a:pt x="10249" y="4288"/>
                    </a:lnTo>
                    <a:lnTo>
                      <a:pt x="10029" y="4288"/>
                    </a:lnTo>
                    <a:lnTo>
                      <a:pt x="10029" y="4449"/>
                    </a:lnTo>
                    <a:lnTo>
                      <a:pt x="10249" y="4449"/>
                    </a:lnTo>
                    <a:lnTo>
                      <a:pt x="10249" y="4288"/>
                    </a:lnTo>
                    <a:lnTo>
                      <a:pt x="10800" y="4288"/>
                    </a:lnTo>
                    <a:lnTo>
                      <a:pt x="10800" y="4449"/>
                    </a:lnTo>
                    <a:lnTo>
                      <a:pt x="11020" y="4449"/>
                    </a:lnTo>
                    <a:lnTo>
                      <a:pt x="11020" y="4530"/>
                    </a:lnTo>
                    <a:lnTo>
                      <a:pt x="11131" y="4530"/>
                    </a:lnTo>
                    <a:lnTo>
                      <a:pt x="11131" y="4692"/>
                    </a:lnTo>
                    <a:lnTo>
                      <a:pt x="11351" y="4854"/>
                    </a:lnTo>
                    <a:lnTo>
                      <a:pt x="11351" y="5097"/>
                    </a:lnTo>
                    <a:lnTo>
                      <a:pt x="11571" y="5097"/>
                    </a:lnTo>
                    <a:lnTo>
                      <a:pt x="11571" y="5420"/>
                    </a:lnTo>
                    <a:lnTo>
                      <a:pt x="11792" y="5420"/>
                    </a:lnTo>
                    <a:lnTo>
                      <a:pt x="11792" y="5987"/>
                    </a:lnTo>
                    <a:lnTo>
                      <a:pt x="11571" y="5987"/>
                    </a:lnTo>
                    <a:lnTo>
                      <a:pt x="11571" y="6553"/>
                    </a:lnTo>
                    <a:lnTo>
                      <a:pt x="11792" y="6634"/>
                    </a:lnTo>
                    <a:lnTo>
                      <a:pt x="11792" y="6796"/>
                    </a:lnTo>
                    <a:lnTo>
                      <a:pt x="11902" y="6796"/>
                    </a:lnTo>
                    <a:lnTo>
                      <a:pt x="11902" y="6634"/>
                    </a:lnTo>
                    <a:lnTo>
                      <a:pt x="12122" y="6634"/>
                    </a:lnTo>
                    <a:lnTo>
                      <a:pt x="12122" y="6957"/>
                    </a:lnTo>
                    <a:lnTo>
                      <a:pt x="12343" y="6957"/>
                    </a:lnTo>
                    <a:lnTo>
                      <a:pt x="12343" y="7119"/>
                    </a:lnTo>
                    <a:lnTo>
                      <a:pt x="12453" y="7119"/>
                    </a:lnTo>
                    <a:lnTo>
                      <a:pt x="12453" y="7200"/>
                    </a:lnTo>
                    <a:lnTo>
                      <a:pt x="14216" y="7200"/>
                    </a:lnTo>
                    <a:lnTo>
                      <a:pt x="14437" y="7119"/>
                    </a:lnTo>
                    <a:lnTo>
                      <a:pt x="15208" y="7119"/>
                    </a:lnTo>
                    <a:lnTo>
                      <a:pt x="15208" y="7200"/>
                    </a:lnTo>
                    <a:lnTo>
                      <a:pt x="15759" y="7200"/>
                    </a:lnTo>
                    <a:lnTo>
                      <a:pt x="15980" y="7362"/>
                    </a:lnTo>
                    <a:lnTo>
                      <a:pt x="15980" y="7524"/>
                    </a:lnTo>
                    <a:lnTo>
                      <a:pt x="16200" y="7685"/>
                    </a:lnTo>
                    <a:lnTo>
                      <a:pt x="16310" y="7685"/>
                    </a:lnTo>
                    <a:lnTo>
                      <a:pt x="16310" y="7766"/>
                    </a:lnTo>
                    <a:lnTo>
                      <a:pt x="16531" y="7928"/>
                    </a:lnTo>
                    <a:lnTo>
                      <a:pt x="16531" y="8090"/>
                    </a:lnTo>
                    <a:lnTo>
                      <a:pt x="16751" y="8090"/>
                    </a:lnTo>
                    <a:lnTo>
                      <a:pt x="16751" y="8252"/>
                    </a:lnTo>
                    <a:lnTo>
                      <a:pt x="16971" y="8252"/>
                    </a:lnTo>
                    <a:lnTo>
                      <a:pt x="16971" y="8333"/>
                    </a:lnTo>
                    <a:lnTo>
                      <a:pt x="17743" y="8333"/>
                    </a:lnTo>
                    <a:lnTo>
                      <a:pt x="17853" y="8252"/>
                    </a:lnTo>
                    <a:lnTo>
                      <a:pt x="19286" y="8252"/>
                    </a:lnTo>
                    <a:lnTo>
                      <a:pt x="19286" y="8090"/>
                    </a:lnTo>
                    <a:lnTo>
                      <a:pt x="20057" y="8090"/>
                    </a:lnTo>
                    <a:lnTo>
                      <a:pt x="20057" y="8252"/>
                    </a:lnTo>
                    <a:lnTo>
                      <a:pt x="20388" y="8252"/>
                    </a:lnTo>
                    <a:lnTo>
                      <a:pt x="20388" y="8333"/>
                    </a:lnTo>
                    <a:lnTo>
                      <a:pt x="20608" y="8333"/>
                    </a:lnTo>
                    <a:lnTo>
                      <a:pt x="20388" y="8494"/>
                    </a:lnTo>
                    <a:lnTo>
                      <a:pt x="20388" y="8818"/>
                    </a:lnTo>
                    <a:lnTo>
                      <a:pt x="20167" y="8818"/>
                    </a:lnTo>
                    <a:lnTo>
                      <a:pt x="20167" y="8899"/>
                    </a:lnTo>
                    <a:lnTo>
                      <a:pt x="20057" y="9061"/>
                    </a:lnTo>
                    <a:lnTo>
                      <a:pt x="20057" y="9222"/>
                    </a:lnTo>
                    <a:lnTo>
                      <a:pt x="19837" y="9222"/>
                    </a:lnTo>
                    <a:lnTo>
                      <a:pt x="19837" y="10193"/>
                    </a:lnTo>
                    <a:lnTo>
                      <a:pt x="19616" y="10355"/>
                    </a:lnTo>
                    <a:lnTo>
                      <a:pt x="19616" y="10517"/>
                    </a:lnTo>
                    <a:lnTo>
                      <a:pt x="19837" y="10517"/>
                    </a:lnTo>
                    <a:lnTo>
                      <a:pt x="19837" y="10921"/>
                    </a:lnTo>
                    <a:lnTo>
                      <a:pt x="20057" y="10921"/>
                    </a:lnTo>
                    <a:lnTo>
                      <a:pt x="20057" y="11326"/>
                    </a:lnTo>
                    <a:lnTo>
                      <a:pt x="20167" y="11326"/>
                    </a:lnTo>
                    <a:lnTo>
                      <a:pt x="20167" y="11488"/>
                    </a:lnTo>
                    <a:lnTo>
                      <a:pt x="20388" y="11488"/>
                    </a:lnTo>
                    <a:lnTo>
                      <a:pt x="20388" y="11649"/>
                    </a:lnTo>
                    <a:lnTo>
                      <a:pt x="20608" y="11649"/>
                    </a:lnTo>
                    <a:lnTo>
                      <a:pt x="20608" y="11730"/>
                    </a:lnTo>
                    <a:lnTo>
                      <a:pt x="20829" y="11730"/>
                    </a:lnTo>
                    <a:lnTo>
                      <a:pt x="20829" y="11892"/>
                    </a:lnTo>
                    <a:lnTo>
                      <a:pt x="20608" y="12054"/>
                    </a:lnTo>
                    <a:lnTo>
                      <a:pt x="20388" y="12054"/>
                    </a:lnTo>
                    <a:lnTo>
                      <a:pt x="20388" y="12216"/>
                    </a:lnTo>
                    <a:lnTo>
                      <a:pt x="20167" y="12297"/>
                    </a:lnTo>
                    <a:lnTo>
                      <a:pt x="20057" y="12297"/>
                    </a:lnTo>
                    <a:lnTo>
                      <a:pt x="20057" y="12458"/>
                    </a:lnTo>
                    <a:lnTo>
                      <a:pt x="19837" y="12458"/>
                    </a:lnTo>
                    <a:lnTo>
                      <a:pt x="19837" y="12782"/>
                    </a:lnTo>
                    <a:lnTo>
                      <a:pt x="20167" y="12782"/>
                    </a:lnTo>
                    <a:lnTo>
                      <a:pt x="20608" y="13025"/>
                    </a:lnTo>
                    <a:lnTo>
                      <a:pt x="20608" y="13187"/>
                    </a:lnTo>
                    <a:lnTo>
                      <a:pt x="20829" y="13187"/>
                    </a:lnTo>
                    <a:lnTo>
                      <a:pt x="20829" y="13348"/>
                    </a:lnTo>
                    <a:lnTo>
                      <a:pt x="20939" y="13429"/>
                    </a:lnTo>
                    <a:lnTo>
                      <a:pt x="20939" y="13591"/>
                    </a:lnTo>
                    <a:lnTo>
                      <a:pt x="21159" y="13591"/>
                    </a:lnTo>
                    <a:lnTo>
                      <a:pt x="21159" y="14319"/>
                    </a:lnTo>
                    <a:lnTo>
                      <a:pt x="20939" y="14157"/>
                    </a:lnTo>
                    <a:lnTo>
                      <a:pt x="20939" y="13834"/>
                    </a:lnTo>
                    <a:lnTo>
                      <a:pt x="20829" y="13834"/>
                    </a:lnTo>
                    <a:lnTo>
                      <a:pt x="20829" y="13591"/>
                    </a:lnTo>
                    <a:lnTo>
                      <a:pt x="20388" y="13591"/>
                    </a:lnTo>
                    <a:lnTo>
                      <a:pt x="20388" y="13753"/>
                    </a:lnTo>
                    <a:lnTo>
                      <a:pt x="20057" y="13753"/>
                    </a:lnTo>
                    <a:lnTo>
                      <a:pt x="20057" y="13834"/>
                    </a:lnTo>
                    <a:lnTo>
                      <a:pt x="19837" y="13996"/>
                    </a:lnTo>
                    <a:lnTo>
                      <a:pt x="19396" y="13996"/>
                    </a:lnTo>
                    <a:lnTo>
                      <a:pt x="19396" y="13834"/>
                    </a:lnTo>
                    <a:lnTo>
                      <a:pt x="19286" y="13834"/>
                    </a:lnTo>
                    <a:lnTo>
                      <a:pt x="19286" y="13753"/>
                    </a:lnTo>
                    <a:lnTo>
                      <a:pt x="19065" y="13753"/>
                    </a:lnTo>
                    <a:lnTo>
                      <a:pt x="19065" y="13996"/>
                    </a:lnTo>
                    <a:lnTo>
                      <a:pt x="16751" y="13996"/>
                    </a:lnTo>
                    <a:lnTo>
                      <a:pt x="16531" y="14157"/>
                    </a:lnTo>
                    <a:lnTo>
                      <a:pt x="16310" y="14157"/>
                    </a:lnTo>
                    <a:lnTo>
                      <a:pt x="16310" y="13996"/>
                    </a:lnTo>
                    <a:lnTo>
                      <a:pt x="16200" y="13996"/>
                    </a:lnTo>
                    <a:lnTo>
                      <a:pt x="16200" y="14157"/>
                    </a:lnTo>
                    <a:lnTo>
                      <a:pt x="16310" y="14157"/>
                    </a:lnTo>
                    <a:lnTo>
                      <a:pt x="16310" y="14319"/>
                    </a:lnTo>
                    <a:lnTo>
                      <a:pt x="16200" y="14319"/>
                    </a:lnTo>
                    <a:lnTo>
                      <a:pt x="16200" y="14400"/>
                    </a:lnTo>
                    <a:lnTo>
                      <a:pt x="16310" y="14400"/>
                    </a:lnTo>
                    <a:lnTo>
                      <a:pt x="16310" y="14562"/>
                    </a:lnTo>
                    <a:lnTo>
                      <a:pt x="16200" y="14724"/>
                    </a:lnTo>
                    <a:lnTo>
                      <a:pt x="16200" y="14885"/>
                    </a:lnTo>
                    <a:lnTo>
                      <a:pt x="16310" y="14966"/>
                    </a:lnTo>
                    <a:lnTo>
                      <a:pt x="16531" y="14885"/>
                    </a:lnTo>
                    <a:lnTo>
                      <a:pt x="16751" y="14966"/>
                    </a:lnTo>
                    <a:lnTo>
                      <a:pt x="17082" y="14966"/>
                    </a:lnTo>
                    <a:lnTo>
                      <a:pt x="17082" y="14885"/>
                    </a:lnTo>
                    <a:lnTo>
                      <a:pt x="17302" y="14966"/>
                    </a:lnTo>
                    <a:lnTo>
                      <a:pt x="17302" y="15128"/>
                    </a:lnTo>
                    <a:lnTo>
                      <a:pt x="17522" y="15290"/>
                    </a:lnTo>
                    <a:lnTo>
                      <a:pt x="17522" y="15533"/>
                    </a:lnTo>
                    <a:lnTo>
                      <a:pt x="17302" y="15533"/>
                    </a:lnTo>
                    <a:lnTo>
                      <a:pt x="17302" y="15452"/>
                    </a:lnTo>
                    <a:lnTo>
                      <a:pt x="17082" y="15452"/>
                    </a:lnTo>
                    <a:lnTo>
                      <a:pt x="16971" y="15290"/>
                    </a:lnTo>
                    <a:lnTo>
                      <a:pt x="16751" y="15290"/>
                    </a:lnTo>
                    <a:lnTo>
                      <a:pt x="16751" y="15452"/>
                    </a:lnTo>
                    <a:lnTo>
                      <a:pt x="16200" y="15452"/>
                    </a:lnTo>
                    <a:lnTo>
                      <a:pt x="16200" y="15533"/>
                    </a:lnTo>
                    <a:lnTo>
                      <a:pt x="15759" y="15533"/>
                    </a:lnTo>
                    <a:lnTo>
                      <a:pt x="15759" y="16584"/>
                    </a:lnTo>
                    <a:lnTo>
                      <a:pt x="15980" y="16584"/>
                    </a:lnTo>
                    <a:lnTo>
                      <a:pt x="15980" y="16665"/>
                    </a:lnTo>
                    <a:lnTo>
                      <a:pt x="16200" y="16665"/>
                    </a:lnTo>
                    <a:lnTo>
                      <a:pt x="16310" y="16827"/>
                    </a:lnTo>
                    <a:lnTo>
                      <a:pt x="16531" y="16827"/>
                    </a:lnTo>
                    <a:lnTo>
                      <a:pt x="16531" y="17151"/>
                    </a:lnTo>
                    <a:lnTo>
                      <a:pt x="16751" y="17151"/>
                    </a:lnTo>
                    <a:lnTo>
                      <a:pt x="16751" y="17555"/>
                    </a:lnTo>
                    <a:lnTo>
                      <a:pt x="16971" y="17717"/>
                    </a:lnTo>
                    <a:lnTo>
                      <a:pt x="16971" y="18283"/>
                    </a:lnTo>
                    <a:lnTo>
                      <a:pt x="16751" y="18283"/>
                    </a:lnTo>
                    <a:lnTo>
                      <a:pt x="16751" y="19416"/>
                    </a:lnTo>
                    <a:lnTo>
                      <a:pt x="16531" y="19416"/>
                    </a:lnTo>
                    <a:lnTo>
                      <a:pt x="16531" y="20225"/>
                    </a:lnTo>
                    <a:lnTo>
                      <a:pt x="16310" y="20387"/>
                    </a:lnTo>
                    <a:lnTo>
                      <a:pt x="16310" y="20953"/>
                    </a:lnTo>
                    <a:lnTo>
                      <a:pt x="16200" y="20953"/>
                    </a:lnTo>
                    <a:lnTo>
                      <a:pt x="16200" y="21519"/>
                    </a:lnTo>
                    <a:lnTo>
                      <a:pt x="15980" y="21519"/>
                    </a:lnTo>
                    <a:lnTo>
                      <a:pt x="15980" y="21600"/>
                    </a:lnTo>
                    <a:lnTo>
                      <a:pt x="15759" y="21600"/>
                    </a:lnTo>
                    <a:lnTo>
                      <a:pt x="15759" y="21519"/>
                    </a:lnTo>
                    <a:lnTo>
                      <a:pt x="15539" y="21519"/>
                    </a:lnTo>
                    <a:lnTo>
                      <a:pt x="15539" y="21357"/>
                    </a:lnTo>
                    <a:lnTo>
                      <a:pt x="15429" y="21195"/>
                    </a:lnTo>
                    <a:lnTo>
                      <a:pt x="14767" y="21195"/>
                    </a:lnTo>
                    <a:lnTo>
                      <a:pt x="14767" y="20953"/>
                    </a:lnTo>
                    <a:lnTo>
                      <a:pt x="14988" y="20953"/>
                    </a:lnTo>
                    <a:lnTo>
                      <a:pt x="14988" y="20629"/>
                    </a:lnTo>
                    <a:lnTo>
                      <a:pt x="15208" y="20629"/>
                    </a:lnTo>
                    <a:lnTo>
                      <a:pt x="15208" y="20548"/>
                    </a:lnTo>
                    <a:lnTo>
                      <a:pt x="15429" y="20548"/>
                    </a:lnTo>
                    <a:lnTo>
                      <a:pt x="15429" y="20225"/>
                    </a:lnTo>
                    <a:lnTo>
                      <a:pt x="15539" y="20225"/>
                    </a:lnTo>
                    <a:lnTo>
                      <a:pt x="15539" y="20063"/>
                    </a:lnTo>
                    <a:lnTo>
                      <a:pt x="15759" y="20063"/>
                    </a:lnTo>
                    <a:lnTo>
                      <a:pt x="15759" y="19982"/>
                    </a:lnTo>
                    <a:lnTo>
                      <a:pt x="15980" y="19982"/>
                    </a:lnTo>
                    <a:lnTo>
                      <a:pt x="15980" y="19820"/>
                    </a:lnTo>
                    <a:lnTo>
                      <a:pt x="15759" y="19658"/>
                    </a:lnTo>
                    <a:lnTo>
                      <a:pt x="15539" y="19658"/>
                    </a:lnTo>
                    <a:lnTo>
                      <a:pt x="15539" y="19497"/>
                    </a:lnTo>
                    <a:lnTo>
                      <a:pt x="14988" y="19497"/>
                    </a:lnTo>
                    <a:lnTo>
                      <a:pt x="14767" y="19416"/>
                    </a:lnTo>
                    <a:lnTo>
                      <a:pt x="14767" y="19254"/>
                    </a:lnTo>
                    <a:lnTo>
                      <a:pt x="14216" y="19254"/>
                    </a:lnTo>
                    <a:lnTo>
                      <a:pt x="14216" y="19416"/>
                    </a:lnTo>
                    <a:lnTo>
                      <a:pt x="13445" y="19416"/>
                    </a:lnTo>
                    <a:lnTo>
                      <a:pt x="13224" y="19254"/>
                    </a:lnTo>
                    <a:lnTo>
                      <a:pt x="13114" y="19254"/>
                    </a:lnTo>
                    <a:lnTo>
                      <a:pt x="12894" y="19092"/>
                    </a:lnTo>
                    <a:lnTo>
                      <a:pt x="12673" y="19254"/>
                    </a:lnTo>
                    <a:lnTo>
                      <a:pt x="12673" y="19416"/>
                    </a:lnTo>
                    <a:lnTo>
                      <a:pt x="12122" y="19416"/>
                    </a:lnTo>
                    <a:lnTo>
                      <a:pt x="12122" y="19497"/>
                    </a:lnTo>
                    <a:lnTo>
                      <a:pt x="11571" y="19497"/>
                    </a:lnTo>
                    <a:lnTo>
                      <a:pt x="11571" y="19416"/>
                    </a:lnTo>
                    <a:lnTo>
                      <a:pt x="11351" y="19416"/>
                    </a:lnTo>
                    <a:lnTo>
                      <a:pt x="11351" y="19497"/>
                    </a:lnTo>
                    <a:lnTo>
                      <a:pt x="10800" y="19497"/>
                    </a:lnTo>
                    <a:lnTo>
                      <a:pt x="10580" y="19416"/>
                    </a:lnTo>
                    <a:lnTo>
                      <a:pt x="10580" y="18688"/>
                    </a:lnTo>
                    <a:lnTo>
                      <a:pt x="9808" y="18688"/>
                    </a:lnTo>
                    <a:lnTo>
                      <a:pt x="9808" y="18283"/>
                    </a:lnTo>
                    <a:lnTo>
                      <a:pt x="9478" y="17960"/>
                    </a:lnTo>
                    <a:lnTo>
                      <a:pt x="9257" y="17960"/>
                    </a:lnTo>
                    <a:lnTo>
                      <a:pt x="9037" y="17798"/>
                    </a:lnTo>
                    <a:lnTo>
                      <a:pt x="9037" y="17717"/>
                    </a:lnTo>
                    <a:lnTo>
                      <a:pt x="8706" y="17717"/>
                    </a:lnTo>
                    <a:lnTo>
                      <a:pt x="8265" y="17393"/>
                    </a:lnTo>
                    <a:lnTo>
                      <a:pt x="8265" y="16989"/>
                    </a:lnTo>
                    <a:lnTo>
                      <a:pt x="7935" y="16989"/>
                    </a:lnTo>
                    <a:lnTo>
                      <a:pt x="7935" y="16827"/>
                    </a:lnTo>
                    <a:lnTo>
                      <a:pt x="7494" y="16584"/>
                    </a:lnTo>
                    <a:lnTo>
                      <a:pt x="7273" y="16584"/>
                    </a:lnTo>
                    <a:lnTo>
                      <a:pt x="7273" y="16422"/>
                    </a:lnTo>
                    <a:lnTo>
                      <a:pt x="7163" y="16261"/>
                    </a:lnTo>
                    <a:lnTo>
                      <a:pt x="6502" y="16261"/>
                    </a:lnTo>
                    <a:lnTo>
                      <a:pt x="6502" y="16422"/>
                    </a:lnTo>
                    <a:lnTo>
                      <a:pt x="6392" y="16422"/>
                    </a:lnTo>
                    <a:lnTo>
                      <a:pt x="6392" y="16261"/>
                    </a:lnTo>
                    <a:lnTo>
                      <a:pt x="6171" y="16261"/>
                    </a:lnTo>
                    <a:lnTo>
                      <a:pt x="6171" y="16099"/>
                    </a:lnTo>
                    <a:lnTo>
                      <a:pt x="5731" y="16099"/>
                    </a:lnTo>
                    <a:lnTo>
                      <a:pt x="5731" y="16018"/>
                    </a:lnTo>
                    <a:lnTo>
                      <a:pt x="5400" y="16018"/>
                    </a:lnTo>
                    <a:lnTo>
                      <a:pt x="5400" y="15856"/>
                    </a:lnTo>
                    <a:lnTo>
                      <a:pt x="5180" y="15856"/>
                    </a:lnTo>
                    <a:lnTo>
                      <a:pt x="5180" y="15694"/>
                    </a:lnTo>
                    <a:lnTo>
                      <a:pt x="4959" y="15694"/>
                    </a:lnTo>
                    <a:lnTo>
                      <a:pt x="4849" y="15856"/>
                    </a:lnTo>
                    <a:lnTo>
                      <a:pt x="4408" y="15856"/>
                    </a:lnTo>
                    <a:lnTo>
                      <a:pt x="4408" y="16018"/>
                    </a:lnTo>
                    <a:lnTo>
                      <a:pt x="3857" y="16018"/>
                    </a:lnTo>
                    <a:lnTo>
                      <a:pt x="3857" y="15856"/>
                    </a:lnTo>
                    <a:lnTo>
                      <a:pt x="2865" y="15856"/>
                    </a:lnTo>
                    <a:lnTo>
                      <a:pt x="2865" y="15533"/>
                    </a:lnTo>
                    <a:lnTo>
                      <a:pt x="2645" y="15533"/>
                    </a:lnTo>
                    <a:lnTo>
                      <a:pt x="2645" y="15452"/>
                    </a:lnTo>
                    <a:lnTo>
                      <a:pt x="2535" y="15290"/>
                    </a:lnTo>
                    <a:lnTo>
                      <a:pt x="2535" y="15128"/>
                    </a:lnTo>
                    <a:lnTo>
                      <a:pt x="1763" y="15128"/>
                    </a:lnTo>
                    <a:lnTo>
                      <a:pt x="1763" y="14966"/>
                    </a:lnTo>
                    <a:lnTo>
                      <a:pt x="1322" y="14966"/>
                    </a:lnTo>
                    <a:lnTo>
                      <a:pt x="1322" y="14885"/>
                    </a:lnTo>
                    <a:lnTo>
                      <a:pt x="1212" y="14885"/>
                    </a:lnTo>
                    <a:lnTo>
                      <a:pt x="771" y="14562"/>
                    </a:lnTo>
                    <a:lnTo>
                      <a:pt x="551" y="14562"/>
                    </a:lnTo>
                    <a:lnTo>
                      <a:pt x="551" y="14400"/>
                    </a:lnTo>
                    <a:lnTo>
                      <a:pt x="441" y="14400"/>
                    </a:lnTo>
                    <a:lnTo>
                      <a:pt x="441" y="14319"/>
                    </a:lnTo>
                    <a:lnTo>
                      <a:pt x="0" y="14319"/>
                    </a:lnTo>
                    <a:lnTo>
                      <a:pt x="0" y="14157"/>
                    </a:lnTo>
                    <a:lnTo>
                      <a:pt x="441" y="14157"/>
                    </a:lnTo>
                    <a:lnTo>
                      <a:pt x="441" y="13996"/>
                    </a:lnTo>
                    <a:lnTo>
                      <a:pt x="771" y="13996"/>
                    </a:lnTo>
                    <a:lnTo>
                      <a:pt x="771" y="13753"/>
                    </a:lnTo>
                    <a:lnTo>
                      <a:pt x="551" y="13753"/>
                    </a:lnTo>
                    <a:lnTo>
                      <a:pt x="551" y="13348"/>
                    </a:lnTo>
                    <a:lnTo>
                      <a:pt x="771" y="13348"/>
                    </a:lnTo>
                    <a:lnTo>
                      <a:pt x="771" y="13187"/>
                    </a:lnTo>
                    <a:lnTo>
                      <a:pt x="992" y="13187"/>
                    </a:lnTo>
                    <a:lnTo>
                      <a:pt x="992" y="13025"/>
                    </a:lnTo>
                    <a:lnTo>
                      <a:pt x="1873" y="13025"/>
                    </a:lnTo>
                    <a:lnTo>
                      <a:pt x="2094" y="12863"/>
                    </a:lnTo>
                    <a:lnTo>
                      <a:pt x="2094" y="12782"/>
                    </a:lnTo>
                    <a:lnTo>
                      <a:pt x="2314" y="12782"/>
                    </a:lnTo>
                    <a:lnTo>
                      <a:pt x="2314" y="12297"/>
                    </a:lnTo>
                    <a:lnTo>
                      <a:pt x="2535" y="12297"/>
                    </a:lnTo>
                    <a:lnTo>
                      <a:pt x="2535" y="12216"/>
                    </a:lnTo>
                    <a:lnTo>
                      <a:pt x="2645" y="12216"/>
                    </a:lnTo>
                    <a:lnTo>
                      <a:pt x="2865" y="12054"/>
                    </a:lnTo>
                    <a:lnTo>
                      <a:pt x="2865" y="11892"/>
                    </a:lnTo>
                    <a:lnTo>
                      <a:pt x="3086" y="11892"/>
                    </a:lnTo>
                    <a:lnTo>
                      <a:pt x="3086" y="11730"/>
                    </a:lnTo>
                    <a:lnTo>
                      <a:pt x="3306" y="11488"/>
                    </a:lnTo>
                    <a:lnTo>
                      <a:pt x="3416" y="11326"/>
                    </a:lnTo>
                    <a:lnTo>
                      <a:pt x="3306" y="11326"/>
                    </a:lnTo>
                    <a:lnTo>
                      <a:pt x="3306" y="11083"/>
                    </a:lnTo>
                    <a:lnTo>
                      <a:pt x="2645" y="11083"/>
                    </a:lnTo>
                    <a:lnTo>
                      <a:pt x="2645" y="10921"/>
                    </a:lnTo>
                    <a:lnTo>
                      <a:pt x="3086" y="10921"/>
                    </a:lnTo>
                    <a:lnTo>
                      <a:pt x="3086" y="10760"/>
                    </a:lnTo>
                    <a:lnTo>
                      <a:pt x="2865" y="10760"/>
                    </a:lnTo>
                    <a:lnTo>
                      <a:pt x="2865" y="10193"/>
                    </a:lnTo>
                    <a:lnTo>
                      <a:pt x="3086" y="10031"/>
                    </a:lnTo>
                    <a:lnTo>
                      <a:pt x="3086" y="9951"/>
                    </a:lnTo>
                    <a:lnTo>
                      <a:pt x="2865" y="9951"/>
                    </a:lnTo>
                    <a:lnTo>
                      <a:pt x="2865" y="9384"/>
                    </a:lnTo>
                    <a:lnTo>
                      <a:pt x="2645" y="9222"/>
                    </a:lnTo>
                    <a:lnTo>
                      <a:pt x="2645" y="9061"/>
                    </a:lnTo>
                    <a:lnTo>
                      <a:pt x="2865" y="9061"/>
                    </a:lnTo>
                    <a:lnTo>
                      <a:pt x="2865" y="8899"/>
                    </a:lnTo>
                    <a:lnTo>
                      <a:pt x="3086" y="8899"/>
                    </a:lnTo>
                    <a:lnTo>
                      <a:pt x="3086" y="8656"/>
                    </a:lnTo>
                    <a:lnTo>
                      <a:pt x="2865" y="8656"/>
                    </a:lnTo>
                    <a:lnTo>
                      <a:pt x="2865" y="8333"/>
                    </a:lnTo>
                    <a:lnTo>
                      <a:pt x="2645" y="8333"/>
                    </a:lnTo>
                    <a:lnTo>
                      <a:pt x="2645" y="8090"/>
                    </a:lnTo>
                    <a:lnTo>
                      <a:pt x="2865" y="7928"/>
                    </a:lnTo>
                    <a:lnTo>
                      <a:pt x="2865" y="7685"/>
                    </a:lnTo>
                    <a:lnTo>
                      <a:pt x="2645" y="7685"/>
                    </a:lnTo>
                    <a:lnTo>
                      <a:pt x="2645" y="7524"/>
                    </a:lnTo>
                    <a:lnTo>
                      <a:pt x="2535" y="7524"/>
                    </a:lnTo>
                    <a:lnTo>
                      <a:pt x="2535" y="7362"/>
                    </a:lnTo>
                    <a:lnTo>
                      <a:pt x="1873" y="6957"/>
                    </a:lnTo>
                    <a:lnTo>
                      <a:pt x="1873" y="6796"/>
                    </a:lnTo>
                    <a:lnTo>
                      <a:pt x="2094" y="6796"/>
                    </a:lnTo>
                    <a:lnTo>
                      <a:pt x="2094" y="6634"/>
                    </a:lnTo>
                    <a:lnTo>
                      <a:pt x="2314" y="6634"/>
                    </a:lnTo>
                    <a:lnTo>
                      <a:pt x="2314" y="6391"/>
                    </a:lnTo>
                    <a:lnTo>
                      <a:pt x="2535" y="6391"/>
                    </a:lnTo>
                    <a:lnTo>
                      <a:pt x="2535" y="6553"/>
                    </a:lnTo>
                    <a:lnTo>
                      <a:pt x="2645" y="6553"/>
                    </a:lnTo>
                    <a:lnTo>
                      <a:pt x="2645" y="6391"/>
                    </a:lnTo>
                    <a:lnTo>
                      <a:pt x="2865" y="6391"/>
                    </a:lnTo>
                    <a:lnTo>
                      <a:pt x="2865" y="6229"/>
                    </a:lnTo>
                    <a:lnTo>
                      <a:pt x="3086" y="6067"/>
                    </a:lnTo>
                    <a:lnTo>
                      <a:pt x="3306" y="6067"/>
                    </a:lnTo>
                    <a:lnTo>
                      <a:pt x="3306" y="5825"/>
                    </a:lnTo>
                    <a:lnTo>
                      <a:pt x="3086" y="5825"/>
                    </a:lnTo>
                    <a:lnTo>
                      <a:pt x="3086" y="5582"/>
                    </a:lnTo>
                    <a:lnTo>
                      <a:pt x="2865" y="5582"/>
                    </a:lnTo>
                    <a:lnTo>
                      <a:pt x="2865" y="5258"/>
                    </a:lnTo>
                    <a:lnTo>
                      <a:pt x="2645" y="5258"/>
                    </a:lnTo>
                    <a:lnTo>
                      <a:pt x="2865" y="5097"/>
                    </a:lnTo>
                    <a:lnTo>
                      <a:pt x="3086" y="5097"/>
                    </a:lnTo>
                    <a:lnTo>
                      <a:pt x="3306" y="5258"/>
                    </a:lnTo>
                    <a:lnTo>
                      <a:pt x="3306" y="5420"/>
                    </a:lnTo>
                    <a:lnTo>
                      <a:pt x="3857" y="5825"/>
                    </a:lnTo>
                    <a:lnTo>
                      <a:pt x="3857" y="5987"/>
                    </a:lnTo>
                    <a:lnTo>
                      <a:pt x="4078" y="5987"/>
                    </a:lnTo>
                    <a:lnTo>
                      <a:pt x="4078" y="5663"/>
                    </a:lnTo>
                    <a:lnTo>
                      <a:pt x="3857" y="5582"/>
                    </a:lnTo>
                    <a:lnTo>
                      <a:pt x="3857" y="5420"/>
                    </a:lnTo>
                    <a:lnTo>
                      <a:pt x="3637" y="5258"/>
                    </a:lnTo>
                    <a:lnTo>
                      <a:pt x="3637" y="5097"/>
                    </a:lnTo>
                    <a:lnTo>
                      <a:pt x="3857" y="5016"/>
                    </a:lnTo>
                    <a:lnTo>
                      <a:pt x="4188" y="5016"/>
                    </a:lnTo>
                    <a:lnTo>
                      <a:pt x="4188" y="4854"/>
                    </a:lnTo>
                    <a:lnTo>
                      <a:pt x="4629" y="4854"/>
                    </a:lnTo>
                    <a:lnTo>
                      <a:pt x="4849" y="4692"/>
                    </a:lnTo>
                    <a:lnTo>
                      <a:pt x="4849" y="4530"/>
                    </a:lnTo>
                    <a:lnTo>
                      <a:pt x="4959" y="4449"/>
                    </a:lnTo>
                    <a:lnTo>
                      <a:pt x="4959" y="4288"/>
                    </a:lnTo>
                    <a:lnTo>
                      <a:pt x="5180" y="4126"/>
                    </a:lnTo>
                    <a:lnTo>
                      <a:pt x="5400" y="4126"/>
                    </a:lnTo>
                    <a:lnTo>
                      <a:pt x="5400" y="3964"/>
                    </a:lnTo>
                    <a:lnTo>
                      <a:pt x="5951" y="3964"/>
                    </a:lnTo>
                    <a:lnTo>
                      <a:pt x="5951" y="2751"/>
                    </a:lnTo>
                    <a:lnTo>
                      <a:pt x="6392" y="2427"/>
                    </a:lnTo>
                    <a:lnTo>
                      <a:pt x="6502" y="2427"/>
                    </a:lnTo>
                    <a:lnTo>
                      <a:pt x="6722" y="2265"/>
                    </a:lnTo>
                    <a:lnTo>
                      <a:pt x="6722" y="2184"/>
                    </a:lnTo>
                    <a:lnTo>
                      <a:pt x="6943" y="2184"/>
                    </a:lnTo>
                    <a:lnTo>
                      <a:pt x="7273" y="1861"/>
                    </a:lnTo>
                    <a:lnTo>
                      <a:pt x="7714" y="1861"/>
                    </a:lnTo>
                    <a:lnTo>
                      <a:pt x="7935" y="2022"/>
                    </a:lnTo>
                    <a:lnTo>
                      <a:pt x="7935" y="2265"/>
                    </a:lnTo>
                    <a:lnTo>
                      <a:pt x="8045" y="2265"/>
                    </a:lnTo>
                    <a:lnTo>
                      <a:pt x="8265" y="2184"/>
                    </a:lnTo>
                    <a:lnTo>
                      <a:pt x="8265" y="2022"/>
                    </a:lnTo>
                    <a:lnTo>
                      <a:pt x="8486" y="1861"/>
                    </a:lnTo>
                    <a:lnTo>
                      <a:pt x="8486" y="1699"/>
                    </a:lnTo>
                    <a:lnTo>
                      <a:pt x="8706" y="1618"/>
                    </a:lnTo>
                    <a:lnTo>
                      <a:pt x="10249" y="1618"/>
                    </a:lnTo>
                    <a:lnTo>
                      <a:pt x="10800" y="1133"/>
                    </a:lnTo>
                    <a:lnTo>
                      <a:pt x="11020" y="1133"/>
                    </a:lnTo>
                    <a:lnTo>
                      <a:pt x="11131" y="1052"/>
                    </a:lnTo>
                    <a:lnTo>
                      <a:pt x="11571" y="1052"/>
                    </a:lnTo>
                    <a:lnTo>
                      <a:pt x="11571" y="890"/>
                    </a:lnTo>
                    <a:lnTo>
                      <a:pt x="11792" y="890"/>
                    </a:lnTo>
                    <a:lnTo>
                      <a:pt x="11792" y="728"/>
                    </a:lnTo>
                    <a:lnTo>
                      <a:pt x="11902" y="728"/>
                    </a:lnTo>
                    <a:lnTo>
                      <a:pt x="11902" y="485"/>
                    </a:lnTo>
                    <a:lnTo>
                      <a:pt x="12122" y="485"/>
                    </a:lnTo>
                    <a:lnTo>
                      <a:pt x="12122" y="324"/>
                    </a:lnTo>
                    <a:lnTo>
                      <a:pt x="12343" y="324"/>
                    </a:lnTo>
                    <a:lnTo>
                      <a:pt x="12453" y="162"/>
                    </a:lnTo>
                    <a:lnTo>
                      <a:pt x="12673" y="162"/>
                    </a:lnTo>
                    <a:lnTo>
                      <a:pt x="12894" y="0"/>
                    </a:lnTo>
                    <a:close/>
                    <a:moveTo>
                      <a:pt x="12894" y="0"/>
                    </a:moveTo>
                  </a:path>
                </a:pathLst>
              </a:custGeom>
              <a:solidFill>
                <a:srgbClr val="00BACF"/>
              </a:solidFill>
              <a:ln w="12700">
                <a:solidFill>
                  <a:srgbClr val="FFFFFF"/>
                </a:solidFill>
                <a:round/>
                <a:headEnd/>
                <a:tailEnd/>
              </a:ln>
            </p:spPr>
            <p:txBody>
              <a:bodyPr lIns="0" tIns="0" rIns="0" bIns="0"/>
              <a:lstStyle/>
              <a:p>
                <a:endParaRPr lang="es-ES"/>
              </a:p>
            </p:txBody>
          </p:sp>
          <p:sp>
            <p:nvSpPr>
              <p:cNvPr id="15414" name="Freeform 59"/>
              <p:cNvSpPr>
                <a:spLocks/>
              </p:cNvSpPr>
              <p:nvPr/>
            </p:nvSpPr>
            <p:spPr bwMode="auto">
              <a:xfrm>
                <a:off x="2261" y="4393"/>
                <a:ext cx="55" cy="3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600"/>
                  <a:gd name="T61" fmla="*/ 0 h 21600"/>
                  <a:gd name="T62" fmla="*/ 21600 w 21600"/>
                  <a:gd name="T63" fmla="*/ 21600 h 2160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600" h="21600">
                    <a:moveTo>
                      <a:pt x="0" y="0"/>
                    </a:moveTo>
                    <a:lnTo>
                      <a:pt x="3411" y="0"/>
                    </a:lnTo>
                    <a:lnTo>
                      <a:pt x="5684" y="3927"/>
                    </a:lnTo>
                    <a:lnTo>
                      <a:pt x="13642" y="3927"/>
                    </a:lnTo>
                    <a:lnTo>
                      <a:pt x="15916" y="7855"/>
                    </a:lnTo>
                    <a:lnTo>
                      <a:pt x="18189" y="7855"/>
                    </a:lnTo>
                    <a:lnTo>
                      <a:pt x="19326" y="9818"/>
                    </a:lnTo>
                    <a:lnTo>
                      <a:pt x="21600" y="9818"/>
                    </a:lnTo>
                    <a:lnTo>
                      <a:pt x="21600" y="17673"/>
                    </a:lnTo>
                    <a:lnTo>
                      <a:pt x="18189" y="17673"/>
                    </a:lnTo>
                    <a:lnTo>
                      <a:pt x="18189" y="21600"/>
                    </a:lnTo>
                    <a:lnTo>
                      <a:pt x="13642" y="21600"/>
                    </a:lnTo>
                    <a:lnTo>
                      <a:pt x="13642" y="13745"/>
                    </a:lnTo>
                    <a:lnTo>
                      <a:pt x="11368" y="13745"/>
                    </a:lnTo>
                    <a:lnTo>
                      <a:pt x="11368" y="17673"/>
                    </a:lnTo>
                    <a:lnTo>
                      <a:pt x="3411" y="17673"/>
                    </a:lnTo>
                    <a:lnTo>
                      <a:pt x="3411" y="13745"/>
                    </a:lnTo>
                    <a:lnTo>
                      <a:pt x="0" y="13745"/>
                    </a:lnTo>
                    <a:lnTo>
                      <a:pt x="0" y="0"/>
                    </a:lnTo>
                    <a:close/>
                    <a:moveTo>
                      <a:pt x="0" y="0"/>
                    </a:moveTo>
                  </a:path>
                </a:pathLst>
              </a:custGeom>
              <a:solidFill>
                <a:srgbClr val="00BACF"/>
              </a:solidFill>
              <a:ln w="12700">
                <a:solidFill>
                  <a:srgbClr val="FFFFFF"/>
                </a:solidFill>
                <a:round/>
                <a:headEnd/>
                <a:tailEnd/>
              </a:ln>
            </p:spPr>
            <p:txBody>
              <a:bodyPr lIns="0" tIns="0" rIns="0" bIns="0"/>
              <a:lstStyle/>
              <a:p>
                <a:endParaRPr lang="es-ES"/>
              </a:p>
            </p:txBody>
          </p:sp>
          <p:sp>
            <p:nvSpPr>
              <p:cNvPr id="15415" name="AutoShape 60"/>
              <p:cNvSpPr>
                <a:spLocks/>
              </p:cNvSpPr>
              <p:nvPr/>
            </p:nvSpPr>
            <p:spPr bwMode="auto">
              <a:xfrm>
                <a:off x="2114" y="4393"/>
                <a:ext cx="52" cy="2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1600"/>
                  <a:gd name="T79" fmla="*/ 0 h 21600"/>
                  <a:gd name="T80" fmla="*/ 21600 w 21600"/>
                  <a:gd name="T81" fmla="*/ 21600 h 2160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1600" h="21600">
                    <a:moveTo>
                      <a:pt x="14400" y="6171"/>
                    </a:moveTo>
                    <a:lnTo>
                      <a:pt x="16800" y="6171"/>
                    </a:lnTo>
                    <a:lnTo>
                      <a:pt x="16800" y="12343"/>
                    </a:lnTo>
                    <a:lnTo>
                      <a:pt x="21600" y="12343"/>
                    </a:lnTo>
                    <a:lnTo>
                      <a:pt x="21600" y="21600"/>
                    </a:lnTo>
                    <a:lnTo>
                      <a:pt x="19200" y="21600"/>
                    </a:lnTo>
                    <a:lnTo>
                      <a:pt x="16800" y="15429"/>
                    </a:lnTo>
                    <a:lnTo>
                      <a:pt x="13200" y="15429"/>
                    </a:lnTo>
                    <a:lnTo>
                      <a:pt x="13200" y="12343"/>
                    </a:lnTo>
                    <a:lnTo>
                      <a:pt x="14400" y="6171"/>
                    </a:lnTo>
                    <a:close/>
                    <a:moveTo>
                      <a:pt x="8400" y="6171"/>
                    </a:moveTo>
                    <a:lnTo>
                      <a:pt x="10800" y="6171"/>
                    </a:lnTo>
                    <a:lnTo>
                      <a:pt x="10800" y="12343"/>
                    </a:lnTo>
                    <a:lnTo>
                      <a:pt x="8400" y="12343"/>
                    </a:lnTo>
                    <a:lnTo>
                      <a:pt x="8400" y="6171"/>
                    </a:lnTo>
                    <a:close/>
                    <a:moveTo>
                      <a:pt x="4800" y="0"/>
                    </a:moveTo>
                    <a:lnTo>
                      <a:pt x="8400" y="0"/>
                    </a:lnTo>
                    <a:lnTo>
                      <a:pt x="8400" y="6171"/>
                    </a:lnTo>
                    <a:lnTo>
                      <a:pt x="4800" y="6171"/>
                    </a:lnTo>
                    <a:lnTo>
                      <a:pt x="4800" y="0"/>
                    </a:lnTo>
                    <a:close/>
                    <a:moveTo>
                      <a:pt x="0" y="0"/>
                    </a:moveTo>
                    <a:lnTo>
                      <a:pt x="2400" y="0"/>
                    </a:lnTo>
                    <a:lnTo>
                      <a:pt x="2400" y="6171"/>
                    </a:lnTo>
                    <a:lnTo>
                      <a:pt x="0" y="6171"/>
                    </a:lnTo>
                    <a:lnTo>
                      <a:pt x="0" y="0"/>
                    </a:lnTo>
                    <a:close/>
                    <a:moveTo>
                      <a:pt x="0" y="0"/>
                    </a:moveTo>
                  </a:path>
                </a:pathLst>
              </a:custGeom>
              <a:solidFill>
                <a:srgbClr val="00BACF"/>
              </a:solidFill>
              <a:ln w="12700">
                <a:solidFill>
                  <a:srgbClr val="FFFFFF"/>
                </a:solidFill>
                <a:round/>
                <a:headEnd/>
                <a:tailEnd/>
              </a:ln>
            </p:spPr>
            <p:txBody>
              <a:bodyPr lIns="0" tIns="0" rIns="0" bIns="0"/>
              <a:lstStyle/>
              <a:p>
                <a:endParaRPr lang="es-ES"/>
              </a:p>
            </p:txBody>
          </p:sp>
          <p:sp>
            <p:nvSpPr>
              <p:cNvPr id="15416" name="AutoShape 61"/>
              <p:cNvSpPr>
                <a:spLocks/>
              </p:cNvSpPr>
              <p:nvPr/>
            </p:nvSpPr>
            <p:spPr bwMode="auto">
              <a:xfrm>
                <a:off x="2074" y="4323"/>
                <a:ext cx="60" cy="3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1600"/>
                  <a:gd name="T145" fmla="*/ 0 h 21600"/>
                  <a:gd name="T146" fmla="*/ 21600 w 21600"/>
                  <a:gd name="T147" fmla="*/ 21600 h 2160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1600" h="21600">
                    <a:moveTo>
                      <a:pt x="18514" y="9969"/>
                    </a:moveTo>
                    <a:lnTo>
                      <a:pt x="19543" y="9969"/>
                    </a:lnTo>
                    <a:lnTo>
                      <a:pt x="19543" y="11631"/>
                    </a:lnTo>
                    <a:lnTo>
                      <a:pt x="21600" y="11631"/>
                    </a:lnTo>
                    <a:lnTo>
                      <a:pt x="21600" y="14954"/>
                    </a:lnTo>
                    <a:lnTo>
                      <a:pt x="19543" y="14954"/>
                    </a:lnTo>
                    <a:lnTo>
                      <a:pt x="19543" y="21600"/>
                    </a:lnTo>
                    <a:lnTo>
                      <a:pt x="18514" y="21600"/>
                    </a:lnTo>
                    <a:lnTo>
                      <a:pt x="18514" y="18277"/>
                    </a:lnTo>
                    <a:lnTo>
                      <a:pt x="16457" y="18277"/>
                    </a:lnTo>
                    <a:lnTo>
                      <a:pt x="16457" y="11631"/>
                    </a:lnTo>
                    <a:lnTo>
                      <a:pt x="18514" y="11631"/>
                    </a:lnTo>
                    <a:lnTo>
                      <a:pt x="18514" y="9969"/>
                    </a:lnTo>
                    <a:close/>
                    <a:moveTo>
                      <a:pt x="0" y="3323"/>
                    </a:moveTo>
                    <a:lnTo>
                      <a:pt x="2057" y="6646"/>
                    </a:lnTo>
                    <a:lnTo>
                      <a:pt x="0" y="6646"/>
                    </a:lnTo>
                    <a:lnTo>
                      <a:pt x="0" y="3323"/>
                    </a:lnTo>
                    <a:close/>
                    <a:moveTo>
                      <a:pt x="5143" y="0"/>
                    </a:moveTo>
                    <a:lnTo>
                      <a:pt x="7200" y="0"/>
                    </a:lnTo>
                    <a:lnTo>
                      <a:pt x="7200" y="3323"/>
                    </a:lnTo>
                    <a:lnTo>
                      <a:pt x="11314" y="3323"/>
                    </a:lnTo>
                    <a:lnTo>
                      <a:pt x="11314" y="6646"/>
                    </a:lnTo>
                    <a:lnTo>
                      <a:pt x="9257" y="6646"/>
                    </a:lnTo>
                    <a:lnTo>
                      <a:pt x="9257" y="9969"/>
                    </a:lnTo>
                    <a:lnTo>
                      <a:pt x="11314" y="9969"/>
                    </a:lnTo>
                    <a:lnTo>
                      <a:pt x="11314" y="6646"/>
                    </a:lnTo>
                    <a:lnTo>
                      <a:pt x="16457" y="6646"/>
                    </a:lnTo>
                    <a:lnTo>
                      <a:pt x="16457" y="11631"/>
                    </a:lnTo>
                    <a:lnTo>
                      <a:pt x="12343" y="11631"/>
                    </a:lnTo>
                    <a:lnTo>
                      <a:pt x="12343" y="14954"/>
                    </a:lnTo>
                    <a:lnTo>
                      <a:pt x="9257" y="14954"/>
                    </a:lnTo>
                    <a:lnTo>
                      <a:pt x="9257" y="11631"/>
                    </a:lnTo>
                    <a:lnTo>
                      <a:pt x="7200" y="11631"/>
                    </a:lnTo>
                    <a:lnTo>
                      <a:pt x="7200" y="9969"/>
                    </a:lnTo>
                    <a:lnTo>
                      <a:pt x="5143" y="9969"/>
                    </a:lnTo>
                    <a:lnTo>
                      <a:pt x="5143" y="11631"/>
                    </a:lnTo>
                    <a:lnTo>
                      <a:pt x="7200" y="11631"/>
                    </a:lnTo>
                    <a:lnTo>
                      <a:pt x="7200" y="18277"/>
                    </a:lnTo>
                    <a:lnTo>
                      <a:pt x="5143" y="18277"/>
                    </a:lnTo>
                    <a:lnTo>
                      <a:pt x="5143" y="14954"/>
                    </a:lnTo>
                    <a:lnTo>
                      <a:pt x="4114" y="14954"/>
                    </a:lnTo>
                    <a:lnTo>
                      <a:pt x="4114" y="11631"/>
                    </a:lnTo>
                    <a:lnTo>
                      <a:pt x="2057" y="9969"/>
                    </a:lnTo>
                    <a:lnTo>
                      <a:pt x="2057" y="6646"/>
                    </a:lnTo>
                    <a:lnTo>
                      <a:pt x="4114" y="3323"/>
                    </a:lnTo>
                    <a:lnTo>
                      <a:pt x="5143" y="3323"/>
                    </a:lnTo>
                    <a:lnTo>
                      <a:pt x="5143" y="0"/>
                    </a:lnTo>
                    <a:close/>
                    <a:moveTo>
                      <a:pt x="5143" y="0"/>
                    </a:moveTo>
                  </a:path>
                </a:pathLst>
              </a:custGeom>
              <a:solidFill>
                <a:srgbClr val="00BACF"/>
              </a:solidFill>
              <a:ln w="12700">
                <a:solidFill>
                  <a:srgbClr val="FFFFFF"/>
                </a:solidFill>
                <a:round/>
                <a:headEnd/>
                <a:tailEnd/>
              </a:ln>
            </p:spPr>
            <p:txBody>
              <a:bodyPr lIns="0" tIns="0" rIns="0" bIns="0"/>
              <a:lstStyle/>
              <a:p>
                <a:endParaRPr lang="es-ES"/>
              </a:p>
            </p:txBody>
          </p:sp>
          <p:sp>
            <p:nvSpPr>
              <p:cNvPr id="15417" name="AutoShape 62"/>
              <p:cNvSpPr>
                <a:spLocks/>
              </p:cNvSpPr>
              <p:nvPr/>
            </p:nvSpPr>
            <p:spPr bwMode="auto">
              <a:xfrm>
                <a:off x="1958" y="4258"/>
                <a:ext cx="72" cy="4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00"/>
                  <a:gd name="T103" fmla="*/ 0 h 21600"/>
                  <a:gd name="T104" fmla="*/ 21600 w 21600"/>
                  <a:gd name="T105" fmla="*/ 21600 h 2160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00" h="21600">
                    <a:moveTo>
                      <a:pt x="12096" y="10800"/>
                    </a:moveTo>
                    <a:lnTo>
                      <a:pt x="13824" y="10800"/>
                    </a:lnTo>
                    <a:lnTo>
                      <a:pt x="15552" y="13886"/>
                    </a:lnTo>
                    <a:lnTo>
                      <a:pt x="16416" y="13886"/>
                    </a:lnTo>
                    <a:lnTo>
                      <a:pt x="16416" y="15429"/>
                    </a:lnTo>
                    <a:lnTo>
                      <a:pt x="18144" y="13886"/>
                    </a:lnTo>
                    <a:lnTo>
                      <a:pt x="19872" y="15429"/>
                    </a:lnTo>
                    <a:lnTo>
                      <a:pt x="19872" y="18514"/>
                    </a:lnTo>
                    <a:lnTo>
                      <a:pt x="21600" y="18514"/>
                    </a:lnTo>
                    <a:lnTo>
                      <a:pt x="21600" y="21600"/>
                    </a:lnTo>
                    <a:lnTo>
                      <a:pt x="16416" y="21600"/>
                    </a:lnTo>
                    <a:lnTo>
                      <a:pt x="16416" y="18514"/>
                    </a:lnTo>
                    <a:lnTo>
                      <a:pt x="15552" y="18514"/>
                    </a:lnTo>
                    <a:lnTo>
                      <a:pt x="15552" y="15429"/>
                    </a:lnTo>
                    <a:lnTo>
                      <a:pt x="13824" y="15429"/>
                    </a:lnTo>
                    <a:lnTo>
                      <a:pt x="13824" y="13886"/>
                    </a:lnTo>
                    <a:lnTo>
                      <a:pt x="12096" y="10800"/>
                    </a:lnTo>
                    <a:close/>
                    <a:moveTo>
                      <a:pt x="4320" y="7714"/>
                    </a:moveTo>
                    <a:lnTo>
                      <a:pt x="10368" y="7714"/>
                    </a:lnTo>
                    <a:lnTo>
                      <a:pt x="12096" y="10800"/>
                    </a:lnTo>
                    <a:lnTo>
                      <a:pt x="10368" y="13886"/>
                    </a:lnTo>
                    <a:lnTo>
                      <a:pt x="6048" y="13886"/>
                    </a:lnTo>
                    <a:lnTo>
                      <a:pt x="4320" y="10800"/>
                    </a:lnTo>
                    <a:lnTo>
                      <a:pt x="4320" y="7714"/>
                    </a:lnTo>
                    <a:close/>
                    <a:moveTo>
                      <a:pt x="0" y="0"/>
                    </a:moveTo>
                    <a:lnTo>
                      <a:pt x="1728" y="0"/>
                    </a:lnTo>
                    <a:lnTo>
                      <a:pt x="1728" y="3086"/>
                    </a:lnTo>
                    <a:lnTo>
                      <a:pt x="3456" y="3086"/>
                    </a:lnTo>
                    <a:lnTo>
                      <a:pt x="4320" y="4629"/>
                    </a:lnTo>
                    <a:lnTo>
                      <a:pt x="4320" y="7714"/>
                    </a:lnTo>
                    <a:lnTo>
                      <a:pt x="3456" y="7714"/>
                    </a:lnTo>
                    <a:lnTo>
                      <a:pt x="0" y="3086"/>
                    </a:lnTo>
                    <a:lnTo>
                      <a:pt x="0" y="0"/>
                    </a:lnTo>
                    <a:close/>
                    <a:moveTo>
                      <a:pt x="0" y="0"/>
                    </a:moveTo>
                  </a:path>
                </a:pathLst>
              </a:custGeom>
              <a:solidFill>
                <a:srgbClr val="00BACF"/>
              </a:solidFill>
              <a:ln w="12700">
                <a:solidFill>
                  <a:srgbClr val="FFFFFF"/>
                </a:solidFill>
                <a:round/>
                <a:headEnd/>
                <a:tailEnd/>
              </a:ln>
            </p:spPr>
            <p:txBody>
              <a:bodyPr lIns="0" tIns="0" rIns="0" bIns="0"/>
              <a:lstStyle/>
              <a:p>
                <a:endParaRPr lang="es-ES"/>
              </a:p>
            </p:txBody>
          </p:sp>
          <p:sp>
            <p:nvSpPr>
              <p:cNvPr id="15418" name="Freeform 63"/>
              <p:cNvSpPr>
                <a:spLocks/>
              </p:cNvSpPr>
              <p:nvPr/>
            </p:nvSpPr>
            <p:spPr bwMode="auto">
              <a:xfrm>
                <a:off x="2013" y="4307"/>
                <a:ext cx="65" cy="4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1600"/>
                  <a:gd name="T142" fmla="*/ 0 h 21600"/>
                  <a:gd name="T143" fmla="*/ 21600 w 21600"/>
                  <a:gd name="T144" fmla="*/ 21600 h 2160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1600" h="21600">
                    <a:moveTo>
                      <a:pt x="7200" y="0"/>
                    </a:moveTo>
                    <a:lnTo>
                      <a:pt x="10800" y="0"/>
                    </a:lnTo>
                    <a:lnTo>
                      <a:pt x="10800" y="1440"/>
                    </a:lnTo>
                    <a:lnTo>
                      <a:pt x="12600" y="1440"/>
                    </a:lnTo>
                    <a:lnTo>
                      <a:pt x="13500" y="4320"/>
                    </a:lnTo>
                    <a:lnTo>
                      <a:pt x="17100" y="4320"/>
                    </a:lnTo>
                    <a:lnTo>
                      <a:pt x="17100" y="7200"/>
                    </a:lnTo>
                    <a:lnTo>
                      <a:pt x="18900" y="7200"/>
                    </a:lnTo>
                    <a:lnTo>
                      <a:pt x="18900" y="10080"/>
                    </a:lnTo>
                    <a:lnTo>
                      <a:pt x="19800" y="10080"/>
                    </a:lnTo>
                    <a:lnTo>
                      <a:pt x="21600" y="11520"/>
                    </a:lnTo>
                    <a:lnTo>
                      <a:pt x="19800" y="11520"/>
                    </a:lnTo>
                    <a:lnTo>
                      <a:pt x="18900" y="14400"/>
                    </a:lnTo>
                    <a:lnTo>
                      <a:pt x="18900" y="20160"/>
                    </a:lnTo>
                    <a:lnTo>
                      <a:pt x="17100" y="17280"/>
                    </a:lnTo>
                    <a:lnTo>
                      <a:pt x="15300" y="20160"/>
                    </a:lnTo>
                    <a:lnTo>
                      <a:pt x="13500" y="20160"/>
                    </a:lnTo>
                    <a:lnTo>
                      <a:pt x="13500" y="21600"/>
                    </a:lnTo>
                    <a:lnTo>
                      <a:pt x="10800" y="21600"/>
                    </a:lnTo>
                    <a:lnTo>
                      <a:pt x="10800" y="17280"/>
                    </a:lnTo>
                    <a:lnTo>
                      <a:pt x="12600" y="17280"/>
                    </a:lnTo>
                    <a:lnTo>
                      <a:pt x="12600" y="14400"/>
                    </a:lnTo>
                    <a:lnTo>
                      <a:pt x="13500" y="14400"/>
                    </a:lnTo>
                    <a:lnTo>
                      <a:pt x="13500" y="11520"/>
                    </a:lnTo>
                    <a:lnTo>
                      <a:pt x="12600" y="11520"/>
                    </a:lnTo>
                    <a:lnTo>
                      <a:pt x="12600" y="14400"/>
                    </a:lnTo>
                    <a:lnTo>
                      <a:pt x="10800" y="14400"/>
                    </a:lnTo>
                    <a:lnTo>
                      <a:pt x="10800" y="11520"/>
                    </a:lnTo>
                    <a:lnTo>
                      <a:pt x="7200" y="11520"/>
                    </a:lnTo>
                    <a:lnTo>
                      <a:pt x="7200" y="17280"/>
                    </a:lnTo>
                    <a:lnTo>
                      <a:pt x="6300" y="17280"/>
                    </a:lnTo>
                    <a:lnTo>
                      <a:pt x="6300" y="11520"/>
                    </a:lnTo>
                    <a:lnTo>
                      <a:pt x="4500" y="11520"/>
                    </a:lnTo>
                    <a:lnTo>
                      <a:pt x="4500" y="10080"/>
                    </a:lnTo>
                    <a:lnTo>
                      <a:pt x="900" y="10080"/>
                    </a:lnTo>
                    <a:lnTo>
                      <a:pt x="900" y="7200"/>
                    </a:lnTo>
                    <a:lnTo>
                      <a:pt x="0" y="7200"/>
                    </a:lnTo>
                    <a:lnTo>
                      <a:pt x="0" y="4320"/>
                    </a:lnTo>
                    <a:lnTo>
                      <a:pt x="4500" y="4320"/>
                    </a:lnTo>
                    <a:lnTo>
                      <a:pt x="4500" y="7200"/>
                    </a:lnTo>
                    <a:lnTo>
                      <a:pt x="9000" y="7200"/>
                    </a:lnTo>
                    <a:lnTo>
                      <a:pt x="9000" y="4320"/>
                    </a:lnTo>
                    <a:lnTo>
                      <a:pt x="6300" y="4320"/>
                    </a:lnTo>
                    <a:lnTo>
                      <a:pt x="4500" y="1440"/>
                    </a:lnTo>
                    <a:lnTo>
                      <a:pt x="7200" y="1440"/>
                    </a:lnTo>
                    <a:lnTo>
                      <a:pt x="7200" y="0"/>
                    </a:lnTo>
                    <a:close/>
                    <a:moveTo>
                      <a:pt x="7200" y="0"/>
                    </a:moveTo>
                  </a:path>
                </a:pathLst>
              </a:custGeom>
              <a:solidFill>
                <a:srgbClr val="00BACF"/>
              </a:solidFill>
              <a:ln w="12700">
                <a:solidFill>
                  <a:srgbClr val="FFFFFF"/>
                </a:solidFill>
                <a:round/>
                <a:headEnd/>
                <a:tailEnd/>
              </a:ln>
            </p:spPr>
            <p:txBody>
              <a:bodyPr lIns="0" tIns="0" rIns="0" bIns="0"/>
              <a:lstStyle/>
              <a:p>
                <a:endParaRPr lang="es-ES"/>
              </a:p>
            </p:txBody>
          </p:sp>
          <p:sp>
            <p:nvSpPr>
              <p:cNvPr id="15419" name="AutoShape 64"/>
              <p:cNvSpPr>
                <a:spLocks/>
              </p:cNvSpPr>
              <p:nvPr/>
            </p:nvSpPr>
            <p:spPr bwMode="auto">
              <a:xfrm>
                <a:off x="1944" y="4185"/>
                <a:ext cx="14" cy="3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1600"/>
                  <a:gd name="T49" fmla="*/ 0 h 21600"/>
                  <a:gd name="T50" fmla="*/ 21600 w 21600"/>
                  <a:gd name="T51" fmla="*/ 21600 h 2160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1600" h="21600">
                    <a:moveTo>
                      <a:pt x="12960" y="7855"/>
                    </a:moveTo>
                    <a:lnTo>
                      <a:pt x="12960" y="21600"/>
                    </a:lnTo>
                    <a:lnTo>
                      <a:pt x="8640" y="21600"/>
                    </a:lnTo>
                    <a:lnTo>
                      <a:pt x="8640" y="13745"/>
                    </a:lnTo>
                    <a:lnTo>
                      <a:pt x="0" y="13745"/>
                    </a:lnTo>
                    <a:lnTo>
                      <a:pt x="0" y="11782"/>
                    </a:lnTo>
                    <a:lnTo>
                      <a:pt x="8640" y="11782"/>
                    </a:lnTo>
                    <a:lnTo>
                      <a:pt x="12960" y="7855"/>
                    </a:lnTo>
                    <a:close/>
                    <a:moveTo>
                      <a:pt x="12960" y="0"/>
                    </a:moveTo>
                    <a:lnTo>
                      <a:pt x="21600" y="3927"/>
                    </a:lnTo>
                    <a:lnTo>
                      <a:pt x="21600" y="7855"/>
                    </a:lnTo>
                    <a:lnTo>
                      <a:pt x="12960" y="7855"/>
                    </a:lnTo>
                    <a:lnTo>
                      <a:pt x="12960" y="3927"/>
                    </a:lnTo>
                    <a:lnTo>
                      <a:pt x="8640" y="3927"/>
                    </a:lnTo>
                    <a:lnTo>
                      <a:pt x="12960" y="0"/>
                    </a:lnTo>
                    <a:close/>
                    <a:moveTo>
                      <a:pt x="12960" y="0"/>
                    </a:moveTo>
                  </a:path>
                </a:pathLst>
              </a:custGeom>
              <a:solidFill>
                <a:srgbClr val="00BACF"/>
              </a:solidFill>
              <a:ln w="12700">
                <a:solidFill>
                  <a:srgbClr val="FFFFFF"/>
                </a:solidFill>
                <a:round/>
                <a:headEnd/>
                <a:tailEnd/>
              </a:ln>
            </p:spPr>
            <p:txBody>
              <a:bodyPr lIns="0" tIns="0" rIns="0" bIns="0"/>
              <a:lstStyle/>
              <a:p>
                <a:endParaRPr lang="es-ES"/>
              </a:p>
            </p:txBody>
          </p:sp>
          <p:sp>
            <p:nvSpPr>
              <p:cNvPr id="15420" name="AutoShape 65"/>
              <p:cNvSpPr>
                <a:spLocks/>
              </p:cNvSpPr>
              <p:nvPr/>
            </p:nvSpPr>
            <p:spPr bwMode="auto">
              <a:xfrm>
                <a:off x="1953" y="4116"/>
                <a:ext cx="37" cy="4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1600"/>
                  <a:gd name="T88" fmla="*/ 0 h 21600"/>
                  <a:gd name="T89" fmla="*/ 21600 w 21600"/>
                  <a:gd name="T90" fmla="*/ 21600 h 2160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1600" h="21600">
                    <a:moveTo>
                      <a:pt x="0" y="7714"/>
                    </a:moveTo>
                    <a:lnTo>
                      <a:pt x="3323" y="7714"/>
                    </a:lnTo>
                    <a:lnTo>
                      <a:pt x="3323" y="13886"/>
                    </a:lnTo>
                    <a:lnTo>
                      <a:pt x="0" y="13886"/>
                    </a:lnTo>
                    <a:lnTo>
                      <a:pt x="0" y="7714"/>
                    </a:lnTo>
                    <a:close/>
                    <a:moveTo>
                      <a:pt x="6646" y="0"/>
                    </a:moveTo>
                    <a:lnTo>
                      <a:pt x="9969" y="0"/>
                    </a:lnTo>
                    <a:lnTo>
                      <a:pt x="9969" y="3086"/>
                    </a:lnTo>
                    <a:lnTo>
                      <a:pt x="14954" y="3086"/>
                    </a:lnTo>
                    <a:lnTo>
                      <a:pt x="14954" y="7714"/>
                    </a:lnTo>
                    <a:lnTo>
                      <a:pt x="21600" y="13886"/>
                    </a:lnTo>
                    <a:lnTo>
                      <a:pt x="14954" y="13886"/>
                    </a:lnTo>
                    <a:lnTo>
                      <a:pt x="11631" y="16971"/>
                    </a:lnTo>
                    <a:lnTo>
                      <a:pt x="11631" y="18514"/>
                    </a:lnTo>
                    <a:lnTo>
                      <a:pt x="9969" y="18514"/>
                    </a:lnTo>
                    <a:lnTo>
                      <a:pt x="6646" y="21600"/>
                    </a:lnTo>
                    <a:lnTo>
                      <a:pt x="3323" y="21600"/>
                    </a:lnTo>
                    <a:lnTo>
                      <a:pt x="3323" y="18514"/>
                    </a:lnTo>
                    <a:lnTo>
                      <a:pt x="0" y="18514"/>
                    </a:lnTo>
                    <a:lnTo>
                      <a:pt x="0" y="16971"/>
                    </a:lnTo>
                    <a:lnTo>
                      <a:pt x="3323" y="16971"/>
                    </a:lnTo>
                    <a:lnTo>
                      <a:pt x="3323" y="13886"/>
                    </a:lnTo>
                    <a:lnTo>
                      <a:pt x="6646" y="13886"/>
                    </a:lnTo>
                    <a:lnTo>
                      <a:pt x="6646" y="10800"/>
                    </a:lnTo>
                    <a:lnTo>
                      <a:pt x="9969" y="10800"/>
                    </a:lnTo>
                    <a:lnTo>
                      <a:pt x="9969" y="7714"/>
                    </a:lnTo>
                    <a:lnTo>
                      <a:pt x="6646" y="7714"/>
                    </a:lnTo>
                    <a:lnTo>
                      <a:pt x="6646" y="0"/>
                    </a:lnTo>
                    <a:close/>
                    <a:moveTo>
                      <a:pt x="6646" y="0"/>
                    </a:moveTo>
                  </a:path>
                </a:pathLst>
              </a:custGeom>
              <a:solidFill>
                <a:srgbClr val="00BACF"/>
              </a:solidFill>
              <a:ln w="12700">
                <a:solidFill>
                  <a:srgbClr val="FFFFFF"/>
                </a:solidFill>
                <a:round/>
                <a:headEnd/>
                <a:tailEnd/>
              </a:ln>
            </p:spPr>
            <p:txBody>
              <a:bodyPr lIns="0" tIns="0" rIns="0" bIns="0"/>
              <a:lstStyle/>
              <a:p>
                <a:endParaRPr lang="es-ES"/>
              </a:p>
            </p:txBody>
          </p:sp>
          <p:sp>
            <p:nvSpPr>
              <p:cNvPr id="15421" name="AutoShape 66"/>
              <p:cNvSpPr>
                <a:spLocks/>
              </p:cNvSpPr>
              <p:nvPr/>
            </p:nvSpPr>
            <p:spPr bwMode="auto">
              <a:xfrm>
                <a:off x="1929" y="4090"/>
                <a:ext cx="29" cy="2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1600"/>
                  <a:gd name="T70" fmla="*/ 0 h 21600"/>
                  <a:gd name="T71" fmla="*/ 21600 w 21600"/>
                  <a:gd name="T72" fmla="*/ 21600 h 2160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1600" h="21600">
                    <a:moveTo>
                      <a:pt x="0" y="9600"/>
                    </a:moveTo>
                    <a:lnTo>
                      <a:pt x="2160" y="9600"/>
                    </a:lnTo>
                    <a:lnTo>
                      <a:pt x="2160" y="14400"/>
                    </a:lnTo>
                    <a:lnTo>
                      <a:pt x="0" y="14400"/>
                    </a:lnTo>
                    <a:lnTo>
                      <a:pt x="0" y="9600"/>
                    </a:lnTo>
                    <a:close/>
                    <a:moveTo>
                      <a:pt x="0" y="0"/>
                    </a:moveTo>
                    <a:lnTo>
                      <a:pt x="6480" y="0"/>
                    </a:lnTo>
                    <a:lnTo>
                      <a:pt x="10800" y="4800"/>
                    </a:lnTo>
                    <a:lnTo>
                      <a:pt x="15120" y="4800"/>
                    </a:lnTo>
                    <a:lnTo>
                      <a:pt x="15120" y="9600"/>
                    </a:lnTo>
                    <a:lnTo>
                      <a:pt x="21600" y="9600"/>
                    </a:lnTo>
                    <a:lnTo>
                      <a:pt x="21600" y="14400"/>
                    </a:lnTo>
                    <a:lnTo>
                      <a:pt x="15120" y="14400"/>
                    </a:lnTo>
                    <a:lnTo>
                      <a:pt x="6480" y="21600"/>
                    </a:lnTo>
                    <a:lnTo>
                      <a:pt x="6480" y="16800"/>
                    </a:lnTo>
                    <a:lnTo>
                      <a:pt x="2160" y="16800"/>
                    </a:lnTo>
                    <a:lnTo>
                      <a:pt x="2160" y="14400"/>
                    </a:lnTo>
                    <a:lnTo>
                      <a:pt x="6480" y="14400"/>
                    </a:lnTo>
                    <a:lnTo>
                      <a:pt x="6480" y="9600"/>
                    </a:lnTo>
                    <a:lnTo>
                      <a:pt x="2160" y="9600"/>
                    </a:lnTo>
                    <a:lnTo>
                      <a:pt x="2160" y="4800"/>
                    </a:lnTo>
                    <a:lnTo>
                      <a:pt x="0" y="0"/>
                    </a:lnTo>
                    <a:close/>
                    <a:moveTo>
                      <a:pt x="0" y="0"/>
                    </a:moveTo>
                  </a:path>
                </a:pathLst>
              </a:custGeom>
              <a:solidFill>
                <a:srgbClr val="00BACF"/>
              </a:solidFill>
              <a:ln w="12700">
                <a:solidFill>
                  <a:srgbClr val="FFFFFF"/>
                </a:solidFill>
                <a:round/>
                <a:headEnd/>
                <a:tailEnd/>
              </a:ln>
            </p:spPr>
            <p:txBody>
              <a:bodyPr lIns="0" tIns="0" rIns="0" bIns="0"/>
              <a:lstStyle/>
              <a:p>
                <a:endParaRPr lang="es-ES"/>
              </a:p>
            </p:txBody>
          </p:sp>
          <p:sp>
            <p:nvSpPr>
              <p:cNvPr id="15422" name="AutoShape 67"/>
              <p:cNvSpPr>
                <a:spLocks/>
              </p:cNvSpPr>
              <p:nvPr/>
            </p:nvSpPr>
            <p:spPr bwMode="auto">
              <a:xfrm>
                <a:off x="1916" y="4021"/>
                <a:ext cx="20" cy="29"/>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1600"/>
                  <a:gd name="T76" fmla="*/ 0 h 21600"/>
                  <a:gd name="T77" fmla="*/ 21600 w 21600"/>
                  <a:gd name="T78" fmla="*/ 21600 h 2160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1600" h="21600">
                    <a:moveTo>
                      <a:pt x="12343" y="0"/>
                    </a:moveTo>
                    <a:lnTo>
                      <a:pt x="15429" y="0"/>
                    </a:lnTo>
                    <a:lnTo>
                      <a:pt x="15429" y="4320"/>
                    </a:lnTo>
                    <a:lnTo>
                      <a:pt x="21600" y="4320"/>
                    </a:lnTo>
                    <a:lnTo>
                      <a:pt x="21600" y="6480"/>
                    </a:lnTo>
                    <a:lnTo>
                      <a:pt x="15429" y="6480"/>
                    </a:lnTo>
                    <a:lnTo>
                      <a:pt x="15429" y="15120"/>
                    </a:lnTo>
                    <a:lnTo>
                      <a:pt x="12343" y="15120"/>
                    </a:lnTo>
                    <a:lnTo>
                      <a:pt x="6171" y="19440"/>
                    </a:lnTo>
                    <a:lnTo>
                      <a:pt x="6171" y="21600"/>
                    </a:lnTo>
                    <a:lnTo>
                      <a:pt x="0" y="21600"/>
                    </a:lnTo>
                    <a:lnTo>
                      <a:pt x="0" y="15120"/>
                    </a:lnTo>
                    <a:lnTo>
                      <a:pt x="6171" y="10800"/>
                    </a:lnTo>
                    <a:lnTo>
                      <a:pt x="12343" y="10800"/>
                    </a:lnTo>
                    <a:lnTo>
                      <a:pt x="12343" y="6480"/>
                    </a:lnTo>
                    <a:lnTo>
                      <a:pt x="6171" y="6480"/>
                    </a:lnTo>
                    <a:lnTo>
                      <a:pt x="6171" y="4320"/>
                    </a:lnTo>
                    <a:lnTo>
                      <a:pt x="12343" y="4320"/>
                    </a:lnTo>
                    <a:lnTo>
                      <a:pt x="12343" y="0"/>
                    </a:lnTo>
                    <a:close/>
                    <a:moveTo>
                      <a:pt x="0" y="0"/>
                    </a:moveTo>
                    <a:lnTo>
                      <a:pt x="6171" y="0"/>
                    </a:lnTo>
                    <a:lnTo>
                      <a:pt x="6171" y="4320"/>
                    </a:lnTo>
                    <a:lnTo>
                      <a:pt x="0" y="4320"/>
                    </a:lnTo>
                    <a:lnTo>
                      <a:pt x="0" y="0"/>
                    </a:lnTo>
                    <a:close/>
                    <a:moveTo>
                      <a:pt x="0" y="0"/>
                    </a:moveTo>
                  </a:path>
                </a:pathLst>
              </a:custGeom>
              <a:solidFill>
                <a:srgbClr val="00BACF"/>
              </a:solidFill>
              <a:ln w="12700">
                <a:solidFill>
                  <a:srgbClr val="FFFFFF"/>
                </a:solidFill>
                <a:round/>
                <a:headEnd/>
                <a:tailEnd/>
              </a:ln>
            </p:spPr>
            <p:txBody>
              <a:bodyPr lIns="0" tIns="0" rIns="0" bIns="0"/>
              <a:lstStyle/>
              <a:p>
                <a:endParaRPr lang="es-ES"/>
              </a:p>
            </p:txBody>
          </p:sp>
          <p:sp>
            <p:nvSpPr>
              <p:cNvPr id="15423" name="Freeform 68"/>
              <p:cNvSpPr>
                <a:spLocks/>
              </p:cNvSpPr>
              <p:nvPr/>
            </p:nvSpPr>
            <p:spPr bwMode="auto">
              <a:xfrm>
                <a:off x="1924" y="3969"/>
                <a:ext cx="20" cy="4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600"/>
                  <a:gd name="T43" fmla="*/ 0 h 21600"/>
                  <a:gd name="T44" fmla="*/ 21600 w 21600"/>
                  <a:gd name="T45" fmla="*/ 21600 h 21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600" h="21600">
                    <a:moveTo>
                      <a:pt x="0" y="0"/>
                    </a:moveTo>
                    <a:lnTo>
                      <a:pt x="9257" y="0"/>
                    </a:lnTo>
                    <a:lnTo>
                      <a:pt x="9257" y="9257"/>
                    </a:lnTo>
                    <a:lnTo>
                      <a:pt x="15429" y="9257"/>
                    </a:lnTo>
                    <a:lnTo>
                      <a:pt x="15429" y="13886"/>
                    </a:lnTo>
                    <a:lnTo>
                      <a:pt x="21600" y="13886"/>
                    </a:lnTo>
                    <a:lnTo>
                      <a:pt x="21600" y="21600"/>
                    </a:lnTo>
                    <a:lnTo>
                      <a:pt x="9257" y="21600"/>
                    </a:lnTo>
                    <a:lnTo>
                      <a:pt x="9257" y="13886"/>
                    </a:lnTo>
                    <a:lnTo>
                      <a:pt x="6171" y="13886"/>
                    </a:lnTo>
                    <a:lnTo>
                      <a:pt x="6171" y="9257"/>
                    </a:lnTo>
                    <a:lnTo>
                      <a:pt x="0" y="9257"/>
                    </a:lnTo>
                    <a:lnTo>
                      <a:pt x="0" y="0"/>
                    </a:lnTo>
                    <a:close/>
                    <a:moveTo>
                      <a:pt x="0" y="0"/>
                    </a:moveTo>
                  </a:path>
                </a:pathLst>
              </a:custGeom>
              <a:solidFill>
                <a:srgbClr val="00BACF"/>
              </a:solidFill>
              <a:ln w="12700">
                <a:solidFill>
                  <a:srgbClr val="FFFFFF"/>
                </a:solidFill>
                <a:round/>
                <a:headEnd/>
                <a:tailEnd/>
              </a:ln>
            </p:spPr>
            <p:txBody>
              <a:bodyPr lIns="0" tIns="0" rIns="0" bIns="0"/>
              <a:lstStyle/>
              <a:p>
                <a:endParaRPr lang="es-ES"/>
              </a:p>
            </p:txBody>
          </p:sp>
          <p:sp>
            <p:nvSpPr>
              <p:cNvPr id="15424" name="Freeform 69"/>
              <p:cNvSpPr>
                <a:spLocks/>
              </p:cNvSpPr>
              <p:nvPr/>
            </p:nvSpPr>
            <p:spPr bwMode="auto">
              <a:xfrm>
                <a:off x="1938" y="3975"/>
                <a:ext cx="15" cy="2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600"/>
                  <a:gd name="T37" fmla="*/ 0 h 21600"/>
                  <a:gd name="T38" fmla="*/ 21600 w 21600"/>
                  <a:gd name="T39" fmla="*/ 21600 h 2160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600" h="21600">
                    <a:moveTo>
                      <a:pt x="0" y="0"/>
                    </a:moveTo>
                    <a:lnTo>
                      <a:pt x="8640" y="0"/>
                    </a:lnTo>
                    <a:lnTo>
                      <a:pt x="17280" y="4800"/>
                    </a:lnTo>
                    <a:lnTo>
                      <a:pt x="21600" y="4800"/>
                    </a:lnTo>
                    <a:lnTo>
                      <a:pt x="21600" y="12000"/>
                    </a:lnTo>
                    <a:lnTo>
                      <a:pt x="17280" y="12000"/>
                    </a:lnTo>
                    <a:lnTo>
                      <a:pt x="17280" y="16800"/>
                    </a:lnTo>
                    <a:lnTo>
                      <a:pt x="8640" y="21600"/>
                    </a:lnTo>
                    <a:lnTo>
                      <a:pt x="8640" y="12000"/>
                    </a:lnTo>
                    <a:lnTo>
                      <a:pt x="0" y="12000"/>
                    </a:lnTo>
                    <a:lnTo>
                      <a:pt x="0" y="0"/>
                    </a:lnTo>
                    <a:close/>
                    <a:moveTo>
                      <a:pt x="0" y="0"/>
                    </a:moveTo>
                  </a:path>
                </a:pathLst>
              </a:custGeom>
              <a:solidFill>
                <a:srgbClr val="00BACF"/>
              </a:solidFill>
              <a:ln w="12700">
                <a:solidFill>
                  <a:srgbClr val="FFFFFF"/>
                </a:solidFill>
                <a:round/>
                <a:headEnd/>
                <a:tailEnd/>
              </a:ln>
            </p:spPr>
            <p:txBody>
              <a:bodyPr lIns="0" tIns="0" rIns="0" bIns="0"/>
              <a:lstStyle/>
              <a:p>
                <a:endParaRPr lang="es-ES"/>
              </a:p>
            </p:txBody>
          </p:sp>
          <p:sp>
            <p:nvSpPr>
              <p:cNvPr id="15425" name="Freeform 70"/>
              <p:cNvSpPr>
                <a:spLocks/>
              </p:cNvSpPr>
              <p:nvPr/>
            </p:nvSpPr>
            <p:spPr bwMode="auto">
              <a:xfrm>
                <a:off x="1984" y="3790"/>
                <a:ext cx="26" cy="1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1600"/>
                  <a:gd name="T46" fmla="*/ 0 h 21600"/>
                  <a:gd name="T47" fmla="*/ 21600 w 21600"/>
                  <a:gd name="T48" fmla="*/ 21600 h 2160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1600" h="21600">
                    <a:moveTo>
                      <a:pt x="0" y="0"/>
                    </a:moveTo>
                    <a:lnTo>
                      <a:pt x="7200" y="0"/>
                    </a:lnTo>
                    <a:lnTo>
                      <a:pt x="7200" y="2700"/>
                    </a:lnTo>
                    <a:lnTo>
                      <a:pt x="12000" y="8100"/>
                    </a:lnTo>
                    <a:lnTo>
                      <a:pt x="16800" y="8100"/>
                    </a:lnTo>
                    <a:lnTo>
                      <a:pt x="16800" y="13500"/>
                    </a:lnTo>
                    <a:lnTo>
                      <a:pt x="21600" y="18900"/>
                    </a:lnTo>
                    <a:lnTo>
                      <a:pt x="21600" y="21600"/>
                    </a:lnTo>
                    <a:lnTo>
                      <a:pt x="16800" y="21600"/>
                    </a:lnTo>
                    <a:lnTo>
                      <a:pt x="16800" y="18900"/>
                    </a:lnTo>
                    <a:lnTo>
                      <a:pt x="12000" y="18900"/>
                    </a:lnTo>
                    <a:lnTo>
                      <a:pt x="7200" y="13500"/>
                    </a:lnTo>
                    <a:lnTo>
                      <a:pt x="0" y="13500"/>
                    </a:lnTo>
                    <a:lnTo>
                      <a:pt x="0" y="0"/>
                    </a:lnTo>
                    <a:close/>
                    <a:moveTo>
                      <a:pt x="0" y="0"/>
                    </a:moveTo>
                  </a:path>
                </a:pathLst>
              </a:custGeom>
              <a:solidFill>
                <a:srgbClr val="00BACF"/>
              </a:solidFill>
              <a:ln w="12700">
                <a:solidFill>
                  <a:srgbClr val="FFFFFF"/>
                </a:solidFill>
                <a:round/>
                <a:headEnd/>
                <a:tailEnd/>
              </a:ln>
            </p:spPr>
            <p:txBody>
              <a:bodyPr lIns="0" tIns="0" rIns="0" bIns="0"/>
              <a:lstStyle/>
              <a:p>
                <a:endParaRPr lang="es-ES"/>
              </a:p>
            </p:txBody>
          </p:sp>
          <p:sp>
            <p:nvSpPr>
              <p:cNvPr id="15426" name="AutoShape 71"/>
              <p:cNvSpPr>
                <a:spLocks/>
              </p:cNvSpPr>
              <p:nvPr/>
            </p:nvSpPr>
            <p:spPr bwMode="auto">
              <a:xfrm>
                <a:off x="2085" y="4243"/>
                <a:ext cx="179" cy="205"/>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1600"/>
                  <a:gd name="T163" fmla="*/ 0 h 21600"/>
                  <a:gd name="T164" fmla="*/ 21600 w 21600"/>
                  <a:gd name="T165" fmla="*/ 21600 h 2160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1600" h="21600">
                    <a:moveTo>
                      <a:pt x="16875" y="17341"/>
                    </a:moveTo>
                    <a:lnTo>
                      <a:pt x="16875" y="17949"/>
                    </a:lnTo>
                    <a:lnTo>
                      <a:pt x="18225" y="17949"/>
                    </a:lnTo>
                    <a:lnTo>
                      <a:pt x="18225" y="17341"/>
                    </a:lnTo>
                    <a:lnTo>
                      <a:pt x="16875" y="17341"/>
                    </a:lnTo>
                    <a:close/>
                    <a:moveTo>
                      <a:pt x="12825" y="17037"/>
                    </a:moveTo>
                    <a:lnTo>
                      <a:pt x="12825" y="17341"/>
                    </a:lnTo>
                    <a:lnTo>
                      <a:pt x="13500" y="17341"/>
                    </a:lnTo>
                    <a:lnTo>
                      <a:pt x="13500" y="17037"/>
                    </a:lnTo>
                    <a:lnTo>
                      <a:pt x="12825" y="17037"/>
                    </a:lnTo>
                    <a:close/>
                    <a:moveTo>
                      <a:pt x="6412" y="15211"/>
                    </a:moveTo>
                    <a:lnTo>
                      <a:pt x="7087" y="15211"/>
                    </a:lnTo>
                    <a:lnTo>
                      <a:pt x="7087" y="15820"/>
                    </a:lnTo>
                    <a:lnTo>
                      <a:pt x="6412" y="15820"/>
                    </a:lnTo>
                    <a:lnTo>
                      <a:pt x="6412" y="15211"/>
                    </a:lnTo>
                    <a:close/>
                    <a:moveTo>
                      <a:pt x="8100" y="14299"/>
                    </a:moveTo>
                    <a:lnTo>
                      <a:pt x="7425" y="14907"/>
                    </a:lnTo>
                    <a:lnTo>
                      <a:pt x="8100" y="14907"/>
                    </a:lnTo>
                    <a:lnTo>
                      <a:pt x="8100" y="14299"/>
                    </a:lnTo>
                    <a:close/>
                    <a:moveTo>
                      <a:pt x="0" y="14299"/>
                    </a:moveTo>
                    <a:lnTo>
                      <a:pt x="338" y="14299"/>
                    </a:lnTo>
                    <a:lnTo>
                      <a:pt x="0" y="14907"/>
                    </a:lnTo>
                    <a:lnTo>
                      <a:pt x="0" y="14299"/>
                    </a:lnTo>
                    <a:close/>
                    <a:moveTo>
                      <a:pt x="13500" y="0"/>
                    </a:moveTo>
                    <a:lnTo>
                      <a:pt x="14512" y="0"/>
                    </a:lnTo>
                    <a:lnTo>
                      <a:pt x="15862" y="913"/>
                    </a:lnTo>
                    <a:lnTo>
                      <a:pt x="18225" y="913"/>
                    </a:lnTo>
                    <a:lnTo>
                      <a:pt x="18900" y="1521"/>
                    </a:lnTo>
                    <a:lnTo>
                      <a:pt x="18900" y="15820"/>
                    </a:lnTo>
                    <a:lnTo>
                      <a:pt x="17550" y="15820"/>
                    </a:lnTo>
                    <a:lnTo>
                      <a:pt x="17550" y="15211"/>
                    </a:lnTo>
                    <a:lnTo>
                      <a:pt x="16875" y="15211"/>
                    </a:lnTo>
                    <a:lnTo>
                      <a:pt x="16875" y="15820"/>
                    </a:lnTo>
                    <a:lnTo>
                      <a:pt x="16537" y="15820"/>
                    </a:lnTo>
                    <a:lnTo>
                      <a:pt x="16537" y="16428"/>
                    </a:lnTo>
                    <a:lnTo>
                      <a:pt x="15187" y="16428"/>
                    </a:lnTo>
                    <a:lnTo>
                      <a:pt x="15862" y="17037"/>
                    </a:lnTo>
                    <a:lnTo>
                      <a:pt x="16875" y="17037"/>
                    </a:lnTo>
                    <a:lnTo>
                      <a:pt x="16875" y="16428"/>
                    </a:lnTo>
                    <a:lnTo>
                      <a:pt x="19912" y="16428"/>
                    </a:lnTo>
                    <a:lnTo>
                      <a:pt x="19912" y="17341"/>
                    </a:lnTo>
                    <a:lnTo>
                      <a:pt x="18900" y="17341"/>
                    </a:lnTo>
                    <a:lnTo>
                      <a:pt x="18900" y="17949"/>
                    </a:lnTo>
                    <a:lnTo>
                      <a:pt x="19912" y="17949"/>
                    </a:lnTo>
                    <a:lnTo>
                      <a:pt x="19912" y="18558"/>
                    </a:lnTo>
                    <a:lnTo>
                      <a:pt x="20588" y="18558"/>
                    </a:lnTo>
                    <a:lnTo>
                      <a:pt x="20588" y="19166"/>
                    </a:lnTo>
                    <a:lnTo>
                      <a:pt x="19912" y="19166"/>
                    </a:lnTo>
                    <a:lnTo>
                      <a:pt x="19912" y="19470"/>
                    </a:lnTo>
                    <a:lnTo>
                      <a:pt x="21263" y="19470"/>
                    </a:lnTo>
                    <a:lnTo>
                      <a:pt x="21263" y="20079"/>
                    </a:lnTo>
                    <a:lnTo>
                      <a:pt x="21600" y="20079"/>
                    </a:lnTo>
                    <a:lnTo>
                      <a:pt x="21600" y="21600"/>
                    </a:lnTo>
                    <a:lnTo>
                      <a:pt x="21263" y="21600"/>
                    </a:lnTo>
                    <a:lnTo>
                      <a:pt x="21263" y="21296"/>
                    </a:lnTo>
                    <a:lnTo>
                      <a:pt x="20588" y="21296"/>
                    </a:lnTo>
                    <a:lnTo>
                      <a:pt x="20588" y="20687"/>
                    </a:lnTo>
                    <a:lnTo>
                      <a:pt x="19912" y="20687"/>
                    </a:lnTo>
                    <a:lnTo>
                      <a:pt x="18900" y="19470"/>
                    </a:lnTo>
                    <a:lnTo>
                      <a:pt x="18225" y="19470"/>
                    </a:lnTo>
                    <a:lnTo>
                      <a:pt x="18225" y="20079"/>
                    </a:lnTo>
                    <a:lnTo>
                      <a:pt x="16537" y="20079"/>
                    </a:lnTo>
                    <a:lnTo>
                      <a:pt x="16537" y="19470"/>
                    </a:lnTo>
                    <a:lnTo>
                      <a:pt x="16875" y="19166"/>
                    </a:lnTo>
                    <a:lnTo>
                      <a:pt x="16875" y="18558"/>
                    </a:lnTo>
                    <a:lnTo>
                      <a:pt x="16537" y="18558"/>
                    </a:lnTo>
                    <a:lnTo>
                      <a:pt x="15862" y="17949"/>
                    </a:lnTo>
                    <a:lnTo>
                      <a:pt x="14512" y="17949"/>
                    </a:lnTo>
                    <a:lnTo>
                      <a:pt x="14512" y="18558"/>
                    </a:lnTo>
                    <a:lnTo>
                      <a:pt x="14175" y="18558"/>
                    </a:lnTo>
                    <a:lnTo>
                      <a:pt x="14175" y="19166"/>
                    </a:lnTo>
                    <a:lnTo>
                      <a:pt x="14512" y="19166"/>
                    </a:lnTo>
                    <a:lnTo>
                      <a:pt x="14512" y="19470"/>
                    </a:lnTo>
                    <a:lnTo>
                      <a:pt x="14175" y="19470"/>
                    </a:lnTo>
                    <a:lnTo>
                      <a:pt x="14175" y="20079"/>
                    </a:lnTo>
                    <a:lnTo>
                      <a:pt x="13500" y="20079"/>
                    </a:lnTo>
                    <a:lnTo>
                      <a:pt x="13500" y="19470"/>
                    </a:lnTo>
                    <a:lnTo>
                      <a:pt x="12825" y="19470"/>
                    </a:lnTo>
                    <a:lnTo>
                      <a:pt x="12825" y="19166"/>
                    </a:lnTo>
                    <a:lnTo>
                      <a:pt x="12150" y="19166"/>
                    </a:lnTo>
                    <a:lnTo>
                      <a:pt x="12150" y="18558"/>
                    </a:lnTo>
                    <a:lnTo>
                      <a:pt x="12825" y="18558"/>
                    </a:lnTo>
                    <a:lnTo>
                      <a:pt x="12825" y="17949"/>
                    </a:lnTo>
                    <a:lnTo>
                      <a:pt x="11137" y="17949"/>
                    </a:lnTo>
                    <a:lnTo>
                      <a:pt x="11137" y="17341"/>
                    </a:lnTo>
                    <a:lnTo>
                      <a:pt x="12150" y="17341"/>
                    </a:lnTo>
                    <a:lnTo>
                      <a:pt x="12150" y="17037"/>
                    </a:lnTo>
                    <a:lnTo>
                      <a:pt x="11812" y="17037"/>
                    </a:lnTo>
                    <a:lnTo>
                      <a:pt x="11812" y="15820"/>
                    </a:lnTo>
                    <a:lnTo>
                      <a:pt x="12825" y="15820"/>
                    </a:lnTo>
                    <a:lnTo>
                      <a:pt x="12825" y="15211"/>
                    </a:lnTo>
                    <a:lnTo>
                      <a:pt x="12150" y="15211"/>
                    </a:lnTo>
                    <a:lnTo>
                      <a:pt x="12150" y="14907"/>
                    </a:lnTo>
                    <a:lnTo>
                      <a:pt x="11812" y="15211"/>
                    </a:lnTo>
                    <a:lnTo>
                      <a:pt x="9787" y="15211"/>
                    </a:lnTo>
                    <a:lnTo>
                      <a:pt x="9787" y="15820"/>
                    </a:lnTo>
                    <a:lnTo>
                      <a:pt x="9450" y="15820"/>
                    </a:lnTo>
                    <a:lnTo>
                      <a:pt x="9450" y="15211"/>
                    </a:lnTo>
                    <a:lnTo>
                      <a:pt x="7087" y="15211"/>
                    </a:lnTo>
                    <a:lnTo>
                      <a:pt x="7087" y="14907"/>
                    </a:lnTo>
                    <a:lnTo>
                      <a:pt x="6412" y="14907"/>
                    </a:lnTo>
                    <a:lnTo>
                      <a:pt x="6412" y="14299"/>
                    </a:lnTo>
                    <a:lnTo>
                      <a:pt x="5737" y="14907"/>
                    </a:lnTo>
                    <a:lnTo>
                      <a:pt x="5737" y="15211"/>
                    </a:lnTo>
                    <a:lnTo>
                      <a:pt x="5062" y="15211"/>
                    </a:lnTo>
                    <a:lnTo>
                      <a:pt x="5062" y="14299"/>
                    </a:lnTo>
                    <a:lnTo>
                      <a:pt x="4725" y="14907"/>
                    </a:lnTo>
                    <a:lnTo>
                      <a:pt x="4050" y="14907"/>
                    </a:lnTo>
                    <a:lnTo>
                      <a:pt x="4050" y="13690"/>
                    </a:lnTo>
                    <a:lnTo>
                      <a:pt x="3375" y="13690"/>
                    </a:lnTo>
                    <a:lnTo>
                      <a:pt x="3375" y="14299"/>
                    </a:lnTo>
                    <a:lnTo>
                      <a:pt x="338" y="14299"/>
                    </a:lnTo>
                    <a:lnTo>
                      <a:pt x="338" y="13690"/>
                    </a:lnTo>
                    <a:lnTo>
                      <a:pt x="1687" y="13690"/>
                    </a:lnTo>
                    <a:lnTo>
                      <a:pt x="1687" y="13082"/>
                    </a:lnTo>
                    <a:lnTo>
                      <a:pt x="6412" y="13082"/>
                    </a:lnTo>
                    <a:lnTo>
                      <a:pt x="6412" y="12777"/>
                    </a:lnTo>
                    <a:lnTo>
                      <a:pt x="7087" y="12777"/>
                    </a:lnTo>
                    <a:lnTo>
                      <a:pt x="7087" y="13690"/>
                    </a:lnTo>
                    <a:lnTo>
                      <a:pt x="7425" y="13690"/>
                    </a:lnTo>
                    <a:lnTo>
                      <a:pt x="7425" y="12777"/>
                    </a:lnTo>
                    <a:lnTo>
                      <a:pt x="8100" y="12777"/>
                    </a:lnTo>
                    <a:lnTo>
                      <a:pt x="8100" y="13082"/>
                    </a:lnTo>
                    <a:lnTo>
                      <a:pt x="8775" y="13082"/>
                    </a:lnTo>
                    <a:lnTo>
                      <a:pt x="8775" y="12777"/>
                    </a:lnTo>
                    <a:lnTo>
                      <a:pt x="8100" y="12777"/>
                    </a:lnTo>
                    <a:lnTo>
                      <a:pt x="8100" y="12169"/>
                    </a:lnTo>
                    <a:lnTo>
                      <a:pt x="7425" y="12169"/>
                    </a:lnTo>
                    <a:lnTo>
                      <a:pt x="7425" y="12777"/>
                    </a:lnTo>
                    <a:lnTo>
                      <a:pt x="7087" y="12777"/>
                    </a:lnTo>
                    <a:lnTo>
                      <a:pt x="7087" y="11561"/>
                    </a:lnTo>
                    <a:lnTo>
                      <a:pt x="6412" y="11561"/>
                    </a:lnTo>
                    <a:lnTo>
                      <a:pt x="6412" y="10039"/>
                    </a:lnTo>
                    <a:lnTo>
                      <a:pt x="5737" y="10039"/>
                    </a:lnTo>
                    <a:lnTo>
                      <a:pt x="7087" y="8823"/>
                    </a:lnTo>
                    <a:lnTo>
                      <a:pt x="7087" y="8518"/>
                    </a:lnTo>
                    <a:lnTo>
                      <a:pt x="8100" y="7301"/>
                    </a:lnTo>
                    <a:lnTo>
                      <a:pt x="8100" y="8518"/>
                    </a:lnTo>
                    <a:lnTo>
                      <a:pt x="8775" y="8823"/>
                    </a:lnTo>
                    <a:lnTo>
                      <a:pt x="8775" y="10039"/>
                    </a:lnTo>
                    <a:lnTo>
                      <a:pt x="9450" y="10039"/>
                    </a:lnTo>
                    <a:lnTo>
                      <a:pt x="9450" y="10648"/>
                    </a:lnTo>
                    <a:lnTo>
                      <a:pt x="8775" y="10648"/>
                    </a:lnTo>
                    <a:lnTo>
                      <a:pt x="8100" y="10039"/>
                    </a:lnTo>
                    <a:lnTo>
                      <a:pt x="7425" y="10039"/>
                    </a:lnTo>
                    <a:lnTo>
                      <a:pt x="8100" y="10648"/>
                    </a:lnTo>
                    <a:lnTo>
                      <a:pt x="8100" y="11561"/>
                    </a:lnTo>
                    <a:lnTo>
                      <a:pt x="8775" y="11561"/>
                    </a:lnTo>
                    <a:lnTo>
                      <a:pt x="8775" y="12169"/>
                    </a:lnTo>
                    <a:lnTo>
                      <a:pt x="9450" y="12169"/>
                    </a:lnTo>
                    <a:lnTo>
                      <a:pt x="9787" y="12777"/>
                    </a:lnTo>
                    <a:lnTo>
                      <a:pt x="10463" y="12777"/>
                    </a:lnTo>
                    <a:lnTo>
                      <a:pt x="10463" y="11561"/>
                    </a:lnTo>
                    <a:lnTo>
                      <a:pt x="11137" y="11561"/>
                    </a:lnTo>
                    <a:lnTo>
                      <a:pt x="11137" y="12169"/>
                    </a:lnTo>
                    <a:lnTo>
                      <a:pt x="11812" y="12777"/>
                    </a:lnTo>
                    <a:lnTo>
                      <a:pt x="11812" y="13082"/>
                    </a:lnTo>
                    <a:lnTo>
                      <a:pt x="12150" y="13690"/>
                    </a:lnTo>
                    <a:lnTo>
                      <a:pt x="12150" y="13082"/>
                    </a:lnTo>
                    <a:lnTo>
                      <a:pt x="11812" y="12777"/>
                    </a:lnTo>
                    <a:lnTo>
                      <a:pt x="12150" y="12169"/>
                    </a:lnTo>
                    <a:lnTo>
                      <a:pt x="12825" y="12777"/>
                    </a:lnTo>
                    <a:lnTo>
                      <a:pt x="15187" y="12777"/>
                    </a:lnTo>
                    <a:lnTo>
                      <a:pt x="15187" y="13690"/>
                    </a:lnTo>
                    <a:lnTo>
                      <a:pt x="14512" y="13690"/>
                    </a:lnTo>
                    <a:lnTo>
                      <a:pt x="14512" y="14299"/>
                    </a:lnTo>
                    <a:lnTo>
                      <a:pt x="15187" y="14299"/>
                    </a:lnTo>
                    <a:lnTo>
                      <a:pt x="15187" y="13690"/>
                    </a:lnTo>
                    <a:lnTo>
                      <a:pt x="15862" y="13690"/>
                    </a:lnTo>
                    <a:lnTo>
                      <a:pt x="16537" y="13082"/>
                    </a:lnTo>
                    <a:lnTo>
                      <a:pt x="16537" y="12777"/>
                    </a:lnTo>
                    <a:lnTo>
                      <a:pt x="15187" y="12777"/>
                    </a:lnTo>
                    <a:lnTo>
                      <a:pt x="14512" y="12169"/>
                    </a:lnTo>
                    <a:lnTo>
                      <a:pt x="13500" y="12169"/>
                    </a:lnTo>
                    <a:lnTo>
                      <a:pt x="13500" y="11561"/>
                    </a:lnTo>
                    <a:lnTo>
                      <a:pt x="12150" y="11561"/>
                    </a:lnTo>
                    <a:lnTo>
                      <a:pt x="11812" y="10952"/>
                    </a:lnTo>
                    <a:lnTo>
                      <a:pt x="11137" y="10952"/>
                    </a:lnTo>
                    <a:lnTo>
                      <a:pt x="11137" y="10648"/>
                    </a:lnTo>
                    <a:lnTo>
                      <a:pt x="10463" y="10648"/>
                    </a:lnTo>
                    <a:lnTo>
                      <a:pt x="10463" y="10039"/>
                    </a:lnTo>
                    <a:lnTo>
                      <a:pt x="9787" y="10039"/>
                    </a:lnTo>
                    <a:lnTo>
                      <a:pt x="10463" y="9431"/>
                    </a:lnTo>
                    <a:lnTo>
                      <a:pt x="10463" y="8823"/>
                    </a:lnTo>
                    <a:lnTo>
                      <a:pt x="9787" y="8823"/>
                    </a:lnTo>
                    <a:lnTo>
                      <a:pt x="9787" y="8518"/>
                    </a:lnTo>
                    <a:lnTo>
                      <a:pt x="10463" y="7910"/>
                    </a:lnTo>
                    <a:lnTo>
                      <a:pt x="11812" y="7910"/>
                    </a:lnTo>
                    <a:lnTo>
                      <a:pt x="11812" y="7301"/>
                    </a:lnTo>
                    <a:lnTo>
                      <a:pt x="14175" y="7301"/>
                    </a:lnTo>
                    <a:lnTo>
                      <a:pt x="14175" y="6693"/>
                    </a:lnTo>
                    <a:lnTo>
                      <a:pt x="14512" y="6693"/>
                    </a:lnTo>
                    <a:lnTo>
                      <a:pt x="14512" y="5780"/>
                    </a:lnTo>
                    <a:lnTo>
                      <a:pt x="11137" y="5780"/>
                    </a:lnTo>
                    <a:lnTo>
                      <a:pt x="11137" y="6389"/>
                    </a:lnTo>
                    <a:lnTo>
                      <a:pt x="8775" y="6389"/>
                    </a:lnTo>
                    <a:lnTo>
                      <a:pt x="8775" y="5172"/>
                    </a:lnTo>
                    <a:lnTo>
                      <a:pt x="8100" y="4563"/>
                    </a:lnTo>
                    <a:lnTo>
                      <a:pt x="8100" y="4259"/>
                    </a:lnTo>
                    <a:lnTo>
                      <a:pt x="8775" y="4259"/>
                    </a:lnTo>
                    <a:lnTo>
                      <a:pt x="8775" y="3042"/>
                    </a:lnTo>
                    <a:lnTo>
                      <a:pt x="9450" y="3042"/>
                    </a:lnTo>
                    <a:lnTo>
                      <a:pt x="9450" y="3651"/>
                    </a:lnTo>
                    <a:lnTo>
                      <a:pt x="9787" y="3042"/>
                    </a:lnTo>
                    <a:lnTo>
                      <a:pt x="10463" y="3042"/>
                    </a:lnTo>
                    <a:lnTo>
                      <a:pt x="9787" y="2434"/>
                    </a:lnTo>
                    <a:lnTo>
                      <a:pt x="9450" y="2434"/>
                    </a:lnTo>
                    <a:lnTo>
                      <a:pt x="9450" y="2130"/>
                    </a:lnTo>
                    <a:lnTo>
                      <a:pt x="8775" y="2130"/>
                    </a:lnTo>
                    <a:lnTo>
                      <a:pt x="8775" y="1521"/>
                    </a:lnTo>
                    <a:lnTo>
                      <a:pt x="10463" y="1521"/>
                    </a:lnTo>
                    <a:lnTo>
                      <a:pt x="10463" y="2130"/>
                    </a:lnTo>
                    <a:lnTo>
                      <a:pt x="11812" y="2130"/>
                    </a:lnTo>
                    <a:lnTo>
                      <a:pt x="12150" y="1521"/>
                    </a:lnTo>
                    <a:lnTo>
                      <a:pt x="12150" y="913"/>
                    </a:lnTo>
                    <a:lnTo>
                      <a:pt x="12825" y="913"/>
                    </a:lnTo>
                    <a:lnTo>
                      <a:pt x="12825" y="304"/>
                    </a:lnTo>
                    <a:lnTo>
                      <a:pt x="13500" y="0"/>
                    </a:lnTo>
                    <a:close/>
                    <a:moveTo>
                      <a:pt x="13500" y="0"/>
                    </a:moveTo>
                  </a:path>
                </a:pathLst>
              </a:custGeom>
              <a:solidFill>
                <a:srgbClr val="00BACF"/>
              </a:solidFill>
              <a:ln w="12700">
                <a:solidFill>
                  <a:srgbClr val="FFFFFF"/>
                </a:solidFill>
                <a:round/>
                <a:headEnd/>
                <a:tailEnd/>
              </a:ln>
            </p:spPr>
            <p:txBody>
              <a:bodyPr lIns="0" tIns="0" rIns="0" bIns="0"/>
              <a:lstStyle/>
              <a:p>
                <a:endParaRPr lang="es-ES"/>
              </a:p>
            </p:txBody>
          </p:sp>
          <p:sp>
            <p:nvSpPr>
              <p:cNvPr id="15427" name="AutoShape 72"/>
              <p:cNvSpPr>
                <a:spLocks/>
              </p:cNvSpPr>
              <p:nvPr/>
            </p:nvSpPr>
            <p:spPr bwMode="auto">
              <a:xfrm>
                <a:off x="1912" y="2381"/>
                <a:ext cx="410" cy="195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w 21600"/>
                  <a:gd name="T117" fmla="*/ 0 h 21600"/>
                  <a:gd name="T118" fmla="*/ 0 w 21600"/>
                  <a:gd name="T119" fmla="*/ 0 h 2160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1600"/>
                  <a:gd name="T181" fmla="*/ 0 h 21600"/>
                  <a:gd name="T182" fmla="*/ 21600 w 21600"/>
                  <a:gd name="T183" fmla="*/ 21600 h 2160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1600" h="21600">
                    <a:moveTo>
                      <a:pt x="9279" y="20707"/>
                    </a:moveTo>
                    <a:lnTo>
                      <a:pt x="9279" y="20770"/>
                    </a:lnTo>
                    <a:lnTo>
                      <a:pt x="9887" y="20770"/>
                    </a:lnTo>
                    <a:lnTo>
                      <a:pt x="9887" y="20707"/>
                    </a:lnTo>
                    <a:lnTo>
                      <a:pt x="9279" y="20707"/>
                    </a:lnTo>
                    <a:close/>
                    <a:moveTo>
                      <a:pt x="7301" y="20643"/>
                    </a:moveTo>
                    <a:lnTo>
                      <a:pt x="7301" y="20707"/>
                    </a:lnTo>
                    <a:lnTo>
                      <a:pt x="7454" y="20707"/>
                    </a:lnTo>
                    <a:lnTo>
                      <a:pt x="7454" y="20770"/>
                    </a:lnTo>
                    <a:lnTo>
                      <a:pt x="7758" y="20770"/>
                    </a:lnTo>
                    <a:lnTo>
                      <a:pt x="7758" y="20834"/>
                    </a:lnTo>
                    <a:lnTo>
                      <a:pt x="8366" y="20834"/>
                    </a:lnTo>
                    <a:lnTo>
                      <a:pt x="8366" y="20770"/>
                    </a:lnTo>
                    <a:lnTo>
                      <a:pt x="8823" y="20770"/>
                    </a:lnTo>
                    <a:lnTo>
                      <a:pt x="8823" y="20707"/>
                    </a:lnTo>
                    <a:lnTo>
                      <a:pt x="8518" y="20707"/>
                    </a:lnTo>
                    <a:lnTo>
                      <a:pt x="8366" y="20770"/>
                    </a:lnTo>
                    <a:lnTo>
                      <a:pt x="8366" y="20707"/>
                    </a:lnTo>
                    <a:lnTo>
                      <a:pt x="8062" y="20707"/>
                    </a:lnTo>
                    <a:lnTo>
                      <a:pt x="8062" y="20643"/>
                    </a:lnTo>
                    <a:lnTo>
                      <a:pt x="7301" y="20643"/>
                    </a:lnTo>
                    <a:close/>
                    <a:moveTo>
                      <a:pt x="4563" y="20611"/>
                    </a:moveTo>
                    <a:lnTo>
                      <a:pt x="5172" y="20611"/>
                    </a:lnTo>
                    <a:lnTo>
                      <a:pt x="5172" y="20643"/>
                    </a:lnTo>
                    <a:lnTo>
                      <a:pt x="4868" y="20707"/>
                    </a:lnTo>
                    <a:lnTo>
                      <a:pt x="4868" y="20770"/>
                    </a:lnTo>
                    <a:lnTo>
                      <a:pt x="4563" y="20834"/>
                    </a:lnTo>
                    <a:lnTo>
                      <a:pt x="4563" y="20707"/>
                    </a:lnTo>
                    <a:lnTo>
                      <a:pt x="4259" y="20707"/>
                    </a:lnTo>
                    <a:lnTo>
                      <a:pt x="4259" y="20643"/>
                    </a:lnTo>
                    <a:lnTo>
                      <a:pt x="4563" y="20611"/>
                    </a:lnTo>
                    <a:close/>
                    <a:moveTo>
                      <a:pt x="17341" y="20483"/>
                    </a:moveTo>
                    <a:lnTo>
                      <a:pt x="17645" y="20483"/>
                    </a:lnTo>
                    <a:lnTo>
                      <a:pt x="17645" y="20547"/>
                    </a:lnTo>
                    <a:lnTo>
                      <a:pt x="17341" y="20483"/>
                    </a:lnTo>
                    <a:close/>
                    <a:moveTo>
                      <a:pt x="16580" y="20419"/>
                    </a:moveTo>
                    <a:lnTo>
                      <a:pt x="17037" y="20419"/>
                    </a:lnTo>
                    <a:lnTo>
                      <a:pt x="17341" y="20483"/>
                    </a:lnTo>
                    <a:lnTo>
                      <a:pt x="16580" y="20483"/>
                    </a:lnTo>
                    <a:lnTo>
                      <a:pt x="16580" y="20419"/>
                    </a:lnTo>
                    <a:close/>
                    <a:moveTo>
                      <a:pt x="8062" y="20419"/>
                    </a:moveTo>
                    <a:lnTo>
                      <a:pt x="7758" y="20483"/>
                    </a:lnTo>
                    <a:lnTo>
                      <a:pt x="8062" y="20483"/>
                    </a:lnTo>
                    <a:lnTo>
                      <a:pt x="8062" y="20419"/>
                    </a:lnTo>
                    <a:close/>
                    <a:moveTo>
                      <a:pt x="3499" y="20164"/>
                    </a:moveTo>
                    <a:lnTo>
                      <a:pt x="3803" y="20164"/>
                    </a:lnTo>
                    <a:lnTo>
                      <a:pt x="4259" y="20260"/>
                    </a:lnTo>
                    <a:lnTo>
                      <a:pt x="4107" y="20260"/>
                    </a:lnTo>
                    <a:lnTo>
                      <a:pt x="3499" y="20164"/>
                    </a:lnTo>
                    <a:close/>
                    <a:moveTo>
                      <a:pt x="7758" y="20100"/>
                    </a:moveTo>
                    <a:lnTo>
                      <a:pt x="7758" y="20196"/>
                    </a:lnTo>
                    <a:lnTo>
                      <a:pt x="7454" y="20196"/>
                    </a:lnTo>
                    <a:lnTo>
                      <a:pt x="7454" y="20164"/>
                    </a:lnTo>
                    <a:lnTo>
                      <a:pt x="6389" y="20164"/>
                    </a:lnTo>
                    <a:lnTo>
                      <a:pt x="6693" y="20196"/>
                    </a:lnTo>
                    <a:lnTo>
                      <a:pt x="6389" y="20260"/>
                    </a:lnTo>
                    <a:lnTo>
                      <a:pt x="6389" y="20324"/>
                    </a:lnTo>
                    <a:lnTo>
                      <a:pt x="6237" y="20324"/>
                    </a:lnTo>
                    <a:lnTo>
                      <a:pt x="6237" y="20388"/>
                    </a:lnTo>
                    <a:lnTo>
                      <a:pt x="6389" y="20388"/>
                    </a:lnTo>
                    <a:lnTo>
                      <a:pt x="6389" y="20324"/>
                    </a:lnTo>
                    <a:lnTo>
                      <a:pt x="6693" y="20324"/>
                    </a:lnTo>
                    <a:lnTo>
                      <a:pt x="6693" y="20419"/>
                    </a:lnTo>
                    <a:lnTo>
                      <a:pt x="7301" y="20419"/>
                    </a:lnTo>
                    <a:lnTo>
                      <a:pt x="7301" y="20388"/>
                    </a:lnTo>
                    <a:lnTo>
                      <a:pt x="6997" y="20388"/>
                    </a:lnTo>
                    <a:lnTo>
                      <a:pt x="6997" y="20260"/>
                    </a:lnTo>
                    <a:lnTo>
                      <a:pt x="7758" y="20260"/>
                    </a:lnTo>
                    <a:lnTo>
                      <a:pt x="8062" y="20196"/>
                    </a:lnTo>
                    <a:lnTo>
                      <a:pt x="8062" y="20100"/>
                    </a:lnTo>
                    <a:lnTo>
                      <a:pt x="7758" y="20100"/>
                    </a:lnTo>
                    <a:close/>
                    <a:moveTo>
                      <a:pt x="6693" y="19941"/>
                    </a:moveTo>
                    <a:lnTo>
                      <a:pt x="6693" y="19973"/>
                    </a:lnTo>
                    <a:lnTo>
                      <a:pt x="6997" y="19973"/>
                    </a:lnTo>
                    <a:lnTo>
                      <a:pt x="6693" y="19941"/>
                    </a:lnTo>
                    <a:close/>
                    <a:moveTo>
                      <a:pt x="4868" y="19271"/>
                    </a:moveTo>
                    <a:lnTo>
                      <a:pt x="4868" y="19367"/>
                    </a:lnTo>
                    <a:lnTo>
                      <a:pt x="5324" y="19367"/>
                    </a:lnTo>
                    <a:lnTo>
                      <a:pt x="5172" y="19335"/>
                    </a:lnTo>
                    <a:lnTo>
                      <a:pt x="5172" y="19271"/>
                    </a:lnTo>
                    <a:lnTo>
                      <a:pt x="4868" y="19271"/>
                    </a:lnTo>
                    <a:close/>
                    <a:moveTo>
                      <a:pt x="3803" y="18888"/>
                    </a:moveTo>
                    <a:lnTo>
                      <a:pt x="3803" y="18920"/>
                    </a:lnTo>
                    <a:lnTo>
                      <a:pt x="4107" y="18920"/>
                    </a:lnTo>
                    <a:lnTo>
                      <a:pt x="4107" y="18984"/>
                    </a:lnTo>
                    <a:lnTo>
                      <a:pt x="4259" y="18984"/>
                    </a:lnTo>
                    <a:lnTo>
                      <a:pt x="4259" y="18920"/>
                    </a:lnTo>
                    <a:lnTo>
                      <a:pt x="4563" y="18920"/>
                    </a:lnTo>
                    <a:lnTo>
                      <a:pt x="4563" y="18888"/>
                    </a:lnTo>
                    <a:lnTo>
                      <a:pt x="4259" y="18888"/>
                    </a:lnTo>
                    <a:lnTo>
                      <a:pt x="4259" y="18920"/>
                    </a:lnTo>
                    <a:lnTo>
                      <a:pt x="4107" y="18920"/>
                    </a:lnTo>
                    <a:lnTo>
                      <a:pt x="4107" y="18888"/>
                    </a:lnTo>
                    <a:lnTo>
                      <a:pt x="3803" y="18888"/>
                    </a:lnTo>
                    <a:close/>
                    <a:moveTo>
                      <a:pt x="4107" y="18441"/>
                    </a:moveTo>
                    <a:lnTo>
                      <a:pt x="4107" y="18473"/>
                    </a:lnTo>
                    <a:lnTo>
                      <a:pt x="4259" y="18473"/>
                    </a:lnTo>
                    <a:lnTo>
                      <a:pt x="4259" y="18441"/>
                    </a:lnTo>
                    <a:lnTo>
                      <a:pt x="4107" y="18441"/>
                    </a:lnTo>
                    <a:close/>
                    <a:moveTo>
                      <a:pt x="5324" y="17708"/>
                    </a:moveTo>
                    <a:lnTo>
                      <a:pt x="5324" y="17771"/>
                    </a:lnTo>
                    <a:lnTo>
                      <a:pt x="5932" y="17771"/>
                    </a:lnTo>
                    <a:lnTo>
                      <a:pt x="6237" y="17708"/>
                    </a:lnTo>
                    <a:lnTo>
                      <a:pt x="5324" y="17708"/>
                    </a:lnTo>
                    <a:close/>
                    <a:moveTo>
                      <a:pt x="5172" y="17420"/>
                    </a:moveTo>
                    <a:lnTo>
                      <a:pt x="4868" y="17484"/>
                    </a:lnTo>
                    <a:lnTo>
                      <a:pt x="4563" y="17484"/>
                    </a:lnTo>
                    <a:lnTo>
                      <a:pt x="4563" y="17548"/>
                    </a:lnTo>
                    <a:lnTo>
                      <a:pt x="4868" y="17548"/>
                    </a:lnTo>
                    <a:lnTo>
                      <a:pt x="4868" y="17580"/>
                    </a:lnTo>
                    <a:lnTo>
                      <a:pt x="4107" y="17580"/>
                    </a:lnTo>
                    <a:lnTo>
                      <a:pt x="4563" y="17644"/>
                    </a:lnTo>
                    <a:lnTo>
                      <a:pt x="5324" y="17644"/>
                    </a:lnTo>
                    <a:lnTo>
                      <a:pt x="5172" y="17580"/>
                    </a:lnTo>
                    <a:lnTo>
                      <a:pt x="5324" y="17580"/>
                    </a:lnTo>
                    <a:lnTo>
                      <a:pt x="5324" y="17548"/>
                    </a:lnTo>
                    <a:lnTo>
                      <a:pt x="5172" y="17548"/>
                    </a:lnTo>
                    <a:lnTo>
                      <a:pt x="5172" y="17420"/>
                    </a:lnTo>
                    <a:close/>
                    <a:moveTo>
                      <a:pt x="3194" y="17325"/>
                    </a:moveTo>
                    <a:lnTo>
                      <a:pt x="3499" y="17357"/>
                    </a:lnTo>
                    <a:lnTo>
                      <a:pt x="3499" y="17420"/>
                    </a:lnTo>
                    <a:lnTo>
                      <a:pt x="3194" y="17484"/>
                    </a:lnTo>
                    <a:lnTo>
                      <a:pt x="2738" y="17484"/>
                    </a:lnTo>
                    <a:lnTo>
                      <a:pt x="2738" y="17420"/>
                    </a:lnTo>
                    <a:lnTo>
                      <a:pt x="3042" y="17420"/>
                    </a:lnTo>
                    <a:lnTo>
                      <a:pt x="3042" y="17357"/>
                    </a:lnTo>
                    <a:lnTo>
                      <a:pt x="3194" y="17325"/>
                    </a:lnTo>
                    <a:close/>
                    <a:moveTo>
                      <a:pt x="1673" y="16368"/>
                    </a:moveTo>
                    <a:lnTo>
                      <a:pt x="1977" y="16368"/>
                    </a:lnTo>
                    <a:lnTo>
                      <a:pt x="1977" y="16431"/>
                    </a:lnTo>
                    <a:lnTo>
                      <a:pt x="1673" y="16431"/>
                    </a:lnTo>
                    <a:lnTo>
                      <a:pt x="1673" y="16368"/>
                    </a:lnTo>
                    <a:close/>
                    <a:moveTo>
                      <a:pt x="8062" y="14038"/>
                    </a:moveTo>
                    <a:lnTo>
                      <a:pt x="8062" y="14070"/>
                    </a:lnTo>
                    <a:lnTo>
                      <a:pt x="8366" y="14070"/>
                    </a:lnTo>
                    <a:lnTo>
                      <a:pt x="8366" y="14038"/>
                    </a:lnTo>
                    <a:lnTo>
                      <a:pt x="8062" y="14038"/>
                    </a:lnTo>
                    <a:close/>
                    <a:moveTo>
                      <a:pt x="15211" y="0"/>
                    </a:moveTo>
                    <a:lnTo>
                      <a:pt x="15211" y="64"/>
                    </a:lnTo>
                    <a:lnTo>
                      <a:pt x="15515" y="64"/>
                    </a:lnTo>
                    <a:lnTo>
                      <a:pt x="15515" y="160"/>
                    </a:lnTo>
                    <a:lnTo>
                      <a:pt x="15668" y="160"/>
                    </a:lnTo>
                    <a:lnTo>
                      <a:pt x="15668" y="287"/>
                    </a:lnTo>
                    <a:lnTo>
                      <a:pt x="16276" y="287"/>
                    </a:lnTo>
                    <a:lnTo>
                      <a:pt x="16276" y="383"/>
                    </a:lnTo>
                    <a:lnTo>
                      <a:pt x="16580" y="447"/>
                    </a:lnTo>
                    <a:lnTo>
                      <a:pt x="16580" y="830"/>
                    </a:lnTo>
                    <a:lnTo>
                      <a:pt x="16732" y="830"/>
                    </a:lnTo>
                    <a:lnTo>
                      <a:pt x="17341" y="957"/>
                    </a:lnTo>
                    <a:lnTo>
                      <a:pt x="17645" y="957"/>
                    </a:lnTo>
                    <a:lnTo>
                      <a:pt x="17645" y="989"/>
                    </a:lnTo>
                    <a:lnTo>
                      <a:pt x="17797" y="989"/>
                    </a:lnTo>
                    <a:lnTo>
                      <a:pt x="17797" y="1053"/>
                    </a:lnTo>
                    <a:lnTo>
                      <a:pt x="17645" y="1117"/>
                    </a:lnTo>
                    <a:lnTo>
                      <a:pt x="17645" y="1181"/>
                    </a:lnTo>
                    <a:lnTo>
                      <a:pt x="17341" y="1181"/>
                    </a:lnTo>
                    <a:lnTo>
                      <a:pt x="17341" y="1212"/>
                    </a:lnTo>
                    <a:lnTo>
                      <a:pt x="17645" y="1212"/>
                    </a:lnTo>
                    <a:lnTo>
                      <a:pt x="17645" y="1340"/>
                    </a:lnTo>
                    <a:lnTo>
                      <a:pt x="17341" y="1340"/>
                    </a:lnTo>
                    <a:lnTo>
                      <a:pt x="17341" y="1404"/>
                    </a:lnTo>
                    <a:lnTo>
                      <a:pt x="17037" y="1436"/>
                    </a:lnTo>
                    <a:lnTo>
                      <a:pt x="17037" y="1500"/>
                    </a:lnTo>
                    <a:lnTo>
                      <a:pt x="17341" y="1500"/>
                    </a:lnTo>
                    <a:lnTo>
                      <a:pt x="17037" y="1563"/>
                    </a:lnTo>
                    <a:lnTo>
                      <a:pt x="17341" y="1563"/>
                    </a:lnTo>
                    <a:lnTo>
                      <a:pt x="17341" y="1659"/>
                    </a:lnTo>
                    <a:lnTo>
                      <a:pt x="17797" y="1659"/>
                    </a:lnTo>
                    <a:lnTo>
                      <a:pt x="17797" y="1882"/>
                    </a:lnTo>
                    <a:lnTo>
                      <a:pt x="18101" y="1882"/>
                    </a:lnTo>
                    <a:lnTo>
                      <a:pt x="18101" y="2010"/>
                    </a:lnTo>
                    <a:lnTo>
                      <a:pt x="18406" y="2010"/>
                    </a:lnTo>
                    <a:lnTo>
                      <a:pt x="18406" y="2106"/>
                    </a:lnTo>
                    <a:lnTo>
                      <a:pt x="18710" y="2106"/>
                    </a:lnTo>
                    <a:lnTo>
                      <a:pt x="18710" y="2393"/>
                    </a:lnTo>
                    <a:lnTo>
                      <a:pt x="18862" y="2393"/>
                    </a:lnTo>
                    <a:lnTo>
                      <a:pt x="18862" y="2489"/>
                    </a:lnTo>
                    <a:lnTo>
                      <a:pt x="19166" y="2489"/>
                    </a:lnTo>
                    <a:lnTo>
                      <a:pt x="19166" y="2776"/>
                    </a:lnTo>
                    <a:lnTo>
                      <a:pt x="19470" y="2776"/>
                    </a:lnTo>
                    <a:lnTo>
                      <a:pt x="19470" y="2903"/>
                    </a:lnTo>
                    <a:lnTo>
                      <a:pt x="19775" y="2903"/>
                    </a:lnTo>
                    <a:lnTo>
                      <a:pt x="19775" y="2840"/>
                    </a:lnTo>
                    <a:lnTo>
                      <a:pt x="19927" y="2840"/>
                    </a:lnTo>
                    <a:lnTo>
                      <a:pt x="19927" y="2903"/>
                    </a:lnTo>
                    <a:lnTo>
                      <a:pt x="20535" y="2903"/>
                    </a:lnTo>
                    <a:lnTo>
                      <a:pt x="20535" y="2840"/>
                    </a:lnTo>
                    <a:lnTo>
                      <a:pt x="20992" y="2840"/>
                    </a:lnTo>
                    <a:lnTo>
                      <a:pt x="20992" y="2903"/>
                    </a:lnTo>
                    <a:lnTo>
                      <a:pt x="21296" y="2903"/>
                    </a:lnTo>
                    <a:lnTo>
                      <a:pt x="21296" y="2935"/>
                    </a:lnTo>
                    <a:lnTo>
                      <a:pt x="21600" y="2935"/>
                    </a:lnTo>
                    <a:lnTo>
                      <a:pt x="21296" y="2999"/>
                    </a:lnTo>
                    <a:lnTo>
                      <a:pt x="21296" y="3127"/>
                    </a:lnTo>
                    <a:lnTo>
                      <a:pt x="20992" y="3127"/>
                    </a:lnTo>
                    <a:lnTo>
                      <a:pt x="20992" y="3350"/>
                    </a:lnTo>
                    <a:lnTo>
                      <a:pt x="20839" y="3350"/>
                    </a:lnTo>
                    <a:lnTo>
                      <a:pt x="20839" y="3446"/>
                    </a:lnTo>
                    <a:lnTo>
                      <a:pt x="20535" y="3510"/>
                    </a:lnTo>
                    <a:lnTo>
                      <a:pt x="20535" y="3573"/>
                    </a:lnTo>
                    <a:lnTo>
                      <a:pt x="19775" y="3573"/>
                    </a:lnTo>
                    <a:lnTo>
                      <a:pt x="19166" y="3669"/>
                    </a:lnTo>
                    <a:lnTo>
                      <a:pt x="18710" y="3669"/>
                    </a:lnTo>
                    <a:lnTo>
                      <a:pt x="18710" y="3733"/>
                    </a:lnTo>
                    <a:lnTo>
                      <a:pt x="18101" y="3733"/>
                    </a:lnTo>
                    <a:lnTo>
                      <a:pt x="18101" y="3797"/>
                    </a:lnTo>
                    <a:lnTo>
                      <a:pt x="17797" y="3797"/>
                    </a:lnTo>
                    <a:lnTo>
                      <a:pt x="17797" y="3829"/>
                    </a:lnTo>
                    <a:lnTo>
                      <a:pt x="17645" y="3829"/>
                    </a:lnTo>
                    <a:lnTo>
                      <a:pt x="17645" y="3956"/>
                    </a:lnTo>
                    <a:lnTo>
                      <a:pt x="17797" y="4020"/>
                    </a:lnTo>
                    <a:lnTo>
                      <a:pt x="17797" y="4052"/>
                    </a:lnTo>
                    <a:lnTo>
                      <a:pt x="18101" y="4052"/>
                    </a:lnTo>
                    <a:lnTo>
                      <a:pt x="18101" y="4116"/>
                    </a:lnTo>
                    <a:lnTo>
                      <a:pt x="17645" y="4116"/>
                    </a:lnTo>
                    <a:lnTo>
                      <a:pt x="17645" y="4913"/>
                    </a:lnTo>
                    <a:lnTo>
                      <a:pt x="17797" y="4945"/>
                    </a:lnTo>
                    <a:lnTo>
                      <a:pt x="17797" y="5009"/>
                    </a:lnTo>
                    <a:lnTo>
                      <a:pt x="18101" y="5009"/>
                    </a:lnTo>
                    <a:lnTo>
                      <a:pt x="18101" y="5073"/>
                    </a:lnTo>
                    <a:lnTo>
                      <a:pt x="18406" y="5073"/>
                    </a:lnTo>
                    <a:lnTo>
                      <a:pt x="18406" y="5105"/>
                    </a:lnTo>
                    <a:lnTo>
                      <a:pt x="18101" y="5105"/>
                    </a:lnTo>
                    <a:lnTo>
                      <a:pt x="18101" y="5169"/>
                    </a:lnTo>
                    <a:lnTo>
                      <a:pt x="17645" y="5169"/>
                    </a:lnTo>
                    <a:lnTo>
                      <a:pt x="17645" y="5232"/>
                    </a:lnTo>
                    <a:lnTo>
                      <a:pt x="17341" y="5232"/>
                    </a:lnTo>
                    <a:lnTo>
                      <a:pt x="17341" y="5169"/>
                    </a:lnTo>
                    <a:lnTo>
                      <a:pt x="16732" y="5169"/>
                    </a:lnTo>
                    <a:lnTo>
                      <a:pt x="16732" y="5328"/>
                    </a:lnTo>
                    <a:lnTo>
                      <a:pt x="16580" y="5328"/>
                    </a:lnTo>
                    <a:lnTo>
                      <a:pt x="16580" y="5456"/>
                    </a:lnTo>
                    <a:lnTo>
                      <a:pt x="16276" y="5520"/>
                    </a:lnTo>
                    <a:lnTo>
                      <a:pt x="16276" y="5615"/>
                    </a:lnTo>
                    <a:lnTo>
                      <a:pt x="15972" y="5615"/>
                    </a:lnTo>
                    <a:lnTo>
                      <a:pt x="15668" y="5679"/>
                    </a:lnTo>
                    <a:lnTo>
                      <a:pt x="15668" y="5743"/>
                    </a:lnTo>
                    <a:lnTo>
                      <a:pt x="15515" y="5743"/>
                    </a:lnTo>
                    <a:lnTo>
                      <a:pt x="15515" y="5775"/>
                    </a:lnTo>
                    <a:lnTo>
                      <a:pt x="15211" y="5775"/>
                    </a:lnTo>
                    <a:lnTo>
                      <a:pt x="15211" y="5903"/>
                    </a:lnTo>
                    <a:lnTo>
                      <a:pt x="14907" y="5903"/>
                    </a:lnTo>
                    <a:lnTo>
                      <a:pt x="14907" y="5966"/>
                    </a:lnTo>
                    <a:lnTo>
                      <a:pt x="14603" y="5966"/>
                    </a:lnTo>
                    <a:lnTo>
                      <a:pt x="14603" y="6126"/>
                    </a:lnTo>
                    <a:lnTo>
                      <a:pt x="14451" y="6190"/>
                    </a:lnTo>
                    <a:lnTo>
                      <a:pt x="14451" y="6285"/>
                    </a:lnTo>
                    <a:lnTo>
                      <a:pt x="14146" y="6349"/>
                    </a:lnTo>
                    <a:lnTo>
                      <a:pt x="14146" y="6636"/>
                    </a:lnTo>
                    <a:lnTo>
                      <a:pt x="14451" y="6636"/>
                    </a:lnTo>
                    <a:lnTo>
                      <a:pt x="14451" y="6668"/>
                    </a:lnTo>
                    <a:lnTo>
                      <a:pt x="14146" y="6732"/>
                    </a:lnTo>
                    <a:lnTo>
                      <a:pt x="14146" y="6796"/>
                    </a:lnTo>
                    <a:lnTo>
                      <a:pt x="14451" y="6860"/>
                    </a:lnTo>
                    <a:lnTo>
                      <a:pt x="14451" y="6892"/>
                    </a:lnTo>
                    <a:lnTo>
                      <a:pt x="14146" y="6955"/>
                    </a:lnTo>
                    <a:lnTo>
                      <a:pt x="13842" y="6955"/>
                    </a:lnTo>
                    <a:lnTo>
                      <a:pt x="13842" y="7019"/>
                    </a:lnTo>
                    <a:lnTo>
                      <a:pt x="13538" y="7019"/>
                    </a:lnTo>
                    <a:lnTo>
                      <a:pt x="13538" y="7179"/>
                    </a:lnTo>
                    <a:lnTo>
                      <a:pt x="13386" y="7179"/>
                    </a:lnTo>
                    <a:lnTo>
                      <a:pt x="13386" y="7402"/>
                    </a:lnTo>
                    <a:lnTo>
                      <a:pt x="13082" y="7402"/>
                    </a:lnTo>
                    <a:lnTo>
                      <a:pt x="12777" y="7530"/>
                    </a:lnTo>
                    <a:lnTo>
                      <a:pt x="12777" y="7625"/>
                    </a:lnTo>
                    <a:lnTo>
                      <a:pt x="13082" y="7689"/>
                    </a:lnTo>
                    <a:lnTo>
                      <a:pt x="13082" y="7785"/>
                    </a:lnTo>
                    <a:lnTo>
                      <a:pt x="13386" y="7785"/>
                    </a:lnTo>
                    <a:lnTo>
                      <a:pt x="13386" y="7849"/>
                    </a:lnTo>
                    <a:lnTo>
                      <a:pt x="13538" y="7849"/>
                    </a:lnTo>
                    <a:lnTo>
                      <a:pt x="13538" y="7913"/>
                    </a:lnTo>
                    <a:lnTo>
                      <a:pt x="13386" y="7913"/>
                    </a:lnTo>
                    <a:lnTo>
                      <a:pt x="13386" y="8072"/>
                    </a:lnTo>
                    <a:lnTo>
                      <a:pt x="13538" y="8072"/>
                    </a:lnTo>
                    <a:lnTo>
                      <a:pt x="13538" y="8168"/>
                    </a:lnTo>
                    <a:lnTo>
                      <a:pt x="13842" y="8232"/>
                    </a:lnTo>
                    <a:lnTo>
                      <a:pt x="13842" y="8583"/>
                    </a:lnTo>
                    <a:lnTo>
                      <a:pt x="14146" y="8583"/>
                    </a:lnTo>
                    <a:lnTo>
                      <a:pt x="14146" y="8678"/>
                    </a:lnTo>
                    <a:lnTo>
                      <a:pt x="14603" y="8678"/>
                    </a:lnTo>
                    <a:lnTo>
                      <a:pt x="14603" y="8838"/>
                    </a:lnTo>
                    <a:lnTo>
                      <a:pt x="14451" y="8838"/>
                    </a:lnTo>
                    <a:lnTo>
                      <a:pt x="14451" y="9125"/>
                    </a:lnTo>
                    <a:lnTo>
                      <a:pt x="14603" y="9125"/>
                    </a:lnTo>
                    <a:lnTo>
                      <a:pt x="14603" y="9189"/>
                    </a:lnTo>
                    <a:lnTo>
                      <a:pt x="14451" y="9253"/>
                    </a:lnTo>
                    <a:lnTo>
                      <a:pt x="13842" y="9253"/>
                    </a:lnTo>
                    <a:lnTo>
                      <a:pt x="13842" y="9348"/>
                    </a:lnTo>
                    <a:lnTo>
                      <a:pt x="13538" y="9348"/>
                    </a:lnTo>
                    <a:lnTo>
                      <a:pt x="13538" y="9476"/>
                    </a:lnTo>
                    <a:lnTo>
                      <a:pt x="13386" y="9508"/>
                    </a:lnTo>
                    <a:lnTo>
                      <a:pt x="13386" y="9699"/>
                    </a:lnTo>
                    <a:lnTo>
                      <a:pt x="13082" y="9731"/>
                    </a:lnTo>
                    <a:lnTo>
                      <a:pt x="12777" y="9731"/>
                    </a:lnTo>
                    <a:lnTo>
                      <a:pt x="12777" y="9859"/>
                    </a:lnTo>
                    <a:lnTo>
                      <a:pt x="13082" y="9923"/>
                    </a:lnTo>
                    <a:lnTo>
                      <a:pt x="13082" y="10305"/>
                    </a:lnTo>
                    <a:lnTo>
                      <a:pt x="12777" y="10305"/>
                    </a:lnTo>
                    <a:lnTo>
                      <a:pt x="12473" y="10369"/>
                    </a:lnTo>
                    <a:lnTo>
                      <a:pt x="12473" y="10465"/>
                    </a:lnTo>
                    <a:lnTo>
                      <a:pt x="12321" y="10465"/>
                    </a:lnTo>
                    <a:lnTo>
                      <a:pt x="12321" y="10529"/>
                    </a:lnTo>
                    <a:lnTo>
                      <a:pt x="11408" y="10529"/>
                    </a:lnTo>
                    <a:lnTo>
                      <a:pt x="11408" y="10816"/>
                    </a:lnTo>
                    <a:lnTo>
                      <a:pt x="11256" y="10848"/>
                    </a:lnTo>
                    <a:lnTo>
                      <a:pt x="11256" y="11135"/>
                    </a:lnTo>
                    <a:lnTo>
                      <a:pt x="11408" y="11135"/>
                    </a:lnTo>
                    <a:lnTo>
                      <a:pt x="11408" y="11454"/>
                    </a:lnTo>
                    <a:lnTo>
                      <a:pt x="11713" y="11454"/>
                    </a:lnTo>
                    <a:lnTo>
                      <a:pt x="11713" y="11677"/>
                    </a:lnTo>
                    <a:lnTo>
                      <a:pt x="12017" y="11677"/>
                    </a:lnTo>
                    <a:lnTo>
                      <a:pt x="12017" y="11805"/>
                    </a:lnTo>
                    <a:lnTo>
                      <a:pt x="11713" y="11869"/>
                    </a:lnTo>
                    <a:lnTo>
                      <a:pt x="11408" y="11869"/>
                    </a:lnTo>
                    <a:lnTo>
                      <a:pt x="11256" y="11901"/>
                    </a:lnTo>
                    <a:lnTo>
                      <a:pt x="10952" y="11901"/>
                    </a:lnTo>
                    <a:lnTo>
                      <a:pt x="10648" y="11965"/>
                    </a:lnTo>
                    <a:lnTo>
                      <a:pt x="10648" y="12188"/>
                    </a:lnTo>
                    <a:lnTo>
                      <a:pt x="10344" y="12188"/>
                    </a:lnTo>
                    <a:lnTo>
                      <a:pt x="10344" y="12347"/>
                    </a:lnTo>
                    <a:lnTo>
                      <a:pt x="10192" y="12347"/>
                    </a:lnTo>
                    <a:lnTo>
                      <a:pt x="10192" y="12635"/>
                    </a:lnTo>
                    <a:lnTo>
                      <a:pt x="9583" y="12635"/>
                    </a:lnTo>
                    <a:lnTo>
                      <a:pt x="9583" y="12762"/>
                    </a:lnTo>
                    <a:lnTo>
                      <a:pt x="9887" y="12762"/>
                    </a:lnTo>
                    <a:lnTo>
                      <a:pt x="9887" y="12794"/>
                    </a:lnTo>
                    <a:lnTo>
                      <a:pt x="10192" y="12794"/>
                    </a:lnTo>
                    <a:lnTo>
                      <a:pt x="9887" y="12858"/>
                    </a:lnTo>
                    <a:lnTo>
                      <a:pt x="9583" y="12858"/>
                    </a:lnTo>
                    <a:lnTo>
                      <a:pt x="9583" y="12986"/>
                    </a:lnTo>
                    <a:lnTo>
                      <a:pt x="9279" y="12986"/>
                    </a:lnTo>
                    <a:lnTo>
                      <a:pt x="9279" y="13081"/>
                    </a:lnTo>
                    <a:lnTo>
                      <a:pt x="9583" y="13081"/>
                    </a:lnTo>
                    <a:lnTo>
                      <a:pt x="9583" y="13368"/>
                    </a:lnTo>
                    <a:lnTo>
                      <a:pt x="9279" y="13464"/>
                    </a:lnTo>
                    <a:lnTo>
                      <a:pt x="9279" y="13687"/>
                    </a:lnTo>
                    <a:lnTo>
                      <a:pt x="9583" y="13687"/>
                    </a:lnTo>
                    <a:lnTo>
                      <a:pt x="9583" y="13751"/>
                    </a:lnTo>
                    <a:lnTo>
                      <a:pt x="9887" y="13815"/>
                    </a:lnTo>
                    <a:lnTo>
                      <a:pt x="9887" y="13911"/>
                    </a:lnTo>
                    <a:lnTo>
                      <a:pt x="9279" y="13911"/>
                    </a:lnTo>
                    <a:lnTo>
                      <a:pt x="9279" y="13975"/>
                    </a:lnTo>
                    <a:lnTo>
                      <a:pt x="9127" y="13975"/>
                    </a:lnTo>
                    <a:lnTo>
                      <a:pt x="9127" y="14198"/>
                    </a:lnTo>
                    <a:lnTo>
                      <a:pt x="8823" y="14262"/>
                    </a:lnTo>
                    <a:lnTo>
                      <a:pt x="8823" y="14485"/>
                    </a:lnTo>
                    <a:lnTo>
                      <a:pt x="9583" y="14485"/>
                    </a:lnTo>
                    <a:lnTo>
                      <a:pt x="9583" y="14517"/>
                    </a:lnTo>
                    <a:lnTo>
                      <a:pt x="9887" y="14517"/>
                    </a:lnTo>
                    <a:lnTo>
                      <a:pt x="9887" y="14581"/>
                    </a:lnTo>
                    <a:lnTo>
                      <a:pt x="9583" y="14645"/>
                    </a:lnTo>
                    <a:lnTo>
                      <a:pt x="9583" y="14740"/>
                    </a:lnTo>
                    <a:lnTo>
                      <a:pt x="9887" y="14740"/>
                    </a:lnTo>
                    <a:lnTo>
                      <a:pt x="9887" y="14964"/>
                    </a:lnTo>
                    <a:lnTo>
                      <a:pt x="10192" y="14964"/>
                    </a:lnTo>
                    <a:lnTo>
                      <a:pt x="10192" y="15027"/>
                    </a:lnTo>
                    <a:lnTo>
                      <a:pt x="9887" y="15027"/>
                    </a:lnTo>
                    <a:lnTo>
                      <a:pt x="9887" y="15155"/>
                    </a:lnTo>
                    <a:lnTo>
                      <a:pt x="9583" y="15187"/>
                    </a:lnTo>
                    <a:lnTo>
                      <a:pt x="9583" y="15315"/>
                    </a:lnTo>
                    <a:lnTo>
                      <a:pt x="10952" y="15315"/>
                    </a:lnTo>
                    <a:lnTo>
                      <a:pt x="11256" y="15378"/>
                    </a:lnTo>
                    <a:lnTo>
                      <a:pt x="11408" y="15378"/>
                    </a:lnTo>
                    <a:lnTo>
                      <a:pt x="11408" y="15410"/>
                    </a:lnTo>
                    <a:lnTo>
                      <a:pt x="11256" y="15410"/>
                    </a:lnTo>
                    <a:lnTo>
                      <a:pt x="11256" y="15474"/>
                    </a:lnTo>
                    <a:lnTo>
                      <a:pt x="10952" y="15474"/>
                    </a:lnTo>
                    <a:lnTo>
                      <a:pt x="10952" y="15602"/>
                    </a:lnTo>
                    <a:lnTo>
                      <a:pt x="10648" y="15602"/>
                    </a:lnTo>
                    <a:lnTo>
                      <a:pt x="10648" y="15538"/>
                    </a:lnTo>
                    <a:lnTo>
                      <a:pt x="9127" y="15538"/>
                    </a:lnTo>
                    <a:lnTo>
                      <a:pt x="9127" y="15602"/>
                    </a:lnTo>
                    <a:lnTo>
                      <a:pt x="9279" y="15602"/>
                    </a:lnTo>
                    <a:lnTo>
                      <a:pt x="9279" y="15634"/>
                    </a:lnTo>
                    <a:lnTo>
                      <a:pt x="10192" y="15634"/>
                    </a:lnTo>
                    <a:lnTo>
                      <a:pt x="10344" y="15697"/>
                    </a:lnTo>
                    <a:lnTo>
                      <a:pt x="10344" y="15761"/>
                    </a:lnTo>
                    <a:lnTo>
                      <a:pt x="10648" y="15761"/>
                    </a:lnTo>
                    <a:lnTo>
                      <a:pt x="10648" y="15825"/>
                    </a:lnTo>
                    <a:lnTo>
                      <a:pt x="10952" y="15825"/>
                    </a:lnTo>
                    <a:lnTo>
                      <a:pt x="10952" y="15857"/>
                    </a:lnTo>
                    <a:lnTo>
                      <a:pt x="10648" y="15921"/>
                    </a:lnTo>
                    <a:lnTo>
                      <a:pt x="10648" y="15985"/>
                    </a:lnTo>
                    <a:lnTo>
                      <a:pt x="10344" y="15985"/>
                    </a:lnTo>
                    <a:lnTo>
                      <a:pt x="10344" y="16048"/>
                    </a:lnTo>
                    <a:lnTo>
                      <a:pt x="9887" y="16048"/>
                    </a:lnTo>
                    <a:lnTo>
                      <a:pt x="9887" y="16272"/>
                    </a:lnTo>
                    <a:lnTo>
                      <a:pt x="10192" y="16272"/>
                    </a:lnTo>
                    <a:lnTo>
                      <a:pt x="10192" y="16304"/>
                    </a:lnTo>
                    <a:lnTo>
                      <a:pt x="9887" y="16368"/>
                    </a:lnTo>
                    <a:lnTo>
                      <a:pt x="9887" y="16431"/>
                    </a:lnTo>
                    <a:lnTo>
                      <a:pt x="9583" y="16431"/>
                    </a:lnTo>
                    <a:lnTo>
                      <a:pt x="9583" y="16527"/>
                    </a:lnTo>
                    <a:lnTo>
                      <a:pt x="9887" y="16527"/>
                    </a:lnTo>
                    <a:lnTo>
                      <a:pt x="9887" y="16655"/>
                    </a:lnTo>
                    <a:lnTo>
                      <a:pt x="10192" y="16655"/>
                    </a:lnTo>
                    <a:lnTo>
                      <a:pt x="10192" y="16718"/>
                    </a:lnTo>
                    <a:lnTo>
                      <a:pt x="9887" y="16750"/>
                    </a:lnTo>
                    <a:lnTo>
                      <a:pt x="9887" y="16814"/>
                    </a:lnTo>
                    <a:lnTo>
                      <a:pt x="9583" y="16814"/>
                    </a:lnTo>
                    <a:lnTo>
                      <a:pt x="9583" y="16878"/>
                    </a:lnTo>
                    <a:lnTo>
                      <a:pt x="9279" y="16878"/>
                    </a:lnTo>
                    <a:lnTo>
                      <a:pt x="9279" y="17038"/>
                    </a:lnTo>
                    <a:lnTo>
                      <a:pt x="9583" y="17038"/>
                    </a:lnTo>
                    <a:lnTo>
                      <a:pt x="9583" y="17101"/>
                    </a:lnTo>
                    <a:lnTo>
                      <a:pt x="9279" y="17133"/>
                    </a:lnTo>
                    <a:lnTo>
                      <a:pt x="9127" y="17133"/>
                    </a:lnTo>
                    <a:lnTo>
                      <a:pt x="8823" y="17197"/>
                    </a:lnTo>
                    <a:lnTo>
                      <a:pt x="8518" y="17197"/>
                    </a:lnTo>
                    <a:lnTo>
                      <a:pt x="8518" y="17261"/>
                    </a:lnTo>
                    <a:lnTo>
                      <a:pt x="8366" y="17261"/>
                    </a:lnTo>
                    <a:lnTo>
                      <a:pt x="8518" y="17325"/>
                    </a:lnTo>
                    <a:lnTo>
                      <a:pt x="8062" y="17420"/>
                    </a:lnTo>
                    <a:lnTo>
                      <a:pt x="8062" y="17580"/>
                    </a:lnTo>
                    <a:lnTo>
                      <a:pt x="8366" y="17580"/>
                    </a:lnTo>
                    <a:lnTo>
                      <a:pt x="8518" y="17644"/>
                    </a:lnTo>
                    <a:lnTo>
                      <a:pt x="8518" y="17803"/>
                    </a:lnTo>
                    <a:lnTo>
                      <a:pt x="8366" y="17803"/>
                    </a:lnTo>
                    <a:lnTo>
                      <a:pt x="8366" y="17867"/>
                    </a:lnTo>
                    <a:lnTo>
                      <a:pt x="7758" y="17867"/>
                    </a:lnTo>
                    <a:lnTo>
                      <a:pt x="7758" y="18154"/>
                    </a:lnTo>
                    <a:lnTo>
                      <a:pt x="7454" y="18218"/>
                    </a:lnTo>
                    <a:lnTo>
                      <a:pt x="7301" y="18218"/>
                    </a:lnTo>
                    <a:lnTo>
                      <a:pt x="7301" y="18250"/>
                    </a:lnTo>
                    <a:lnTo>
                      <a:pt x="6997" y="18250"/>
                    </a:lnTo>
                    <a:lnTo>
                      <a:pt x="6997" y="18314"/>
                    </a:lnTo>
                    <a:lnTo>
                      <a:pt x="6693" y="18314"/>
                    </a:lnTo>
                    <a:lnTo>
                      <a:pt x="6693" y="18378"/>
                    </a:lnTo>
                    <a:lnTo>
                      <a:pt x="6389" y="18441"/>
                    </a:lnTo>
                    <a:lnTo>
                      <a:pt x="6237" y="18441"/>
                    </a:lnTo>
                    <a:lnTo>
                      <a:pt x="5932" y="18473"/>
                    </a:lnTo>
                    <a:lnTo>
                      <a:pt x="5324" y="18473"/>
                    </a:lnTo>
                    <a:lnTo>
                      <a:pt x="5324" y="18665"/>
                    </a:lnTo>
                    <a:lnTo>
                      <a:pt x="5628" y="18665"/>
                    </a:lnTo>
                    <a:lnTo>
                      <a:pt x="5628" y="18824"/>
                    </a:lnTo>
                    <a:lnTo>
                      <a:pt x="5324" y="18824"/>
                    </a:lnTo>
                    <a:lnTo>
                      <a:pt x="5324" y="19048"/>
                    </a:lnTo>
                    <a:lnTo>
                      <a:pt x="5932" y="19048"/>
                    </a:lnTo>
                    <a:lnTo>
                      <a:pt x="6237" y="19111"/>
                    </a:lnTo>
                    <a:lnTo>
                      <a:pt x="6237" y="19367"/>
                    </a:lnTo>
                    <a:lnTo>
                      <a:pt x="6389" y="19367"/>
                    </a:lnTo>
                    <a:lnTo>
                      <a:pt x="6389" y="19494"/>
                    </a:lnTo>
                    <a:lnTo>
                      <a:pt x="6693" y="19494"/>
                    </a:lnTo>
                    <a:lnTo>
                      <a:pt x="6997" y="19430"/>
                    </a:lnTo>
                    <a:lnTo>
                      <a:pt x="6997" y="19367"/>
                    </a:lnTo>
                    <a:lnTo>
                      <a:pt x="7758" y="19367"/>
                    </a:lnTo>
                    <a:lnTo>
                      <a:pt x="8062" y="19335"/>
                    </a:lnTo>
                    <a:lnTo>
                      <a:pt x="8366" y="19335"/>
                    </a:lnTo>
                    <a:lnTo>
                      <a:pt x="8366" y="19367"/>
                    </a:lnTo>
                    <a:lnTo>
                      <a:pt x="8518" y="19367"/>
                    </a:lnTo>
                    <a:lnTo>
                      <a:pt x="8518" y="19654"/>
                    </a:lnTo>
                    <a:lnTo>
                      <a:pt x="8366" y="19654"/>
                    </a:lnTo>
                    <a:lnTo>
                      <a:pt x="8366" y="19718"/>
                    </a:lnTo>
                    <a:lnTo>
                      <a:pt x="8518" y="19718"/>
                    </a:lnTo>
                    <a:lnTo>
                      <a:pt x="8518" y="19877"/>
                    </a:lnTo>
                    <a:lnTo>
                      <a:pt x="8366" y="19877"/>
                    </a:lnTo>
                    <a:lnTo>
                      <a:pt x="8366" y="20037"/>
                    </a:lnTo>
                    <a:lnTo>
                      <a:pt x="8518" y="20037"/>
                    </a:lnTo>
                    <a:lnTo>
                      <a:pt x="8823" y="20100"/>
                    </a:lnTo>
                    <a:lnTo>
                      <a:pt x="9127" y="20100"/>
                    </a:lnTo>
                    <a:lnTo>
                      <a:pt x="9127" y="20164"/>
                    </a:lnTo>
                    <a:lnTo>
                      <a:pt x="9279" y="20164"/>
                    </a:lnTo>
                    <a:lnTo>
                      <a:pt x="9279" y="20260"/>
                    </a:lnTo>
                    <a:lnTo>
                      <a:pt x="14451" y="20260"/>
                    </a:lnTo>
                    <a:lnTo>
                      <a:pt x="14451" y="20324"/>
                    </a:lnTo>
                    <a:lnTo>
                      <a:pt x="15211" y="20324"/>
                    </a:lnTo>
                    <a:lnTo>
                      <a:pt x="15211" y="20388"/>
                    </a:lnTo>
                    <a:lnTo>
                      <a:pt x="15515" y="20388"/>
                    </a:lnTo>
                    <a:lnTo>
                      <a:pt x="15515" y="20324"/>
                    </a:lnTo>
                    <a:lnTo>
                      <a:pt x="15668" y="20324"/>
                    </a:lnTo>
                    <a:lnTo>
                      <a:pt x="15668" y="20388"/>
                    </a:lnTo>
                    <a:lnTo>
                      <a:pt x="16580" y="20388"/>
                    </a:lnTo>
                    <a:lnTo>
                      <a:pt x="16580" y="20419"/>
                    </a:lnTo>
                    <a:lnTo>
                      <a:pt x="15972" y="20419"/>
                    </a:lnTo>
                    <a:lnTo>
                      <a:pt x="15515" y="20483"/>
                    </a:lnTo>
                    <a:lnTo>
                      <a:pt x="15211" y="20547"/>
                    </a:lnTo>
                    <a:lnTo>
                      <a:pt x="14603" y="20611"/>
                    </a:lnTo>
                    <a:lnTo>
                      <a:pt x="14451" y="20643"/>
                    </a:lnTo>
                    <a:lnTo>
                      <a:pt x="13842" y="20707"/>
                    </a:lnTo>
                    <a:lnTo>
                      <a:pt x="13386" y="20707"/>
                    </a:lnTo>
                    <a:lnTo>
                      <a:pt x="12777" y="20770"/>
                    </a:lnTo>
                    <a:lnTo>
                      <a:pt x="12321" y="20770"/>
                    </a:lnTo>
                    <a:lnTo>
                      <a:pt x="12017" y="20834"/>
                    </a:lnTo>
                    <a:lnTo>
                      <a:pt x="12017" y="21090"/>
                    </a:lnTo>
                    <a:lnTo>
                      <a:pt x="11713" y="21090"/>
                    </a:lnTo>
                    <a:lnTo>
                      <a:pt x="11713" y="21440"/>
                    </a:lnTo>
                    <a:lnTo>
                      <a:pt x="11408" y="21536"/>
                    </a:lnTo>
                    <a:lnTo>
                      <a:pt x="11256" y="21600"/>
                    </a:lnTo>
                    <a:lnTo>
                      <a:pt x="10648" y="21600"/>
                    </a:lnTo>
                    <a:lnTo>
                      <a:pt x="10344" y="21536"/>
                    </a:lnTo>
                    <a:lnTo>
                      <a:pt x="9887" y="21536"/>
                    </a:lnTo>
                    <a:lnTo>
                      <a:pt x="9583" y="21504"/>
                    </a:lnTo>
                    <a:lnTo>
                      <a:pt x="9279" y="21504"/>
                    </a:lnTo>
                    <a:lnTo>
                      <a:pt x="9279" y="21440"/>
                    </a:lnTo>
                    <a:lnTo>
                      <a:pt x="8518" y="21440"/>
                    </a:lnTo>
                    <a:lnTo>
                      <a:pt x="8518" y="21313"/>
                    </a:lnTo>
                    <a:lnTo>
                      <a:pt x="8366" y="21313"/>
                    </a:lnTo>
                    <a:lnTo>
                      <a:pt x="8366" y="21153"/>
                    </a:lnTo>
                    <a:lnTo>
                      <a:pt x="8518" y="21153"/>
                    </a:lnTo>
                    <a:lnTo>
                      <a:pt x="8518" y="21090"/>
                    </a:lnTo>
                    <a:lnTo>
                      <a:pt x="8823" y="21090"/>
                    </a:lnTo>
                    <a:lnTo>
                      <a:pt x="8823" y="21281"/>
                    </a:lnTo>
                    <a:lnTo>
                      <a:pt x="9127" y="21217"/>
                    </a:lnTo>
                    <a:lnTo>
                      <a:pt x="9127" y="21090"/>
                    </a:lnTo>
                    <a:lnTo>
                      <a:pt x="9279" y="21090"/>
                    </a:lnTo>
                    <a:lnTo>
                      <a:pt x="9583" y="21153"/>
                    </a:lnTo>
                    <a:lnTo>
                      <a:pt x="9887" y="21090"/>
                    </a:lnTo>
                    <a:lnTo>
                      <a:pt x="10344" y="21090"/>
                    </a:lnTo>
                    <a:lnTo>
                      <a:pt x="11256" y="20930"/>
                    </a:lnTo>
                    <a:lnTo>
                      <a:pt x="11256" y="20866"/>
                    </a:lnTo>
                    <a:lnTo>
                      <a:pt x="10192" y="20866"/>
                    </a:lnTo>
                    <a:lnTo>
                      <a:pt x="9583" y="20930"/>
                    </a:lnTo>
                    <a:lnTo>
                      <a:pt x="9279" y="20994"/>
                    </a:lnTo>
                    <a:lnTo>
                      <a:pt x="9279" y="21058"/>
                    </a:lnTo>
                    <a:lnTo>
                      <a:pt x="9127" y="21058"/>
                    </a:lnTo>
                    <a:lnTo>
                      <a:pt x="9127" y="21090"/>
                    </a:lnTo>
                    <a:lnTo>
                      <a:pt x="8823" y="21058"/>
                    </a:lnTo>
                    <a:lnTo>
                      <a:pt x="8518" y="21058"/>
                    </a:lnTo>
                    <a:lnTo>
                      <a:pt x="8518" y="21090"/>
                    </a:lnTo>
                    <a:lnTo>
                      <a:pt x="8366" y="21090"/>
                    </a:lnTo>
                    <a:lnTo>
                      <a:pt x="8366" y="21153"/>
                    </a:lnTo>
                    <a:lnTo>
                      <a:pt x="8062" y="21153"/>
                    </a:lnTo>
                    <a:lnTo>
                      <a:pt x="8062" y="21217"/>
                    </a:lnTo>
                    <a:lnTo>
                      <a:pt x="7758" y="21217"/>
                    </a:lnTo>
                    <a:lnTo>
                      <a:pt x="7758" y="21281"/>
                    </a:lnTo>
                    <a:lnTo>
                      <a:pt x="8062" y="21281"/>
                    </a:lnTo>
                    <a:lnTo>
                      <a:pt x="8366" y="21313"/>
                    </a:lnTo>
                    <a:lnTo>
                      <a:pt x="8366" y="21377"/>
                    </a:lnTo>
                    <a:lnTo>
                      <a:pt x="8062" y="21377"/>
                    </a:lnTo>
                    <a:lnTo>
                      <a:pt x="8062" y="21313"/>
                    </a:lnTo>
                    <a:lnTo>
                      <a:pt x="7454" y="21313"/>
                    </a:lnTo>
                    <a:lnTo>
                      <a:pt x="7454" y="21281"/>
                    </a:lnTo>
                    <a:lnTo>
                      <a:pt x="7301" y="21281"/>
                    </a:lnTo>
                    <a:lnTo>
                      <a:pt x="6693" y="21153"/>
                    </a:lnTo>
                    <a:lnTo>
                      <a:pt x="6237" y="21153"/>
                    </a:lnTo>
                    <a:lnTo>
                      <a:pt x="6237" y="21090"/>
                    </a:lnTo>
                    <a:lnTo>
                      <a:pt x="6997" y="21090"/>
                    </a:lnTo>
                    <a:lnTo>
                      <a:pt x="6997" y="20994"/>
                    </a:lnTo>
                    <a:lnTo>
                      <a:pt x="6693" y="20994"/>
                    </a:lnTo>
                    <a:lnTo>
                      <a:pt x="6693" y="21058"/>
                    </a:lnTo>
                    <a:lnTo>
                      <a:pt x="5932" y="21058"/>
                    </a:lnTo>
                    <a:lnTo>
                      <a:pt x="5932" y="20994"/>
                    </a:lnTo>
                    <a:lnTo>
                      <a:pt x="5628" y="20994"/>
                    </a:lnTo>
                    <a:lnTo>
                      <a:pt x="5628" y="20930"/>
                    </a:lnTo>
                    <a:lnTo>
                      <a:pt x="6237" y="20930"/>
                    </a:lnTo>
                    <a:lnTo>
                      <a:pt x="5932" y="20866"/>
                    </a:lnTo>
                    <a:lnTo>
                      <a:pt x="5324" y="20866"/>
                    </a:lnTo>
                    <a:lnTo>
                      <a:pt x="5324" y="20834"/>
                    </a:lnTo>
                    <a:lnTo>
                      <a:pt x="6237" y="20834"/>
                    </a:lnTo>
                    <a:lnTo>
                      <a:pt x="6237" y="20707"/>
                    </a:lnTo>
                    <a:lnTo>
                      <a:pt x="6389" y="20707"/>
                    </a:lnTo>
                    <a:lnTo>
                      <a:pt x="6389" y="20643"/>
                    </a:lnTo>
                    <a:lnTo>
                      <a:pt x="6237" y="20643"/>
                    </a:lnTo>
                    <a:lnTo>
                      <a:pt x="6237" y="20707"/>
                    </a:lnTo>
                    <a:lnTo>
                      <a:pt x="5932" y="20707"/>
                    </a:lnTo>
                    <a:lnTo>
                      <a:pt x="5932" y="20643"/>
                    </a:lnTo>
                    <a:lnTo>
                      <a:pt x="5628" y="20707"/>
                    </a:lnTo>
                    <a:lnTo>
                      <a:pt x="5628" y="20770"/>
                    </a:lnTo>
                    <a:lnTo>
                      <a:pt x="5324" y="20770"/>
                    </a:lnTo>
                    <a:lnTo>
                      <a:pt x="5324" y="20834"/>
                    </a:lnTo>
                    <a:lnTo>
                      <a:pt x="5172" y="20834"/>
                    </a:lnTo>
                    <a:lnTo>
                      <a:pt x="5172" y="20643"/>
                    </a:lnTo>
                    <a:lnTo>
                      <a:pt x="5324" y="20611"/>
                    </a:lnTo>
                    <a:lnTo>
                      <a:pt x="5172" y="20611"/>
                    </a:lnTo>
                    <a:lnTo>
                      <a:pt x="5172" y="20547"/>
                    </a:lnTo>
                    <a:lnTo>
                      <a:pt x="5324" y="20547"/>
                    </a:lnTo>
                    <a:lnTo>
                      <a:pt x="5324" y="20419"/>
                    </a:lnTo>
                    <a:lnTo>
                      <a:pt x="5172" y="20388"/>
                    </a:lnTo>
                    <a:lnTo>
                      <a:pt x="4868" y="20388"/>
                    </a:lnTo>
                    <a:lnTo>
                      <a:pt x="4259" y="20260"/>
                    </a:lnTo>
                    <a:lnTo>
                      <a:pt x="4563" y="20260"/>
                    </a:lnTo>
                    <a:lnTo>
                      <a:pt x="4868" y="20324"/>
                    </a:lnTo>
                    <a:lnTo>
                      <a:pt x="5324" y="20324"/>
                    </a:lnTo>
                    <a:lnTo>
                      <a:pt x="5324" y="20260"/>
                    </a:lnTo>
                    <a:lnTo>
                      <a:pt x="5172" y="20260"/>
                    </a:lnTo>
                    <a:lnTo>
                      <a:pt x="5172" y="20196"/>
                    </a:lnTo>
                    <a:lnTo>
                      <a:pt x="5324" y="20196"/>
                    </a:lnTo>
                    <a:lnTo>
                      <a:pt x="5324" y="20100"/>
                    </a:lnTo>
                    <a:lnTo>
                      <a:pt x="5172" y="20100"/>
                    </a:lnTo>
                    <a:lnTo>
                      <a:pt x="5172" y="20164"/>
                    </a:lnTo>
                    <a:lnTo>
                      <a:pt x="4868" y="20164"/>
                    </a:lnTo>
                    <a:lnTo>
                      <a:pt x="4868" y="20037"/>
                    </a:lnTo>
                    <a:lnTo>
                      <a:pt x="4563" y="20037"/>
                    </a:lnTo>
                    <a:lnTo>
                      <a:pt x="4563" y="19877"/>
                    </a:lnTo>
                    <a:lnTo>
                      <a:pt x="4868" y="19877"/>
                    </a:lnTo>
                    <a:lnTo>
                      <a:pt x="4868" y="19941"/>
                    </a:lnTo>
                    <a:lnTo>
                      <a:pt x="5172" y="19941"/>
                    </a:lnTo>
                    <a:lnTo>
                      <a:pt x="5172" y="19877"/>
                    </a:lnTo>
                    <a:lnTo>
                      <a:pt x="4868" y="19877"/>
                    </a:lnTo>
                    <a:lnTo>
                      <a:pt x="4868" y="19781"/>
                    </a:lnTo>
                    <a:lnTo>
                      <a:pt x="4259" y="19781"/>
                    </a:lnTo>
                    <a:lnTo>
                      <a:pt x="4259" y="19718"/>
                    </a:lnTo>
                    <a:lnTo>
                      <a:pt x="4107" y="19718"/>
                    </a:lnTo>
                    <a:lnTo>
                      <a:pt x="3803" y="19654"/>
                    </a:lnTo>
                    <a:lnTo>
                      <a:pt x="3803" y="19558"/>
                    </a:lnTo>
                    <a:lnTo>
                      <a:pt x="4868" y="19558"/>
                    </a:lnTo>
                    <a:lnTo>
                      <a:pt x="4868" y="19430"/>
                    </a:lnTo>
                    <a:lnTo>
                      <a:pt x="4563" y="19494"/>
                    </a:lnTo>
                    <a:lnTo>
                      <a:pt x="4107" y="19494"/>
                    </a:lnTo>
                    <a:lnTo>
                      <a:pt x="4107" y="19367"/>
                    </a:lnTo>
                    <a:lnTo>
                      <a:pt x="3803" y="19367"/>
                    </a:lnTo>
                    <a:lnTo>
                      <a:pt x="3803" y="19271"/>
                    </a:lnTo>
                    <a:lnTo>
                      <a:pt x="4259" y="19271"/>
                    </a:lnTo>
                    <a:lnTo>
                      <a:pt x="4259" y="19207"/>
                    </a:lnTo>
                    <a:lnTo>
                      <a:pt x="3499" y="19207"/>
                    </a:lnTo>
                    <a:lnTo>
                      <a:pt x="3194" y="19143"/>
                    </a:lnTo>
                    <a:lnTo>
                      <a:pt x="3042" y="19143"/>
                    </a:lnTo>
                    <a:lnTo>
                      <a:pt x="2738" y="19111"/>
                    </a:lnTo>
                    <a:lnTo>
                      <a:pt x="2738" y="19048"/>
                    </a:lnTo>
                    <a:lnTo>
                      <a:pt x="3042" y="19048"/>
                    </a:lnTo>
                    <a:lnTo>
                      <a:pt x="3042" y="18984"/>
                    </a:lnTo>
                    <a:lnTo>
                      <a:pt x="3499" y="18984"/>
                    </a:lnTo>
                    <a:lnTo>
                      <a:pt x="3499" y="19048"/>
                    </a:lnTo>
                    <a:lnTo>
                      <a:pt x="3803" y="19048"/>
                    </a:lnTo>
                    <a:lnTo>
                      <a:pt x="3803" y="18984"/>
                    </a:lnTo>
                    <a:lnTo>
                      <a:pt x="3499" y="18984"/>
                    </a:lnTo>
                    <a:lnTo>
                      <a:pt x="3499" y="18665"/>
                    </a:lnTo>
                    <a:lnTo>
                      <a:pt x="4107" y="18665"/>
                    </a:lnTo>
                    <a:lnTo>
                      <a:pt x="4259" y="18601"/>
                    </a:lnTo>
                    <a:lnTo>
                      <a:pt x="3499" y="18601"/>
                    </a:lnTo>
                    <a:lnTo>
                      <a:pt x="3499" y="18537"/>
                    </a:lnTo>
                    <a:lnTo>
                      <a:pt x="3194" y="18537"/>
                    </a:lnTo>
                    <a:lnTo>
                      <a:pt x="3194" y="18601"/>
                    </a:lnTo>
                    <a:lnTo>
                      <a:pt x="3042" y="18601"/>
                    </a:lnTo>
                    <a:lnTo>
                      <a:pt x="3042" y="18665"/>
                    </a:lnTo>
                    <a:lnTo>
                      <a:pt x="3194" y="18665"/>
                    </a:lnTo>
                    <a:lnTo>
                      <a:pt x="3194" y="18888"/>
                    </a:lnTo>
                    <a:lnTo>
                      <a:pt x="3042" y="18888"/>
                    </a:lnTo>
                    <a:lnTo>
                      <a:pt x="3042" y="18920"/>
                    </a:lnTo>
                    <a:lnTo>
                      <a:pt x="2738" y="18984"/>
                    </a:lnTo>
                    <a:lnTo>
                      <a:pt x="2434" y="18984"/>
                    </a:lnTo>
                    <a:lnTo>
                      <a:pt x="2130" y="18920"/>
                    </a:lnTo>
                    <a:lnTo>
                      <a:pt x="2434" y="18920"/>
                    </a:lnTo>
                    <a:lnTo>
                      <a:pt x="2434" y="18888"/>
                    </a:lnTo>
                    <a:lnTo>
                      <a:pt x="2130" y="18888"/>
                    </a:lnTo>
                    <a:lnTo>
                      <a:pt x="2130" y="18824"/>
                    </a:lnTo>
                    <a:lnTo>
                      <a:pt x="2434" y="18824"/>
                    </a:lnTo>
                    <a:lnTo>
                      <a:pt x="2434" y="18760"/>
                    </a:lnTo>
                    <a:lnTo>
                      <a:pt x="2130" y="18697"/>
                    </a:lnTo>
                    <a:lnTo>
                      <a:pt x="2434" y="18697"/>
                    </a:lnTo>
                    <a:lnTo>
                      <a:pt x="2434" y="18665"/>
                    </a:lnTo>
                    <a:lnTo>
                      <a:pt x="2130" y="18665"/>
                    </a:lnTo>
                    <a:lnTo>
                      <a:pt x="2130" y="18601"/>
                    </a:lnTo>
                    <a:lnTo>
                      <a:pt x="1977" y="18601"/>
                    </a:lnTo>
                    <a:lnTo>
                      <a:pt x="1977" y="18824"/>
                    </a:lnTo>
                    <a:lnTo>
                      <a:pt x="1369" y="18824"/>
                    </a:lnTo>
                    <a:lnTo>
                      <a:pt x="1369" y="18760"/>
                    </a:lnTo>
                    <a:lnTo>
                      <a:pt x="1065" y="18697"/>
                    </a:lnTo>
                    <a:lnTo>
                      <a:pt x="1065" y="18665"/>
                    </a:lnTo>
                    <a:lnTo>
                      <a:pt x="913" y="18601"/>
                    </a:lnTo>
                    <a:lnTo>
                      <a:pt x="913" y="18473"/>
                    </a:lnTo>
                    <a:lnTo>
                      <a:pt x="1065" y="18473"/>
                    </a:lnTo>
                    <a:lnTo>
                      <a:pt x="1065" y="18441"/>
                    </a:lnTo>
                    <a:lnTo>
                      <a:pt x="1369" y="18441"/>
                    </a:lnTo>
                    <a:lnTo>
                      <a:pt x="1369" y="18473"/>
                    </a:lnTo>
                    <a:lnTo>
                      <a:pt x="1673" y="18473"/>
                    </a:lnTo>
                    <a:lnTo>
                      <a:pt x="1673" y="18378"/>
                    </a:lnTo>
                    <a:lnTo>
                      <a:pt x="1369" y="18378"/>
                    </a:lnTo>
                    <a:lnTo>
                      <a:pt x="1369" y="18314"/>
                    </a:lnTo>
                    <a:lnTo>
                      <a:pt x="1673" y="18314"/>
                    </a:lnTo>
                    <a:lnTo>
                      <a:pt x="1673" y="18250"/>
                    </a:lnTo>
                    <a:lnTo>
                      <a:pt x="1977" y="18250"/>
                    </a:lnTo>
                    <a:lnTo>
                      <a:pt x="2130" y="18314"/>
                    </a:lnTo>
                    <a:lnTo>
                      <a:pt x="2130" y="18378"/>
                    </a:lnTo>
                    <a:lnTo>
                      <a:pt x="2434" y="18378"/>
                    </a:lnTo>
                    <a:lnTo>
                      <a:pt x="2434" y="18314"/>
                    </a:lnTo>
                    <a:lnTo>
                      <a:pt x="2130" y="18314"/>
                    </a:lnTo>
                    <a:lnTo>
                      <a:pt x="2130" y="18250"/>
                    </a:lnTo>
                    <a:lnTo>
                      <a:pt x="1977" y="18250"/>
                    </a:lnTo>
                    <a:lnTo>
                      <a:pt x="1977" y="18090"/>
                    </a:lnTo>
                    <a:lnTo>
                      <a:pt x="2130" y="18090"/>
                    </a:lnTo>
                    <a:lnTo>
                      <a:pt x="2434" y="18027"/>
                    </a:lnTo>
                    <a:lnTo>
                      <a:pt x="2130" y="18027"/>
                    </a:lnTo>
                    <a:lnTo>
                      <a:pt x="1977" y="17995"/>
                    </a:lnTo>
                    <a:lnTo>
                      <a:pt x="1977" y="17867"/>
                    </a:lnTo>
                    <a:lnTo>
                      <a:pt x="2130" y="17867"/>
                    </a:lnTo>
                    <a:lnTo>
                      <a:pt x="2130" y="17931"/>
                    </a:lnTo>
                    <a:lnTo>
                      <a:pt x="2434" y="17931"/>
                    </a:lnTo>
                    <a:lnTo>
                      <a:pt x="2434" y="17771"/>
                    </a:lnTo>
                    <a:lnTo>
                      <a:pt x="2130" y="17771"/>
                    </a:lnTo>
                    <a:lnTo>
                      <a:pt x="2130" y="17708"/>
                    </a:lnTo>
                    <a:lnTo>
                      <a:pt x="2738" y="17708"/>
                    </a:lnTo>
                    <a:lnTo>
                      <a:pt x="2738" y="17931"/>
                    </a:lnTo>
                    <a:lnTo>
                      <a:pt x="3042" y="17931"/>
                    </a:lnTo>
                    <a:lnTo>
                      <a:pt x="3042" y="18027"/>
                    </a:lnTo>
                    <a:lnTo>
                      <a:pt x="2738" y="18027"/>
                    </a:lnTo>
                    <a:lnTo>
                      <a:pt x="2738" y="18090"/>
                    </a:lnTo>
                    <a:lnTo>
                      <a:pt x="3042" y="18090"/>
                    </a:lnTo>
                    <a:lnTo>
                      <a:pt x="3042" y="18218"/>
                    </a:lnTo>
                    <a:lnTo>
                      <a:pt x="3194" y="18218"/>
                    </a:lnTo>
                    <a:lnTo>
                      <a:pt x="3194" y="18090"/>
                    </a:lnTo>
                    <a:lnTo>
                      <a:pt x="3499" y="18090"/>
                    </a:lnTo>
                    <a:lnTo>
                      <a:pt x="3499" y="17931"/>
                    </a:lnTo>
                    <a:lnTo>
                      <a:pt x="4107" y="17931"/>
                    </a:lnTo>
                    <a:lnTo>
                      <a:pt x="4107" y="17995"/>
                    </a:lnTo>
                    <a:lnTo>
                      <a:pt x="4259" y="17995"/>
                    </a:lnTo>
                    <a:lnTo>
                      <a:pt x="4259" y="17867"/>
                    </a:lnTo>
                    <a:lnTo>
                      <a:pt x="4107" y="17867"/>
                    </a:lnTo>
                    <a:lnTo>
                      <a:pt x="4107" y="17803"/>
                    </a:lnTo>
                    <a:lnTo>
                      <a:pt x="3499" y="17803"/>
                    </a:lnTo>
                    <a:lnTo>
                      <a:pt x="3499" y="17771"/>
                    </a:lnTo>
                    <a:lnTo>
                      <a:pt x="3042" y="17644"/>
                    </a:lnTo>
                    <a:lnTo>
                      <a:pt x="2738" y="17644"/>
                    </a:lnTo>
                    <a:lnTo>
                      <a:pt x="3042" y="17580"/>
                    </a:lnTo>
                    <a:lnTo>
                      <a:pt x="3194" y="17580"/>
                    </a:lnTo>
                    <a:lnTo>
                      <a:pt x="3194" y="17548"/>
                    </a:lnTo>
                    <a:lnTo>
                      <a:pt x="3499" y="17484"/>
                    </a:lnTo>
                    <a:lnTo>
                      <a:pt x="3499" y="17420"/>
                    </a:lnTo>
                    <a:lnTo>
                      <a:pt x="3803" y="17420"/>
                    </a:lnTo>
                    <a:lnTo>
                      <a:pt x="3803" y="17357"/>
                    </a:lnTo>
                    <a:lnTo>
                      <a:pt x="3194" y="17261"/>
                    </a:lnTo>
                    <a:lnTo>
                      <a:pt x="3194" y="17197"/>
                    </a:lnTo>
                    <a:lnTo>
                      <a:pt x="3499" y="17133"/>
                    </a:lnTo>
                    <a:lnTo>
                      <a:pt x="3803" y="17133"/>
                    </a:lnTo>
                    <a:lnTo>
                      <a:pt x="3803" y="17101"/>
                    </a:lnTo>
                    <a:lnTo>
                      <a:pt x="4107" y="17101"/>
                    </a:lnTo>
                    <a:lnTo>
                      <a:pt x="4107" y="17133"/>
                    </a:lnTo>
                    <a:lnTo>
                      <a:pt x="4259" y="17101"/>
                    </a:lnTo>
                    <a:lnTo>
                      <a:pt x="4259" y="17038"/>
                    </a:lnTo>
                    <a:lnTo>
                      <a:pt x="4563" y="16974"/>
                    </a:lnTo>
                    <a:lnTo>
                      <a:pt x="4259" y="16974"/>
                    </a:lnTo>
                    <a:lnTo>
                      <a:pt x="4107" y="16942"/>
                    </a:lnTo>
                    <a:lnTo>
                      <a:pt x="3803" y="16942"/>
                    </a:lnTo>
                    <a:lnTo>
                      <a:pt x="3803" y="16878"/>
                    </a:lnTo>
                    <a:lnTo>
                      <a:pt x="3499" y="16878"/>
                    </a:lnTo>
                    <a:lnTo>
                      <a:pt x="3499" y="16814"/>
                    </a:lnTo>
                    <a:lnTo>
                      <a:pt x="3042" y="16814"/>
                    </a:lnTo>
                    <a:lnTo>
                      <a:pt x="3042" y="16942"/>
                    </a:lnTo>
                    <a:lnTo>
                      <a:pt x="2738" y="16942"/>
                    </a:lnTo>
                    <a:lnTo>
                      <a:pt x="2434" y="16878"/>
                    </a:lnTo>
                    <a:lnTo>
                      <a:pt x="2434" y="16814"/>
                    </a:lnTo>
                    <a:lnTo>
                      <a:pt x="1673" y="16814"/>
                    </a:lnTo>
                    <a:lnTo>
                      <a:pt x="1673" y="16718"/>
                    </a:lnTo>
                    <a:lnTo>
                      <a:pt x="1369" y="16718"/>
                    </a:lnTo>
                    <a:lnTo>
                      <a:pt x="1065" y="16750"/>
                    </a:lnTo>
                    <a:lnTo>
                      <a:pt x="913" y="16750"/>
                    </a:lnTo>
                    <a:lnTo>
                      <a:pt x="913" y="16878"/>
                    </a:lnTo>
                    <a:lnTo>
                      <a:pt x="1065" y="16878"/>
                    </a:lnTo>
                    <a:lnTo>
                      <a:pt x="1065" y="16942"/>
                    </a:lnTo>
                    <a:lnTo>
                      <a:pt x="608" y="16942"/>
                    </a:lnTo>
                    <a:lnTo>
                      <a:pt x="304" y="16878"/>
                    </a:lnTo>
                    <a:lnTo>
                      <a:pt x="0" y="16878"/>
                    </a:lnTo>
                    <a:lnTo>
                      <a:pt x="0" y="16718"/>
                    </a:lnTo>
                    <a:lnTo>
                      <a:pt x="304" y="16718"/>
                    </a:lnTo>
                    <a:lnTo>
                      <a:pt x="608" y="16655"/>
                    </a:lnTo>
                    <a:lnTo>
                      <a:pt x="913" y="16655"/>
                    </a:lnTo>
                    <a:lnTo>
                      <a:pt x="1065" y="16591"/>
                    </a:lnTo>
                    <a:lnTo>
                      <a:pt x="1065" y="16527"/>
                    </a:lnTo>
                    <a:lnTo>
                      <a:pt x="1673" y="16527"/>
                    </a:lnTo>
                    <a:lnTo>
                      <a:pt x="1673" y="16495"/>
                    </a:lnTo>
                    <a:lnTo>
                      <a:pt x="2130" y="16495"/>
                    </a:lnTo>
                    <a:lnTo>
                      <a:pt x="2130" y="16431"/>
                    </a:lnTo>
                    <a:lnTo>
                      <a:pt x="2434" y="16431"/>
                    </a:lnTo>
                    <a:lnTo>
                      <a:pt x="2434" y="16304"/>
                    </a:lnTo>
                    <a:lnTo>
                      <a:pt x="2130" y="16304"/>
                    </a:lnTo>
                    <a:lnTo>
                      <a:pt x="2130" y="16368"/>
                    </a:lnTo>
                    <a:lnTo>
                      <a:pt x="1977" y="16368"/>
                    </a:lnTo>
                    <a:lnTo>
                      <a:pt x="1977" y="16304"/>
                    </a:lnTo>
                    <a:lnTo>
                      <a:pt x="1673" y="16304"/>
                    </a:lnTo>
                    <a:lnTo>
                      <a:pt x="1673" y="16272"/>
                    </a:lnTo>
                    <a:lnTo>
                      <a:pt x="2130" y="16272"/>
                    </a:lnTo>
                    <a:lnTo>
                      <a:pt x="2130" y="16208"/>
                    </a:lnTo>
                    <a:lnTo>
                      <a:pt x="2434" y="16208"/>
                    </a:lnTo>
                    <a:lnTo>
                      <a:pt x="2738" y="16272"/>
                    </a:lnTo>
                    <a:lnTo>
                      <a:pt x="3042" y="16208"/>
                    </a:lnTo>
                    <a:lnTo>
                      <a:pt x="3042" y="16272"/>
                    </a:lnTo>
                    <a:lnTo>
                      <a:pt x="3194" y="16272"/>
                    </a:lnTo>
                    <a:lnTo>
                      <a:pt x="3194" y="16208"/>
                    </a:lnTo>
                    <a:lnTo>
                      <a:pt x="4107" y="16208"/>
                    </a:lnTo>
                    <a:lnTo>
                      <a:pt x="4107" y="16272"/>
                    </a:lnTo>
                    <a:lnTo>
                      <a:pt x="4259" y="16272"/>
                    </a:lnTo>
                    <a:lnTo>
                      <a:pt x="4259" y="16431"/>
                    </a:lnTo>
                    <a:lnTo>
                      <a:pt x="4107" y="16431"/>
                    </a:lnTo>
                    <a:lnTo>
                      <a:pt x="4107" y="16495"/>
                    </a:lnTo>
                    <a:lnTo>
                      <a:pt x="4259" y="16495"/>
                    </a:lnTo>
                    <a:lnTo>
                      <a:pt x="4259" y="16527"/>
                    </a:lnTo>
                    <a:lnTo>
                      <a:pt x="4563" y="16527"/>
                    </a:lnTo>
                    <a:lnTo>
                      <a:pt x="4563" y="16495"/>
                    </a:lnTo>
                    <a:lnTo>
                      <a:pt x="4259" y="16495"/>
                    </a:lnTo>
                    <a:lnTo>
                      <a:pt x="4259" y="16431"/>
                    </a:lnTo>
                    <a:lnTo>
                      <a:pt x="4868" y="16431"/>
                    </a:lnTo>
                    <a:lnTo>
                      <a:pt x="4868" y="16527"/>
                    </a:lnTo>
                    <a:lnTo>
                      <a:pt x="4563" y="16591"/>
                    </a:lnTo>
                    <a:lnTo>
                      <a:pt x="4563" y="16718"/>
                    </a:lnTo>
                    <a:lnTo>
                      <a:pt x="4868" y="16718"/>
                    </a:lnTo>
                    <a:lnTo>
                      <a:pt x="4868" y="16655"/>
                    </a:lnTo>
                    <a:lnTo>
                      <a:pt x="5172" y="16591"/>
                    </a:lnTo>
                    <a:lnTo>
                      <a:pt x="5324" y="16591"/>
                    </a:lnTo>
                    <a:lnTo>
                      <a:pt x="5324" y="16495"/>
                    </a:lnTo>
                    <a:lnTo>
                      <a:pt x="5172" y="16527"/>
                    </a:lnTo>
                    <a:lnTo>
                      <a:pt x="5172" y="16304"/>
                    </a:lnTo>
                    <a:lnTo>
                      <a:pt x="5324" y="16272"/>
                    </a:lnTo>
                    <a:lnTo>
                      <a:pt x="5324" y="16208"/>
                    </a:lnTo>
                    <a:lnTo>
                      <a:pt x="5628" y="16208"/>
                    </a:lnTo>
                    <a:lnTo>
                      <a:pt x="5628" y="16144"/>
                    </a:lnTo>
                    <a:lnTo>
                      <a:pt x="5932" y="16144"/>
                    </a:lnTo>
                    <a:lnTo>
                      <a:pt x="5932" y="16080"/>
                    </a:lnTo>
                    <a:lnTo>
                      <a:pt x="5628" y="16144"/>
                    </a:lnTo>
                    <a:lnTo>
                      <a:pt x="5324" y="16144"/>
                    </a:lnTo>
                    <a:lnTo>
                      <a:pt x="5628" y="16080"/>
                    </a:lnTo>
                    <a:lnTo>
                      <a:pt x="5628" y="15985"/>
                    </a:lnTo>
                    <a:lnTo>
                      <a:pt x="5932" y="15985"/>
                    </a:lnTo>
                    <a:lnTo>
                      <a:pt x="5932" y="15857"/>
                    </a:lnTo>
                    <a:lnTo>
                      <a:pt x="5628" y="15857"/>
                    </a:lnTo>
                    <a:lnTo>
                      <a:pt x="5628" y="15825"/>
                    </a:lnTo>
                    <a:lnTo>
                      <a:pt x="5932" y="15825"/>
                    </a:lnTo>
                    <a:lnTo>
                      <a:pt x="5932" y="15474"/>
                    </a:lnTo>
                    <a:lnTo>
                      <a:pt x="5628" y="15474"/>
                    </a:lnTo>
                    <a:lnTo>
                      <a:pt x="5628" y="15410"/>
                    </a:lnTo>
                    <a:lnTo>
                      <a:pt x="6237" y="15410"/>
                    </a:lnTo>
                    <a:lnTo>
                      <a:pt x="6237" y="15315"/>
                    </a:lnTo>
                    <a:lnTo>
                      <a:pt x="6997" y="15315"/>
                    </a:lnTo>
                    <a:lnTo>
                      <a:pt x="6997" y="15378"/>
                    </a:lnTo>
                    <a:lnTo>
                      <a:pt x="7301" y="15378"/>
                    </a:lnTo>
                    <a:lnTo>
                      <a:pt x="7301" y="15474"/>
                    </a:lnTo>
                    <a:lnTo>
                      <a:pt x="6997" y="15474"/>
                    </a:lnTo>
                    <a:lnTo>
                      <a:pt x="6997" y="15538"/>
                    </a:lnTo>
                    <a:lnTo>
                      <a:pt x="6693" y="15602"/>
                    </a:lnTo>
                    <a:lnTo>
                      <a:pt x="6389" y="15602"/>
                    </a:lnTo>
                    <a:lnTo>
                      <a:pt x="6389" y="15634"/>
                    </a:lnTo>
                    <a:lnTo>
                      <a:pt x="6693" y="15602"/>
                    </a:lnTo>
                    <a:lnTo>
                      <a:pt x="6997" y="15602"/>
                    </a:lnTo>
                    <a:lnTo>
                      <a:pt x="7454" y="15474"/>
                    </a:lnTo>
                    <a:lnTo>
                      <a:pt x="7454" y="15378"/>
                    </a:lnTo>
                    <a:lnTo>
                      <a:pt x="7301" y="15378"/>
                    </a:lnTo>
                    <a:lnTo>
                      <a:pt x="6997" y="15315"/>
                    </a:lnTo>
                    <a:lnTo>
                      <a:pt x="6997" y="15251"/>
                    </a:lnTo>
                    <a:lnTo>
                      <a:pt x="6693" y="15251"/>
                    </a:lnTo>
                    <a:lnTo>
                      <a:pt x="6389" y="15187"/>
                    </a:lnTo>
                    <a:lnTo>
                      <a:pt x="6237" y="15187"/>
                    </a:lnTo>
                    <a:lnTo>
                      <a:pt x="6237" y="15155"/>
                    </a:lnTo>
                    <a:lnTo>
                      <a:pt x="6389" y="15155"/>
                    </a:lnTo>
                    <a:lnTo>
                      <a:pt x="6389" y="15027"/>
                    </a:lnTo>
                    <a:lnTo>
                      <a:pt x="6693" y="15027"/>
                    </a:lnTo>
                    <a:lnTo>
                      <a:pt x="6693" y="14932"/>
                    </a:lnTo>
                    <a:lnTo>
                      <a:pt x="7301" y="14932"/>
                    </a:lnTo>
                    <a:lnTo>
                      <a:pt x="7301" y="14868"/>
                    </a:lnTo>
                    <a:lnTo>
                      <a:pt x="6693" y="14868"/>
                    </a:lnTo>
                    <a:lnTo>
                      <a:pt x="6693" y="14804"/>
                    </a:lnTo>
                    <a:lnTo>
                      <a:pt x="6389" y="14740"/>
                    </a:lnTo>
                    <a:lnTo>
                      <a:pt x="6389" y="14708"/>
                    </a:lnTo>
                    <a:lnTo>
                      <a:pt x="6997" y="14581"/>
                    </a:lnTo>
                    <a:lnTo>
                      <a:pt x="6997" y="14485"/>
                    </a:lnTo>
                    <a:lnTo>
                      <a:pt x="7301" y="14485"/>
                    </a:lnTo>
                    <a:lnTo>
                      <a:pt x="7301" y="14262"/>
                    </a:lnTo>
                    <a:lnTo>
                      <a:pt x="6997" y="14262"/>
                    </a:lnTo>
                    <a:lnTo>
                      <a:pt x="6997" y="14134"/>
                    </a:lnTo>
                    <a:lnTo>
                      <a:pt x="7454" y="14134"/>
                    </a:lnTo>
                    <a:lnTo>
                      <a:pt x="7454" y="14070"/>
                    </a:lnTo>
                    <a:lnTo>
                      <a:pt x="7301" y="14038"/>
                    </a:lnTo>
                    <a:lnTo>
                      <a:pt x="7301" y="13975"/>
                    </a:lnTo>
                    <a:lnTo>
                      <a:pt x="7454" y="13975"/>
                    </a:lnTo>
                    <a:lnTo>
                      <a:pt x="7454" y="13911"/>
                    </a:lnTo>
                    <a:lnTo>
                      <a:pt x="7758" y="13911"/>
                    </a:lnTo>
                    <a:lnTo>
                      <a:pt x="8062" y="13975"/>
                    </a:lnTo>
                    <a:lnTo>
                      <a:pt x="8062" y="13815"/>
                    </a:lnTo>
                    <a:lnTo>
                      <a:pt x="6997" y="13815"/>
                    </a:lnTo>
                    <a:lnTo>
                      <a:pt x="6997" y="13751"/>
                    </a:lnTo>
                    <a:lnTo>
                      <a:pt x="7301" y="13751"/>
                    </a:lnTo>
                    <a:lnTo>
                      <a:pt x="7454" y="13687"/>
                    </a:lnTo>
                    <a:lnTo>
                      <a:pt x="7758" y="13687"/>
                    </a:lnTo>
                    <a:lnTo>
                      <a:pt x="7758" y="13656"/>
                    </a:lnTo>
                    <a:lnTo>
                      <a:pt x="7301" y="13656"/>
                    </a:lnTo>
                    <a:lnTo>
                      <a:pt x="6997" y="13592"/>
                    </a:lnTo>
                    <a:lnTo>
                      <a:pt x="6389" y="13592"/>
                    </a:lnTo>
                    <a:lnTo>
                      <a:pt x="6389" y="13687"/>
                    </a:lnTo>
                    <a:lnTo>
                      <a:pt x="5324" y="13687"/>
                    </a:lnTo>
                    <a:lnTo>
                      <a:pt x="5324" y="13815"/>
                    </a:lnTo>
                    <a:lnTo>
                      <a:pt x="5628" y="13815"/>
                    </a:lnTo>
                    <a:lnTo>
                      <a:pt x="5628" y="13911"/>
                    </a:lnTo>
                    <a:lnTo>
                      <a:pt x="5932" y="13911"/>
                    </a:lnTo>
                    <a:lnTo>
                      <a:pt x="5932" y="14038"/>
                    </a:lnTo>
                    <a:lnTo>
                      <a:pt x="5172" y="14038"/>
                    </a:lnTo>
                    <a:lnTo>
                      <a:pt x="5172" y="14134"/>
                    </a:lnTo>
                    <a:lnTo>
                      <a:pt x="4868" y="14134"/>
                    </a:lnTo>
                    <a:lnTo>
                      <a:pt x="4868" y="14198"/>
                    </a:lnTo>
                    <a:lnTo>
                      <a:pt x="5172" y="14198"/>
                    </a:lnTo>
                    <a:lnTo>
                      <a:pt x="5172" y="14262"/>
                    </a:lnTo>
                    <a:lnTo>
                      <a:pt x="5324" y="14262"/>
                    </a:lnTo>
                    <a:lnTo>
                      <a:pt x="5324" y="14294"/>
                    </a:lnTo>
                    <a:lnTo>
                      <a:pt x="5628" y="14294"/>
                    </a:lnTo>
                    <a:lnTo>
                      <a:pt x="5628" y="14357"/>
                    </a:lnTo>
                    <a:lnTo>
                      <a:pt x="5324" y="14357"/>
                    </a:lnTo>
                    <a:lnTo>
                      <a:pt x="5324" y="14421"/>
                    </a:lnTo>
                    <a:lnTo>
                      <a:pt x="5628" y="14485"/>
                    </a:lnTo>
                    <a:lnTo>
                      <a:pt x="4868" y="14485"/>
                    </a:lnTo>
                    <a:lnTo>
                      <a:pt x="4868" y="14581"/>
                    </a:lnTo>
                    <a:lnTo>
                      <a:pt x="5172" y="14581"/>
                    </a:lnTo>
                    <a:lnTo>
                      <a:pt x="5172" y="14645"/>
                    </a:lnTo>
                    <a:lnTo>
                      <a:pt x="4868" y="14645"/>
                    </a:lnTo>
                    <a:lnTo>
                      <a:pt x="4868" y="14708"/>
                    </a:lnTo>
                    <a:lnTo>
                      <a:pt x="4563" y="14708"/>
                    </a:lnTo>
                    <a:lnTo>
                      <a:pt x="4259" y="14645"/>
                    </a:lnTo>
                    <a:lnTo>
                      <a:pt x="3803" y="14645"/>
                    </a:lnTo>
                    <a:lnTo>
                      <a:pt x="3803" y="14581"/>
                    </a:lnTo>
                    <a:lnTo>
                      <a:pt x="3194" y="14581"/>
                    </a:lnTo>
                    <a:lnTo>
                      <a:pt x="3194" y="14517"/>
                    </a:lnTo>
                    <a:lnTo>
                      <a:pt x="3499" y="14517"/>
                    </a:lnTo>
                    <a:lnTo>
                      <a:pt x="3803" y="14485"/>
                    </a:lnTo>
                    <a:lnTo>
                      <a:pt x="3803" y="13975"/>
                    </a:lnTo>
                    <a:lnTo>
                      <a:pt x="4107" y="13911"/>
                    </a:lnTo>
                    <a:lnTo>
                      <a:pt x="4107" y="13751"/>
                    </a:lnTo>
                    <a:lnTo>
                      <a:pt x="4259" y="13751"/>
                    </a:lnTo>
                    <a:lnTo>
                      <a:pt x="4259" y="13687"/>
                    </a:lnTo>
                    <a:lnTo>
                      <a:pt x="4563" y="13687"/>
                    </a:lnTo>
                    <a:lnTo>
                      <a:pt x="4563" y="13751"/>
                    </a:lnTo>
                    <a:lnTo>
                      <a:pt x="4868" y="13751"/>
                    </a:lnTo>
                    <a:lnTo>
                      <a:pt x="4868" y="13687"/>
                    </a:lnTo>
                    <a:lnTo>
                      <a:pt x="5172" y="13687"/>
                    </a:lnTo>
                    <a:lnTo>
                      <a:pt x="5172" y="13528"/>
                    </a:lnTo>
                    <a:lnTo>
                      <a:pt x="4868" y="13528"/>
                    </a:lnTo>
                    <a:lnTo>
                      <a:pt x="4868" y="13464"/>
                    </a:lnTo>
                    <a:lnTo>
                      <a:pt x="4563" y="13432"/>
                    </a:lnTo>
                    <a:lnTo>
                      <a:pt x="4563" y="13241"/>
                    </a:lnTo>
                    <a:lnTo>
                      <a:pt x="4259" y="13241"/>
                    </a:lnTo>
                    <a:lnTo>
                      <a:pt x="4259" y="13081"/>
                    </a:lnTo>
                    <a:lnTo>
                      <a:pt x="4563" y="13017"/>
                    </a:lnTo>
                    <a:lnTo>
                      <a:pt x="4563" y="12922"/>
                    </a:lnTo>
                    <a:lnTo>
                      <a:pt x="4868" y="12922"/>
                    </a:lnTo>
                    <a:lnTo>
                      <a:pt x="4868" y="12794"/>
                    </a:lnTo>
                    <a:lnTo>
                      <a:pt x="5172" y="12762"/>
                    </a:lnTo>
                    <a:lnTo>
                      <a:pt x="5172" y="12571"/>
                    </a:lnTo>
                    <a:lnTo>
                      <a:pt x="5324" y="12539"/>
                    </a:lnTo>
                    <a:lnTo>
                      <a:pt x="5932" y="12539"/>
                    </a:lnTo>
                    <a:lnTo>
                      <a:pt x="5932" y="12347"/>
                    </a:lnTo>
                    <a:lnTo>
                      <a:pt x="6237" y="12347"/>
                    </a:lnTo>
                    <a:lnTo>
                      <a:pt x="6237" y="12188"/>
                    </a:lnTo>
                    <a:lnTo>
                      <a:pt x="5932" y="12124"/>
                    </a:lnTo>
                    <a:lnTo>
                      <a:pt x="5932" y="11965"/>
                    </a:lnTo>
                    <a:lnTo>
                      <a:pt x="5324" y="11869"/>
                    </a:lnTo>
                    <a:lnTo>
                      <a:pt x="5324" y="11295"/>
                    </a:lnTo>
                    <a:lnTo>
                      <a:pt x="5172" y="11199"/>
                    </a:lnTo>
                    <a:lnTo>
                      <a:pt x="5172" y="10912"/>
                    </a:lnTo>
                    <a:lnTo>
                      <a:pt x="6389" y="10912"/>
                    </a:lnTo>
                    <a:lnTo>
                      <a:pt x="6389" y="10625"/>
                    </a:lnTo>
                    <a:lnTo>
                      <a:pt x="6693" y="10625"/>
                    </a:lnTo>
                    <a:lnTo>
                      <a:pt x="6997" y="10593"/>
                    </a:lnTo>
                    <a:lnTo>
                      <a:pt x="6997" y="10465"/>
                    </a:lnTo>
                    <a:lnTo>
                      <a:pt x="7301" y="10369"/>
                    </a:lnTo>
                    <a:lnTo>
                      <a:pt x="7301" y="10242"/>
                    </a:lnTo>
                    <a:lnTo>
                      <a:pt x="7454" y="10178"/>
                    </a:lnTo>
                    <a:lnTo>
                      <a:pt x="7758" y="10082"/>
                    </a:lnTo>
                    <a:lnTo>
                      <a:pt x="7758" y="9923"/>
                    </a:lnTo>
                    <a:lnTo>
                      <a:pt x="8062" y="9923"/>
                    </a:lnTo>
                    <a:lnTo>
                      <a:pt x="8062" y="9859"/>
                    </a:lnTo>
                    <a:lnTo>
                      <a:pt x="8366" y="9795"/>
                    </a:lnTo>
                    <a:lnTo>
                      <a:pt x="8366" y="9731"/>
                    </a:lnTo>
                    <a:lnTo>
                      <a:pt x="8518" y="9731"/>
                    </a:lnTo>
                    <a:lnTo>
                      <a:pt x="8518" y="9635"/>
                    </a:lnTo>
                    <a:lnTo>
                      <a:pt x="8823" y="9572"/>
                    </a:lnTo>
                    <a:lnTo>
                      <a:pt x="8823" y="9476"/>
                    </a:lnTo>
                    <a:lnTo>
                      <a:pt x="9127" y="9476"/>
                    </a:lnTo>
                    <a:lnTo>
                      <a:pt x="9127" y="9189"/>
                    </a:lnTo>
                    <a:lnTo>
                      <a:pt x="9279" y="9125"/>
                    </a:lnTo>
                    <a:lnTo>
                      <a:pt x="9583" y="9029"/>
                    </a:lnTo>
                    <a:lnTo>
                      <a:pt x="9583" y="8965"/>
                    </a:lnTo>
                    <a:lnTo>
                      <a:pt x="9887" y="8965"/>
                    </a:lnTo>
                    <a:lnTo>
                      <a:pt x="9887" y="8455"/>
                    </a:lnTo>
                    <a:lnTo>
                      <a:pt x="10344" y="8359"/>
                    </a:lnTo>
                    <a:lnTo>
                      <a:pt x="10344" y="8232"/>
                    </a:lnTo>
                    <a:lnTo>
                      <a:pt x="10648" y="8232"/>
                    </a:lnTo>
                    <a:lnTo>
                      <a:pt x="10648" y="8136"/>
                    </a:lnTo>
                    <a:lnTo>
                      <a:pt x="10344" y="8072"/>
                    </a:lnTo>
                    <a:lnTo>
                      <a:pt x="10192" y="7944"/>
                    </a:lnTo>
                    <a:lnTo>
                      <a:pt x="10192" y="7338"/>
                    </a:lnTo>
                    <a:lnTo>
                      <a:pt x="9887" y="7306"/>
                    </a:lnTo>
                    <a:lnTo>
                      <a:pt x="9887" y="7019"/>
                    </a:lnTo>
                    <a:lnTo>
                      <a:pt x="10192" y="6955"/>
                    </a:lnTo>
                    <a:lnTo>
                      <a:pt x="10344" y="6955"/>
                    </a:lnTo>
                    <a:lnTo>
                      <a:pt x="10344" y="6892"/>
                    </a:lnTo>
                    <a:lnTo>
                      <a:pt x="10648" y="6892"/>
                    </a:lnTo>
                    <a:lnTo>
                      <a:pt x="10648" y="6860"/>
                    </a:lnTo>
                    <a:lnTo>
                      <a:pt x="10952" y="6860"/>
                    </a:lnTo>
                    <a:lnTo>
                      <a:pt x="10952" y="6509"/>
                    </a:lnTo>
                    <a:lnTo>
                      <a:pt x="10648" y="6445"/>
                    </a:lnTo>
                    <a:lnTo>
                      <a:pt x="10648" y="6413"/>
                    </a:lnTo>
                    <a:lnTo>
                      <a:pt x="10344" y="6349"/>
                    </a:lnTo>
                    <a:lnTo>
                      <a:pt x="10344" y="6190"/>
                    </a:lnTo>
                    <a:lnTo>
                      <a:pt x="10952" y="6062"/>
                    </a:lnTo>
                    <a:lnTo>
                      <a:pt x="11256" y="5966"/>
                    </a:lnTo>
                    <a:lnTo>
                      <a:pt x="11256" y="5679"/>
                    </a:lnTo>
                    <a:lnTo>
                      <a:pt x="11408" y="5615"/>
                    </a:lnTo>
                    <a:lnTo>
                      <a:pt x="11408" y="5552"/>
                    </a:lnTo>
                    <a:lnTo>
                      <a:pt x="11713" y="5520"/>
                    </a:lnTo>
                    <a:lnTo>
                      <a:pt x="11713" y="5169"/>
                    </a:lnTo>
                    <a:lnTo>
                      <a:pt x="12017" y="5105"/>
                    </a:lnTo>
                    <a:lnTo>
                      <a:pt x="12017" y="5073"/>
                    </a:lnTo>
                    <a:lnTo>
                      <a:pt x="12321" y="5009"/>
                    </a:lnTo>
                    <a:lnTo>
                      <a:pt x="12321" y="4786"/>
                    </a:lnTo>
                    <a:lnTo>
                      <a:pt x="12473" y="4786"/>
                    </a:lnTo>
                    <a:lnTo>
                      <a:pt x="12473" y="4626"/>
                    </a:lnTo>
                    <a:lnTo>
                      <a:pt x="12321" y="4562"/>
                    </a:lnTo>
                    <a:lnTo>
                      <a:pt x="12321" y="4467"/>
                    </a:lnTo>
                    <a:lnTo>
                      <a:pt x="12777" y="4339"/>
                    </a:lnTo>
                    <a:lnTo>
                      <a:pt x="13082" y="4243"/>
                    </a:lnTo>
                    <a:lnTo>
                      <a:pt x="13082" y="4116"/>
                    </a:lnTo>
                    <a:lnTo>
                      <a:pt x="12777" y="4116"/>
                    </a:lnTo>
                    <a:lnTo>
                      <a:pt x="12777" y="4020"/>
                    </a:lnTo>
                    <a:lnTo>
                      <a:pt x="12473" y="3892"/>
                    </a:lnTo>
                    <a:lnTo>
                      <a:pt x="12473" y="3573"/>
                    </a:lnTo>
                    <a:lnTo>
                      <a:pt x="12777" y="3510"/>
                    </a:lnTo>
                    <a:lnTo>
                      <a:pt x="12777" y="3222"/>
                    </a:lnTo>
                    <a:lnTo>
                      <a:pt x="12473" y="3222"/>
                    </a:lnTo>
                    <a:lnTo>
                      <a:pt x="12473" y="3127"/>
                    </a:lnTo>
                    <a:lnTo>
                      <a:pt x="12777" y="2999"/>
                    </a:lnTo>
                    <a:lnTo>
                      <a:pt x="12777" y="2935"/>
                    </a:lnTo>
                    <a:lnTo>
                      <a:pt x="13082" y="2935"/>
                    </a:lnTo>
                    <a:lnTo>
                      <a:pt x="13386" y="2903"/>
                    </a:lnTo>
                    <a:lnTo>
                      <a:pt x="13386" y="2712"/>
                    </a:lnTo>
                    <a:lnTo>
                      <a:pt x="13538" y="2712"/>
                    </a:lnTo>
                    <a:lnTo>
                      <a:pt x="13538" y="2393"/>
                    </a:lnTo>
                    <a:lnTo>
                      <a:pt x="13842" y="2329"/>
                    </a:lnTo>
                    <a:lnTo>
                      <a:pt x="13842" y="1787"/>
                    </a:lnTo>
                    <a:lnTo>
                      <a:pt x="13538" y="1723"/>
                    </a:lnTo>
                    <a:lnTo>
                      <a:pt x="13538" y="989"/>
                    </a:lnTo>
                    <a:lnTo>
                      <a:pt x="13386" y="957"/>
                    </a:lnTo>
                    <a:lnTo>
                      <a:pt x="13386" y="734"/>
                    </a:lnTo>
                    <a:lnTo>
                      <a:pt x="13082" y="670"/>
                    </a:lnTo>
                    <a:lnTo>
                      <a:pt x="13082" y="510"/>
                    </a:lnTo>
                    <a:lnTo>
                      <a:pt x="13386" y="510"/>
                    </a:lnTo>
                    <a:lnTo>
                      <a:pt x="13386" y="447"/>
                    </a:lnTo>
                    <a:lnTo>
                      <a:pt x="13842" y="447"/>
                    </a:lnTo>
                    <a:lnTo>
                      <a:pt x="13842" y="383"/>
                    </a:lnTo>
                    <a:lnTo>
                      <a:pt x="14451" y="383"/>
                    </a:lnTo>
                    <a:lnTo>
                      <a:pt x="14603" y="319"/>
                    </a:lnTo>
                    <a:lnTo>
                      <a:pt x="14603" y="223"/>
                    </a:lnTo>
                    <a:lnTo>
                      <a:pt x="14451" y="223"/>
                    </a:lnTo>
                    <a:lnTo>
                      <a:pt x="14451" y="160"/>
                    </a:lnTo>
                    <a:lnTo>
                      <a:pt x="14603" y="160"/>
                    </a:lnTo>
                    <a:lnTo>
                      <a:pt x="14603" y="96"/>
                    </a:lnTo>
                    <a:lnTo>
                      <a:pt x="14907" y="96"/>
                    </a:lnTo>
                    <a:lnTo>
                      <a:pt x="14907" y="64"/>
                    </a:lnTo>
                    <a:lnTo>
                      <a:pt x="15211" y="0"/>
                    </a:lnTo>
                    <a:close/>
                    <a:moveTo>
                      <a:pt x="15211" y="0"/>
                    </a:moveTo>
                  </a:path>
                </a:pathLst>
              </a:custGeom>
              <a:solidFill>
                <a:srgbClr val="00BACF"/>
              </a:solidFill>
              <a:ln w="12700">
                <a:solidFill>
                  <a:srgbClr val="FFFFFF"/>
                </a:solidFill>
                <a:round/>
                <a:headEnd/>
                <a:tailEnd/>
              </a:ln>
            </p:spPr>
            <p:txBody>
              <a:bodyPr lIns="0" tIns="0" rIns="0" bIns="0"/>
              <a:lstStyle/>
              <a:p>
                <a:endParaRPr lang="es-ES"/>
              </a:p>
            </p:txBody>
          </p:sp>
          <p:sp>
            <p:nvSpPr>
              <p:cNvPr id="15428" name="Freeform 73"/>
              <p:cNvSpPr>
                <a:spLocks/>
              </p:cNvSpPr>
              <p:nvPr/>
            </p:nvSpPr>
            <p:spPr bwMode="auto">
              <a:xfrm>
                <a:off x="3086" y="1550"/>
                <a:ext cx="35" cy="15"/>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600"/>
                  <a:gd name="T37" fmla="*/ 0 h 21600"/>
                  <a:gd name="T38" fmla="*/ 21600 w 21600"/>
                  <a:gd name="T39" fmla="*/ 21600 h 2160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600" h="21600">
                    <a:moveTo>
                      <a:pt x="12600" y="0"/>
                    </a:moveTo>
                    <a:lnTo>
                      <a:pt x="21600" y="0"/>
                    </a:lnTo>
                    <a:lnTo>
                      <a:pt x="21600" y="8640"/>
                    </a:lnTo>
                    <a:lnTo>
                      <a:pt x="19800" y="8640"/>
                    </a:lnTo>
                    <a:lnTo>
                      <a:pt x="16200" y="12960"/>
                    </a:lnTo>
                    <a:lnTo>
                      <a:pt x="16200" y="21600"/>
                    </a:lnTo>
                    <a:lnTo>
                      <a:pt x="0" y="21600"/>
                    </a:lnTo>
                    <a:lnTo>
                      <a:pt x="0" y="12960"/>
                    </a:lnTo>
                    <a:lnTo>
                      <a:pt x="3600" y="8640"/>
                    </a:lnTo>
                    <a:lnTo>
                      <a:pt x="12600" y="8640"/>
                    </a:lnTo>
                    <a:lnTo>
                      <a:pt x="12600" y="0"/>
                    </a:lnTo>
                    <a:close/>
                    <a:moveTo>
                      <a:pt x="12600" y="0"/>
                    </a:moveTo>
                  </a:path>
                </a:pathLst>
              </a:custGeom>
              <a:solidFill>
                <a:srgbClr val="00BACF"/>
              </a:solidFill>
              <a:ln w="12700">
                <a:solidFill>
                  <a:srgbClr val="FFFFFF"/>
                </a:solidFill>
                <a:round/>
                <a:headEnd/>
                <a:tailEnd/>
              </a:ln>
            </p:spPr>
            <p:txBody>
              <a:bodyPr lIns="0" tIns="0" rIns="0" bIns="0"/>
              <a:lstStyle/>
              <a:p>
                <a:endParaRPr lang="es-ES"/>
              </a:p>
            </p:txBody>
          </p:sp>
          <p:sp>
            <p:nvSpPr>
              <p:cNvPr id="15429" name="AutoShape 74"/>
              <p:cNvSpPr>
                <a:spLocks/>
              </p:cNvSpPr>
              <p:nvPr/>
            </p:nvSpPr>
            <p:spPr bwMode="auto">
              <a:xfrm>
                <a:off x="1993" y="1323"/>
                <a:ext cx="1815" cy="186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w 21600"/>
                  <a:gd name="T117" fmla="*/ 0 h 21600"/>
                  <a:gd name="T118" fmla="*/ 0 w 21600"/>
                  <a:gd name="T119" fmla="*/ 0 h 21600"/>
                  <a:gd name="T120" fmla="*/ 0 w 21600"/>
                  <a:gd name="T121" fmla="*/ 0 h 21600"/>
                  <a:gd name="T122" fmla="*/ 0 w 21600"/>
                  <a:gd name="T123" fmla="*/ 0 h 216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1600"/>
                  <a:gd name="T187" fmla="*/ 0 h 21600"/>
                  <a:gd name="T188" fmla="*/ 21600 w 21600"/>
                  <a:gd name="T189" fmla="*/ 21600 h 2160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1600" h="21600">
                    <a:moveTo>
                      <a:pt x="12843" y="3645"/>
                    </a:moveTo>
                    <a:lnTo>
                      <a:pt x="12843" y="3745"/>
                    </a:lnTo>
                    <a:lnTo>
                      <a:pt x="12912" y="3812"/>
                    </a:lnTo>
                    <a:lnTo>
                      <a:pt x="12946" y="3812"/>
                    </a:lnTo>
                    <a:lnTo>
                      <a:pt x="12912" y="3745"/>
                    </a:lnTo>
                    <a:lnTo>
                      <a:pt x="12912" y="3678"/>
                    </a:lnTo>
                    <a:lnTo>
                      <a:pt x="12843" y="3645"/>
                    </a:lnTo>
                    <a:close/>
                    <a:moveTo>
                      <a:pt x="12362" y="3511"/>
                    </a:moveTo>
                    <a:lnTo>
                      <a:pt x="12294" y="3578"/>
                    </a:lnTo>
                    <a:lnTo>
                      <a:pt x="12225" y="3578"/>
                    </a:lnTo>
                    <a:lnTo>
                      <a:pt x="12225" y="3645"/>
                    </a:lnTo>
                    <a:lnTo>
                      <a:pt x="12294" y="3645"/>
                    </a:lnTo>
                    <a:lnTo>
                      <a:pt x="12294" y="3578"/>
                    </a:lnTo>
                    <a:lnTo>
                      <a:pt x="12362" y="3578"/>
                    </a:lnTo>
                    <a:lnTo>
                      <a:pt x="12362" y="3511"/>
                    </a:lnTo>
                    <a:close/>
                    <a:moveTo>
                      <a:pt x="12191" y="3411"/>
                    </a:moveTo>
                    <a:lnTo>
                      <a:pt x="12191" y="3578"/>
                    </a:lnTo>
                    <a:lnTo>
                      <a:pt x="11882" y="3578"/>
                    </a:lnTo>
                    <a:lnTo>
                      <a:pt x="11882" y="3645"/>
                    </a:lnTo>
                    <a:lnTo>
                      <a:pt x="11813" y="3645"/>
                    </a:lnTo>
                    <a:lnTo>
                      <a:pt x="11744" y="3678"/>
                    </a:lnTo>
                    <a:lnTo>
                      <a:pt x="11813" y="3678"/>
                    </a:lnTo>
                    <a:lnTo>
                      <a:pt x="11882" y="3645"/>
                    </a:lnTo>
                    <a:lnTo>
                      <a:pt x="11950" y="3645"/>
                    </a:lnTo>
                    <a:lnTo>
                      <a:pt x="11985" y="3678"/>
                    </a:lnTo>
                    <a:lnTo>
                      <a:pt x="11985" y="3745"/>
                    </a:lnTo>
                    <a:lnTo>
                      <a:pt x="12053" y="3745"/>
                    </a:lnTo>
                    <a:lnTo>
                      <a:pt x="12191" y="3645"/>
                    </a:lnTo>
                    <a:lnTo>
                      <a:pt x="12191" y="3578"/>
                    </a:lnTo>
                    <a:lnTo>
                      <a:pt x="12225" y="3511"/>
                    </a:lnTo>
                    <a:lnTo>
                      <a:pt x="12225" y="3411"/>
                    </a:lnTo>
                    <a:lnTo>
                      <a:pt x="12191" y="3411"/>
                    </a:lnTo>
                    <a:close/>
                    <a:moveTo>
                      <a:pt x="12603" y="3277"/>
                    </a:moveTo>
                    <a:lnTo>
                      <a:pt x="12672" y="3277"/>
                    </a:lnTo>
                    <a:lnTo>
                      <a:pt x="12603" y="3344"/>
                    </a:lnTo>
                    <a:lnTo>
                      <a:pt x="12603" y="3277"/>
                    </a:lnTo>
                    <a:close/>
                    <a:moveTo>
                      <a:pt x="12225" y="3277"/>
                    </a:moveTo>
                    <a:lnTo>
                      <a:pt x="12225" y="3344"/>
                    </a:lnTo>
                    <a:lnTo>
                      <a:pt x="12294" y="3277"/>
                    </a:lnTo>
                    <a:lnTo>
                      <a:pt x="12225" y="3277"/>
                    </a:lnTo>
                    <a:close/>
                    <a:moveTo>
                      <a:pt x="7314" y="0"/>
                    </a:moveTo>
                    <a:lnTo>
                      <a:pt x="7624" y="0"/>
                    </a:lnTo>
                    <a:lnTo>
                      <a:pt x="7692" y="67"/>
                    </a:lnTo>
                    <a:lnTo>
                      <a:pt x="7692" y="134"/>
                    </a:lnTo>
                    <a:lnTo>
                      <a:pt x="7727" y="134"/>
                    </a:lnTo>
                    <a:lnTo>
                      <a:pt x="7727" y="234"/>
                    </a:lnTo>
                    <a:lnTo>
                      <a:pt x="7692" y="234"/>
                    </a:lnTo>
                    <a:lnTo>
                      <a:pt x="7692" y="368"/>
                    </a:lnTo>
                    <a:lnTo>
                      <a:pt x="7624" y="368"/>
                    </a:lnTo>
                    <a:lnTo>
                      <a:pt x="7624" y="435"/>
                    </a:lnTo>
                    <a:lnTo>
                      <a:pt x="7795" y="435"/>
                    </a:lnTo>
                    <a:lnTo>
                      <a:pt x="7795" y="468"/>
                    </a:lnTo>
                    <a:lnTo>
                      <a:pt x="7864" y="468"/>
                    </a:lnTo>
                    <a:lnTo>
                      <a:pt x="7864" y="669"/>
                    </a:lnTo>
                    <a:lnTo>
                      <a:pt x="7967" y="669"/>
                    </a:lnTo>
                    <a:lnTo>
                      <a:pt x="7967" y="702"/>
                    </a:lnTo>
                    <a:lnTo>
                      <a:pt x="7933" y="702"/>
                    </a:lnTo>
                    <a:lnTo>
                      <a:pt x="7933" y="903"/>
                    </a:lnTo>
                    <a:lnTo>
                      <a:pt x="7864" y="903"/>
                    </a:lnTo>
                    <a:lnTo>
                      <a:pt x="7864" y="1003"/>
                    </a:lnTo>
                    <a:lnTo>
                      <a:pt x="7795" y="1003"/>
                    </a:lnTo>
                    <a:lnTo>
                      <a:pt x="7795" y="1605"/>
                    </a:lnTo>
                    <a:lnTo>
                      <a:pt x="7864" y="1605"/>
                    </a:lnTo>
                    <a:lnTo>
                      <a:pt x="7864" y="1772"/>
                    </a:lnTo>
                    <a:lnTo>
                      <a:pt x="7933" y="1772"/>
                    </a:lnTo>
                    <a:lnTo>
                      <a:pt x="7933" y="1872"/>
                    </a:lnTo>
                    <a:lnTo>
                      <a:pt x="7967" y="1872"/>
                    </a:lnTo>
                    <a:lnTo>
                      <a:pt x="7967" y="1939"/>
                    </a:lnTo>
                    <a:lnTo>
                      <a:pt x="8036" y="1939"/>
                    </a:lnTo>
                    <a:lnTo>
                      <a:pt x="8036" y="2006"/>
                    </a:lnTo>
                    <a:lnTo>
                      <a:pt x="8104" y="2040"/>
                    </a:lnTo>
                    <a:lnTo>
                      <a:pt x="8173" y="2040"/>
                    </a:lnTo>
                    <a:lnTo>
                      <a:pt x="8173" y="2107"/>
                    </a:lnTo>
                    <a:lnTo>
                      <a:pt x="8276" y="2107"/>
                    </a:lnTo>
                    <a:lnTo>
                      <a:pt x="8345" y="2173"/>
                    </a:lnTo>
                    <a:lnTo>
                      <a:pt x="8413" y="2173"/>
                    </a:lnTo>
                    <a:lnTo>
                      <a:pt x="8413" y="2240"/>
                    </a:lnTo>
                    <a:lnTo>
                      <a:pt x="8448" y="2240"/>
                    </a:lnTo>
                    <a:lnTo>
                      <a:pt x="8448" y="2173"/>
                    </a:lnTo>
                    <a:lnTo>
                      <a:pt x="8516" y="2173"/>
                    </a:lnTo>
                    <a:lnTo>
                      <a:pt x="8585" y="2107"/>
                    </a:lnTo>
                    <a:lnTo>
                      <a:pt x="8585" y="2006"/>
                    </a:lnTo>
                    <a:lnTo>
                      <a:pt x="8825" y="2006"/>
                    </a:lnTo>
                    <a:lnTo>
                      <a:pt x="8825" y="1939"/>
                    </a:lnTo>
                    <a:lnTo>
                      <a:pt x="9066" y="1939"/>
                    </a:lnTo>
                    <a:lnTo>
                      <a:pt x="9066" y="1872"/>
                    </a:lnTo>
                    <a:lnTo>
                      <a:pt x="9169" y="1872"/>
                    </a:lnTo>
                    <a:lnTo>
                      <a:pt x="9169" y="1806"/>
                    </a:lnTo>
                    <a:lnTo>
                      <a:pt x="9306" y="1705"/>
                    </a:lnTo>
                    <a:lnTo>
                      <a:pt x="9306" y="1772"/>
                    </a:lnTo>
                    <a:lnTo>
                      <a:pt x="9409" y="1772"/>
                    </a:lnTo>
                    <a:lnTo>
                      <a:pt x="9478" y="1806"/>
                    </a:lnTo>
                    <a:lnTo>
                      <a:pt x="9650" y="1806"/>
                    </a:lnTo>
                    <a:lnTo>
                      <a:pt x="9650" y="1772"/>
                    </a:lnTo>
                    <a:lnTo>
                      <a:pt x="9718" y="1806"/>
                    </a:lnTo>
                    <a:lnTo>
                      <a:pt x="9959" y="1806"/>
                    </a:lnTo>
                    <a:lnTo>
                      <a:pt x="9959" y="1772"/>
                    </a:lnTo>
                    <a:lnTo>
                      <a:pt x="10027" y="1705"/>
                    </a:lnTo>
                    <a:lnTo>
                      <a:pt x="9959" y="1705"/>
                    </a:lnTo>
                    <a:lnTo>
                      <a:pt x="9890" y="1638"/>
                    </a:lnTo>
                    <a:lnTo>
                      <a:pt x="9890" y="1538"/>
                    </a:lnTo>
                    <a:lnTo>
                      <a:pt x="9959" y="1538"/>
                    </a:lnTo>
                    <a:lnTo>
                      <a:pt x="9959" y="1471"/>
                    </a:lnTo>
                    <a:lnTo>
                      <a:pt x="10027" y="1471"/>
                    </a:lnTo>
                    <a:lnTo>
                      <a:pt x="10027" y="1538"/>
                    </a:lnTo>
                    <a:lnTo>
                      <a:pt x="10336" y="1538"/>
                    </a:lnTo>
                    <a:lnTo>
                      <a:pt x="10336" y="1471"/>
                    </a:lnTo>
                    <a:lnTo>
                      <a:pt x="10439" y="1471"/>
                    </a:lnTo>
                    <a:lnTo>
                      <a:pt x="10439" y="1404"/>
                    </a:lnTo>
                    <a:lnTo>
                      <a:pt x="10508" y="1404"/>
                    </a:lnTo>
                    <a:lnTo>
                      <a:pt x="10508" y="1471"/>
                    </a:lnTo>
                    <a:lnTo>
                      <a:pt x="10577" y="1471"/>
                    </a:lnTo>
                    <a:lnTo>
                      <a:pt x="10611" y="1538"/>
                    </a:lnTo>
                    <a:lnTo>
                      <a:pt x="10680" y="1538"/>
                    </a:lnTo>
                    <a:lnTo>
                      <a:pt x="10680" y="1605"/>
                    </a:lnTo>
                    <a:lnTo>
                      <a:pt x="10748" y="1605"/>
                    </a:lnTo>
                    <a:lnTo>
                      <a:pt x="10748" y="1638"/>
                    </a:lnTo>
                    <a:lnTo>
                      <a:pt x="10852" y="1638"/>
                    </a:lnTo>
                    <a:lnTo>
                      <a:pt x="10852" y="1705"/>
                    </a:lnTo>
                    <a:lnTo>
                      <a:pt x="10989" y="1705"/>
                    </a:lnTo>
                    <a:lnTo>
                      <a:pt x="10989" y="1638"/>
                    </a:lnTo>
                    <a:lnTo>
                      <a:pt x="11161" y="1638"/>
                    </a:lnTo>
                    <a:lnTo>
                      <a:pt x="11161" y="1605"/>
                    </a:lnTo>
                    <a:lnTo>
                      <a:pt x="11401" y="1605"/>
                    </a:lnTo>
                    <a:lnTo>
                      <a:pt x="11470" y="1638"/>
                    </a:lnTo>
                    <a:lnTo>
                      <a:pt x="11641" y="1638"/>
                    </a:lnTo>
                    <a:lnTo>
                      <a:pt x="11744" y="1538"/>
                    </a:lnTo>
                    <a:lnTo>
                      <a:pt x="11813" y="1538"/>
                    </a:lnTo>
                    <a:lnTo>
                      <a:pt x="11813" y="1371"/>
                    </a:lnTo>
                    <a:lnTo>
                      <a:pt x="11882" y="1371"/>
                    </a:lnTo>
                    <a:lnTo>
                      <a:pt x="11882" y="1304"/>
                    </a:lnTo>
                    <a:lnTo>
                      <a:pt x="11950" y="1237"/>
                    </a:lnTo>
                    <a:lnTo>
                      <a:pt x="11950" y="1170"/>
                    </a:lnTo>
                    <a:lnTo>
                      <a:pt x="11985" y="1170"/>
                    </a:lnTo>
                    <a:lnTo>
                      <a:pt x="11985" y="1070"/>
                    </a:lnTo>
                    <a:lnTo>
                      <a:pt x="12053" y="1003"/>
                    </a:lnTo>
                    <a:lnTo>
                      <a:pt x="12053" y="936"/>
                    </a:lnTo>
                    <a:lnTo>
                      <a:pt x="12122" y="936"/>
                    </a:lnTo>
                    <a:lnTo>
                      <a:pt x="12122" y="903"/>
                    </a:lnTo>
                    <a:lnTo>
                      <a:pt x="12191" y="903"/>
                    </a:lnTo>
                    <a:lnTo>
                      <a:pt x="12191" y="769"/>
                    </a:lnTo>
                    <a:lnTo>
                      <a:pt x="12225" y="769"/>
                    </a:lnTo>
                    <a:lnTo>
                      <a:pt x="12225" y="702"/>
                    </a:lnTo>
                    <a:lnTo>
                      <a:pt x="12294" y="702"/>
                    </a:lnTo>
                    <a:lnTo>
                      <a:pt x="12294" y="669"/>
                    </a:lnTo>
                    <a:lnTo>
                      <a:pt x="12362" y="669"/>
                    </a:lnTo>
                    <a:lnTo>
                      <a:pt x="12362" y="468"/>
                    </a:lnTo>
                    <a:lnTo>
                      <a:pt x="12431" y="468"/>
                    </a:lnTo>
                    <a:lnTo>
                      <a:pt x="12431" y="535"/>
                    </a:lnTo>
                    <a:lnTo>
                      <a:pt x="12466" y="535"/>
                    </a:lnTo>
                    <a:lnTo>
                      <a:pt x="12466" y="602"/>
                    </a:lnTo>
                    <a:lnTo>
                      <a:pt x="12534" y="602"/>
                    </a:lnTo>
                    <a:lnTo>
                      <a:pt x="12534" y="769"/>
                    </a:lnTo>
                    <a:lnTo>
                      <a:pt x="12603" y="769"/>
                    </a:lnTo>
                    <a:lnTo>
                      <a:pt x="12603" y="702"/>
                    </a:lnTo>
                    <a:lnTo>
                      <a:pt x="12672" y="702"/>
                    </a:lnTo>
                    <a:lnTo>
                      <a:pt x="12672" y="1170"/>
                    </a:lnTo>
                    <a:lnTo>
                      <a:pt x="12706" y="1304"/>
                    </a:lnTo>
                    <a:lnTo>
                      <a:pt x="12706" y="1371"/>
                    </a:lnTo>
                    <a:lnTo>
                      <a:pt x="12775" y="1404"/>
                    </a:lnTo>
                    <a:lnTo>
                      <a:pt x="12775" y="1538"/>
                    </a:lnTo>
                    <a:lnTo>
                      <a:pt x="12843" y="1605"/>
                    </a:lnTo>
                    <a:lnTo>
                      <a:pt x="12843" y="1705"/>
                    </a:lnTo>
                    <a:lnTo>
                      <a:pt x="12946" y="1705"/>
                    </a:lnTo>
                    <a:lnTo>
                      <a:pt x="12946" y="1638"/>
                    </a:lnTo>
                    <a:lnTo>
                      <a:pt x="13015" y="1638"/>
                    </a:lnTo>
                    <a:lnTo>
                      <a:pt x="13015" y="1705"/>
                    </a:lnTo>
                    <a:lnTo>
                      <a:pt x="13084" y="1772"/>
                    </a:lnTo>
                    <a:lnTo>
                      <a:pt x="13084" y="1806"/>
                    </a:lnTo>
                    <a:lnTo>
                      <a:pt x="13015" y="1806"/>
                    </a:lnTo>
                    <a:lnTo>
                      <a:pt x="13015" y="1872"/>
                    </a:lnTo>
                    <a:lnTo>
                      <a:pt x="13187" y="1872"/>
                    </a:lnTo>
                    <a:lnTo>
                      <a:pt x="13324" y="2006"/>
                    </a:lnTo>
                    <a:lnTo>
                      <a:pt x="13324" y="2107"/>
                    </a:lnTo>
                    <a:lnTo>
                      <a:pt x="13255" y="2107"/>
                    </a:lnTo>
                    <a:lnTo>
                      <a:pt x="13255" y="2274"/>
                    </a:lnTo>
                    <a:lnTo>
                      <a:pt x="13187" y="2274"/>
                    </a:lnTo>
                    <a:lnTo>
                      <a:pt x="12603" y="2876"/>
                    </a:lnTo>
                    <a:lnTo>
                      <a:pt x="12603" y="2942"/>
                    </a:lnTo>
                    <a:lnTo>
                      <a:pt x="12534" y="2942"/>
                    </a:lnTo>
                    <a:lnTo>
                      <a:pt x="12466" y="2976"/>
                    </a:lnTo>
                    <a:lnTo>
                      <a:pt x="12466" y="3043"/>
                    </a:lnTo>
                    <a:lnTo>
                      <a:pt x="12431" y="3110"/>
                    </a:lnTo>
                    <a:lnTo>
                      <a:pt x="12603" y="3110"/>
                    </a:lnTo>
                    <a:lnTo>
                      <a:pt x="12603" y="3210"/>
                    </a:lnTo>
                    <a:lnTo>
                      <a:pt x="12534" y="3277"/>
                    </a:lnTo>
                    <a:lnTo>
                      <a:pt x="12534" y="3344"/>
                    </a:lnTo>
                    <a:lnTo>
                      <a:pt x="12466" y="3411"/>
                    </a:lnTo>
                    <a:lnTo>
                      <a:pt x="12466" y="3444"/>
                    </a:lnTo>
                    <a:lnTo>
                      <a:pt x="12431" y="3444"/>
                    </a:lnTo>
                    <a:lnTo>
                      <a:pt x="12431" y="3511"/>
                    </a:lnTo>
                    <a:lnTo>
                      <a:pt x="12466" y="3511"/>
                    </a:lnTo>
                    <a:lnTo>
                      <a:pt x="12466" y="3444"/>
                    </a:lnTo>
                    <a:lnTo>
                      <a:pt x="12534" y="3444"/>
                    </a:lnTo>
                    <a:lnTo>
                      <a:pt x="12672" y="3344"/>
                    </a:lnTo>
                    <a:lnTo>
                      <a:pt x="12706" y="3344"/>
                    </a:lnTo>
                    <a:lnTo>
                      <a:pt x="12706" y="3411"/>
                    </a:lnTo>
                    <a:lnTo>
                      <a:pt x="12775" y="3411"/>
                    </a:lnTo>
                    <a:lnTo>
                      <a:pt x="12775" y="3210"/>
                    </a:lnTo>
                    <a:lnTo>
                      <a:pt x="12706" y="3210"/>
                    </a:lnTo>
                    <a:lnTo>
                      <a:pt x="12706" y="3277"/>
                    </a:lnTo>
                    <a:lnTo>
                      <a:pt x="12672" y="3277"/>
                    </a:lnTo>
                    <a:lnTo>
                      <a:pt x="12672" y="3176"/>
                    </a:lnTo>
                    <a:lnTo>
                      <a:pt x="12843" y="3176"/>
                    </a:lnTo>
                    <a:lnTo>
                      <a:pt x="12843" y="2976"/>
                    </a:lnTo>
                    <a:lnTo>
                      <a:pt x="12912" y="2976"/>
                    </a:lnTo>
                    <a:lnTo>
                      <a:pt x="12912" y="2942"/>
                    </a:lnTo>
                    <a:lnTo>
                      <a:pt x="13976" y="2942"/>
                    </a:lnTo>
                    <a:lnTo>
                      <a:pt x="14045" y="2976"/>
                    </a:lnTo>
                    <a:lnTo>
                      <a:pt x="14114" y="2976"/>
                    </a:lnTo>
                    <a:lnTo>
                      <a:pt x="14114" y="3110"/>
                    </a:lnTo>
                    <a:lnTo>
                      <a:pt x="14045" y="3176"/>
                    </a:lnTo>
                    <a:lnTo>
                      <a:pt x="14045" y="3277"/>
                    </a:lnTo>
                    <a:lnTo>
                      <a:pt x="13976" y="3344"/>
                    </a:lnTo>
                    <a:lnTo>
                      <a:pt x="13976" y="3444"/>
                    </a:lnTo>
                    <a:lnTo>
                      <a:pt x="13908" y="3511"/>
                    </a:lnTo>
                    <a:lnTo>
                      <a:pt x="13908" y="3578"/>
                    </a:lnTo>
                    <a:lnTo>
                      <a:pt x="13873" y="3578"/>
                    </a:lnTo>
                    <a:lnTo>
                      <a:pt x="13873" y="3645"/>
                    </a:lnTo>
                    <a:lnTo>
                      <a:pt x="13805" y="3645"/>
                    </a:lnTo>
                    <a:lnTo>
                      <a:pt x="13805" y="3678"/>
                    </a:lnTo>
                    <a:lnTo>
                      <a:pt x="13564" y="3678"/>
                    </a:lnTo>
                    <a:lnTo>
                      <a:pt x="13496" y="3645"/>
                    </a:lnTo>
                    <a:lnTo>
                      <a:pt x="13496" y="3745"/>
                    </a:lnTo>
                    <a:lnTo>
                      <a:pt x="13324" y="3745"/>
                    </a:lnTo>
                    <a:lnTo>
                      <a:pt x="13324" y="3812"/>
                    </a:lnTo>
                    <a:lnTo>
                      <a:pt x="13255" y="3812"/>
                    </a:lnTo>
                    <a:lnTo>
                      <a:pt x="13187" y="3745"/>
                    </a:lnTo>
                    <a:lnTo>
                      <a:pt x="13152" y="3745"/>
                    </a:lnTo>
                    <a:lnTo>
                      <a:pt x="13152" y="3812"/>
                    </a:lnTo>
                    <a:lnTo>
                      <a:pt x="13084" y="3812"/>
                    </a:lnTo>
                    <a:lnTo>
                      <a:pt x="13084" y="3879"/>
                    </a:lnTo>
                    <a:lnTo>
                      <a:pt x="13152" y="3879"/>
                    </a:lnTo>
                    <a:lnTo>
                      <a:pt x="13152" y="3812"/>
                    </a:lnTo>
                    <a:lnTo>
                      <a:pt x="13255" y="3812"/>
                    </a:lnTo>
                    <a:lnTo>
                      <a:pt x="13255" y="3879"/>
                    </a:lnTo>
                    <a:lnTo>
                      <a:pt x="13393" y="3879"/>
                    </a:lnTo>
                    <a:lnTo>
                      <a:pt x="13393" y="3812"/>
                    </a:lnTo>
                    <a:lnTo>
                      <a:pt x="13496" y="3812"/>
                    </a:lnTo>
                    <a:lnTo>
                      <a:pt x="13496" y="3745"/>
                    </a:lnTo>
                    <a:lnTo>
                      <a:pt x="13633" y="3745"/>
                    </a:lnTo>
                    <a:lnTo>
                      <a:pt x="13633" y="3812"/>
                    </a:lnTo>
                    <a:lnTo>
                      <a:pt x="13564" y="3879"/>
                    </a:lnTo>
                    <a:lnTo>
                      <a:pt x="13564" y="4046"/>
                    </a:lnTo>
                    <a:lnTo>
                      <a:pt x="13633" y="3912"/>
                    </a:lnTo>
                    <a:lnTo>
                      <a:pt x="13633" y="3879"/>
                    </a:lnTo>
                    <a:lnTo>
                      <a:pt x="13667" y="3879"/>
                    </a:lnTo>
                    <a:lnTo>
                      <a:pt x="13667" y="3812"/>
                    </a:lnTo>
                    <a:lnTo>
                      <a:pt x="13736" y="3812"/>
                    </a:lnTo>
                    <a:lnTo>
                      <a:pt x="13736" y="3745"/>
                    </a:lnTo>
                    <a:lnTo>
                      <a:pt x="13805" y="3745"/>
                    </a:lnTo>
                    <a:lnTo>
                      <a:pt x="13908" y="3645"/>
                    </a:lnTo>
                    <a:lnTo>
                      <a:pt x="13976" y="3645"/>
                    </a:lnTo>
                    <a:lnTo>
                      <a:pt x="14045" y="3678"/>
                    </a:lnTo>
                    <a:lnTo>
                      <a:pt x="14045" y="3511"/>
                    </a:lnTo>
                    <a:lnTo>
                      <a:pt x="14148" y="3511"/>
                    </a:lnTo>
                    <a:lnTo>
                      <a:pt x="14148" y="3344"/>
                    </a:lnTo>
                    <a:lnTo>
                      <a:pt x="14286" y="3210"/>
                    </a:lnTo>
                    <a:lnTo>
                      <a:pt x="14320" y="3210"/>
                    </a:lnTo>
                    <a:lnTo>
                      <a:pt x="14320" y="3176"/>
                    </a:lnTo>
                    <a:lnTo>
                      <a:pt x="14698" y="3176"/>
                    </a:lnTo>
                    <a:lnTo>
                      <a:pt x="14698" y="3210"/>
                    </a:lnTo>
                    <a:lnTo>
                      <a:pt x="14766" y="3210"/>
                    </a:lnTo>
                    <a:lnTo>
                      <a:pt x="14766" y="3277"/>
                    </a:lnTo>
                    <a:lnTo>
                      <a:pt x="14801" y="3277"/>
                    </a:lnTo>
                    <a:lnTo>
                      <a:pt x="14801" y="3210"/>
                    </a:lnTo>
                    <a:lnTo>
                      <a:pt x="14869" y="3210"/>
                    </a:lnTo>
                    <a:lnTo>
                      <a:pt x="14869" y="3277"/>
                    </a:lnTo>
                    <a:lnTo>
                      <a:pt x="15007" y="3277"/>
                    </a:lnTo>
                    <a:lnTo>
                      <a:pt x="15007" y="3344"/>
                    </a:lnTo>
                    <a:lnTo>
                      <a:pt x="15041" y="3344"/>
                    </a:lnTo>
                    <a:lnTo>
                      <a:pt x="15041" y="3411"/>
                    </a:lnTo>
                    <a:lnTo>
                      <a:pt x="15247" y="3411"/>
                    </a:lnTo>
                    <a:lnTo>
                      <a:pt x="15281" y="3344"/>
                    </a:lnTo>
                    <a:lnTo>
                      <a:pt x="15281" y="3411"/>
                    </a:lnTo>
                    <a:lnTo>
                      <a:pt x="15419" y="3411"/>
                    </a:lnTo>
                    <a:lnTo>
                      <a:pt x="15419" y="3444"/>
                    </a:lnTo>
                    <a:lnTo>
                      <a:pt x="15522" y="3444"/>
                    </a:lnTo>
                    <a:lnTo>
                      <a:pt x="15590" y="3511"/>
                    </a:lnTo>
                    <a:lnTo>
                      <a:pt x="15728" y="3511"/>
                    </a:lnTo>
                    <a:lnTo>
                      <a:pt x="15728" y="3578"/>
                    </a:lnTo>
                    <a:lnTo>
                      <a:pt x="15831" y="3578"/>
                    </a:lnTo>
                    <a:lnTo>
                      <a:pt x="15831" y="3678"/>
                    </a:lnTo>
                    <a:lnTo>
                      <a:pt x="15900" y="3645"/>
                    </a:lnTo>
                    <a:lnTo>
                      <a:pt x="15968" y="3645"/>
                    </a:lnTo>
                    <a:lnTo>
                      <a:pt x="15968" y="3578"/>
                    </a:lnTo>
                    <a:lnTo>
                      <a:pt x="16003" y="3578"/>
                    </a:lnTo>
                    <a:lnTo>
                      <a:pt x="16003" y="3678"/>
                    </a:lnTo>
                    <a:lnTo>
                      <a:pt x="16071" y="3678"/>
                    </a:lnTo>
                    <a:lnTo>
                      <a:pt x="16071" y="3745"/>
                    </a:lnTo>
                    <a:lnTo>
                      <a:pt x="16140" y="3745"/>
                    </a:lnTo>
                    <a:lnTo>
                      <a:pt x="16140" y="3812"/>
                    </a:lnTo>
                    <a:lnTo>
                      <a:pt x="16209" y="3745"/>
                    </a:lnTo>
                    <a:lnTo>
                      <a:pt x="16243" y="3812"/>
                    </a:lnTo>
                    <a:lnTo>
                      <a:pt x="16243" y="3879"/>
                    </a:lnTo>
                    <a:lnTo>
                      <a:pt x="16209" y="3879"/>
                    </a:lnTo>
                    <a:lnTo>
                      <a:pt x="16209" y="3912"/>
                    </a:lnTo>
                    <a:lnTo>
                      <a:pt x="16140" y="3979"/>
                    </a:lnTo>
                    <a:lnTo>
                      <a:pt x="16140" y="4046"/>
                    </a:lnTo>
                    <a:lnTo>
                      <a:pt x="16209" y="4046"/>
                    </a:lnTo>
                    <a:lnTo>
                      <a:pt x="16243" y="3979"/>
                    </a:lnTo>
                    <a:lnTo>
                      <a:pt x="16312" y="3979"/>
                    </a:lnTo>
                    <a:lnTo>
                      <a:pt x="16312" y="4046"/>
                    </a:lnTo>
                    <a:lnTo>
                      <a:pt x="16243" y="4113"/>
                    </a:lnTo>
                    <a:lnTo>
                      <a:pt x="16243" y="4146"/>
                    </a:lnTo>
                    <a:lnTo>
                      <a:pt x="16209" y="4213"/>
                    </a:lnTo>
                    <a:lnTo>
                      <a:pt x="16209" y="4380"/>
                    </a:lnTo>
                    <a:lnTo>
                      <a:pt x="16140" y="4447"/>
                    </a:lnTo>
                    <a:lnTo>
                      <a:pt x="16140" y="4581"/>
                    </a:lnTo>
                    <a:lnTo>
                      <a:pt x="16209" y="4514"/>
                    </a:lnTo>
                    <a:lnTo>
                      <a:pt x="16209" y="4447"/>
                    </a:lnTo>
                    <a:lnTo>
                      <a:pt x="16243" y="4447"/>
                    </a:lnTo>
                    <a:lnTo>
                      <a:pt x="16243" y="4380"/>
                    </a:lnTo>
                    <a:lnTo>
                      <a:pt x="16312" y="4380"/>
                    </a:lnTo>
                    <a:lnTo>
                      <a:pt x="16312" y="4280"/>
                    </a:lnTo>
                    <a:lnTo>
                      <a:pt x="16380" y="4146"/>
                    </a:lnTo>
                    <a:lnTo>
                      <a:pt x="16380" y="4113"/>
                    </a:lnTo>
                    <a:lnTo>
                      <a:pt x="16483" y="4113"/>
                    </a:lnTo>
                    <a:lnTo>
                      <a:pt x="16483" y="4146"/>
                    </a:lnTo>
                    <a:lnTo>
                      <a:pt x="16449" y="4213"/>
                    </a:lnTo>
                    <a:lnTo>
                      <a:pt x="16449" y="4280"/>
                    </a:lnTo>
                    <a:lnTo>
                      <a:pt x="16483" y="4280"/>
                    </a:lnTo>
                    <a:lnTo>
                      <a:pt x="16483" y="4213"/>
                    </a:lnTo>
                    <a:lnTo>
                      <a:pt x="16552" y="4213"/>
                    </a:lnTo>
                    <a:lnTo>
                      <a:pt x="16552" y="4146"/>
                    </a:lnTo>
                    <a:lnTo>
                      <a:pt x="16792" y="4146"/>
                    </a:lnTo>
                    <a:lnTo>
                      <a:pt x="16792" y="4113"/>
                    </a:lnTo>
                    <a:lnTo>
                      <a:pt x="16930" y="4113"/>
                    </a:lnTo>
                    <a:lnTo>
                      <a:pt x="16930" y="4146"/>
                    </a:lnTo>
                    <a:lnTo>
                      <a:pt x="17101" y="4146"/>
                    </a:lnTo>
                    <a:lnTo>
                      <a:pt x="17101" y="4213"/>
                    </a:lnTo>
                    <a:lnTo>
                      <a:pt x="17204" y="4213"/>
                    </a:lnTo>
                    <a:lnTo>
                      <a:pt x="17273" y="4280"/>
                    </a:lnTo>
                    <a:lnTo>
                      <a:pt x="17410" y="4280"/>
                    </a:lnTo>
                    <a:lnTo>
                      <a:pt x="17445" y="4347"/>
                    </a:lnTo>
                    <a:lnTo>
                      <a:pt x="17823" y="4347"/>
                    </a:lnTo>
                    <a:lnTo>
                      <a:pt x="17926" y="4380"/>
                    </a:lnTo>
                    <a:lnTo>
                      <a:pt x="18097" y="4380"/>
                    </a:lnTo>
                    <a:lnTo>
                      <a:pt x="18097" y="4347"/>
                    </a:lnTo>
                    <a:lnTo>
                      <a:pt x="18166" y="4347"/>
                    </a:lnTo>
                    <a:lnTo>
                      <a:pt x="18166" y="4380"/>
                    </a:lnTo>
                    <a:lnTo>
                      <a:pt x="18303" y="4380"/>
                    </a:lnTo>
                    <a:lnTo>
                      <a:pt x="18303" y="4347"/>
                    </a:lnTo>
                    <a:lnTo>
                      <a:pt x="18578" y="4347"/>
                    </a:lnTo>
                    <a:lnTo>
                      <a:pt x="18647" y="4380"/>
                    </a:lnTo>
                    <a:lnTo>
                      <a:pt x="18784" y="4380"/>
                    </a:lnTo>
                    <a:lnTo>
                      <a:pt x="18887" y="4514"/>
                    </a:lnTo>
                    <a:lnTo>
                      <a:pt x="19024" y="4514"/>
                    </a:lnTo>
                    <a:lnTo>
                      <a:pt x="19128" y="4614"/>
                    </a:lnTo>
                    <a:lnTo>
                      <a:pt x="19265" y="4614"/>
                    </a:lnTo>
                    <a:lnTo>
                      <a:pt x="19437" y="4815"/>
                    </a:lnTo>
                    <a:lnTo>
                      <a:pt x="19505" y="4815"/>
                    </a:lnTo>
                    <a:lnTo>
                      <a:pt x="19505" y="4848"/>
                    </a:lnTo>
                    <a:lnTo>
                      <a:pt x="19540" y="4848"/>
                    </a:lnTo>
                    <a:lnTo>
                      <a:pt x="19608" y="4915"/>
                    </a:lnTo>
                    <a:lnTo>
                      <a:pt x="19677" y="4915"/>
                    </a:lnTo>
                    <a:lnTo>
                      <a:pt x="19677" y="4982"/>
                    </a:lnTo>
                    <a:lnTo>
                      <a:pt x="19746" y="4982"/>
                    </a:lnTo>
                    <a:lnTo>
                      <a:pt x="19746" y="5015"/>
                    </a:lnTo>
                    <a:lnTo>
                      <a:pt x="19780" y="5015"/>
                    </a:lnTo>
                    <a:lnTo>
                      <a:pt x="20020" y="5250"/>
                    </a:lnTo>
                    <a:lnTo>
                      <a:pt x="20089" y="5250"/>
                    </a:lnTo>
                    <a:lnTo>
                      <a:pt x="20329" y="5484"/>
                    </a:lnTo>
                    <a:lnTo>
                      <a:pt x="20467" y="5484"/>
                    </a:lnTo>
                    <a:lnTo>
                      <a:pt x="20501" y="5550"/>
                    </a:lnTo>
                    <a:lnTo>
                      <a:pt x="21154" y="5550"/>
                    </a:lnTo>
                    <a:lnTo>
                      <a:pt x="21154" y="5617"/>
                    </a:lnTo>
                    <a:lnTo>
                      <a:pt x="21291" y="5617"/>
                    </a:lnTo>
                    <a:lnTo>
                      <a:pt x="21291" y="5718"/>
                    </a:lnTo>
                    <a:lnTo>
                      <a:pt x="21360" y="5718"/>
                    </a:lnTo>
                    <a:lnTo>
                      <a:pt x="21360" y="5918"/>
                    </a:lnTo>
                    <a:lnTo>
                      <a:pt x="21394" y="5952"/>
                    </a:lnTo>
                    <a:lnTo>
                      <a:pt x="21394" y="6152"/>
                    </a:lnTo>
                    <a:lnTo>
                      <a:pt x="21463" y="6152"/>
                    </a:lnTo>
                    <a:lnTo>
                      <a:pt x="21463" y="6186"/>
                    </a:lnTo>
                    <a:lnTo>
                      <a:pt x="21531" y="6320"/>
                    </a:lnTo>
                    <a:lnTo>
                      <a:pt x="21531" y="6420"/>
                    </a:lnTo>
                    <a:lnTo>
                      <a:pt x="21600" y="6554"/>
                    </a:lnTo>
                    <a:lnTo>
                      <a:pt x="21600" y="6854"/>
                    </a:lnTo>
                    <a:lnTo>
                      <a:pt x="21531" y="6854"/>
                    </a:lnTo>
                    <a:lnTo>
                      <a:pt x="21531" y="6955"/>
                    </a:lnTo>
                    <a:lnTo>
                      <a:pt x="21600" y="7022"/>
                    </a:lnTo>
                    <a:lnTo>
                      <a:pt x="21600" y="7122"/>
                    </a:lnTo>
                    <a:lnTo>
                      <a:pt x="21531" y="7189"/>
                    </a:lnTo>
                    <a:lnTo>
                      <a:pt x="21531" y="7323"/>
                    </a:lnTo>
                    <a:lnTo>
                      <a:pt x="21463" y="7356"/>
                    </a:lnTo>
                    <a:lnTo>
                      <a:pt x="21463" y="7490"/>
                    </a:lnTo>
                    <a:lnTo>
                      <a:pt x="21394" y="7590"/>
                    </a:lnTo>
                    <a:lnTo>
                      <a:pt x="21360" y="7657"/>
                    </a:lnTo>
                    <a:lnTo>
                      <a:pt x="21222" y="7824"/>
                    </a:lnTo>
                    <a:lnTo>
                      <a:pt x="21154" y="7958"/>
                    </a:lnTo>
                    <a:lnTo>
                      <a:pt x="21119" y="7958"/>
                    </a:lnTo>
                    <a:lnTo>
                      <a:pt x="21051" y="7991"/>
                    </a:lnTo>
                    <a:lnTo>
                      <a:pt x="20982" y="7991"/>
                    </a:lnTo>
                    <a:lnTo>
                      <a:pt x="20982" y="8192"/>
                    </a:lnTo>
                    <a:lnTo>
                      <a:pt x="20913" y="8192"/>
                    </a:lnTo>
                    <a:lnTo>
                      <a:pt x="20913" y="8225"/>
                    </a:lnTo>
                    <a:lnTo>
                      <a:pt x="20879" y="8225"/>
                    </a:lnTo>
                    <a:lnTo>
                      <a:pt x="20879" y="8292"/>
                    </a:lnTo>
                    <a:lnTo>
                      <a:pt x="20810" y="8292"/>
                    </a:lnTo>
                    <a:lnTo>
                      <a:pt x="20810" y="8359"/>
                    </a:lnTo>
                    <a:lnTo>
                      <a:pt x="20741" y="8426"/>
                    </a:lnTo>
                    <a:lnTo>
                      <a:pt x="20741" y="8459"/>
                    </a:lnTo>
                    <a:lnTo>
                      <a:pt x="20707" y="8459"/>
                    </a:lnTo>
                    <a:lnTo>
                      <a:pt x="20638" y="8526"/>
                    </a:lnTo>
                    <a:lnTo>
                      <a:pt x="20501" y="8526"/>
                    </a:lnTo>
                    <a:lnTo>
                      <a:pt x="20501" y="8593"/>
                    </a:lnTo>
                    <a:lnTo>
                      <a:pt x="20467" y="8660"/>
                    </a:lnTo>
                    <a:lnTo>
                      <a:pt x="20329" y="8660"/>
                    </a:lnTo>
                    <a:lnTo>
                      <a:pt x="20329" y="8760"/>
                    </a:lnTo>
                    <a:lnTo>
                      <a:pt x="20261" y="8694"/>
                    </a:lnTo>
                    <a:lnTo>
                      <a:pt x="20261" y="8894"/>
                    </a:lnTo>
                    <a:lnTo>
                      <a:pt x="20158" y="8894"/>
                    </a:lnTo>
                    <a:lnTo>
                      <a:pt x="20158" y="9061"/>
                    </a:lnTo>
                    <a:lnTo>
                      <a:pt x="20089" y="9162"/>
                    </a:lnTo>
                    <a:lnTo>
                      <a:pt x="20089" y="9228"/>
                    </a:lnTo>
                    <a:lnTo>
                      <a:pt x="20020" y="9228"/>
                    </a:lnTo>
                    <a:lnTo>
                      <a:pt x="20020" y="9295"/>
                    </a:lnTo>
                    <a:lnTo>
                      <a:pt x="19917" y="9396"/>
                    </a:lnTo>
                    <a:lnTo>
                      <a:pt x="19917" y="9529"/>
                    </a:lnTo>
                    <a:lnTo>
                      <a:pt x="19746" y="9697"/>
                    </a:lnTo>
                    <a:lnTo>
                      <a:pt x="19677" y="9830"/>
                    </a:lnTo>
                    <a:lnTo>
                      <a:pt x="19540" y="9830"/>
                    </a:lnTo>
                    <a:lnTo>
                      <a:pt x="19540" y="9697"/>
                    </a:lnTo>
                    <a:lnTo>
                      <a:pt x="19505" y="9630"/>
                    </a:lnTo>
                    <a:lnTo>
                      <a:pt x="19437" y="9630"/>
                    </a:lnTo>
                    <a:lnTo>
                      <a:pt x="19368" y="9697"/>
                    </a:lnTo>
                    <a:lnTo>
                      <a:pt x="19368" y="9763"/>
                    </a:lnTo>
                    <a:lnTo>
                      <a:pt x="19437" y="9763"/>
                    </a:lnTo>
                    <a:lnTo>
                      <a:pt x="19437" y="9830"/>
                    </a:lnTo>
                    <a:lnTo>
                      <a:pt x="19368" y="9830"/>
                    </a:lnTo>
                    <a:lnTo>
                      <a:pt x="19368" y="9931"/>
                    </a:lnTo>
                    <a:lnTo>
                      <a:pt x="19265" y="10064"/>
                    </a:lnTo>
                    <a:lnTo>
                      <a:pt x="19265" y="10098"/>
                    </a:lnTo>
                    <a:lnTo>
                      <a:pt x="19299" y="10098"/>
                    </a:lnTo>
                    <a:lnTo>
                      <a:pt x="19299" y="10165"/>
                    </a:lnTo>
                    <a:lnTo>
                      <a:pt x="19265" y="10232"/>
                    </a:lnTo>
                    <a:lnTo>
                      <a:pt x="19196" y="10232"/>
                    </a:lnTo>
                    <a:lnTo>
                      <a:pt x="19196" y="10298"/>
                    </a:lnTo>
                    <a:lnTo>
                      <a:pt x="19299" y="10298"/>
                    </a:lnTo>
                    <a:lnTo>
                      <a:pt x="19299" y="11636"/>
                    </a:lnTo>
                    <a:lnTo>
                      <a:pt x="19265" y="11736"/>
                    </a:lnTo>
                    <a:lnTo>
                      <a:pt x="19265" y="11870"/>
                    </a:lnTo>
                    <a:lnTo>
                      <a:pt x="19196" y="11870"/>
                    </a:lnTo>
                    <a:lnTo>
                      <a:pt x="19196" y="12438"/>
                    </a:lnTo>
                    <a:lnTo>
                      <a:pt x="19128" y="12572"/>
                    </a:lnTo>
                    <a:lnTo>
                      <a:pt x="19059" y="12606"/>
                    </a:lnTo>
                    <a:lnTo>
                      <a:pt x="19024" y="12606"/>
                    </a:lnTo>
                    <a:lnTo>
                      <a:pt x="19024" y="12672"/>
                    </a:lnTo>
                    <a:lnTo>
                      <a:pt x="18956" y="12672"/>
                    </a:lnTo>
                    <a:lnTo>
                      <a:pt x="18956" y="12739"/>
                    </a:lnTo>
                    <a:lnTo>
                      <a:pt x="18887" y="12806"/>
                    </a:lnTo>
                    <a:lnTo>
                      <a:pt x="18887" y="13375"/>
                    </a:lnTo>
                    <a:lnTo>
                      <a:pt x="18818" y="13508"/>
                    </a:lnTo>
                    <a:lnTo>
                      <a:pt x="18784" y="13542"/>
                    </a:lnTo>
                    <a:lnTo>
                      <a:pt x="18784" y="13609"/>
                    </a:lnTo>
                    <a:lnTo>
                      <a:pt x="18715" y="13609"/>
                    </a:lnTo>
                    <a:lnTo>
                      <a:pt x="18715" y="13676"/>
                    </a:lnTo>
                    <a:lnTo>
                      <a:pt x="18647" y="13676"/>
                    </a:lnTo>
                    <a:lnTo>
                      <a:pt x="18647" y="13843"/>
                    </a:lnTo>
                    <a:lnTo>
                      <a:pt x="18544" y="13843"/>
                    </a:lnTo>
                    <a:lnTo>
                      <a:pt x="18544" y="14010"/>
                    </a:lnTo>
                    <a:lnTo>
                      <a:pt x="18475" y="14010"/>
                    </a:lnTo>
                    <a:lnTo>
                      <a:pt x="18475" y="14077"/>
                    </a:lnTo>
                    <a:lnTo>
                      <a:pt x="18406" y="14077"/>
                    </a:lnTo>
                    <a:lnTo>
                      <a:pt x="18406" y="14144"/>
                    </a:lnTo>
                    <a:lnTo>
                      <a:pt x="18338" y="14144"/>
                    </a:lnTo>
                    <a:lnTo>
                      <a:pt x="18338" y="14211"/>
                    </a:lnTo>
                    <a:lnTo>
                      <a:pt x="18235" y="14311"/>
                    </a:lnTo>
                    <a:lnTo>
                      <a:pt x="18235" y="14411"/>
                    </a:lnTo>
                    <a:lnTo>
                      <a:pt x="18166" y="14411"/>
                    </a:lnTo>
                    <a:lnTo>
                      <a:pt x="18166" y="14846"/>
                    </a:lnTo>
                    <a:lnTo>
                      <a:pt x="18097" y="14846"/>
                    </a:lnTo>
                    <a:lnTo>
                      <a:pt x="18063" y="14879"/>
                    </a:lnTo>
                    <a:lnTo>
                      <a:pt x="17994" y="14879"/>
                    </a:lnTo>
                    <a:lnTo>
                      <a:pt x="17994" y="14946"/>
                    </a:lnTo>
                    <a:lnTo>
                      <a:pt x="17857" y="14946"/>
                    </a:lnTo>
                    <a:lnTo>
                      <a:pt x="17857" y="15013"/>
                    </a:lnTo>
                    <a:lnTo>
                      <a:pt x="17754" y="15013"/>
                    </a:lnTo>
                    <a:lnTo>
                      <a:pt x="17617" y="15113"/>
                    </a:lnTo>
                    <a:lnTo>
                      <a:pt x="17617" y="15247"/>
                    </a:lnTo>
                    <a:lnTo>
                      <a:pt x="17685" y="15247"/>
                    </a:lnTo>
                    <a:lnTo>
                      <a:pt x="17685" y="15314"/>
                    </a:lnTo>
                    <a:lnTo>
                      <a:pt x="17617" y="15314"/>
                    </a:lnTo>
                    <a:lnTo>
                      <a:pt x="17617" y="15347"/>
                    </a:lnTo>
                    <a:lnTo>
                      <a:pt x="17170" y="15347"/>
                    </a:lnTo>
                    <a:lnTo>
                      <a:pt x="17101" y="15314"/>
                    </a:lnTo>
                    <a:lnTo>
                      <a:pt x="17033" y="15314"/>
                    </a:lnTo>
                    <a:lnTo>
                      <a:pt x="17033" y="15180"/>
                    </a:lnTo>
                    <a:lnTo>
                      <a:pt x="16964" y="15180"/>
                    </a:lnTo>
                    <a:lnTo>
                      <a:pt x="16964" y="15347"/>
                    </a:lnTo>
                    <a:lnTo>
                      <a:pt x="16792" y="15347"/>
                    </a:lnTo>
                    <a:lnTo>
                      <a:pt x="16724" y="15314"/>
                    </a:lnTo>
                    <a:lnTo>
                      <a:pt x="16621" y="15314"/>
                    </a:lnTo>
                    <a:lnTo>
                      <a:pt x="16552" y="15347"/>
                    </a:lnTo>
                    <a:lnTo>
                      <a:pt x="16483" y="15347"/>
                    </a:lnTo>
                    <a:lnTo>
                      <a:pt x="16483" y="15414"/>
                    </a:lnTo>
                    <a:lnTo>
                      <a:pt x="16449" y="15414"/>
                    </a:lnTo>
                    <a:lnTo>
                      <a:pt x="16449" y="15347"/>
                    </a:lnTo>
                    <a:lnTo>
                      <a:pt x="16209" y="15347"/>
                    </a:lnTo>
                    <a:lnTo>
                      <a:pt x="16209" y="15481"/>
                    </a:lnTo>
                    <a:lnTo>
                      <a:pt x="16243" y="15481"/>
                    </a:lnTo>
                    <a:lnTo>
                      <a:pt x="16243" y="15548"/>
                    </a:lnTo>
                    <a:lnTo>
                      <a:pt x="16209" y="15548"/>
                    </a:lnTo>
                    <a:lnTo>
                      <a:pt x="16071" y="15648"/>
                    </a:lnTo>
                    <a:lnTo>
                      <a:pt x="15968" y="15648"/>
                    </a:lnTo>
                    <a:lnTo>
                      <a:pt x="15900" y="15715"/>
                    </a:lnTo>
                    <a:lnTo>
                      <a:pt x="15831" y="15715"/>
                    </a:lnTo>
                    <a:lnTo>
                      <a:pt x="15762" y="15782"/>
                    </a:lnTo>
                    <a:lnTo>
                      <a:pt x="15831" y="15782"/>
                    </a:lnTo>
                    <a:lnTo>
                      <a:pt x="15831" y="15882"/>
                    </a:lnTo>
                    <a:lnTo>
                      <a:pt x="15762" y="15882"/>
                    </a:lnTo>
                    <a:lnTo>
                      <a:pt x="15659" y="15815"/>
                    </a:lnTo>
                    <a:lnTo>
                      <a:pt x="15419" y="15815"/>
                    </a:lnTo>
                    <a:lnTo>
                      <a:pt x="15281" y="15882"/>
                    </a:lnTo>
                    <a:lnTo>
                      <a:pt x="15247" y="15882"/>
                    </a:lnTo>
                    <a:lnTo>
                      <a:pt x="15247" y="16016"/>
                    </a:lnTo>
                    <a:lnTo>
                      <a:pt x="15110" y="16016"/>
                    </a:lnTo>
                    <a:lnTo>
                      <a:pt x="15110" y="16050"/>
                    </a:lnTo>
                    <a:lnTo>
                      <a:pt x="15041" y="16050"/>
                    </a:lnTo>
                    <a:lnTo>
                      <a:pt x="15007" y="16116"/>
                    </a:lnTo>
                    <a:lnTo>
                      <a:pt x="14938" y="16116"/>
                    </a:lnTo>
                    <a:lnTo>
                      <a:pt x="14801" y="16183"/>
                    </a:lnTo>
                    <a:lnTo>
                      <a:pt x="14766" y="16250"/>
                    </a:lnTo>
                    <a:lnTo>
                      <a:pt x="14526" y="16350"/>
                    </a:lnTo>
                    <a:lnTo>
                      <a:pt x="14320" y="16518"/>
                    </a:lnTo>
                    <a:lnTo>
                      <a:pt x="14389" y="16518"/>
                    </a:lnTo>
                    <a:lnTo>
                      <a:pt x="14389" y="16585"/>
                    </a:lnTo>
                    <a:lnTo>
                      <a:pt x="14320" y="16585"/>
                    </a:lnTo>
                    <a:lnTo>
                      <a:pt x="14320" y="16651"/>
                    </a:lnTo>
                    <a:lnTo>
                      <a:pt x="14286" y="16651"/>
                    </a:lnTo>
                    <a:lnTo>
                      <a:pt x="14286" y="16718"/>
                    </a:lnTo>
                    <a:lnTo>
                      <a:pt x="14114" y="16718"/>
                    </a:lnTo>
                    <a:lnTo>
                      <a:pt x="14114" y="16651"/>
                    </a:lnTo>
                    <a:lnTo>
                      <a:pt x="14045" y="16718"/>
                    </a:lnTo>
                    <a:lnTo>
                      <a:pt x="14045" y="16752"/>
                    </a:lnTo>
                    <a:lnTo>
                      <a:pt x="13976" y="16752"/>
                    </a:lnTo>
                    <a:lnTo>
                      <a:pt x="14045" y="16819"/>
                    </a:lnTo>
                    <a:lnTo>
                      <a:pt x="14114" y="16819"/>
                    </a:lnTo>
                    <a:lnTo>
                      <a:pt x="14114" y="16885"/>
                    </a:lnTo>
                    <a:lnTo>
                      <a:pt x="14045" y="16885"/>
                    </a:lnTo>
                    <a:lnTo>
                      <a:pt x="14045" y="16952"/>
                    </a:lnTo>
                    <a:lnTo>
                      <a:pt x="13976" y="16952"/>
                    </a:lnTo>
                    <a:lnTo>
                      <a:pt x="13976" y="17186"/>
                    </a:lnTo>
                    <a:lnTo>
                      <a:pt x="13908" y="17186"/>
                    </a:lnTo>
                    <a:lnTo>
                      <a:pt x="13908" y="17220"/>
                    </a:lnTo>
                    <a:lnTo>
                      <a:pt x="13976" y="17220"/>
                    </a:lnTo>
                    <a:lnTo>
                      <a:pt x="13976" y="17186"/>
                    </a:lnTo>
                    <a:lnTo>
                      <a:pt x="14045" y="17186"/>
                    </a:lnTo>
                    <a:lnTo>
                      <a:pt x="14045" y="17354"/>
                    </a:lnTo>
                    <a:lnTo>
                      <a:pt x="13976" y="17354"/>
                    </a:lnTo>
                    <a:lnTo>
                      <a:pt x="13976" y="17688"/>
                    </a:lnTo>
                    <a:lnTo>
                      <a:pt x="14045" y="17755"/>
                    </a:lnTo>
                    <a:lnTo>
                      <a:pt x="13976" y="17822"/>
                    </a:lnTo>
                    <a:lnTo>
                      <a:pt x="13976" y="18323"/>
                    </a:lnTo>
                    <a:lnTo>
                      <a:pt x="13908" y="18390"/>
                    </a:lnTo>
                    <a:lnTo>
                      <a:pt x="13908" y="18557"/>
                    </a:lnTo>
                    <a:lnTo>
                      <a:pt x="13873" y="18624"/>
                    </a:lnTo>
                    <a:lnTo>
                      <a:pt x="13805" y="18624"/>
                    </a:lnTo>
                    <a:lnTo>
                      <a:pt x="13805" y="18691"/>
                    </a:lnTo>
                    <a:lnTo>
                      <a:pt x="13736" y="18758"/>
                    </a:lnTo>
                    <a:lnTo>
                      <a:pt x="13667" y="18758"/>
                    </a:lnTo>
                    <a:lnTo>
                      <a:pt x="13324" y="19092"/>
                    </a:lnTo>
                    <a:lnTo>
                      <a:pt x="13255" y="19226"/>
                    </a:lnTo>
                    <a:lnTo>
                      <a:pt x="13255" y="19259"/>
                    </a:lnTo>
                    <a:lnTo>
                      <a:pt x="13187" y="19326"/>
                    </a:lnTo>
                    <a:lnTo>
                      <a:pt x="13187" y="19460"/>
                    </a:lnTo>
                    <a:lnTo>
                      <a:pt x="13152" y="19494"/>
                    </a:lnTo>
                    <a:lnTo>
                      <a:pt x="13152" y="19560"/>
                    </a:lnTo>
                    <a:lnTo>
                      <a:pt x="13084" y="19627"/>
                    </a:lnTo>
                    <a:lnTo>
                      <a:pt x="13084" y="19694"/>
                    </a:lnTo>
                    <a:lnTo>
                      <a:pt x="13015" y="19694"/>
                    </a:lnTo>
                    <a:lnTo>
                      <a:pt x="13015" y="19794"/>
                    </a:lnTo>
                    <a:lnTo>
                      <a:pt x="12912" y="19928"/>
                    </a:lnTo>
                    <a:lnTo>
                      <a:pt x="12843" y="20028"/>
                    </a:lnTo>
                    <a:lnTo>
                      <a:pt x="12775" y="20095"/>
                    </a:lnTo>
                    <a:lnTo>
                      <a:pt x="12706" y="20095"/>
                    </a:lnTo>
                    <a:lnTo>
                      <a:pt x="12706" y="20196"/>
                    </a:lnTo>
                    <a:lnTo>
                      <a:pt x="12672" y="20196"/>
                    </a:lnTo>
                    <a:lnTo>
                      <a:pt x="12672" y="20263"/>
                    </a:lnTo>
                    <a:lnTo>
                      <a:pt x="12603" y="20263"/>
                    </a:lnTo>
                    <a:lnTo>
                      <a:pt x="12603" y="20329"/>
                    </a:lnTo>
                    <a:lnTo>
                      <a:pt x="12534" y="20329"/>
                    </a:lnTo>
                    <a:lnTo>
                      <a:pt x="12466" y="20396"/>
                    </a:lnTo>
                    <a:lnTo>
                      <a:pt x="12431" y="20396"/>
                    </a:lnTo>
                    <a:lnTo>
                      <a:pt x="12431" y="20329"/>
                    </a:lnTo>
                    <a:lnTo>
                      <a:pt x="12466" y="20329"/>
                    </a:lnTo>
                    <a:lnTo>
                      <a:pt x="12466" y="20263"/>
                    </a:lnTo>
                    <a:lnTo>
                      <a:pt x="12534" y="20263"/>
                    </a:lnTo>
                    <a:lnTo>
                      <a:pt x="12534" y="20095"/>
                    </a:lnTo>
                    <a:lnTo>
                      <a:pt x="12603" y="20028"/>
                    </a:lnTo>
                    <a:lnTo>
                      <a:pt x="12706" y="20028"/>
                    </a:lnTo>
                    <a:lnTo>
                      <a:pt x="12706" y="19928"/>
                    </a:lnTo>
                    <a:lnTo>
                      <a:pt x="12775" y="19928"/>
                    </a:lnTo>
                    <a:lnTo>
                      <a:pt x="12775" y="19861"/>
                    </a:lnTo>
                    <a:lnTo>
                      <a:pt x="12843" y="19861"/>
                    </a:lnTo>
                    <a:lnTo>
                      <a:pt x="12843" y="19627"/>
                    </a:lnTo>
                    <a:lnTo>
                      <a:pt x="12912" y="19627"/>
                    </a:lnTo>
                    <a:lnTo>
                      <a:pt x="12912" y="19560"/>
                    </a:lnTo>
                    <a:lnTo>
                      <a:pt x="12603" y="19560"/>
                    </a:lnTo>
                    <a:lnTo>
                      <a:pt x="12603" y="19627"/>
                    </a:lnTo>
                    <a:lnTo>
                      <a:pt x="12534" y="19627"/>
                    </a:lnTo>
                    <a:lnTo>
                      <a:pt x="12534" y="19794"/>
                    </a:lnTo>
                    <a:lnTo>
                      <a:pt x="12466" y="19794"/>
                    </a:lnTo>
                    <a:lnTo>
                      <a:pt x="12466" y="19928"/>
                    </a:lnTo>
                    <a:lnTo>
                      <a:pt x="12431" y="19962"/>
                    </a:lnTo>
                    <a:lnTo>
                      <a:pt x="12431" y="20028"/>
                    </a:lnTo>
                    <a:lnTo>
                      <a:pt x="12362" y="20095"/>
                    </a:lnTo>
                    <a:lnTo>
                      <a:pt x="12294" y="20095"/>
                    </a:lnTo>
                    <a:lnTo>
                      <a:pt x="12225" y="20162"/>
                    </a:lnTo>
                    <a:lnTo>
                      <a:pt x="12191" y="20162"/>
                    </a:lnTo>
                    <a:lnTo>
                      <a:pt x="12191" y="20329"/>
                    </a:lnTo>
                    <a:lnTo>
                      <a:pt x="12122" y="20396"/>
                    </a:lnTo>
                    <a:lnTo>
                      <a:pt x="12053" y="20396"/>
                    </a:lnTo>
                    <a:lnTo>
                      <a:pt x="11985" y="20430"/>
                    </a:lnTo>
                    <a:lnTo>
                      <a:pt x="11985" y="20497"/>
                    </a:lnTo>
                    <a:lnTo>
                      <a:pt x="12053" y="20497"/>
                    </a:lnTo>
                    <a:lnTo>
                      <a:pt x="12053" y="20597"/>
                    </a:lnTo>
                    <a:lnTo>
                      <a:pt x="12122" y="20597"/>
                    </a:lnTo>
                    <a:lnTo>
                      <a:pt x="12122" y="20563"/>
                    </a:lnTo>
                    <a:lnTo>
                      <a:pt x="12053" y="20497"/>
                    </a:lnTo>
                    <a:lnTo>
                      <a:pt x="12225" y="20497"/>
                    </a:lnTo>
                    <a:lnTo>
                      <a:pt x="12294" y="20430"/>
                    </a:lnTo>
                    <a:lnTo>
                      <a:pt x="12362" y="20430"/>
                    </a:lnTo>
                    <a:lnTo>
                      <a:pt x="12362" y="20396"/>
                    </a:lnTo>
                    <a:lnTo>
                      <a:pt x="12431" y="20396"/>
                    </a:lnTo>
                    <a:lnTo>
                      <a:pt x="11985" y="20798"/>
                    </a:lnTo>
                    <a:lnTo>
                      <a:pt x="11985" y="20831"/>
                    </a:lnTo>
                    <a:lnTo>
                      <a:pt x="11950" y="20831"/>
                    </a:lnTo>
                    <a:lnTo>
                      <a:pt x="11950" y="20898"/>
                    </a:lnTo>
                    <a:lnTo>
                      <a:pt x="11882" y="20965"/>
                    </a:lnTo>
                    <a:lnTo>
                      <a:pt x="11882" y="21032"/>
                    </a:lnTo>
                    <a:lnTo>
                      <a:pt x="11813" y="21065"/>
                    </a:lnTo>
                    <a:lnTo>
                      <a:pt x="11813" y="21199"/>
                    </a:lnTo>
                    <a:lnTo>
                      <a:pt x="11573" y="21433"/>
                    </a:lnTo>
                    <a:lnTo>
                      <a:pt x="11573" y="21500"/>
                    </a:lnTo>
                    <a:lnTo>
                      <a:pt x="11504" y="21500"/>
                    </a:lnTo>
                    <a:lnTo>
                      <a:pt x="11504" y="21533"/>
                    </a:lnTo>
                    <a:lnTo>
                      <a:pt x="11401" y="21533"/>
                    </a:lnTo>
                    <a:lnTo>
                      <a:pt x="11401" y="21600"/>
                    </a:lnTo>
                    <a:lnTo>
                      <a:pt x="11332" y="21600"/>
                    </a:lnTo>
                    <a:lnTo>
                      <a:pt x="11332" y="21533"/>
                    </a:lnTo>
                    <a:lnTo>
                      <a:pt x="11264" y="21533"/>
                    </a:lnTo>
                    <a:lnTo>
                      <a:pt x="11264" y="21199"/>
                    </a:lnTo>
                    <a:lnTo>
                      <a:pt x="11332" y="21199"/>
                    </a:lnTo>
                    <a:lnTo>
                      <a:pt x="11332" y="21132"/>
                    </a:lnTo>
                    <a:lnTo>
                      <a:pt x="11401" y="21132"/>
                    </a:lnTo>
                    <a:lnTo>
                      <a:pt x="11401" y="21032"/>
                    </a:lnTo>
                    <a:lnTo>
                      <a:pt x="11470" y="21032"/>
                    </a:lnTo>
                    <a:lnTo>
                      <a:pt x="11470" y="20965"/>
                    </a:lnTo>
                    <a:lnTo>
                      <a:pt x="11401" y="20898"/>
                    </a:lnTo>
                    <a:lnTo>
                      <a:pt x="11332" y="20898"/>
                    </a:lnTo>
                    <a:lnTo>
                      <a:pt x="11332" y="20831"/>
                    </a:lnTo>
                    <a:lnTo>
                      <a:pt x="11264" y="20831"/>
                    </a:lnTo>
                    <a:lnTo>
                      <a:pt x="11264" y="20798"/>
                    </a:lnTo>
                    <a:lnTo>
                      <a:pt x="11229" y="20798"/>
                    </a:lnTo>
                    <a:lnTo>
                      <a:pt x="11229" y="20731"/>
                    </a:lnTo>
                    <a:lnTo>
                      <a:pt x="11161" y="20731"/>
                    </a:lnTo>
                    <a:lnTo>
                      <a:pt x="11161" y="20664"/>
                    </a:lnTo>
                    <a:lnTo>
                      <a:pt x="11092" y="20664"/>
                    </a:lnTo>
                    <a:lnTo>
                      <a:pt x="11092" y="20563"/>
                    </a:lnTo>
                    <a:lnTo>
                      <a:pt x="11023" y="20563"/>
                    </a:lnTo>
                    <a:lnTo>
                      <a:pt x="11023" y="20497"/>
                    </a:lnTo>
                    <a:lnTo>
                      <a:pt x="10920" y="20497"/>
                    </a:lnTo>
                    <a:lnTo>
                      <a:pt x="10920" y="20430"/>
                    </a:lnTo>
                    <a:lnTo>
                      <a:pt x="10852" y="20430"/>
                    </a:lnTo>
                    <a:lnTo>
                      <a:pt x="10817" y="20396"/>
                    </a:lnTo>
                    <a:lnTo>
                      <a:pt x="10748" y="20396"/>
                    </a:lnTo>
                    <a:lnTo>
                      <a:pt x="10748" y="20329"/>
                    </a:lnTo>
                    <a:lnTo>
                      <a:pt x="10680" y="20329"/>
                    </a:lnTo>
                    <a:lnTo>
                      <a:pt x="10680" y="20196"/>
                    </a:lnTo>
                    <a:lnTo>
                      <a:pt x="10508" y="20196"/>
                    </a:lnTo>
                    <a:lnTo>
                      <a:pt x="10439" y="20162"/>
                    </a:lnTo>
                    <a:lnTo>
                      <a:pt x="10371" y="20162"/>
                    </a:lnTo>
                    <a:lnTo>
                      <a:pt x="10371" y="20095"/>
                    </a:lnTo>
                    <a:lnTo>
                      <a:pt x="10336" y="20095"/>
                    </a:lnTo>
                    <a:lnTo>
                      <a:pt x="10336" y="20028"/>
                    </a:lnTo>
                    <a:lnTo>
                      <a:pt x="10268" y="20028"/>
                    </a:lnTo>
                    <a:lnTo>
                      <a:pt x="10268" y="19962"/>
                    </a:lnTo>
                    <a:lnTo>
                      <a:pt x="10199" y="19962"/>
                    </a:lnTo>
                    <a:lnTo>
                      <a:pt x="10199" y="19861"/>
                    </a:lnTo>
                    <a:lnTo>
                      <a:pt x="10130" y="19861"/>
                    </a:lnTo>
                    <a:lnTo>
                      <a:pt x="10130" y="19962"/>
                    </a:lnTo>
                    <a:lnTo>
                      <a:pt x="10027" y="19962"/>
                    </a:lnTo>
                    <a:lnTo>
                      <a:pt x="9959" y="20028"/>
                    </a:lnTo>
                    <a:lnTo>
                      <a:pt x="9890" y="20028"/>
                    </a:lnTo>
                    <a:lnTo>
                      <a:pt x="9890" y="19794"/>
                    </a:lnTo>
                    <a:lnTo>
                      <a:pt x="9856" y="19794"/>
                    </a:lnTo>
                    <a:lnTo>
                      <a:pt x="9856" y="19728"/>
                    </a:lnTo>
                    <a:lnTo>
                      <a:pt x="9787" y="19728"/>
                    </a:lnTo>
                    <a:lnTo>
                      <a:pt x="9787" y="19694"/>
                    </a:lnTo>
                    <a:lnTo>
                      <a:pt x="9718" y="19694"/>
                    </a:lnTo>
                    <a:lnTo>
                      <a:pt x="9718" y="19627"/>
                    </a:lnTo>
                    <a:lnTo>
                      <a:pt x="9650" y="19627"/>
                    </a:lnTo>
                    <a:lnTo>
                      <a:pt x="9547" y="19494"/>
                    </a:lnTo>
                    <a:lnTo>
                      <a:pt x="9478" y="19494"/>
                    </a:lnTo>
                    <a:lnTo>
                      <a:pt x="9478" y="19460"/>
                    </a:lnTo>
                    <a:lnTo>
                      <a:pt x="9306" y="19460"/>
                    </a:lnTo>
                    <a:lnTo>
                      <a:pt x="9306" y="19560"/>
                    </a:lnTo>
                    <a:lnTo>
                      <a:pt x="9135" y="19560"/>
                    </a:lnTo>
                    <a:lnTo>
                      <a:pt x="9135" y="19494"/>
                    </a:lnTo>
                    <a:lnTo>
                      <a:pt x="9066" y="19494"/>
                    </a:lnTo>
                    <a:lnTo>
                      <a:pt x="9066" y="19460"/>
                    </a:lnTo>
                    <a:lnTo>
                      <a:pt x="9135" y="19460"/>
                    </a:lnTo>
                    <a:lnTo>
                      <a:pt x="9169" y="19393"/>
                    </a:lnTo>
                    <a:lnTo>
                      <a:pt x="9169" y="19326"/>
                    </a:lnTo>
                    <a:lnTo>
                      <a:pt x="9238" y="19326"/>
                    </a:lnTo>
                    <a:lnTo>
                      <a:pt x="9238" y="19259"/>
                    </a:lnTo>
                    <a:lnTo>
                      <a:pt x="9306" y="19259"/>
                    </a:lnTo>
                    <a:lnTo>
                      <a:pt x="9306" y="19226"/>
                    </a:lnTo>
                    <a:lnTo>
                      <a:pt x="9375" y="19226"/>
                    </a:lnTo>
                    <a:lnTo>
                      <a:pt x="9478" y="19092"/>
                    </a:lnTo>
                    <a:lnTo>
                      <a:pt x="9478" y="19025"/>
                    </a:lnTo>
                    <a:lnTo>
                      <a:pt x="9547" y="19025"/>
                    </a:lnTo>
                    <a:lnTo>
                      <a:pt x="9547" y="18992"/>
                    </a:lnTo>
                    <a:lnTo>
                      <a:pt x="9615" y="18992"/>
                    </a:lnTo>
                    <a:lnTo>
                      <a:pt x="9615" y="18925"/>
                    </a:lnTo>
                    <a:lnTo>
                      <a:pt x="9650" y="18858"/>
                    </a:lnTo>
                    <a:lnTo>
                      <a:pt x="9650" y="18791"/>
                    </a:lnTo>
                    <a:lnTo>
                      <a:pt x="9718" y="18791"/>
                    </a:lnTo>
                    <a:lnTo>
                      <a:pt x="9718" y="18758"/>
                    </a:lnTo>
                    <a:lnTo>
                      <a:pt x="9787" y="18758"/>
                    </a:lnTo>
                    <a:lnTo>
                      <a:pt x="9787" y="18691"/>
                    </a:lnTo>
                    <a:lnTo>
                      <a:pt x="9856" y="18691"/>
                    </a:lnTo>
                    <a:lnTo>
                      <a:pt x="9856" y="18624"/>
                    </a:lnTo>
                    <a:lnTo>
                      <a:pt x="9890" y="18624"/>
                    </a:lnTo>
                    <a:lnTo>
                      <a:pt x="9890" y="18557"/>
                    </a:lnTo>
                    <a:lnTo>
                      <a:pt x="9959" y="18557"/>
                    </a:lnTo>
                    <a:lnTo>
                      <a:pt x="9959" y="18524"/>
                    </a:lnTo>
                    <a:lnTo>
                      <a:pt x="10027" y="18524"/>
                    </a:lnTo>
                    <a:lnTo>
                      <a:pt x="10096" y="18457"/>
                    </a:lnTo>
                    <a:lnTo>
                      <a:pt x="10096" y="18323"/>
                    </a:lnTo>
                    <a:lnTo>
                      <a:pt x="10130" y="18323"/>
                    </a:lnTo>
                    <a:lnTo>
                      <a:pt x="10130" y="18290"/>
                    </a:lnTo>
                    <a:lnTo>
                      <a:pt x="10268" y="18290"/>
                    </a:lnTo>
                    <a:lnTo>
                      <a:pt x="10268" y="18223"/>
                    </a:lnTo>
                    <a:lnTo>
                      <a:pt x="10336" y="18223"/>
                    </a:lnTo>
                    <a:lnTo>
                      <a:pt x="10336" y="18156"/>
                    </a:lnTo>
                    <a:lnTo>
                      <a:pt x="10371" y="18156"/>
                    </a:lnTo>
                    <a:lnTo>
                      <a:pt x="10371" y="18089"/>
                    </a:lnTo>
                    <a:lnTo>
                      <a:pt x="10439" y="18089"/>
                    </a:lnTo>
                    <a:lnTo>
                      <a:pt x="10439" y="18056"/>
                    </a:lnTo>
                    <a:lnTo>
                      <a:pt x="10577" y="18056"/>
                    </a:lnTo>
                    <a:lnTo>
                      <a:pt x="10577" y="17922"/>
                    </a:lnTo>
                    <a:lnTo>
                      <a:pt x="10852" y="17922"/>
                    </a:lnTo>
                    <a:lnTo>
                      <a:pt x="10852" y="17855"/>
                    </a:lnTo>
                    <a:lnTo>
                      <a:pt x="10920" y="17855"/>
                    </a:lnTo>
                    <a:lnTo>
                      <a:pt x="10989" y="17822"/>
                    </a:lnTo>
                    <a:lnTo>
                      <a:pt x="11023" y="17822"/>
                    </a:lnTo>
                    <a:lnTo>
                      <a:pt x="11092" y="17755"/>
                    </a:lnTo>
                    <a:lnTo>
                      <a:pt x="11092" y="17688"/>
                    </a:lnTo>
                    <a:lnTo>
                      <a:pt x="11161" y="17688"/>
                    </a:lnTo>
                    <a:lnTo>
                      <a:pt x="11161" y="17588"/>
                    </a:lnTo>
                    <a:lnTo>
                      <a:pt x="11229" y="17521"/>
                    </a:lnTo>
                    <a:lnTo>
                      <a:pt x="11229" y="17186"/>
                    </a:lnTo>
                    <a:lnTo>
                      <a:pt x="11161" y="17120"/>
                    </a:lnTo>
                    <a:lnTo>
                      <a:pt x="11161" y="16986"/>
                    </a:lnTo>
                    <a:lnTo>
                      <a:pt x="11092" y="16986"/>
                    </a:lnTo>
                    <a:lnTo>
                      <a:pt x="11092" y="16885"/>
                    </a:lnTo>
                    <a:lnTo>
                      <a:pt x="11023" y="16819"/>
                    </a:lnTo>
                    <a:lnTo>
                      <a:pt x="10989" y="16819"/>
                    </a:lnTo>
                    <a:lnTo>
                      <a:pt x="10989" y="16885"/>
                    </a:lnTo>
                    <a:lnTo>
                      <a:pt x="10920" y="16819"/>
                    </a:lnTo>
                    <a:lnTo>
                      <a:pt x="10852" y="16819"/>
                    </a:lnTo>
                    <a:lnTo>
                      <a:pt x="10852" y="16885"/>
                    </a:lnTo>
                    <a:lnTo>
                      <a:pt x="10680" y="16885"/>
                    </a:lnTo>
                    <a:lnTo>
                      <a:pt x="10680" y="16819"/>
                    </a:lnTo>
                    <a:lnTo>
                      <a:pt x="10748" y="16819"/>
                    </a:lnTo>
                    <a:lnTo>
                      <a:pt x="10748" y="16651"/>
                    </a:lnTo>
                    <a:lnTo>
                      <a:pt x="10817" y="16651"/>
                    </a:lnTo>
                    <a:lnTo>
                      <a:pt x="10817" y="16484"/>
                    </a:lnTo>
                    <a:lnTo>
                      <a:pt x="10852" y="16417"/>
                    </a:lnTo>
                    <a:lnTo>
                      <a:pt x="10852" y="16016"/>
                    </a:lnTo>
                    <a:lnTo>
                      <a:pt x="10920" y="16016"/>
                    </a:lnTo>
                    <a:lnTo>
                      <a:pt x="10920" y="15949"/>
                    </a:lnTo>
                    <a:lnTo>
                      <a:pt x="10817" y="15949"/>
                    </a:lnTo>
                    <a:lnTo>
                      <a:pt x="10817" y="15882"/>
                    </a:lnTo>
                    <a:lnTo>
                      <a:pt x="10439" y="15882"/>
                    </a:lnTo>
                    <a:lnTo>
                      <a:pt x="10439" y="15949"/>
                    </a:lnTo>
                    <a:lnTo>
                      <a:pt x="10268" y="15949"/>
                    </a:lnTo>
                    <a:lnTo>
                      <a:pt x="10268" y="15815"/>
                    </a:lnTo>
                    <a:lnTo>
                      <a:pt x="10199" y="15715"/>
                    </a:lnTo>
                    <a:lnTo>
                      <a:pt x="10199" y="15481"/>
                    </a:lnTo>
                    <a:lnTo>
                      <a:pt x="10130" y="15481"/>
                    </a:lnTo>
                    <a:lnTo>
                      <a:pt x="10130" y="15414"/>
                    </a:lnTo>
                    <a:lnTo>
                      <a:pt x="10199" y="15347"/>
                    </a:lnTo>
                    <a:lnTo>
                      <a:pt x="10199" y="15314"/>
                    </a:lnTo>
                    <a:lnTo>
                      <a:pt x="10130" y="15314"/>
                    </a:lnTo>
                    <a:lnTo>
                      <a:pt x="10130" y="15113"/>
                    </a:lnTo>
                    <a:lnTo>
                      <a:pt x="10096" y="15113"/>
                    </a:lnTo>
                    <a:lnTo>
                      <a:pt x="10096" y="15013"/>
                    </a:lnTo>
                    <a:lnTo>
                      <a:pt x="9959" y="15013"/>
                    </a:lnTo>
                    <a:lnTo>
                      <a:pt x="9890" y="14946"/>
                    </a:lnTo>
                    <a:lnTo>
                      <a:pt x="9856" y="14946"/>
                    </a:lnTo>
                    <a:lnTo>
                      <a:pt x="9787" y="14879"/>
                    </a:lnTo>
                    <a:lnTo>
                      <a:pt x="9718" y="14879"/>
                    </a:lnTo>
                    <a:lnTo>
                      <a:pt x="9718" y="14846"/>
                    </a:lnTo>
                    <a:lnTo>
                      <a:pt x="9650" y="14846"/>
                    </a:lnTo>
                    <a:lnTo>
                      <a:pt x="9650" y="14879"/>
                    </a:lnTo>
                    <a:lnTo>
                      <a:pt x="9547" y="14879"/>
                    </a:lnTo>
                    <a:lnTo>
                      <a:pt x="9478" y="14946"/>
                    </a:lnTo>
                    <a:lnTo>
                      <a:pt x="9169" y="14946"/>
                    </a:lnTo>
                    <a:lnTo>
                      <a:pt x="9169" y="14879"/>
                    </a:lnTo>
                    <a:lnTo>
                      <a:pt x="8894" y="14879"/>
                    </a:lnTo>
                    <a:lnTo>
                      <a:pt x="8825" y="14846"/>
                    </a:lnTo>
                    <a:lnTo>
                      <a:pt x="8894" y="14846"/>
                    </a:lnTo>
                    <a:lnTo>
                      <a:pt x="8894" y="14311"/>
                    </a:lnTo>
                    <a:lnTo>
                      <a:pt x="8928" y="14311"/>
                    </a:lnTo>
                    <a:lnTo>
                      <a:pt x="8928" y="14211"/>
                    </a:lnTo>
                    <a:lnTo>
                      <a:pt x="8894" y="14211"/>
                    </a:lnTo>
                    <a:lnTo>
                      <a:pt x="8894" y="14010"/>
                    </a:lnTo>
                    <a:lnTo>
                      <a:pt x="8825" y="14010"/>
                    </a:lnTo>
                    <a:lnTo>
                      <a:pt x="8825" y="13910"/>
                    </a:lnTo>
                    <a:lnTo>
                      <a:pt x="8757" y="13843"/>
                    </a:lnTo>
                    <a:lnTo>
                      <a:pt x="8757" y="13776"/>
                    </a:lnTo>
                    <a:lnTo>
                      <a:pt x="8825" y="13776"/>
                    </a:lnTo>
                    <a:lnTo>
                      <a:pt x="8825" y="13742"/>
                    </a:lnTo>
                    <a:lnTo>
                      <a:pt x="8894" y="13742"/>
                    </a:lnTo>
                    <a:lnTo>
                      <a:pt x="8894" y="13609"/>
                    </a:lnTo>
                    <a:lnTo>
                      <a:pt x="8825" y="13609"/>
                    </a:lnTo>
                    <a:lnTo>
                      <a:pt x="8825" y="13375"/>
                    </a:lnTo>
                    <a:lnTo>
                      <a:pt x="8894" y="13308"/>
                    </a:lnTo>
                    <a:lnTo>
                      <a:pt x="8894" y="13274"/>
                    </a:lnTo>
                    <a:lnTo>
                      <a:pt x="8928" y="13207"/>
                    </a:lnTo>
                    <a:lnTo>
                      <a:pt x="8928" y="13141"/>
                    </a:lnTo>
                    <a:lnTo>
                      <a:pt x="8997" y="13074"/>
                    </a:lnTo>
                    <a:lnTo>
                      <a:pt x="8997" y="12973"/>
                    </a:lnTo>
                    <a:lnTo>
                      <a:pt x="9066" y="12907"/>
                    </a:lnTo>
                    <a:lnTo>
                      <a:pt x="9066" y="12739"/>
                    </a:lnTo>
                    <a:lnTo>
                      <a:pt x="9135" y="12739"/>
                    </a:lnTo>
                    <a:lnTo>
                      <a:pt x="9135" y="12672"/>
                    </a:lnTo>
                    <a:lnTo>
                      <a:pt x="9066" y="12672"/>
                    </a:lnTo>
                    <a:lnTo>
                      <a:pt x="9066" y="12572"/>
                    </a:lnTo>
                    <a:lnTo>
                      <a:pt x="8997" y="12572"/>
                    </a:lnTo>
                    <a:lnTo>
                      <a:pt x="8997" y="12372"/>
                    </a:lnTo>
                    <a:lnTo>
                      <a:pt x="8928" y="12372"/>
                    </a:lnTo>
                    <a:lnTo>
                      <a:pt x="8928" y="12338"/>
                    </a:lnTo>
                    <a:lnTo>
                      <a:pt x="8894" y="12271"/>
                    </a:lnTo>
                    <a:lnTo>
                      <a:pt x="8688" y="12271"/>
                    </a:lnTo>
                    <a:lnTo>
                      <a:pt x="8688" y="12204"/>
                    </a:lnTo>
                    <a:lnTo>
                      <a:pt x="8654" y="12204"/>
                    </a:lnTo>
                    <a:lnTo>
                      <a:pt x="8654" y="12104"/>
                    </a:lnTo>
                    <a:lnTo>
                      <a:pt x="8585" y="12104"/>
                    </a:lnTo>
                    <a:lnTo>
                      <a:pt x="8585" y="11736"/>
                    </a:lnTo>
                    <a:lnTo>
                      <a:pt x="8654" y="11736"/>
                    </a:lnTo>
                    <a:lnTo>
                      <a:pt x="8654" y="11636"/>
                    </a:lnTo>
                    <a:lnTo>
                      <a:pt x="7624" y="11636"/>
                    </a:lnTo>
                    <a:lnTo>
                      <a:pt x="7624" y="11268"/>
                    </a:lnTo>
                    <a:lnTo>
                      <a:pt x="7555" y="11168"/>
                    </a:lnTo>
                    <a:lnTo>
                      <a:pt x="7555" y="11101"/>
                    </a:lnTo>
                    <a:lnTo>
                      <a:pt x="7521" y="11101"/>
                    </a:lnTo>
                    <a:lnTo>
                      <a:pt x="7521" y="11034"/>
                    </a:lnTo>
                    <a:lnTo>
                      <a:pt x="7452" y="11034"/>
                    </a:lnTo>
                    <a:lnTo>
                      <a:pt x="7452" y="11001"/>
                    </a:lnTo>
                    <a:lnTo>
                      <a:pt x="7624" y="11001"/>
                    </a:lnTo>
                    <a:lnTo>
                      <a:pt x="7624" y="10800"/>
                    </a:lnTo>
                    <a:lnTo>
                      <a:pt x="7555" y="10800"/>
                    </a:lnTo>
                    <a:lnTo>
                      <a:pt x="7555" y="10633"/>
                    </a:lnTo>
                    <a:lnTo>
                      <a:pt x="7521" y="10633"/>
                    </a:lnTo>
                    <a:lnTo>
                      <a:pt x="7521" y="10332"/>
                    </a:lnTo>
                    <a:lnTo>
                      <a:pt x="7452" y="10298"/>
                    </a:lnTo>
                    <a:lnTo>
                      <a:pt x="7383" y="10298"/>
                    </a:lnTo>
                    <a:lnTo>
                      <a:pt x="7383" y="10232"/>
                    </a:lnTo>
                    <a:lnTo>
                      <a:pt x="7314" y="10232"/>
                    </a:lnTo>
                    <a:lnTo>
                      <a:pt x="7314" y="10165"/>
                    </a:lnTo>
                    <a:lnTo>
                      <a:pt x="7211" y="10165"/>
                    </a:lnTo>
                    <a:lnTo>
                      <a:pt x="7211" y="10098"/>
                    </a:lnTo>
                    <a:lnTo>
                      <a:pt x="7143" y="10098"/>
                    </a:lnTo>
                    <a:lnTo>
                      <a:pt x="7143" y="10064"/>
                    </a:lnTo>
                    <a:lnTo>
                      <a:pt x="6971" y="10064"/>
                    </a:lnTo>
                    <a:lnTo>
                      <a:pt x="6902" y="10098"/>
                    </a:lnTo>
                    <a:lnTo>
                      <a:pt x="6662" y="10098"/>
                    </a:lnTo>
                    <a:lnTo>
                      <a:pt x="6662" y="9998"/>
                    </a:lnTo>
                    <a:lnTo>
                      <a:pt x="6559" y="9998"/>
                    </a:lnTo>
                    <a:lnTo>
                      <a:pt x="6559" y="9864"/>
                    </a:lnTo>
                    <a:lnTo>
                      <a:pt x="6250" y="9864"/>
                    </a:lnTo>
                    <a:lnTo>
                      <a:pt x="6181" y="9830"/>
                    </a:lnTo>
                    <a:lnTo>
                      <a:pt x="6113" y="9830"/>
                    </a:lnTo>
                    <a:lnTo>
                      <a:pt x="6113" y="9763"/>
                    </a:lnTo>
                    <a:lnTo>
                      <a:pt x="6078" y="9763"/>
                    </a:lnTo>
                    <a:lnTo>
                      <a:pt x="6078" y="9630"/>
                    </a:lnTo>
                    <a:lnTo>
                      <a:pt x="5941" y="9630"/>
                    </a:lnTo>
                    <a:lnTo>
                      <a:pt x="5872" y="9596"/>
                    </a:lnTo>
                    <a:lnTo>
                      <a:pt x="5700" y="9596"/>
                    </a:lnTo>
                    <a:lnTo>
                      <a:pt x="5700" y="9529"/>
                    </a:lnTo>
                    <a:lnTo>
                      <a:pt x="5597" y="9529"/>
                    </a:lnTo>
                    <a:lnTo>
                      <a:pt x="5597" y="9596"/>
                    </a:lnTo>
                    <a:lnTo>
                      <a:pt x="5357" y="9596"/>
                    </a:lnTo>
                    <a:lnTo>
                      <a:pt x="5357" y="9529"/>
                    </a:lnTo>
                    <a:lnTo>
                      <a:pt x="5288" y="9529"/>
                    </a:lnTo>
                    <a:lnTo>
                      <a:pt x="5288" y="9463"/>
                    </a:lnTo>
                    <a:lnTo>
                      <a:pt x="5220" y="9463"/>
                    </a:lnTo>
                    <a:lnTo>
                      <a:pt x="5220" y="9396"/>
                    </a:lnTo>
                    <a:lnTo>
                      <a:pt x="5151" y="9396"/>
                    </a:lnTo>
                    <a:lnTo>
                      <a:pt x="4979" y="9228"/>
                    </a:lnTo>
                    <a:lnTo>
                      <a:pt x="4911" y="9228"/>
                    </a:lnTo>
                    <a:lnTo>
                      <a:pt x="4911" y="9162"/>
                    </a:lnTo>
                    <a:lnTo>
                      <a:pt x="4876" y="9128"/>
                    </a:lnTo>
                    <a:lnTo>
                      <a:pt x="4876" y="9061"/>
                    </a:lnTo>
                    <a:lnTo>
                      <a:pt x="4808" y="8994"/>
                    </a:lnTo>
                    <a:lnTo>
                      <a:pt x="4808" y="8928"/>
                    </a:lnTo>
                    <a:lnTo>
                      <a:pt x="4739" y="8928"/>
                    </a:lnTo>
                    <a:lnTo>
                      <a:pt x="4739" y="8827"/>
                    </a:lnTo>
                    <a:lnTo>
                      <a:pt x="4808" y="8760"/>
                    </a:lnTo>
                    <a:lnTo>
                      <a:pt x="4739" y="8694"/>
                    </a:lnTo>
                    <a:lnTo>
                      <a:pt x="4739" y="8359"/>
                    </a:lnTo>
                    <a:lnTo>
                      <a:pt x="4808" y="8225"/>
                    </a:lnTo>
                    <a:lnTo>
                      <a:pt x="4808" y="8125"/>
                    </a:lnTo>
                    <a:lnTo>
                      <a:pt x="4739" y="8058"/>
                    </a:lnTo>
                    <a:lnTo>
                      <a:pt x="4670" y="8058"/>
                    </a:lnTo>
                    <a:lnTo>
                      <a:pt x="4670" y="8125"/>
                    </a:lnTo>
                    <a:lnTo>
                      <a:pt x="4636" y="8125"/>
                    </a:lnTo>
                    <a:lnTo>
                      <a:pt x="4567" y="8058"/>
                    </a:lnTo>
                    <a:lnTo>
                      <a:pt x="4396" y="8058"/>
                    </a:lnTo>
                    <a:lnTo>
                      <a:pt x="4327" y="8125"/>
                    </a:lnTo>
                    <a:lnTo>
                      <a:pt x="4155" y="8125"/>
                    </a:lnTo>
                    <a:lnTo>
                      <a:pt x="4086" y="8192"/>
                    </a:lnTo>
                    <a:lnTo>
                      <a:pt x="4018" y="8192"/>
                    </a:lnTo>
                    <a:lnTo>
                      <a:pt x="3983" y="8225"/>
                    </a:lnTo>
                    <a:lnTo>
                      <a:pt x="3915" y="8225"/>
                    </a:lnTo>
                    <a:lnTo>
                      <a:pt x="3915" y="8292"/>
                    </a:lnTo>
                    <a:lnTo>
                      <a:pt x="3846" y="8292"/>
                    </a:lnTo>
                    <a:lnTo>
                      <a:pt x="3846" y="8359"/>
                    </a:lnTo>
                    <a:lnTo>
                      <a:pt x="3743" y="8359"/>
                    </a:lnTo>
                    <a:lnTo>
                      <a:pt x="3606" y="8459"/>
                    </a:lnTo>
                    <a:lnTo>
                      <a:pt x="3537" y="8459"/>
                    </a:lnTo>
                    <a:lnTo>
                      <a:pt x="3537" y="8526"/>
                    </a:lnTo>
                    <a:lnTo>
                      <a:pt x="3503" y="8526"/>
                    </a:lnTo>
                    <a:lnTo>
                      <a:pt x="3503" y="8593"/>
                    </a:lnTo>
                    <a:lnTo>
                      <a:pt x="3365" y="8593"/>
                    </a:lnTo>
                    <a:lnTo>
                      <a:pt x="3365" y="8660"/>
                    </a:lnTo>
                    <a:lnTo>
                      <a:pt x="3262" y="8660"/>
                    </a:lnTo>
                    <a:lnTo>
                      <a:pt x="3194" y="8694"/>
                    </a:lnTo>
                    <a:lnTo>
                      <a:pt x="3125" y="8694"/>
                    </a:lnTo>
                    <a:lnTo>
                      <a:pt x="3056" y="8760"/>
                    </a:lnTo>
                    <a:lnTo>
                      <a:pt x="2576" y="8760"/>
                    </a:lnTo>
                    <a:lnTo>
                      <a:pt x="2541" y="8694"/>
                    </a:lnTo>
                    <a:lnTo>
                      <a:pt x="2163" y="8694"/>
                    </a:lnTo>
                    <a:lnTo>
                      <a:pt x="2163" y="8760"/>
                    </a:lnTo>
                    <a:lnTo>
                      <a:pt x="1992" y="8760"/>
                    </a:lnTo>
                    <a:lnTo>
                      <a:pt x="1923" y="8694"/>
                    </a:lnTo>
                    <a:lnTo>
                      <a:pt x="1923" y="8760"/>
                    </a:lnTo>
                    <a:lnTo>
                      <a:pt x="1854" y="8760"/>
                    </a:lnTo>
                    <a:lnTo>
                      <a:pt x="1854" y="8125"/>
                    </a:lnTo>
                    <a:lnTo>
                      <a:pt x="1923" y="8125"/>
                    </a:lnTo>
                    <a:lnTo>
                      <a:pt x="1923" y="7991"/>
                    </a:lnTo>
                    <a:lnTo>
                      <a:pt x="1854" y="7991"/>
                    </a:lnTo>
                    <a:lnTo>
                      <a:pt x="1923" y="7958"/>
                    </a:lnTo>
                    <a:lnTo>
                      <a:pt x="1923" y="7891"/>
                    </a:lnTo>
                    <a:lnTo>
                      <a:pt x="1854" y="7891"/>
                    </a:lnTo>
                    <a:lnTo>
                      <a:pt x="1854" y="7958"/>
                    </a:lnTo>
                    <a:lnTo>
                      <a:pt x="1820" y="7958"/>
                    </a:lnTo>
                    <a:lnTo>
                      <a:pt x="1751" y="7991"/>
                    </a:lnTo>
                    <a:lnTo>
                      <a:pt x="1683" y="7991"/>
                    </a:lnTo>
                    <a:lnTo>
                      <a:pt x="1683" y="8125"/>
                    </a:lnTo>
                    <a:lnTo>
                      <a:pt x="1614" y="8125"/>
                    </a:lnTo>
                    <a:lnTo>
                      <a:pt x="1511" y="8192"/>
                    </a:lnTo>
                    <a:lnTo>
                      <a:pt x="1030" y="8192"/>
                    </a:lnTo>
                    <a:lnTo>
                      <a:pt x="1030" y="8058"/>
                    </a:lnTo>
                    <a:lnTo>
                      <a:pt x="962" y="8058"/>
                    </a:lnTo>
                    <a:lnTo>
                      <a:pt x="962" y="7958"/>
                    </a:lnTo>
                    <a:lnTo>
                      <a:pt x="927" y="7958"/>
                    </a:lnTo>
                    <a:lnTo>
                      <a:pt x="859" y="7891"/>
                    </a:lnTo>
                    <a:lnTo>
                      <a:pt x="446" y="7891"/>
                    </a:lnTo>
                    <a:lnTo>
                      <a:pt x="481" y="7824"/>
                    </a:lnTo>
                    <a:lnTo>
                      <a:pt x="549" y="7824"/>
                    </a:lnTo>
                    <a:lnTo>
                      <a:pt x="549" y="7724"/>
                    </a:lnTo>
                    <a:lnTo>
                      <a:pt x="618" y="7724"/>
                    </a:lnTo>
                    <a:lnTo>
                      <a:pt x="618" y="7657"/>
                    </a:lnTo>
                    <a:lnTo>
                      <a:pt x="549" y="7657"/>
                    </a:lnTo>
                    <a:lnTo>
                      <a:pt x="549" y="7590"/>
                    </a:lnTo>
                    <a:lnTo>
                      <a:pt x="481" y="7590"/>
                    </a:lnTo>
                    <a:lnTo>
                      <a:pt x="481" y="7490"/>
                    </a:lnTo>
                    <a:lnTo>
                      <a:pt x="378" y="7490"/>
                    </a:lnTo>
                    <a:lnTo>
                      <a:pt x="378" y="7356"/>
                    </a:lnTo>
                    <a:lnTo>
                      <a:pt x="309" y="7356"/>
                    </a:lnTo>
                    <a:lnTo>
                      <a:pt x="309" y="7323"/>
                    </a:lnTo>
                    <a:lnTo>
                      <a:pt x="240" y="7323"/>
                    </a:lnTo>
                    <a:lnTo>
                      <a:pt x="240" y="7122"/>
                    </a:lnTo>
                    <a:lnTo>
                      <a:pt x="206" y="7122"/>
                    </a:lnTo>
                    <a:lnTo>
                      <a:pt x="206" y="6955"/>
                    </a:lnTo>
                    <a:lnTo>
                      <a:pt x="137" y="6955"/>
                    </a:lnTo>
                    <a:lnTo>
                      <a:pt x="137" y="6888"/>
                    </a:lnTo>
                    <a:lnTo>
                      <a:pt x="0" y="6888"/>
                    </a:lnTo>
                    <a:lnTo>
                      <a:pt x="0" y="6854"/>
                    </a:lnTo>
                    <a:lnTo>
                      <a:pt x="137" y="6854"/>
                    </a:lnTo>
                    <a:lnTo>
                      <a:pt x="137" y="6788"/>
                    </a:lnTo>
                    <a:lnTo>
                      <a:pt x="206" y="6788"/>
                    </a:lnTo>
                    <a:lnTo>
                      <a:pt x="206" y="6654"/>
                    </a:lnTo>
                    <a:lnTo>
                      <a:pt x="137" y="6654"/>
                    </a:lnTo>
                    <a:lnTo>
                      <a:pt x="137" y="6554"/>
                    </a:lnTo>
                    <a:lnTo>
                      <a:pt x="206" y="6554"/>
                    </a:lnTo>
                    <a:lnTo>
                      <a:pt x="206" y="6487"/>
                    </a:lnTo>
                    <a:lnTo>
                      <a:pt x="240" y="6487"/>
                    </a:lnTo>
                    <a:lnTo>
                      <a:pt x="240" y="6420"/>
                    </a:lnTo>
                    <a:lnTo>
                      <a:pt x="309" y="6420"/>
                    </a:lnTo>
                    <a:lnTo>
                      <a:pt x="309" y="6386"/>
                    </a:lnTo>
                    <a:lnTo>
                      <a:pt x="446" y="6386"/>
                    </a:lnTo>
                    <a:lnTo>
                      <a:pt x="446" y="6320"/>
                    </a:lnTo>
                    <a:lnTo>
                      <a:pt x="481" y="6320"/>
                    </a:lnTo>
                    <a:lnTo>
                      <a:pt x="549" y="6253"/>
                    </a:lnTo>
                    <a:lnTo>
                      <a:pt x="481" y="6186"/>
                    </a:lnTo>
                    <a:lnTo>
                      <a:pt x="481" y="5952"/>
                    </a:lnTo>
                    <a:lnTo>
                      <a:pt x="549" y="5952"/>
                    </a:lnTo>
                    <a:lnTo>
                      <a:pt x="549" y="5918"/>
                    </a:lnTo>
                    <a:lnTo>
                      <a:pt x="618" y="5918"/>
                    </a:lnTo>
                    <a:lnTo>
                      <a:pt x="618" y="5617"/>
                    </a:lnTo>
                    <a:lnTo>
                      <a:pt x="687" y="5550"/>
                    </a:lnTo>
                    <a:lnTo>
                      <a:pt x="721" y="5550"/>
                    </a:lnTo>
                    <a:lnTo>
                      <a:pt x="721" y="5484"/>
                    </a:lnTo>
                    <a:lnTo>
                      <a:pt x="790" y="5484"/>
                    </a:lnTo>
                    <a:lnTo>
                      <a:pt x="790" y="5450"/>
                    </a:lnTo>
                    <a:lnTo>
                      <a:pt x="859" y="5450"/>
                    </a:lnTo>
                    <a:lnTo>
                      <a:pt x="927" y="5383"/>
                    </a:lnTo>
                    <a:lnTo>
                      <a:pt x="1030" y="5316"/>
                    </a:lnTo>
                    <a:lnTo>
                      <a:pt x="1099" y="5250"/>
                    </a:lnTo>
                    <a:lnTo>
                      <a:pt x="1202" y="5250"/>
                    </a:lnTo>
                    <a:lnTo>
                      <a:pt x="1339" y="5216"/>
                    </a:lnTo>
                    <a:lnTo>
                      <a:pt x="1614" y="5216"/>
                    </a:lnTo>
                    <a:lnTo>
                      <a:pt x="1614" y="5149"/>
                    </a:lnTo>
                    <a:lnTo>
                      <a:pt x="1751" y="5149"/>
                    </a:lnTo>
                    <a:lnTo>
                      <a:pt x="1751" y="5082"/>
                    </a:lnTo>
                    <a:lnTo>
                      <a:pt x="1820" y="5082"/>
                    </a:lnTo>
                    <a:lnTo>
                      <a:pt x="1820" y="5015"/>
                    </a:lnTo>
                    <a:lnTo>
                      <a:pt x="2060" y="5015"/>
                    </a:lnTo>
                    <a:lnTo>
                      <a:pt x="2060" y="5149"/>
                    </a:lnTo>
                    <a:lnTo>
                      <a:pt x="2232" y="5149"/>
                    </a:lnTo>
                    <a:lnTo>
                      <a:pt x="2232" y="5015"/>
                    </a:lnTo>
                    <a:lnTo>
                      <a:pt x="2301" y="5015"/>
                    </a:lnTo>
                    <a:lnTo>
                      <a:pt x="2301" y="4815"/>
                    </a:lnTo>
                    <a:lnTo>
                      <a:pt x="2335" y="4748"/>
                    </a:lnTo>
                    <a:lnTo>
                      <a:pt x="2335" y="4514"/>
                    </a:lnTo>
                    <a:lnTo>
                      <a:pt x="2404" y="4447"/>
                    </a:lnTo>
                    <a:lnTo>
                      <a:pt x="2404" y="4213"/>
                    </a:lnTo>
                    <a:lnTo>
                      <a:pt x="2472" y="4146"/>
                    </a:lnTo>
                    <a:lnTo>
                      <a:pt x="2472" y="3879"/>
                    </a:lnTo>
                    <a:lnTo>
                      <a:pt x="2541" y="3812"/>
                    </a:lnTo>
                    <a:lnTo>
                      <a:pt x="2541" y="3277"/>
                    </a:lnTo>
                    <a:lnTo>
                      <a:pt x="2472" y="3277"/>
                    </a:lnTo>
                    <a:lnTo>
                      <a:pt x="2472" y="3176"/>
                    </a:lnTo>
                    <a:lnTo>
                      <a:pt x="2404" y="3110"/>
                    </a:lnTo>
                    <a:lnTo>
                      <a:pt x="2404" y="3043"/>
                    </a:lnTo>
                    <a:lnTo>
                      <a:pt x="2335" y="3043"/>
                    </a:lnTo>
                    <a:lnTo>
                      <a:pt x="2301" y="2976"/>
                    </a:lnTo>
                    <a:lnTo>
                      <a:pt x="2232" y="2976"/>
                    </a:lnTo>
                    <a:lnTo>
                      <a:pt x="2232" y="2508"/>
                    </a:lnTo>
                    <a:lnTo>
                      <a:pt x="2301" y="2508"/>
                    </a:lnTo>
                    <a:lnTo>
                      <a:pt x="2301" y="2474"/>
                    </a:lnTo>
                    <a:lnTo>
                      <a:pt x="2472" y="2474"/>
                    </a:lnTo>
                    <a:lnTo>
                      <a:pt x="2472" y="2407"/>
                    </a:lnTo>
                    <a:lnTo>
                      <a:pt x="2541" y="2407"/>
                    </a:lnTo>
                    <a:lnTo>
                      <a:pt x="2541" y="2474"/>
                    </a:lnTo>
                    <a:lnTo>
                      <a:pt x="2644" y="2474"/>
                    </a:lnTo>
                    <a:lnTo>
                      <a:pt x="2644" y="2508"/>
                    </a:lnTo>
                    <a:lnTo>
                      <a:pt x="2713" y="2508"/>
                    </a:lnTo>
                    <a:lnTo>
                      <a:pt x="2713" y="2341"/>
                    </a:lnTo>
                    <a:lnTo>
                      <a:pt x="2644" y="2341"/>
                    </a:lnTo>
                    <a:lnTo>
                      <a:pt x="2644" y="2274"/>
                    </a:lnTo>
                    <a:lnTo>
                      <a:pt x="2576" y="2240"/>
                    </a:lnTo>
                    <a:lnTo>
                      <a:pt x="2541" y="2240"/>
                    </a:lnTo>
                    <a:lnTo>
                      <a:pt x="2541" y="2274"/>
                    </a:lnTo>
                    <a:lnTo>
                      <a:pt x="2472" y="2274"/>
                    </a:lnTo>
                    <a:lnTo>
                      <a:pt x="2472" y="2240"/>
                    </a:lnTo>
                    <a:lnTo>
                      <a:pt x="2301" y="2240"/>
                    </a:lnTo>
                    <a:lnTo>
                      <a:pt x="2335" y="2173"/>
                    </a:lnTo>
                    <a:lnTo>
                      <a:pt x="2335" y="1939"/>
                    </a:lnTo>
                    <a:lnTo>
                      <a:pt x="3194" y="1939"/>
                    </a:lnTo>
                    <a:lnTo>
                      <a:pt x="3262" y="1872"/>
                    </a:lnTo>
                    <a:lnTo>
                      <a:pt x="3194" y="1872"/>
                    </a:lnTo>
                    <a:lnTo>
                      <a:pt x="3194" y="1772"/>
                    </a:lnTo>
                    <a:lnTo>
                      <a:pt x="3262" y="1772"/>
                    </a:lnTo>
                    <a:lnTo>
                      <a:pt x="3262" y="1806"/>
                    </a:lnTo>
                    <a:lnTo>
                      <a:pt x="3297" y="1806"/>
                    </a:lnTo>
                    <a:lnTo>
                      <a:pt x="3297" y="1872"/>
                    </a:lnTo>
                    <a:lnTo>
                      <a:pt x="3434" y="1872"/>
                    </a:lnTo>
                    <a:lnTo>
                      <a:pt x="3503" y="1806"/>
                    </a:lnTo>
                    <a:lnTo>
                      <a:pt x="3503" y="1772"/>
                    </a:lnTo>
                    <a:lnTo>
                      <a:pt x="3606" y="1772"/>
                    </a:lnTo>
                    <a:lnTo>
                      <a:pt x="3606" y="1705"/>
                    </a:lnTo>
                    <a:lnTo>
                      <a:pt x="3674" y="1705"/>
                    </a:lnTo>
                    <a:lnTo>
                      <a:pt x="3743" y="1772"/>
                    </a:lnTo>
                    <a:lnTo>
                      <a:pt x="3743" y="1872"/>
                    </a:lnTo>
                    <a:lnTo>
                      <a:pt x="3777" y="1872"/>
                    </a:lnTo>
                    <a:lnTo>
                      <a:pt x="3777" y="1939"/>
                    </a:lnTo>
                    <a:lnTo>
                      <a:pt x="3846" y="2006"/>
                    </a:lnTo>
                    <a:lnTo>
                      <a:pt x="3846" y="2173"/>
                    </a:lnTo>
                    <a:lnTo>
                      <a:pt x="3983" y="2173"/>
                    </a:lnTo>
                    <a:lnTo>
                      <a:pt x="3983" y="2240"/>
                    </a:lnTo>
                    <a:lnTo>
                      <a:pt x="4018" y="2240"/>
                    </a:lnTo>
                    <a:lnTo>
                      <a:pt x="4018" y="2274"/>
                    </a:lnTo>
                    <a:lnTo>
                      <a:pt x="4086" y="2274"/>
                    </a:lnTo>
                    <a:lnTo>
                      <a:pt x="4086" y="2341"/>
                    </a:lnTo>
                    <a:lnTo>
                      <a:pt x="4155" y="2341"/>
                    </a:lnTo>
                    <a:lnTo>
                      <a:pt x="4224" y="2407"/>
                    </a:lnTo>
                    <a:lnTo>
                      <a:pt x="4258" y="2407"/>
                    </a:lnTo>
                    <a:lnTo>
                      <a:pt x="4258" y="2474"/>
                    </a:lnTo>
                    <a:lnTo>
                      <a:pt x="4396" y="2474"/>
                    </a:lnTo>
                    <a:lnTo>
                      <a:pt x="4396" y="2407"/>
                    </a:lnTo>
                    <a:lnTo>
                      <a:pt x="4499" y="2407"/>
                    </a:lnTo>
                    <a:lnTo>
                      <a:pt x="4499" y="2341"/>
                    </a:lnTo>
                    <a:lnTo>
                      <a:pt x="4636" y="2341"/>
                    </a:lnTo>
                    <a:lnTo>
                      <a:pt x="4636" y="2274"/>
                    </a:lnTo>
                    <a:lnTo>
                      <a:pt x="4670" y="2274"/>
                    </a:lnTo>
                    <a:lnTo>
                      <a:pt x="4670" y="2407"/>
                    </a:lnTo>
                    <a:lnTo>
                      <a:pt x="4636" y="2407"/>
                    </a:lnTo>
                    <a:lnTo>
                      <a:pt x="4636" y="2474"/>
                    </a:lnTo>
                    <a:lnTo>
                      <a:pt x="4670" y="2508"/>
                    </a:lnTo>
                    <a:lnTo>
                      <a:pt x="4739" y="2474"/>
                    </a:lnTo>
                    <a:lnTo>
                      <a:pt x="4739" y="2407"/>
                    </a:lnTo>
                    <a:lnTo>
                      <a:pt x="4808" y="2407"/>
                    </a:lnTo>
                    <a:lnTo>
                      <a:pt x="4808" y="2341"/>
                    </a:lnTo>
                    <a:lnTo>
                      <a:pt x="4876" y="2341"/>
                    </a:lnTo>
                    <a:lnTo>
                      <a:pt x="4876" y="2274"/>
                    </a:lnTo>
                    <a:lnTo>
                      <a:pt x="4911" y="2240"/>
                    </a:lnTo>
                    <a:lnTo>
                      <a:pt x="4979" y="2240"/>
                    </a:lnTo>
                    <a:lnTo>
                      <a:pt x="4979" y="2173"/>
                    </a:lnTo>
                    <a:lnTo>
                      <a:pt x="5151" y="2173"/>
                    </a:lnTo>
                    <a:lnTo>
                      <a:pt x="5151" y="2107"/>
                    </a:lnTo>
                    <a:lnTo>
                      <a:pt x="5288" y="2107"/>
                    </a:lnTo>
                    <a:lnTo>
                      <a:pt x="5288" y="2040"/>
                    </a:lnTo>
                    <a:lnTo>
                      <a:pt x="5357" y="2040"/>
                    </a:lnTo>
                    <a:lnTo>
                      <a:pt x="5357" y="2107"/>
                    </a:lnTo>
                    <a:lnTo>
                      <a:pt x="5391" y="2040"/>
                    </a:lnTo>
                    <a:lnTo>
                      <a:pt x="5391" y="2006"/>
                    </a:lnTo>
                    <a:lnTo>
                      <a:pt x="5460" y="2006"/>
                    </a:lnTo>
                    <a:lnTo>
                      <a:pt x="5460" y="1939"/>
                    </a:lnTo>
                    <a:lnTo>
                      <a:pt x="5529" y="1872"/>
                    </a:lnTo>
                    <a:lnTo>
                      <a:pt x="5529" y="1772"/>
                    </a:lnTo>
                    <a:lnTo>
                      <a:pt x="5632" y="1772"/>
                    </a:lnTo>
                    <a:lnTo>
                      <a:pt x="5700" y="1705"/>
                    </a:lnTo>
                    <a:lnTo>
                      <a:pt x="5769" y="1705"/>
                    </a:lnTo>
                    <a:lnTo>
                      <a:pt x="5769" y="1638"/>
                    </a:lnTo>
                    <a:lnTo>
                      <a:pt x="5872" y="1638"/>
                    </a:lnTo>
                    <a:lnTo>
                      <a:pt x="5872" y="1538"/>
                    </a:lnTo>
                    <a:lnTo>
                      <a:pt x="5597" y="1538"/>
                    </a:lnTo>
                    <a:lnTo>
                      <a:pt x="5597" y="1471"/>
                    </a:lnTo>
                    <a:lnTo>
                      <a:pt x="5529" y="1471"/>
                    </a:lnTo>
                    <a:lnTo>
                      <a:pt x="5529" y="1170"/>
                    </a:lnTo>
                    <a:lnTo>
                      <a:pt x="5460" y="1170"/>
                    </a:lnTo>
                    <a:lnTo>
                      <a:pt x="5460" y="1137"/>
                    </a:lnTo>
                    <a:lnTo>
                      <a:pt x="5391" y="1070"/>
                    </a:lnTo>
                    <a:lnTo>
                      <a:pt x="5391" y="903"/>
                    </a:lnTo>
                    <a:lnTo>
                      <a:pt x="5357" y="836"/>
                    </a:lnTo>
                    <a:lnTo>
                      <a:pt x="5357" y="769"/>
                    </a:lnTo>
                    <a:lnTo>
                      <a:pt x="5220" y="769"/>
                    </a:lnTo>
                    <a:lnTo>
                      <a:pt x="5220" y="702"/>
                    </a:lnTo>
                    <a:lnTo>
                      <a:pt x="5151" y="669"/>
                    </a:lnTo>
                    <a:lnTo>
                      <a:pt x="5151" y="602"/>
                    </a:lnTo>
                    <a:lnTo>
                      <a:pt x="5117" y="602"/>
                    </a:lnTo>
                    <a:lnTo>
                      <a:pt x="5117" y="535"/>
                    </a:lnTo>
                    <a:lnTo>
                      <a:pt x="5220" y="535"/>
                    </a:lnTo>
                    <a:lnTo>
                      <a:pt x="5220" y="602"/>
                    </a:lnTo>
                    <a:lnTo>
                      <a:pt x="5288" y="602"/>
                    </a:lnTo>
                    <a:lnTo>
                      <a:pt x="5357" y="669"/>
                    </a:lnTo>
                    <a:lnTo>
                      <a:pt x="5391" y="669"/>
                    </a:lnTo>
                    <a:lnTo>
                      <a:pt x="5391" y="702"/>
                    </a:lnTo>
                    <a:lnTo>
                      <a:pt x="5769" y="702"/>
                    </a:lnTo>
                    <a:lnTo>
                      <a:pt x="5769" y="769"/>
                    </a:lnTo>
                    <a:lnTo>
                      <a:pt x="5838" y="769"/>
                    </a:lnTo>
                    <a:lnTo>
                      <a:pt x="5838" y="702"/>
                    </a:lnTo>
                    <a:lnTo>
                      <a:pt x="5872" y="702"/>
                    </a:lnTo>
                    <a:lnTo>
                      <a:pt x="5941" y="769"/>
                    </a:lnTo>
                    <a:lnTo>
                      <a:pt x="6010" y="769"/>
                    </a:lnTo>
                    <a:lnTo>
                      <a:pt x="6010" y="836"/>
                    </a:lnTo>
                    <a:lnTo>
                      <a:pt x="6078" y="836"/>
                    </a:lnTo>
                    <a:lnTo>
                      <a:pt x="6078" y="903"/>
                    </a:lnTo>
                    <a:lnTo>
                      <a:pt x="6113" y="936"/>
                    </a:lnTo>
                    <a:lnTo>
                      <a:pt x="6181" y="903"/>
                    </a:lnTo>
                    <a:lnTo>
                      <a:pt x="6181" y="702"/>
                    </a:lnTo>
                    <a:lnTo>
                      <a:pt x="6250" y="669"/>
                    </a:lnTo>
                    <a:lnTo>
                      <a:pt x="6422" y="669"/>
                    </a:lnTo>
                    <a:lnTo>
                      <a:pt x="6490" y="602"/>
                    </a:lnTo>
                    <a:lnTo>
                      <a:pt x="6799" y="602"/>
                    </a:lnTo>
                    <a:lnTo>
                      <a:pt x="6902" y="535"/>
                    </a:lnTo>
                    <a:lnTo>
                      <a:pt x="6971" y="468"/>
                    </a:lnTo>
                    <a:lnTo>
                      <a:pt x="7074" y="435"/>
                    </a:lnTo>
                    <a:lnTo>
                      <a:pt x="7211" y="435"/>
                    </a:lnTo>
                    <a:lnTo>
                      <a:pt x="7211" y="368"/>
                    </a:lnTo>
                    <a:lnTo>
                      <a:pt x="7280" y="368"/>
                    </a:lnTo>
                    <a:lnTo>
                      <a:pt x="7280" y="301"/>
                    </a:lnTo>
                    <a:lnTo>
                      <a:pt x="7314" y="301"/>
                    </a:lnTo>
                    <a:lnTo>
                      <a:pt x="7314" y="234"/>
                    </a:lnTo>
                    <a:lnTo>
                      <a:pt x="7383" y="234"/>
                    </a:lnTo>
                    <a:lnTo>
                      <a:pt x="7383" y="134"/>
                    </a:lnTo>
                    <a:lnTo>
                      <a:pt x="7314" y="134"/>
                    </a:lnTo>
                    <a:lnTo>
                      <a:pt x="7314" y="0"/>
                    </a:lnTo>
                    <a:close/>
                    <a:moveTo>
                      <a:pt x="7314" y="0"/>
                    </a:moveTo>
                  </a:path>
                </a:pathLst>
              </a:custGeom>
              <a:solidFill>
                <a:srgbClr val="00BACF"/>
              </a:solidFill>
              <a:ln w="12700">
                <a:solidFill>
                  <a:srgbClr val="FFFFFF"/>
                </a:solidFill>
                <a:round/>
                <a:headEnd/>
                <a:tailEnd/>
              </a:ln>
            </p:spPr>
            <p:txBody>
              <a:bodyPr lIns="0" tIns="0" rIns="0" bIns="0"/>
              <a:lstStyle/>
              <a:p>
                <a:endParaRPr lang="es-ES"/>
              </a:p>
            </p:txBody>
          </p:sp>
          <p:sp>
            <p:nvSpPr>
              <p:cNvPr id="15430" name="Freeform 75"/>
              <p:cNvSpPr>
                <a:spLocks/>
              </p:cNvSpPr>
              <p:nvPr/>
            </p:nvSpPr>
            <p:spPr bwMode="auto">
              <a:xfrm>
                <a:off x="2423" y="4384"/>
                <a:ext cx="40" cy="14"/>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600"/>
                  <a:gd name="T40" fmla="*/ 0 h 21600"/>
                  <a:gd name="T41" fmla="*/ 21600 w 21600"/>
                  <a:gd name="T42" fmla="*/ 21600 h 2160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600" h="21600">
                    <a:moveTo>
                      <a:pt x="7714" y="0"/>
                    </a:moveTo>
                    <a:lnTo>
                      <a:pt x="21600" y="0"/>
                    </a:lnTo>
                    <a:lnTo>
                      <a:pt x="21600" y="4320"/>
                    </a:lnTo>
                    <a:lnTo>
                      <a:pt x="12343" y="4320"/>
                    </a:lnTo>
                    <a:lnTo>
                      <a:pt x="12343" y="12960"/>
                    </a:lnTo>
                    <a:lnTo>
                      <a:pt x="4629" y="12960"/>
                    </a:lnTo>
                    <a:lnTo>
                      <a:pt x="4629" y="21600"/>
                    </a:lnTo>
                    <a:lnTo>
                      <a:pt x="1543" y="21600"/>
                    </a:lnTo>
                    <a:lnTo>
                      <a:pt x="0" y="12960"/>
                    </a:lnTo>
                    <a:lnTo>
                      <a:pt x="0" y="4320"/>
                    </a:lnTo>
                    <a:lnTo>
                      <a:pt x="4629" y="4320"/>
                    </a:lnTo>
                    <a:lnTo>
                      <a:pt x="7714" y="0"/>
                    </a:lnTo>
                    <a:close/>
                    <a:moveTo>
                      <a:pt x="7714" y="0"/>
                    </a:moveTo>
                  </a:path>
                </a:pathLst>
              </a:custGeom>
              <a:solidFill>
                <a:srgbClr val="00BACF"/>
              </a:solidFill>
              <a:ln w="12700">
                <a:solidFill>
                  <a:srgbClr val="FFFFFF"/>
                </a:solidFill>
                <a:round/>
                <a:headEnd/>
                <a:tailEnd/>
              </a:ln>
            </p:spPr>
            <p:txBody>
              <a:bodyPr lIns="0" tIns="0" rIns="0" bIns="0"/>
              <a:lstStyle/>
              <a:p>
                <a:endParaRPr lang="es-ES"/>
              </a:p>
            </p:txBody>
          </p:sp>
          <p:sp>
            <p:nvSpPr>
              <p:cNvPr id="15431" name="AutoShape 76"/>
              <p:cNvSpPr>
                <a:spLocks/>
              </p:cNvSpPr>
              <p:nvPr/>
            </p:nvSpPr>
            <p:spPr bwMode="auto">
              <a:xfrm>
                <a:off x="2247" y="4263"/>
                <a:ext cx="156" cy="144"/>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1600"/>
                  <a:gd name="T151" fmla="*/ 0 h 21600"/>
                  <a:gd name="T152" fmla="*/ 21600 w 21600"/>
                  <a:gd name="T153" fmla="*/ 21600 h 2160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1600" h="21600">
                    <a:moveTo>
                      <a:pt x="0" y="4320"/>
                    </a:moveTo>
                    <a:lnTo>
                      <a:pt x="400" y="4320"/>
                    </a:lnTo>
                    <a:lnTo>
                      <a:pt x="1200" y="5184"/>
                    </a:lnTo>
                    <a:lnTo>
                      <a:pt x="2800" y="5184"/>
                    </a:lnTo>
                    <a:lnTo>
                      <a:pt x="2800" y="6480"/>
                    </a:lnTo>
                    <a:lnTo>
                      <a:pt x="3200" y="7344"/>
                    </a:lnTo>
                    <a:lnTo>
                      <a:pt x="4000" y="7344"/>
                    </a:lnTo>
                    <a:lnTo>
                      <a:pt x="4000" y="8208"/>
                    </a:lnTo>
                    <a:lnTo>
                      <a:pt x="4800" y="8208"/>
                    </a:lnTo>
                    <a:lnTo>
                      <a:pt x="4800" y="9072"/>
                    </a:lnTo>
                    <a:lnTo>
                      <a:pt x="5600" y="9072"/>
                    </a:lnTo>
                    <a:lnTo>
                      <a:pt x="5600" y="9504"/>
                    </a:lnTo>
                    <a:lnTo>
                      <a:pt x="6000" y="10368"/>
                    </a:lnTo>
                    <a:lnTo>
                      <a:pt x="6800" y="10368"/>
                    </a:lnTo>
                    <a:lnTo>
                      <a:pt x="6800" y="11232"/>
                    </a:lnTo>
                    <a:lnTo>
                      <a:pt x="7600" y="12096"/>
                    </a:lnTo>
                    <a:lnTo>
                      <a:pt x="8800" y="12528"/>
                    </a:lnTo>
                    <a:lnTo>
                      <a:pt x="9600" y="13392"/>
                    </a:lnTo>
                    <a:lnTo>
                      <a:pt x="11200" y="14256"/>
                    </a:lnTo>
                    <a:lnTo>
                      <a:pt x="12400" y="14256"/>
                    </a:lnTo>
                    <a:lnTo>
                      <a:pt x="12400" y="15120"/>
                    </a:lnTo>
                    <a:lnTo>
                      <a:pt x="13200" y="15120"/>
                    </a:lnTo>
                    <a:lnTo>
                      <a:pt x="14400" y="16416"/>
                    </a:lnTo>
                    <a:lnTo>
                      <a:pt x="16000" y="16416"/>
                    </a:lnTo>
                    <a:lnTo>
                      <a:pt x="16000" y="17280"/>
                    </a:lnTo>
                    <a:lnTo>
                      <a:pt x="21600" y="17280"/>
                    </a:lnTo>
                    <a:lnTo>
                      <a:pt x="21600" y="19440"/>
                    </a:lnTo>
                    <a:lnTo>
                      <a:pt x="20800" y="20304"/>
                    </a:lnTo>
                    <a:lnTo>
                      <a:pt x="17200" y="20304"/>
                    </a:lnTo>
                    <a:lnTo>
                      <a:pt x="16400" y="21168"/>
                    </a:lnTo>
                    <a:lnTo>
                      <a:pt x="14000" y="21168"/>
                    </a:lnTo>
                    <a:lnTo>
                      <a:pt x="13200" y="21600"/>
                    </a:lnTo>
                    <a:lnTo>
                      <a:pt x="12400" y="21600"/>
                    </a:lnTo>
                    <a:lnTo>
                      <a:pt x="11600" y="21168"/>
                    </a:lnTo>
                    <a:lnTo>
                      <a:pt x="10400" y="21168"/>
                    </a:lnTo>
                    <a:lnTo>
                      <a:pt x="10400" y="20304"/>
                    </a:lnTo>
                    <a:lnTo>
                      <a:pt x="8400" y="20304"/>
                    </a:lnTo>
                    <a:lnTo>
                      <a:pt x="7600" y="19440"/>
                    </a:lnTo>
                    <a:lnTo>
                      <a:pt x="0" y="19440"/>
                    </a:lnTo>
                    <a:lnTo>
                      <a:pt x="0" y="4320"/>
                    </a:lnTo>
                    <a:close/>
                    <a:moveTo>
                      <a:pt x="0" y="0"/>
                    </a:moveTo>
                    <a:lnTo>
                      <a:pt x="400" y="0"/>
                    </a:lnTo>
                    <a:lnTo>
                      <a:pt x="400" y="432"/>
                    </a:lnTo>
                    <a:lnTo>
                      <a:pt x="1200" y="1296"/>
                    </a:lnTo>
                    <a:lnTo>
                      <a:pt x="1200" y="2160"/>
                    </a:lnTo>
                    <a:lnTo>
                      <a:pt x="400" y="2160"/>
                    </a:lnTo>
                    <a:lnTo>
                      <a:pt x="400" y="3024"/>
                    </a:lnTo>
                    <a:lnTo>
                      <a:pt x="0" y="3456"/>
                    </a:lnTo>
                    <a:lnTo>
                      <a:pt x="0" y="0"/>
                    </a:lnTo>
                    <a:close/>
                    <a:moveTo>
                      <a:pt x="0" y="0"/>
                    </a:moveTo>
                  </a:path>
                </a:pathLst>
              </a:custGeom>
              <a:solidFill>
                <a:srgbClr val="00BACF"/>
              </a:solidFill>
              <a:ln w="12700">
                <a:solidFill>
                  <a:srgbClr val="FFFFFF"/>
                </a:solidFill>
                <a:round/>
                <a:headEnd/>
                <a:tailEnd/>
              </a:ln>
            </p:spPr>
            <p:txBody>
              <a:bodyPr lIns="0" tIns="0" rIns="0" bIns="0"/>
              <a:lstStyle/>
              <a:p>
                <a:endParaRPr lang="es-ES"/>
              </a:p>
            </p:txBody>
          </p:sp>
          <p:sp>
            <p:nvSpPr>
              <p:cNvPr id="15432" name="AutoShape 77"/>
              <p:cNvSpPr>
                <a:spLocks/>
              </p:cNvSpPr>
              <p:nvPr/>
            </p:nvSpPr>
            <p:spPr bwMode="auto">
              <a:xfrm>
                <a:off x="2013" y="2585"/>
                <a:ext cx="925" cy="165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w 21600"/>
                  <a:gd name="T117" fmla="*/ 0 h 21600"/>
                  <a:gd name="T118" fmla="*/ 0 w 21600"/>
                  <a:gd name="T119" fmla="*/ 0 h 21600"/>
                  <a:gd name="T120" fmla="*/ 0 w 21600"/>
                  <a:gd name="T121" fmla="*/ 0 h 21600"/>
                  <a:gd name="T122" fmla="*/ 0 w 21600"/>
                  <a:gd name="T123" fmla="*/ 0 h 216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1600"/>
                  <a:gd name="T187" fmla="*/ 0 h 21600"/>
                  <a:gd name="T188" fmla="*/ 21600 w 21600"/>
                  <a:gd name="T189" fmla="*/ 21600 h 2160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1600" h="21600">
                    <a:moveTo>
                      <a:pt x="5468" y="21525"/>
                    </a:moveTo>
                    <a:lnTo>
                      <a:pt x="5535" y="21525"/>
                    </a:lnTo>
                    <a:lnTo>
                      <a:pt x="5535" y="21600"/>
                    </a:lnTo>
                    <a:lnTo>
                      <a:pt x="5468" y="21525"/>
                    </a:lnTo>
                    <a:close/>
                    <a:moveTo>
                      <a:pt x="8032" y="0"/>
                    </a:moveTo>
                    <a:lnTo>
                      <a:pt x="8235" y="151"/>
                    </a:lnTo>
                    <a:lnTo>
                      <a:pt x="8370" y="151"/>
                    </a:lnTo>
                    <a:lnTo>
                      <a:pt x="8370" y="226"/>
                    </a:lnTo>
                    <a:lnTo>
                      <a:pt x="8505" y="226"/>
                    </a:lnTo>
                    <a:lnTo>
                      <a:pt x="8505" y="264"/>
                    </a:lnTo>
                    <a:lnTo>
                      <a:pt x="9113" y="264"/>
                    </a:lnTo>
                    <a:lnTo>
                      <a:pt x="9113" y="226"/>
                    </a:lnTo>
                    <a:lnTo>
                      <a:pt x="9180" y="226"/>
                    </a:lnTo>
                    <a:lnTo>
                      <a:pt x="9180" y="264"/>
                    </a:lnTo>
                    <a:lnTo>
                      <a:pt x="9653" y="264"/>
                    </a:lnTo>
                    <a:lnTo>
                      <a:pt x="9653" y="339"/>
                    </a:lnTo>
                    <a:lnTo>
                      <a:pt x="9787" y="339"/>
                    </a:lnTo>
                    <a:lnTo>
                      <a:pt x="9787" y="490"/>
                    </a:lnTo>
                    <a:lnTo>
                      <a:pt x="9922" y="603"/>
                    </a:lnTo>
                    <a:lnTo>
                      <a:pt x="10058" y="679"/>
                    </a:lnTo>
                    <a:lnTo>
                      <a:pt x="10058" y="754"/>
                    </a:lnTo>
                    <a:lnTo>
                      <a:pt x="10125" y="754"/>
                    </a:lnTo>
                    <a:lnTo>
                      <a:pt x="10125" y="490"/>
                    </a:lnTo>
                    <a:lnTo>
                      <a:pt x="10260" y="415"/>
                    </a:lnTo>
                    <a:lnTo>
                      <a:pt x="10260" y="339"/>
                    </a:lnTo>
                    <a:lnTo>
                      <a:pt x="10395" y="264"/>
                    </a:lnTo>
                    <a:lnTo>
                      <a:pt x="10395" y="226"/>
                    </a:lnTo>
                    <a:lnTo>
                      <a:pt x="11070" y="226"/>
                    </a:lnTo>
                    <a:lnTo>
                      <a:pt x="11205" y="151"/>
                    </a:lnTo>
                    <a:lnTo>
                      <a:pt x="11678" y="151"/>
                    </a:lnTo>
                    <a:lnTo>
                      <a:pt x="11678" y="226"/>
                    </a:lnTo>
                    <a:lnTo>
                      <a:pt x="11812" y="264"/>
                    </a:lnTo>
                    <a:lnTo>
                      <a:pt x="11947" y="264"/>
                    </a:lnTo>
                    <a:lnTo>
                      <a:pt x="11947" y="339"/>
                    </a:lnTo>
                    <a:lnTo>
                      <a:pt x="12150" y="490"/>
                    </a:lnTo>
                    <a:lnTo>
                      <a:pt x="12285" y="490"/>
                    </a:lnTo>
                    <a:lnTo>
                      <a:pt x="12285" y="603"/>
                    </a:lnTo>
                    <a:lnTo>
                      <a:pt x="12420" y="603"/>
                    </a:lnTo>
                    <a:lnTo>
                      <a:pt x="12420" y="679"/>
                    </a:lnTo>
                    <a:lnTo>
                      <a:pt x="12487" y="679"/>
                    </a:lnTo>
                    <a:lnTo>
                      <a:pt x="12487" y="754"/>
                    </a:lnTo>
                    <a:lnTo>
                      <a:pt x="12622" y="792"/>
                    </a:lnTo>
                    <a:lnTo>
                      <a:pt x="12622" y="867"/>
                    </a:lnTo>
                    <a:lnTo>
                      <a:pt x="12757" y="867"/>
                    </a:lnTo>
                    <a:lnTo>
                      <a:pt x="12757" y="942"/>
                    </a:lnTo>
                    <a:lnTo>
                      <a:pt x="12892" y="942"/>
                    </a:lnTo>
                    <a:lnTo>
                      <a:pt x="12892" y="1018"/>
                    </a:lnTo>
                    <a:lnTo>
                      <a:pt x="13095" y="1018"/>
                    </a:lnTo>
                    <a:lnTo>
                      <a:pt x="13095" y="1055"/>
                    </a:lnTo>
                    <a:lnTo>
                      <a:pt x="13567" y="1319"/>
                    </a:lnTo>
                    <a:lnTo>
                      <a:pt x="13702" y="1319"/>
                    </a:lnTo>
                    <a:lnTo>
                      <a:pt x="13702" y="1395"/>
                    </a:lnTo>
                    <a:lnTo>
                      <a:pt x="14378" y="1395"/>
                    </a:lnTo>
                    <a:lnTo>
                      <a:pt x="14378" y="1470"/>
                    </a:lnTo>
                    <a:lnTo>
                      <a:pt x="14715" y="1470"/>
                    </a:lnTo>
                    <a:lnTo>
                      <a:pt x="14715" y="1546"/>
                    </a:lnTo>
                    <a:lnTo>
                      <a:pt x="14985" y="1546"/>
                    </a:lnTo>
                    <a:lnTo>
                      <a:pt x="14985" y="1583"/>
                    </a:lnTo>
                    <a:lnTo>
                      <a:pt x="15188" y="1583"/>
                    </a:lnTo>
                    <a:lnTo>
                      <a:pt x="15188" y="1659"/>
                    </a:lnTo>
                    <a:lnTo>
                      <a:pt x="15322" y="1734"/>
                    </a:lnTo>
                    <a:lnTo>
                      <a:pt x="15457" y="1734"/>
                    </a:lnTo>
                    <a:lnTo>
                      <a:pt x="15457" y="1809"/>
                    </a:lnTo>
                    <a:lnTo>
                      <a:pt x="15660" y="1809"/>
                    </a:lnTo>
                    <a:lnTo>
                      <a:pt x="15930" y="1923"/>
                    </a:lnTo>
                    <a:lnTo>
                      <a:pt x="16133" y="1998"/>
                    </a:lnTo>
                    <a:lnTo>
                      <a:pt x="16403" y="1998"/>
                    </a:lnTo>
                    <a:lnTo>
                      <a:pt x="16403" y="2073"/>
                    </a:lnTo>
                    <a:lnTo>
                      <a:pt x="16537" y="2073"/>
                    </a:lnTo>
                    <a:lnTo>
                      <a:pt x="16537" y="2111"/>
                    </a:lnTo>
                    <a:lnTo>
                      <a:pt x="16740" y="2111"/>
                    </a:lnTo>
                    <a:lnTo>
                      <a:pt x="16740" y="2186"/>
                    </a:lnTo>
                    <a:lnTo>
                      <a:pt x="16875" y="2186"/>
                    </a:lnTo>
                    <a:lnTo>
                      <a:pt x="17010" y="2262"/>
                    </a:lnTo>
                    <a:lnTo>
                      <a:pt x="17213" y="2262"/>
                    </a:lnTo>
                    <a:lnTo>
                      <a:pt x="17347" y="2337"/>
                    </a:lnTo>
                    <a:lnTo>
                      <a:pt x="17347" y="2526"/>
                    </a:lnTo>
                    <a:lnTo>
                      <a:pt x="17213" y="2526"/>
                    </a:lnTo>
                    <a:lnTo>
                      <a:pt x="17077" y="2601"/>
                    </a:lnTo>
                    <a:lnTo>
                      <a:pt x="17077" y="2639"/>
                    </a:lnTo>
                    <a:lnTo>
                      <a:pt x="17010" y="2714"/>
                    </a:lnTo>
                    <a:lnTo>
                      <a:pt x="17010" y="2790"/>
                    </a:lnTo>
                    <a:lnTo>
                      <a:pt x="16875" y="2790"/>
                    </a:lnTo>
                    <a:lnTo>
                      <a:pt x="16875" y="2865"/>
                    </a:lnTo>
                    <a:lnTo>
                      <a:pt x="16740" y="2865"/>
                    </a:lnTo>
                    <a:lnTo>
                      <a:pt x="16740" y="2978"/>
                    </a:lnTo>
                    <a:lnTo>
                      <a:pt x="16605" y="3053"/>
                    </a:lnTo>
                    <a:lnTo>
                      <a:pt x="16605" y="3242"/>
                    </a:lnTo>
                    <a:lnTo>
                      <a:pt x="16537" y="3242"/>
                    </a:lnTo>
                    <a:lnTo>
                      <a:pt x="16537" y="3317"/>
                    </a:lnTo>
                    <a:lnTo>
                      <a:pt x="16268" y="3430"/>
                    </a:lnTo>
                    <a:lnTo>
                      <a:pt x="16133" y="3430"/>
                    </a:lnTo>
                    <a:lnTo>
                      <a:pt x="16133" y="3581"/>
                    </a:lnTo>
                    <a:lnTo>
                      <a:pt x="17213" y="3581"/>
                    </a:lnTo>
                    <a:lnTo>
                      <a:pt x="17213" y="3619"/>
                    </a:lnTo>
                    <a:lnTo>
                      <a:pt x="17482" y="3619"/>
                    </a:lnTo>
                    <a:lnTo>
                      <a:pt x="17482" y="3694"/>
                    </a:lnTo>
                    <a:lnTo>
                      <a:pt x="18157" y="3694"/>
                    </a:lnTo>
                    <a:lnTo>
                      <a:pt x="18157" y="3619"/>
                    </a:lnTo>
                    <a:lnTo>
                      <a:pt x="18293" y="3619"/>
                    </a:lnTo>
                    <a:lnTo>
                      <a:pt x="18428" y="3694"/>
                    </a:lnTo>
                    <a:lnTo>
                      <a:pt x="18495" y="3694"/>
                    </a:lnTo>
                    <a:lnTo>
                      <a:pt x="18495" y="3770"/>
                    </a:lnTo>
                    <a:lnTo>
                      <a:pt x="18765" y="3770"/>
                    </a:lnTo>
                    <a:lnTo>
                      <a:pt x="18765" y="3694"/>
                    </a:lnTo>
                    <a:lnTo>
                      <a:pt x="18900" y="3694"/>
                    </a:lnTo>
                    <a:lnTo>
                      <a:pt x="18967" y="3619"/>
                    </a:lnTo>
                    <a:lnTo>
                      <a:pt x="19440" y="3619"/>
                    </a:lnTo>
                    <a:lnTo>
                      <a:pt x="19440" y="3506"/>
                    </a:lnTo>
                    <a:lnTo>
                      <a:pt x="19575" y="3430"/>
                    </a:lnTo>
                    <a:lnTo>
                      <a:pt x="19710" y="3430"/>
                    </a:lnTo>
                    <a:lnTo>
                      <a:pt x="19710" y="3355"/>
                    </a:lnTo>
                    <a:lnTo>
                      <a:pt x="19912" y="3355"/>
                    </a:lnTo>
                    <a:lnTo>
                      <a:pt x="19912" y="3317"/>
                    </a:lnTo>
                    <a:lnTo>
                      <a:pt x="20182" y="3166"/>
                    </a:lnTo>
                    <a:lnTo>
                      <a:pt x="20317" y="3166"/>
                    </a:lnTo>
                    <a:lnTo>
                      <a:pt x="20317" y="3129"/>
                    </a:lnTo>
                    <a:lnTo>
                      <a:pt x="20385" y="3129"/>
                    </a:lnTo>
                    <a:lnTo>
                      <a:pt x="20385" y="2978"/>
                    </a:lnTo>
                    <a:lnTo>
                      <a:pt x="20520" y="2978"/>
                    </a:lnTo>
                    <a:lnTo>
                      <a:pt x="20520" y="2526"/>
                    </a:lnTo>
                    <a:lnTo>
                      <a:pt x="20857" y="2526"/>
                    </a:lnTo>
                    <a:lnTo>
                      <a:pt x="20857" y="2450"/>
                    </a:lnTo>
                    <a:lnTo>
                      <a:pt x="20993" y="2450"/>
                    </a:lnTo>
                    <a:lnTo>
                      <a:pt x="21127" y="2526"/>
                    </a:lnTo>
                    <a:lnTo>
                      <a:pt x="21195" y="2526"/>
                    </a:lnTo>
                    <a:lnTo>
                      <a:pt x="21195" y="2601"/>
                    </a:lnTo>
                    <a:lnTo>
                      <a:pt x="21330" y="2601"/>
                    </a:lnTo>
                    <a:lnTo>
                      <a:pt x="21330" y="2639"/>
                    </a:lnTo>
                    <a:lnTo>
                      <a:pt x="21465" y="2714"/>
                    </a:lnTo>
                    <a:lnTo>
                      <a:pt x="21465" y="2790"/>
                    </a:lnTo>
                    <a:lnTo>
                      <a:pt x="21600" y="2865"/>
                    </a:lnTo>
                    <a:lnTo>
                      <a:pt x="21600" y="3166"/>
                    </a:lnTo>
                    <a:lnTo>
                      <a:pt x="21465" y="3166"/>
                    </a:lnTo>
                    <a:lnTo>
                      <a:pt x="21465" y="3430"/>
                    </a:lnTo>
                    <a:lnTo>
                      <a:pt x="21330" y="3430"/>
                    </a:lnTo>
                    <a:lnTo>
                      <a:pt x="21330" y="3506"/>
                    </a:lnTo>
                    <a:lnTo>
                      <a:pt x="21195" y="3581"/>
                    </a:lnTo>
                    <a:lnTo>
                      <a:pt x="20993" y="3581"/>
                    </a:lnTo>
                    <a:lnTo>
                      <a:pt x="20993" y="3619"/>
                    </a:lnTo>
                    <a:lnTo>
                      <a:pt x="20790" y="3619"/>
                    </a:lnTo>
                    <a:lnTo>
                      <a:pt x="20790" y="3694"/>
                    </a:lnTo>
                    <a:lnTo>
                      <a:pt x="20317" y="3694"/>
                    </a:lnTo>
                    <a:lnTo>
                      <a:pt x="20317" y="3770"/>
                    </a:lnTo>
                    <a:lnTo>
                      <a:pt x="20182" y="3845"/>
                    </a:lnTo>
                    <a:lnTo>
                      <a:pt x="20047" y="3845"/>
                    </a:lnTo>
                    <a:lnTo>
                      <a:pt x="19845" y="3958"/>
                    </a:lnTo>
                    <a:lnTo>
                      <a:pt x="19845" y="4034"/>
                    </a:lnTo>
                    <a:lnTo>
                      <a:pt x="19710" y="4034"/>
                    </a:lnTo>
                    <a:lnTo>
                      <a:pt x="19710" y="4109"/>
                    </a:lnTo>
                    <a:lnTo>
                      <a:pt x="19440" y="4109"/>
                    </a:lnTo>
                    <a:lnTo>
                      <a:pt x="19372" y="4147"/>
                    </a:lnTo>
                    <a:lnTo>
                      <a:pt x="19372" y="4297"/>
                    </a:lnTo>
                    <a:lnTo>
                      <a:pt x="19237" y="4297"/>
                    </a:lnTo>
                    <a:lnTo>
                      <a:pt x="19237" y="4373"/>
                    </a:lnTo>
                    <a:lnTo>
                      <a:pt x="19102" y="4373"/>
                    </a:lnTo>
                    <a:lnTo>
                      <a:pt x="19102" y="4410"/>
                    </a:lnTo>
                    <a:lnTo>
                      <a:pt x="18967" y="4410"/>
                    </a:lnTo>
                    <a:lnTo>
                      <a:pt x="18967" y="4486"/>
                    </a:lnTo>
                    <a:lnTo>
                      <a:pt x="18900" y="4486"/>
                    </a:lnTo>
                    <a:lnTo>
                      <a:pt x="18765" y="4561"/>
                    </a:lnTo>
                    <a:lnTo>
                      <a:pt x="18630" y="4561"/>
                    </a:lnTo>
                    <a:lnTo>
                      <a:pt x="18630" y="4674"/>
                    </a:lnTo>
                    <a:lnTo>
                      <a:pt x="18495" y="4674"/>
                    </a:lnTo>
                    <a:lnTo>
                      <a:pt x="18495" y="4750"/>
                    </a:lnTo>
                    <a:lnTo>
                      <a:pt x="18428" y="4750"/>
                    </a:lnTo>
                    <a:lnTo>
                      <a:pt x="18428" y="4825"/>
                    </a:lnTo>
                    <a:lnTo>
                      <a:pt x="18157" y="4938"/>
                    </a:lnTo>
                    <a:lnTo>
                      <a:pt x="18157" y="5014"/>
                    </a:lnTo>
                    <a:lnTo>
                      <a:pt x="18023" y="5089"/>
                    </a:lnTo>
                    <a:lnTo>
                      <a:pt x="17955" y="5089"/>
                    </a:lnTo>
                    <a:lnTo>
                      <a:pt x="17955" y="5164"/>
                    </a:lnTo>
                    <a:lnTo>
                      <a:pt x="17820" y="5164"/>
                    </a:lnTo>
                    <a:lnTo>
                      <a:pt x="17820" y="5202"/>
                    </a:lnTo>
                    <a:lnTo>
                      <a:pt x="17685" y="5202"/>
                    </a:lnTo>
                    <a:lnTo>
                      <a:pt x="17550" y="5277"/>
                    </a:lnTo>
                    <a:lnTo>
                      <a:pt x="17550" y="5353"/>
                    </a:lnTo>
                    <a:lnTo>
                      <a:pt x="17482" y="5353"/>
                    </a:lnTo>
                    <a:lnTo>
                      <a:pt x="17482" y="5428"/>
                    </a:lnTo>
                    <a:lnTo>
                      <a:pt x="17347" y="5428"/>
                    </a:lnTo>
                    <a:lnTo>
                      <a:pt x="17213" y="5466"/>
                    </a:lnTo>
                    <a:lnTo>
                      <a:pt x="17213" y="5617"/>
                    </a:lnTo>
                    <a:lnTo>
                      <a:pt x="17077" y="5617"/>
                    </a:lnTo>
                    <a:lnTo>
                      <a:pt x="17077" y="5692"/>
                    </a:lnTo>
                    <a:lnTo>
                      <a:pt x="17010" y="5692"/>
                    </a:lnTo>
                    <a:lnTo>
                      <a:pt x="17010" y="5805"/>
                    </a:lnTo>
                    <a:lnTo>
                      <a:pt x="17077" y="5805"/>
                    </a:lnTo>
                    <a:lnTo>
                      <a:pt x="17077" y="5956"/>
                    </a:lnTo>
                    <a:lnTo>
                      <a:pt x="17010" y="5956"/>
                    </a:lnTo>
                    <a:lnTo>
                      <a:pt x="17010" y="6220"/>
                    </a:lnTo>
                    <a:lnTo>
                      <a:pt x="16875" y="6258"/>
                    </a:lnTo>
                    <a:lnTo>
                      <a:pt x="16875" y="6521"/>
                    </a:lnTo>
                    <a:lnTo>
                      <a:pt x="16740" y="6521"/>
                    </a:lnTo>
                    <a:lnTo>
                      <a:pt x="16740" y="6597"/>
                    </a:lnTo>
                    <a:lnTo>
                      <a:pt x="16605" y="6597"/>
                    </a:lnTo>
                    <a:lnTo>
                      <a:pt x="16605" y="7125"/>
                    </a:lnTo>
                    <a:lnTo>
                      <a:pt x="16740" y="7238"/>
                    </a:lnTo>
                    <a:lnTo>
                      <a:pt x="16740" y="7388"/>
                    </a:lnTo>
                    <a:lnTo>
                      <a:pt x="16605" y="7464"/>
                    </a:lnTo>
                    <a:lnTo>
                      <a:pt x="16537" y="7464"/>
                    </a:lnTo>
                    <a:lnTo>
                      <a:pt x="16537" y="7502"/>
                    </a:lnTo>
                    <a:lnTo>
                      <a:pt x="16403" y="7502"/>
                    </a:lnTo>
                    <a:lnTo>
                      <a:pt x="16403" y="7841"/>
                    </a:lnTo>
                    <a:lnTo>
                      <a:pt x="16268" y="7841"/>
                    </a:lnTo>
                    <a:lnTo>
                      <a:pt x="16268" y="7992"/>
                    </a:lnTo>
                    <a:lnTo>
                      <a:pt x="16403" y="7992"/>
                    </a:lnTo>
                    <a:lnTo>
                      <a:pt x="16403" y="8180"/>
                    </a:lnTo>
                    <a:lnTo>
                      <a:pt x="16268" y="8256"/>
                    </a:lnTo>
                    <a:lnTo>
                      <a:pt x="16268" y="8293"/>
                    </a:lnTo>
                    <a:lnTo>
                      <a:pt x="16605" y="8519"/>
                    </a:lnTo>
                    <a:lnTo>
                      <a:pt x="16875" y="8557"/>
                    </a:lnTo>
                    <a:lnTo>
                      <a:pt x="16875" y="8632"/>
                    </a:lnTo>
                    <a:lnTo>
                      <a:pt x="17077" y="8632"/>
                    </a:lnTo>
                    <a:lnTo>
                      <a:pt x="17077" y="8708"/>
                    </a:lnTo>
                    <a:lnTo>
                      <a:pt x="17347" y="8708"/>
                    </a:lnTo>
                    <a:lnTo>
                      <a:pt x="17550" y="8821"/>
                    </a:lnTo>
                    <a:lnTo>
                      <a:pt x="17685" y="8972"/>
                    </a:lnTo>
                    <a:lnTo>
                      <a:pt x="17820" y="9047"/>
                    </a:lnTo>
                    <a:lnTo>
                      <a:pt x="17685" y="9160"/>
                    </a:lnTo>
                    <a:lnTo>
                      <a:pt x="17550" y="9236"/>
                    </a:lnTo>
                    <a:lnTo>
                      <a:pt x="17550" y="9424"/>
                    </a:lnTo>
                    <a:lnTo>
                      <a:pt x="17685" y="9424"/>
                    </a:lnTo>
                    <a:lnTo>
                      <a:pt x="17685" y="9575"/>
                    </a:lnTo>
                    <a:lnTo>
                      <a:pt x="17820" y="9575"/>
                    </a:lnTo>
                    <a:lnTo>
                      <a:pt x="17820" y="9613"/>
                    </a:lnTo>
                    <a:lnTo>
                      <a:pt x="18293" y="9613"/>
                    </a:lnTo>
                    <a:lnTo>
                      <a:pt x="18293" y="10140"/>
                    </a:lnTo>
                    <a:lnTo>
                      <a:pt x="18157" y="10140"/>
                    </a:lnTo>
                    <a:lnTo>
                      <a:pt x="18157" y="10216"/>
                    </a:lnTo>
                    <a:lnTo>
                      <a:pt x="18023" y="10216"/>
                    </a:lnTo>
                    <a:lnTo>
                      <a:pt x="18023" y="10291"/>
                    </a:lnTo>
                    <a:lnTo>
                      <a:pt x="17955" y="10291"/>
                    </a:lnTo>
                    <a:lnTo>
                      <a:pt x="17955" y="10329"/>
                    </a:lnTo>
                    <a:lnTo>
                      <a:pt x="17820" y="10480"/>
                    </a:lnTo>
                    <a:lnTo>
                      <a:pt x="17550" y="10593"/>
                    </a:lnTo>
                    <a:lnTo>
                      <a:pt x="17550" y="10668"/>
                    </a:lnTo>
                    <a:lnTo>
                      <a:pt x="17482" y="10668"/>
                    </a:lnTo>
                    <a:lnTo>
                      <a:pt x="17482" y="10743"/>
                    </a:lnTo>
                    <a:lnTo>
                      <a:pt x="17213" y="10857"/>
                    </a:lnTo>
                    <a:lnTo>
                      <a:pt x="17213" y="10932"/>
                    </a:lnTo>
                    <a:lnTo>
                      <a:pt x="17077" y="10932"/>
                    </a:lnTo>
                    <a:lnTo>
                      <a:pt x="17077" y="11007"/>
                    </a:lnTo>
                    <a:lnTo>
                      <a:pt x="17010" y="11007"/>
                    </a:lnTo>
                    <a:lnTo>
                      <a:pt x="16740" y="11083"/>
                    </a:lnTo>
                    <a:lnTo>
                      <a:pt x="16605" y="11120"/>
                    </a:lnTo>
                    <a:lnTo>
                      <a:pt x="16537" y="11120"/>
                    </a:lnTo>
                    <a:lnTo>
                      <a:pt x="16268" y="11196"/>
                    </a:lnTo>
                    <a:lnTo>
                      <a:pt x="16065" y="11196"/>
                    </a:lnTo>
                    <a:lnTo>
                      <a:pt x="15930" y="11271"/>
                    </a:lnTo>
                    <a:lnTo>
                      <a:pt x="15660" y="11271"/>
                    </a:lnTo>
                    <a:lnTo>
                      <a:pt x="15457" y="11347"/>
                    </a:lnTo>
                    <a:lnTo>
                      <a:pt x="14985" y="11347"/>
                    </a:lnTo>
                    <a:lnTo>
                      <a:pt x="14850" y="11384"/>
                    </a:lnTo>
                    <a:lnTo>
                      <a:pt x="14513" y="11384"/>
                    </a:lnTo>
                    <a:lnTo>
                      <a:pt x="14378" y="11460"/>
                    </a:lnTo>
                    <a:lnTo>
                      <a:pt x="12892" y="11460"/>
                    </a:lnTo>
                    <a:lnTo>
                      <a:pt x="12622" y="11384"/>
                    </a:lnTo>
                    <a:lnTo>
                      <a:pt x="12150" y="11384"/>
                    </a:lnTo>
                    <a:lnTo>
                      <a:pt x="12150" y="11648"/>
                    </a:lnTo>
                    <a:lnTo>
                      <a:pt x="12420" y="11648"/>
                    </a:lnTo>
                    <a:lnTo>
                      <a:pt x="12420" y="11724"/>
                    </a:lnTo>
                    <a:lnTo>
                      <a:pt x="12487" y="11724"/>
                    </a:lnTo>
                    <a:lnTo>
                      <a:pt x="12487" y="11912"/>
                    </a:lnTo>
                    <a:lnTo>
                      <a:pt x="12420" y="11987"/>
                    </a:lnTo>
                    <a:lnTo>
                      <a:pt x="12420" y="12063"/>
                    </a:lnTo>
                    <a:lnTo>
                      <a:pt x="12285" y="12063"/>
                    </a:lnTo>
                    <a:lnTo>
                      <a:pt x="12285" y="12138"/>
                    </a:lnTo>
                    <a:lnTo>
                      <a:pt x="12150" y="12138"/>
                    </a:lnTo>
                    <a:lnTo>
                      <a:pt x="12150" y="12402"/>
                    </a:lnTo>
                    <a:lnTo>
                      <a:pt x="12015" y="12402"/>
                    </a:lnTo>
                    <a:lnTo>
                      <a:pt x="12015" y="12440"/>
                    </a:lnTo>
                    <a:lnTo>
                      <a:pt x="12150" y="12440"/>
                    </a:lnTo>
                    <a:lnTo>
                      <a:pt x="12150" y="12591"/>
                    </a:lnTo>
                    <a:lnTo>
                      <a:pt x="12285" y="12666"/>
                    </a:lnTo>
                    <a:lnTo>
                      <a:pt x="12285" y="12779"/>
                    </a:lnTo>
                    <a:lnTo>
                      <a:pt x="12150" y="12779"/>
                    </a:lnTo>
                    <a:lnTo>
                      <a:pt x="12150" y="12854"/>
                    </a:lnTo>
                    <a:lnTo>
                      <a:pt x="12015" y="12854"/>
                    </a:lnTo>
                    <a:lnTo>
                      <a:pt x="11947" y="12930"/>
                    </a:lnTo>
                    <a:lnTo>
                      <a:pt x="11812" y="12930"/>
                    </a:lnTo>
                    <a:lnTo>
                      <a:pt x="11678" y="12968"/>
                    </a:lnTo>
                    <a:lnTo>
                      <a:pt x="11475" y="12968"/>
                    </a:lnTo>
                    <a:lnTo>
                      <a:pt x="11475" y="13043"/>
                    </a:lnTo>
                    <a:lnTo>
                      <a:pt x="10598" y="13043"/>
                    </a:lnTo>
                    <a:lnTo>
                      <a:pt x="9653" y="12779"/>
                    </a:lnTo>
                    <a:lnTo>
                      <a:pt x="9450" y="12779"/>
                    </a:lnTo>
                    <a:lnTo>
                      <a:pt x="9450" y="12704"/>
                    </a:lnTo>
                    <a:lnTo>
                      <a:pt x="9315" y="12704"/>
                    </a:lnTo>
                    <a:lnTo>
                      <a:pt x="9315" y="12779"/>
                    </a:lnTo>
                    <a:lnTo>
                      <a:pt x="9180" y="12779"/>
                    </a:lnTo>
                    <a:lnTo>
                      <a:pt x="9180" y="13118"/>
                    </a:lnTo>
                    <a:lnTo>
                      <a:pt x="9315" y="13194"/>
                    </a:lnTo>
                    <a:lnTo>
                      <a:pt x="9315" y="13495"/>
                    </a:lnTo>
                    <a:lnTo>
                      <a:pt x="9180" y="13495"/>
                    </a:lnTo>
                    <a:lnTo>
                      <a:pt x="9180" y="13646"/>
                    </a:lnTo>
                    <a:lnTo>
                      <a:pt x="9450" y="13759"/>
                    </a:lnTo>
                    <a:lnTo>
                      <a:pt x="9585" y="13759"/>
                    </a:lnTo>
                    <a:lnTo>
                      <a:pt x="9585" y="13835"/>
                    </a:lnTo>
                    <a:lnTo>
                      <a:pt x="9653" y="13835"/>
                    </a:lnTo>
                    <a:lnTo>
                      <a:pt x="9653" y="13948"/>
                    </a:lnTo>
                    <a:lnTo>
                      <a:pt x="10260" y="13948"/>
                    </a:lnTo>
                    <a:lnTo>
                      <a:pt x="10260" y="13835"/>
                    </a:lnTo>
                    <a:lnTo>
                      <a:pt x="10058" y="13835"/>
                    </a:lnTo>
                    <a:lnTo>
                      <a:pt x="10058" y="13759"/>
                    </a:lnTo>
                    <a:lnTo>
                      <a:pt x="10395" y="13759"/>
                    </a:lnTo>
                    <a:lnTo>
                      <a:pt x="10395" y="13721"/>
                    </a:lnTo>
                    <a:lnTo>
                      <a:pt x="10598" y="13721"/>
                    </a:lnTo>
                    <a:lnTo>
                      <a:pt x="10733" y="13759"/>
                    </a:lnTo>
                    <a:lnTo>
                      <a:pt x="10733" y="13835"/>
                    </a:lnTo>
                    <a:lnTo>
                      <a:pt x="10868" y="13910"/>
                    </a:lnTo>
                    <a:lnTo>
                      <a:pt x="10868" y="14098"/>
                    </a:lnTo>
                    <a:lnTo>
                      <a:pt x="10733" y="14174"/>
                    </a:lnTo>
                    <a:lnTo>
                      <a:pt x="10733" y="14212"/>
                    </a:lnTo>
                    <a:lnTo>
                      <a:pt x="10598" y="14212"/>
                    </a:lnTo>
                    <a:lnTo>
                      <a:pt x="10530" y="14174"/>
                    </a:lnTo>
                    <a:lnTo>
                      <a:pt x="10125" y="14174"/>
                    </a:lnTo>
                    <a:lnTo>
                      <a:pt x="10125" y="14098"/>
                    </a:lnTo>
                    <a:lnTo>
                      <a:pt x="10058" y="14098"/>
                    </a:lnTo>
                    <a:lnTo>
                      <a:pt x="10058" y="14023"/>
                    </a:lnTo>
                    <a:lnTo>
                      <a:pt x="9653" y="14023"/>
                    </a:lnTo>
                    <a:lnTo>
                      <a:pt x="9585" y="14098"/>
                    </a:lnTo>
                    <a:lnTo>
                      <a:pt x="9450" y="14098"/>
                    </a:lnTo>
                    <a:lnTo>
                      <a:pt x="9315" y="14174"/>
                    </a:lnTo>
                    <a:lnTo>
                      <a:pt x="9315" y="14212"/>
                    </a:lnTo>
                    <a:lnTo>
                      <a:pt x="9585" y="14212"/>
                    </a:lnTo>
                    <a:lnTo>
                      <a:pt x="9585" y="14287"/>
                    </a:lnTo>
                    <a:lnTo>
                      <a:pt x="9653" y="14287"/>
                    </a:lnTo>
                    <a:lnTo>
                      <a:pt x="9787" y="14362"/>
                    </a:lnTo>
                    <a:lnTo>
                      <a:pt x="10058" y="14362"/>
                    </a:lnTo>
                    <a:lnTo>
                      <a:pt x="10058" y="14438"/>
                    </a:lnTo>
                    <a:lnTo>
                      <a:pt x="9653" y="14438"/>
                    </a:lnTo>
                    <a:lnTo>
                      <a:pt x="9585" y="14475"/>
                    </a:lnTo>
                    <a:lnTo>
                      <a:pt x="9315" y="14551"/>
                    </a:lnTo>
                    <a:lnTo>
                      <a:pt x="9180" y="14702"/>
                    </a:lnTo>
                    <a:lnTo>
                      <a:pt x="9113" y="14702"/>
                    </a:lnTo>
                    <a:lnTo>
                      <a:pt x="9113" y="14890"/>
                    </a:lnTo>
                    <a:lnTo>
                      <a:pt x="8977" y="14890"/>
                    </a:lnTo>
                    <a:lnTo>
                      <a:pt x="8977" y="15079"/>
                    </a:lnTo>
                    <a:lnTo>
                      <a:pt x="9113" y="15079"/>
                    </a:lnTo>
                    <a:lnTo>
                      <a:pt x="9113" y="15342"/>
                    </a:lnTo>
                    <a:lnTo>
                      <a:pt x="8977" y="15418"/>
                    </a:lnTo>
                    <a:lnTo>
                      <a:pt x="8977" y="15493"/>
                    </a:lnTo>
                    <a:lnTo>
                      <a:pt x="8842" y="15493"/>
                    </a:lnTo>
                    <a:lnTo>
                      <a:pt x="8640" y="15606"/>
                    </a:lnTo>
                    <a:lnTo>
                      <a:pt x="8640" y="15870"/>
                    </a:lnTo>
                    <a:lnTo>
                      <a:pt x="8235" y="15870"/>
                    </a:lnTo>
                    <a:lnTo>
                      <a:pt x="8235" y="15795"/>
                    </a:lnTo>
                    <a:lnTo>
                      <a:pt x="7898" y="15795"/>
                    </a:lnTo>
                    <a:lnTo>
                      <a:pt x="7695" y="15946"/>
                    </a:lnTo>
                    <a:lnTo>
                      <a:pt x="7560" y="15946"/>
                    </a:lnTo>
                    <a:lnTo>
                      <a:pt x="7425" y="16021"/>
                    </a:lnTo>
                    <a:lnTo>
                      <a:pt x="7223" y="16021"/>
                    </a:lnTo>
                    <a:lnTo>
                      <a:pt x="7223" y="16059"/>
                    </a:lnTo>
                    <a:lnTo>
                      <a:pt x="7088" y="16059"/>
                    </a:lnTo>
                    <a:lnTo>
                      <a:pt x="7088" y="16134"/>
                    </a:lnTo>
                    <a:lnTo>
                      <a:pt x="6952" y="16134"/>
                    </a:lnTo>
                    <a:lnTo>
                      <a:pt x="6952" y="16209"/>
                    </a:lnTo>
                    <a:lnTo>
                      <a:pt x="6885" y="16285"/>
                    </a:lnTo>
                    <a:lnTo>
                      <a:pt x="6885" y="16398"/>
                    </a:lnTo>
                    <a:lnTo>
                      <a:pt x="6750" y="16398"/>
                    </a:lnTo>
                    <a:lnTo>
                      <a:pt x="6750" y="16473"/>
                    </a:lnTo>
                    <a:lnTo>
                      <a:pt x="6615" y="16549"/>
                    </a:lnTo>
                    <a:lnTo>
                      <a:pt x="6480" y="16662"/>
                    </a:lnTo>
                    <a:lnTo>
                      <a:pt x="6480" y="16926"/>
                    </a:lnTo>
                    <a:lnTo>
                      <a:pt x="7088" y="17265"/>
                    </a:lnTo>
                    <a:lnTo>
                      <a:pt x="7223" y="17265"/>
                    </a:lnTo>
                    <a:lnTo>
                      <a:pt x="7425" y="17378"/>
                    </a:lnTo>
                    <a:lnTo>
                      <a:pt x="7830" y="17378"/>
                    </a:lnTo>
                    <a:lnTo>
                      <a:pt x="8032" y="17453"/>
                    </a:lnTo>
                    <a:lnTo>
                      <a:pt x="8235" y="17453"/>
                    </a:lnTo>
                    <a:lnTo>
                      <a:pt x="8235" y="17529"/>
                    </a:lnTo>
                    <a:lnTo>
                      <a:pt x="8505" y="17529"/>
                    </a:lnTo>
                    <a:lnTo>
                      <a:pt x="8505" y="17830"/>
                    </a:lnTo>
                    <a:lnTo>
                      <a:pt x="8370" y="17906"/>
                    </a:lnTo>
                    <a:lnTo>
                      <a:pt x="8235" y="17906"/>
                    </a:lnTo>
                    <a:lnTo>
                      <a:pt x="8235" y="17981"/>
                    </a:lnTo>
                    <a:lnTo>
                      <a:pt x="8505" y="18094"/>
                    </a:lnTo>
                    <a:lnTo>
                      <a:pt x="8370" y="18170"/>
                    </a:lnTo>
                    <a:lnTo>
                      <a:pt x="8235" y="18170"/>
                    </a:lnTo>
                    <a:lnTo>
                      <a:pt x="7898" y="18358"/>
                    </a:lnTo>
                    <a:lnTo>
                      <a:pt x="7830" y="18358"/>
                    </a:lnTo>
                    <a:lnTo>
                      <a:pt x="7695" y="18434"/>
                    </a:lnTo>
                    <a:lnTo>
                      <a:pt x="7560" y="18434"/>
                    </a:lnTo>
                    <a:lnTo>
                      <a:pt x="7560" y="18509"/>
                    </a:lnTo>
                    <a:lnTo>
                      <a:pt x="7425" y="18509"/>
                    </a:lnTo>
                    <a:lnTo>
                      <a:pt x="7358" y="18584"/>
                    </a:lnTo>
                    <a:lnTo>
                      <a:pt x="6952" y="18697"/>
                    </a:lnTo>
                    <a:lnTo>
                      <a:pt x="6480" y="18961"/>
                    </a:lnTo>
                    <a:lnTo>
                      <a:pt x="6480" y="19037"/>
                    </a:lnTo>
                    <a:lnTo>
                      <a:pt x="6413" y="19037"/>
                    </a:lnTo>
                    <a:lnTo>
                      <a:pt x="6413" y="19489"/>
                    </a:lnTo>
                    <a:lnTo>
                      <a:pt x="6278" y="19640"/>
                    </a:lnTo>
                    <a:lnTo>
                      <a:pt x="6143" y="19677"/>
                    </a:lnTo>
                    <a:lnTo>
                      <a:pt x="6008" y="19677"/>
                    </a:lnTo>
                    <a:lnTo>
                      <a:pt x="6008" y="19753"/>
                    </a:lnTo>
                    <a:lnTo>
                      <a:pt x="5535" y="19753"/>
                    </a:lnTo>
                    <a:lnTo>
                      <a:pt x="5535" y="19677"/>
                    </a:lnTo>
                    <a:lnTo>
                      <a:pt x="5468" y="19677"/>
                    </a:lnTo>
                    <a:lnTo>
                      <a:pt x="5468" y="19640"/>
                    </a:lnTo>
                    <a:lnTo>
                      <a:pt x="5333" y="19640"/>
                    </a:lnTo>
                    <a:lnTo>
                      <a:pt x="5333" y="19677"/>
                    </a:lnTo>
                    <a:lnTo>
                      <a:pt x="5468" y="19677"/>
                    </a:lnTo>
                    <a:lnTo>
                      <a:pt x="5468" y="19753"/>
                    </a:lnTo>
                    <a:lnTo>
                      <a:pt x="5535" y="19753"/>
                    </a:lnTo>
                    <a:lnTo>
                      <a:pt x="5535" y="19828"/>
                    </a:lnTo>
                    <a:lnTo>
                      <a:pt x="5468" y="19904"/>
                    </a:lnTo>
                    <a:lnTo>
                      <a:pt x="5198" y="19904"/>
                    </a:lnTo>
                    <a:lnTo>
                      <a:pt x="5198" y="19941"/>
                    </a:lnTo>
                    <a:lnTo>
                      <a:pt x="5063" y="19941"/>
                    </a:lnTo>
                    <a:lnTo>
                      <a:pt x="5063" y="20017"/>
                    </a:lnTo>
                    <a:lnTo>
                      <a:pt x="4995" y="20017"/>
                    </a:lnTo>
                    <a:lnTo>
                      <a:pt x="4995" y="20092"/>
                    </a:lnTo>
                    <a:lnTo>
                      <a:pt x="4860" y="20168"/>
                    </a:lnTo>
                    <a:lnTo>
                      <a:pt x="4860" y="20356"/>
                    </a:lnTo>
                    <a:lnTo>
                      <a:pt x="4725" y="20431"/>
                    </a:lnTo>
                    <a:lnTo>
                      <a:pt x="4725" y="20544"/>
                    </a:lnTo>
                    <a:lnTo>
                      <a:pt x="4860" y="20544"/>
                    </a:lnTo>
                    <a:lnTo>
                      <a:pt x="4860" y="20808"/>
                    </a:lnTo>
                    <a:lnTo>
                      <a:pt x="4995" y="20884"/>
                    </a:lnTo>
                    <a:lnTo>
                      <a:pt x="4995" y="20921"/>
                    </a:lnTo>
                    <a:lnTo>
                      <a:pt x="4590" y="20921"/>
                    </a:lnTo>
                    <a:lnTo>
                      <a:pt x="4725" y="20997"/>
                    </a:lnTo>
                    <a:lnTo>
                      <a:pt x="5063" y="20997"/>
                    </a:lnTo>
                    <a:lnTo>
                      <a:pt x="5063" y="21148"/>
                    </a:lnTo>
                    <a:lnTo>
                      <a:pt x="5198" y="21185"/>
                    </a:lnTo>
                    <a:lnTo>
                      <a:pt x="5198" y="21336"/>
                    </a:lnTo>
                    <a:lnTo>
                      <a:pt x="5333" y="21336"/>
                    </a:lnTo>
                    <a:lnTo>
                      <a:pt x="5333" y="21412"/>
                    </a:lnTo>
                    <a:lnTo>
                      <a:pt x="5468" y="21412"/>
                    </a:lnTo>
                    <a:lnTo>
                      <a:pt x="5468" y="21525"/>
                    </a:lnTo>
                    <a:lnTo>
                      <a:pt x="5333" y="21525"/>
                    </a:lnTo>
                    <a:lnTo>
                      <a:pt x="5333" y="21449"/>
                    </a:lnTo>
                    <a:lnTo>
                      <a:pt x="4995" y="21449"/>
                    </a:lnTo>
                    <a:lnTo>
                      <a:pt x="4995" y="21412"/>
                    </a:lnTo>
                    <a:lnTo>
                      <a:pt x="4590" y="21412"/>
                    </a:lnTo>
                    <a:lnTo>
                      <a:pt x="4590" y="21336"/>
                    </a:lnTo>
                    <a:lnTo>
                      <a:pt x="4050" y="21336"/>
                    </a:lnTo>
                    <a:lnTo>
                      <a:pt x="4050" y="21261"/>
                    </a:lnTo>
                    <a:lnTo>
                      <a:pt x="1755" y="21261"/>
                    </a:lnTo>
                    <a:lnTo>
                      <a:pt x="1755" y="21148"/>
                    </a:lnTo>
                    <a:lnTo>
                      <a:pt x="1688" y="21148"/>
                    </a:lnTo>
                    <a:lnTo>
                      <a:pt x="1688" y="21072"/>
                    </a:lnTo>
                    <a:lnTo>
                      <a:pt x="1553" y="21072"/>
                    </a:lnTo>
                    <a:lnTo>
                      <a:pt x="1553" y="20997"/>
                    </a:lnTo>
                    <a:lnTo>
                      <a:pt x="1350" y="20997"/>
                    </a:lnTo>
                    <a:lnTo>
                      <a:pt x="1350" y="20808"/>
                    </a:lnTo>
                    <a:lnTo>
                      <a:pt x="1417" y="20808"/>
                    </a:lnTo>
                    <a:lnTo>
                      <a:pt x="1417" y="20620"/>
                    </a:lnTo>
                    <a:lnTo>
                      <a:pt x="1350" y="20620"/>
                    </a:lnTo>
                    <a:lnTo>
                      <a:pt x="1350" y="20544"/>
                    </a:lnTo>
                    <a:lnTo>
                      <a:pt x="1417" y="20544"/>
                    </a:lnTo>
                    <a:lnTo>
                      <a:pt x="1417" y="20168"/>
                    </a:lnTo>
                    <a:lnTo>
                      <a:pt x="1080" y="20168"/>
                    </a:lnTo>
                    <a:lnTo>
                      <a:pt x="1080" y="20205"/>
                    </a:lnTo>
                    <a:lnTo>
                      <a:pt x="945" y="20205"/>
                    </a:lnTo>
                    <a:lnTo>
                      <a:pt x="945" y="20168"/>
                    </a:lnTo>
                    <a:lnTo>
                      <a:pt x="878" y="20168"/>
                    </a:lnTo>
                    <a:lnTo>
                      <a:pt x="878" y="20205"/>
                    </a:lnTo>
                    <a:lnTo>
                      <a:pt x="743" y="20205"/>
                    </a:lnTo>
                    <a:lnTo>
                      <a:pt x="743" y="20281"/>
                    </a:lnTo>
                    <a:lnTo>
                      <a:pt x="472" y="20281"/>
                    </a:lnTo>
                    <a:lnTo>
                      <a:pt x="472" y="20092"/>
                    </a:lnTo>
                    <a:lnTo>
                      <a:pt x="405" y="20092"/>
                    </a:lnTo>
                    <a:lnTo>
                      <a:pt x="405" y="19828"/>
                    </a:lnTo>
                    <a:lnTo>
                      <a:pt x="135" y="19828"/>
                    </a:lnTo>
                    <a:lnTo>
                      <a:pt x="0" y="19753"/>
                    </a:lnTo>
                    <a:lnTo>
                      <a:pt x="0" y="19677"/>
                    </a:lnTo>
                    <a:lnTo>
                      <a:pt x="135" y="19640"/>
                    </a:lnTo>
                    <a:lnTo>
                      <a:pt x="135" y="19376"/>
                    </a:lnTo>
                    <a:lnTo>
                      <a:pt x="0" y="19301"/>
                    </a:lnTo>
                    <a:lnTo>
                      <a:pt x="0" y="19225"/>
                    </a:lnTo>
                    <a:lnTo>
                      <a:pt x="135" y="19225"/>
                    </a:lnTo>
                    <a:lnTo>
                      <a:pt x="135" y="19150"/>
                    </a:lnTo>
                    <a:lnTo>
                      <a:pt x="405" y="19150"/>
                    </a:lnTo>
                    <a:lnTo>
                      <a:pt x="472" y="19112"/>
                    </a:lnTo>
                    <a:lnTo>
                      <a:pt x="608" y="19112"/>
                    </a:lnTo>
                    <a:lnTo>
                      <a:pt x="608" y="18961"/>
                    </a:lnTo>
                    <a:lnTo>
                      <a:pt x="743" y="18961"/>
                    </a:lnTo>
                    <a:lnTo>
                      <a:pt x="743" y="18886"/>
                    </a:lnTo>
                    <a:lnTo>
                      <a:pt x="878" y="18886"/>
                    </a:lnTo>
                    <a:lnTo>
                      <a:pt x="878" y="18848"/>
                    </a:lnTo>
                    <a:lnTo>
                      <a:pt x="945" y="18848"/>
                    </a:lnTo>
                    <a:lnTo>
                      <a:pt x="1215" y="18697"/>
                    </a:lnTo>
                    <a:lnTo>
                      <a:pt x="1215" y="18622"/>
                    </a:lnTo>
                    <a:lnTo>
                      <a:pt x="1080" y="18584"/>
                    </a:lnTo>
                    <a:lnTo>
                      <a:pt x="1080" y="18509"/>
                    </a:lnTo>
                    <a:lnTo>
                      <a:pt x="1215" y="18434"/>
                    </a:lnTo>
                    <a:lnTo>
                      <a:pt x="1417" y="18434"/>
                    </a:lnTo>
                    <a:lnTo>
                      <a:pt x="1417" y="18170"/>
                    </a:lnTo>
                    <a:lnTo>
                      <a:pt x="1350" y="18094"/>
                    </a:lnTo>
                    <a:lnTo>
                      <a:pt x="1215" y="18094"/>
                    </a:lnTo>
                    <a:lnTo>
                      <a:pt x="1215" y="17906"/>
                    </a:lnTo>
                    <a:lnTo>
                      <a:pt x="1350" y="17830"/>
                    </a:lnTo>
                    <a:lnTo>
                      <a:pt x="1417" y="17830"/>
                    </a:lnTo>
                    <a:lnTo>
                      <a:pt x="1417" y="17642"/>
                    </a:lnTo>
                    <a:lnTo>
                      <a:pt x="1688" y="17642"/>
                    </a:lnTo>
                    <a:lnTo>
                      <a:pt x="1688" y="17566"/>
                    </a:lnTo>
                    <a:lnTo>
                      <a:pt x="1755" y="17566"/>
                    </a:lnTo>
                    <a:lnTo>
                      <a:pt x="1890" y="17529"/>
                    </a:lnTo>
                    <a:lnTo>
                      <a:pt x="1890" y="17453"/>
                    </a:lnTo>
                    <a:lnTo>
                      <a:pt x="1755" y="17378"/>
                    </a:lnTo>
                    <a:lnTo>
                      <a:pt x="1755" y="17340"/>
                    </a:lnTo>
                    <a:lnTo>
                      <a:pt x="1890" y="17265"/>
                    </a:lnTo>
                    <a:lnTo>
                      <a:pt x="1890" y="17190"/>
                    </a:lnTo>
                    <a:lnTo>
                      <a:pt x="2025" y="17190"/>
                    </a:lnTo>
                    <a:lnTo>
                      <a:pt x="2160" y="17114"/>
                    </a:lnTo>
                    <a:lnTo>
                      <a:pt x="2160" y="17001"/>
                    </a:lnTo>
                    <a:lnTo>
                      <a:pt x="2025" y="17001"/>
                    </a:lnTo>
                    <a:lnTo>
                      <a:pt x="2025" y="16850"/>
                    </a:lnTo>
                    <a:lnTo>
                      <a:pt x="1890" y="16850"/>
                    </a:lnTo>
                    <a:lnTo>
                      <a:pt x="1890" y="16737"/>
                    </a:lnTo>
                    <a:lnTo>
                      <a:pt x="2025" y="16737"/>
                    </a:lnTo>
                    <a:lnTo>
                      <a:pt x="2025" y="16662"/>
                    </a:lnTo>
                    <a:lnTo>
                      <a:pt x="2160" y="16662"/>
                    </a:lnTo>
                    <a:lnTo>
                      <a:pt x="2160" y="16549"/>
                    </a:lnTo>
                    <a:lnTo>
                      <a:pt x="2025" y="16473"/>
                    </a:lnTo>
                    <a:lnTo>
                      <a:pt x="2025" y="16285"/>
                    </a:lnTo>
                    <a:lnTo>
                      <a:pt x="2227" y="16285"/>
                    </a:lnTo>
                    <a:lnTo>
                      <a:pt x="2227" y="16209"/>
                    </a:lnTo>
                    <a:lnTo>
                      <a:pt x="2363" y="16209"/>
                    </a:lnTo>
                    <a:lnTo>
                      <a:pt x="2363" y="16134"/>
                    </a:lnTo>
                    <a:lnTo>
                      <a:pt x="2498" y="16134"/>
                    </a:lnTo>
                    <a:lnTo>
                      <a:pt x="2498" y="16021"/>
                    </a:lnTo>
                    <a:lnTo>
                      <a:pt x="2363" y="15946"/>
                    </a:lnTo>
                    <a:lnTo>
                      <a:pt x="2227" y="15946"/>
                    </a:lnTo>
                    <a:lnTo>
                      <a:pt x="2227" y="15870"/>
                    </a:lnTo>
                    <a:lnTo>
                      <a:pt x="2160" y="15795"/>
                    </a:lnTo>
                    <a:lnTo>
                      <a:pt x="1755" y="15795"/>
                    </a:lnTo>
                    <a:lnTo>
                      <a:pt x="1755" y="15757"/>
                    </a:lnTo>
                    <a:lnTo>
                      <a:pt x="1688" y="15757"/>
                    </a:lnTo>
                    <a:lnTo>
                      <a:pt x="1688" y="15682"/>
                    </a:lnTo>
                    <a:lnTo>
                      <a:pt x="2363" y="15682"/>
                    </a:lnTo>
                    <a:lnTo>
                      <a:pt x="2363" y="15757"/>
                    </a:lnTo>
                    <a:lnTo>
                      <a:pt x="2498" y="15757"/>
                    </a:lnTo>
                    <a:lnTo>
                      <a:pt x="2498" y="15606"/>
                    </a:lnTo>
                    <a:lnTo>
                      <a:pt x="2632" y="15606"/>
                    </a:lnTo>
                    <a:lnTo>
                      <a:pt x="2632" y="15531"/>
                    </a:lnTo>
                    <a:lnTo>
                      <a:pt x="2700" y="15531"/>
                    </a:lnTo>
                    <a:lnTo>
                      <a:pt x="2700" y="15493"/>
                    </a:lnTo>
                    <a:lnTo>
                      <a:pt x="2632" y="15493"/>
                    </a:lnTo>
                    <a:lnTo>
                      <a:pt x="2632" y="15418"/>
                    </a:lnTo>
                    <a:lnTo>
                      <a:pt x="2025" y="15418"/>
                    </a:lnTo>
                    <a:lnTo>
                      <a:pt x="1890" y="15342"/>
                    </a:lnTo>
                    <a:lnTo>
                      <a:pt x="1890" y="15267"/>
                    </a:lnTo>
                    <a:lnTo>
                      <a:pt x="2025" y="15267"/>
                    </a:lnTo>
                    <a:lnTo>
                      <a:pt x="2025" y="15154"/>
                    </a:lnTo>
                    <a:lnTo>
                      <a:pt x="2160" y="15079"/>
                    </a:lnTo>
                    <a:lnTo>
                      <a:pt x="2160" y="14965"/>
                    </a:lnTo>
                    <a:lnTo>
                      <a:pt x="2025" y="14890"/>
                    </a:lnTo>
                    <a:lnTo>
                      <a:pt x="2025" y="14739"/>
                    </a:lnTo>
                    <a:lnTo>
                      <a:pt x="1890" y="14739"/>
                    </a:lnTo>
                    <a:lnTo>
                      <a:pt x="1890" y="14626"/>
                    </a:lnTo>
                    <a:lnTo>
                      <a:pt x="2025" y="14551"/>
                    </a:lnTo>
                    <a:lnTo>
                      <a:pt x="2025" y="14475"/>
                    </a:lnTo>
                    <a:lnTo>
                      <a:pt x="1890" y="14475"/>
                    </a:lnTo>
                    <a:lnTo>
                      <a:pt x="1890" y="14438"/>
                    </a:lnTo>
                    <a:lnTo>
                      <a:pt x="1553" y="14438"/>
                    </a:lnTo>
                    <a:lnTo>
                      <a:pt x="1553" y="14174"/>
                    </a:lnTo>
                    <a:lnTo>
                      <a:pt x="1688" y="14174"/>
                    </a:lnTo>
                    <a:lnTo>
                      <a:pt x="1688" y="13835"/>
                    </a:lnTo>
                    <a:lnTo>
                      <a:pt x="1755" y="13835"/>
                    </a:lnTo>
                    <a:lnTo>
                      <a:pt x="1755" y="13759"/>
                    </a:lnTo>
                    <a:lnTo>
                      <a:pt x="2025" y="13759"/>
                    </a:lnTo>
                    <a:lnTo>
                      <a:pt x="2025" y="13571"/>
                    </a:lnTo>
                    <a:lnTo>
                      <a:pt x="1890" y="13571"/>
                    </a:lnTo>
                    <a:lnTo>
                      <a:pt x="1890" y="13495"/>
                    </a:lnTo>
                    <a:lnTo>
                      <a:pt x="1755" y="13495"/>
                    </a:lnTo>
                    <a:lnTo>
                      <a:pt x="1755" y="13231"/>
                    </a:lnTo>
                    <a:lnTo>
                      <a:pt x="1890" y="13118"/>
                    </a:lnTo>
                    <a:lnTo>
                      <a:pt x="1890" y="12779"/>
                    </a:lnTo>
                    <a:lnTo>
                      <a:pt x="1755" y="12779"/>
                    </a:lnTo>
                    <a:lnTo>
                      <a:pt x="1755" y="12666"/>
                    </a:lnTo>
                    <a:lnTo>
                      <a:pt x="1890" y="12666"/>
                    </a:lnTo>
                    <a:lnTo>
                      <a:pt x="1890" y="12515"/>
                    </a:lnTo>
                    <a:lnTo>
                      <a:pt x="2025" y="12515"/>
                    </a:lnTo>
                    <a:lnTo>
                      <a:pt x="2160" y="12440"/>
                    </a:lnTo>
                    <a:lnTo>
                      <a:pt x="2160" y="12402"/>
                    </a:lnTo>
                    <a:lnTo>
                      <a:pt x="2025" y="12402"/>
                    </a:lnTo>
                    <a:lnTo>
                      <a:pt x="1890" y="12327"/>
                    </a:lnTo>
                    <a:lnTo>
                      <a:pt x="1890" y="12251"/>
                    </a:lnTo>
                    <a:lnTo>
                      <a:pt x="2160" y="12251"/>
                    </a:lnTo>
                    <a:lnTo>
                      <a:pt x="2160" y="11912"/>
                    </a:lnTo>
                    <a:lnTo>
                      <a:pt x="2227" y="11912"/>
                    </a:lnTo>
                    <a:lnTo>
                      <a:pt x="2227" y="11874"/>
                    </a:lnTo>
                    <a:lnTo>
                      <a:pt x="2363" y="11874"/>
                    </a:lnTo>
                    <a:lnTo>
                      <a:pt x="2363" y="11460"/>
                    </a:lnTo>
                    <a:lnTo>
                      <a:pt x="2498" y="11384"/>
                    </a:lnTo>
                    <a:lnTo>
                      <a:pt x="2632" y="11384"/>
                    </a:lnTo>
                    <a:lnTo>
                      <a:pt x="2700" y="11347"/>
                    </a:lnTo>
                    <a:lnTo>
                      <a:pt x="2970" y="11347"/>
                    </a:lnTo>
                    <a:lnTo>
                      <a:pt x="2970" y="11120"/>
                    </a:lnTo>
                    <a:lnTo>
                      <a:pt x="2835" y="11120"/>
                    </a:lnTo>
                    <a:lnTo>
                      <a:pt x="2835" y="10743"/>
                    </a:lnTo>
                    <a:lnTo>
                      <a:pt x="2700" y="10743"/>
                    </a:lnTo>
                    <a:lnTo>
                      <a:pt x="2700" y="10480"/>
                    </a:lnTo>
                    <a:lnTo>
                      <a:pt x="2632" y="10404"/>
                    </a:lnTo>
                    <a:lnTo>
                      <a:pt x="2632" y="10291"/>
                    </a:lnTo>
                    <a:lnTo>
                      <a:pt x="2700" y="10216"/>
                    </a:lnTo>
                    <a:lnTo>
                      <a:pt x="2700" y="9763"/>
                    </a:lnTo>
                    <a:lnTo>
                      <a:pt x="3105" y="9763"/>
                    </a:lnTo>
                    <a:lnTo>
                      <a:pt x="3105" y="9688"/>
                    </a:lnTo>
                    <a:lnTo>
                      <a:pt x="3173" y="9688"/>
                    </a:lnTo>
                    <a:lnTo>
                      <a:pt x="3173" y="9575"/>
                    </a:lnTo>
                    <a:lnTo>
                      <a:pt x="3308" y="9575"/>
                    </a:lnTo>
                    <a:lnTo>
                      <a:pt x="3308" y="9499"/>
                    </a:lnTo>
                    <a:lnTo>
                      <a:pt x="3442" y="9499"/>
                    </a:lnTo>
                    <a:lnTo>
                      <a:pt x="3442" y="9047"/>
                    </a:lnTo>
                    <a:lnTo>
                      <a:pt x="3308" y="8972"/>
                    </a:lnTo>
                    <a:lnTo>
                      <a:pt x="3308" y="8821"/>
                    </a:lnTo>
                    <a:lnTo>
                      <a:pt x="3442" y="8821"/>
                    </a:lnTo>
                    <a:lnTo>
                      <a:pt x="3578" y="8783"/>
                    </a:lnTo>
                    <a:lnTo>
                      <a:pt x="3578" y="8557"/>
                    </a:lnTo>
                    <a:lnTo>
                      <a:pt x="3645" y="8557"/>
                    </a:lnTo>
                    <a:lnTo>
                      <a:pt x="3645" y="8444"/>
                    </a:lnTo>
                    <a:lnTo>
                      <a:pt x="3780" y="8369"/>
                    </a:lnTo>
                    <a:lnTo>
                      <a:pt x="3780" y="8256"/>
                    </a:lnTo>
                    <a:lnTo>
                      <a:pt x="4117" y="8256"/>
                    </a:lnTo>
                    <a:lnTo>
                      <a:pt x="4117" y="8105"/>
                    </a:lnTo>
                    <a:lnTo>
                      <a:pt x="4050" y="8105"/>
                    </a:lnTo>
                    <a:lnTo>
                      <a:pt x="4050" y="7916"/>
                    </a:lnTo>
                    <a:lnTo>
                      <a:pt x="4117" y="7916"/>
                    </a:lnTo>
                    <a:lnTo>
                      <a:pt x="4117" y="7841"/>
                    </a:lnTo>
                    <a:lnTo>
                      <a:pt x="4050" y="7841"/>
                    </a:lnTo>
                    <a:lnTo>
                      <a:pt x="4050" y="7765"/>
                    </a:lnTo>
                    <a:lnTo>
                      <a:pt x="4117" y="7765"/>
                    </a:lnTo>
                    <a:lnTo>
                      <a:pt x="4117" y="7577"/>
                    </a:lnTo>
                    <a:lnTo>
                      <a:pt x="3915" y="7577"/>
                    </a:lnTo>
                    <a:lnTo>
                      <a:pt x="3915" y="7464"/>
                    </a:lnTo>
                    <a:lnTo>
                      <a:pt x="3780" y="7388"/>
                    </a:lnTo>
                    <a:lnTo>
                      <a:pt x="3915" y="7313"/>
                    </a:lnTo>
                    <a:lnTo>
                      <a:pt x="3915" y="7238"/>
                    </a:lnTo>
                    <a:lnTo>
                      <a:pt x="3780" y="7200"/>
                    </a:lnTo>
                    <a:lnTo>
                      <a:pt x="3780" y="6974"/>
                    </a:lnTo>
                    <a:lnTo>
                      <a:pt x="3645" y="6974"/>
                    </a:lnTo>
                    <a:lnTo>
                      <a:pt x="3645" y="6861"/>
                    </a:lnTo>
                    <a:lnTo>
                      <a:pt x="3578" y="6861"/>
                    </a:lnTo>
                    <a:lnTo>
                      <a:pt x="3578" y="6672"/>
                    </a:lnTo>
                    <a:lnTo>
                      <a:pt x="3645" y="6672"/>
                    </a:lnTo>
                    <a:lnTo>
                      <a:pt x="3645" y="6597"/>
                    </a:lnTo>
                    <a:lnTo>
                      <a:pt x="3442" y="6484"/>
                    </a:lnTo>
                    <a:lnTo>
                      <a:pt x="3442" y="6333"/>
                    </a:lnTo>
                    <a:lnTo>
                      <a:pt x="3308" y="6333"/>
                    </a:lnTo>
                    <a:lnTo>
                      <a:pt x="3308" y="6145"/>
                    </a:lnTo>
                    <a:lnTo>
                      <a:pt x="3442" y="6145"/>
                    </a:lnTo>
                    <a:lnTo>
                      <a:pt x="3442" y="6069"/>
                    </a:lnTo>
                    <a:lnTo>
                      <a:pt x="3578" y="6069"/>
                    </a:lnTo>
                    <a:lnTo>
                      <a:pt x="3578" y="5994"/>
                    </a:lnTo>
                    <a:lnTo>
                      <a:pt x="3645" y="5994"/>
                    </a:lnTo>
                    <a:lnTo>
                      <a:pt x="3578" y="5956"/>
                    </a:lnTo>
                    <a:lnTo>
                      <a:pt x="3578" y="5805"/>
                    </a:lnTo>
                    <a:lnTo>
                      <a:pt x="3645" y="5805"/>
                    </a:lnTo>
                    <a:lnTo>
                      <a:pt x="3645" y="5617"/>
                    </a:lnTo>
                    <a:lnTo>
                      <a:pt x="3780" y="5617"/>
                    </a:lnTo>
                    <a:lnTo>
                      <a:pt x="3780" y="5541"/>
                    </a:lnTo>
                    <a:lnTo>
                      <a:pt x="4050" y="5541"/>
                    </a:lnTo>
                    <a:lnTo>
                      <a:pt x="4050" y="5466"/>
                    </a:lnTo>
                    <a:lnTo>
                      <a:pt x="4117" y="5466"/>
                    </a:lnTo>
                    <a:lnTo>
                      <a:pt x="4117" y="5428"/>
                    </a:lnTo>
                    <a:lnTo>
                      <a:pt x="4050" y="5428"/>
                    </a:lnTo>
                    <a:lnTo>
                      <a:pt x="4050" y="5353"/>
                    </a:lnTo>
                    <a:lnTo>
                      <a:pt x="3915" y="5353"/>
                    </a:lnTo>
                    <a:lnTo>
                      <a:pt x="3915" y="5277"/>
                    </a:lnTo>
                    <a:lnTo>
                      <a:pt x="4050" y="5277"/>
                    </a:lnTo>
                    <a:lnTo>
                      <a:pt x="4050" y="5164"/>
                    </a:lnTo>
                    <a:lnTo>
                      <a:pt x="3915" y="5089"/>
                    </a:lnTo>
                    <a:lnTo>
                      <a:pt x="3915" y="4825"/>
                    </a:lnTo>
                    <a:lnTo>
                      <a:pt x="4050" y="4825"/>
                    </a:lnTo>
                    <a:lnTo>
                      <a:pt x="4050" y="4637"/>
                    </a:lnTo>
                    <a:lnTo>
                      <a:pt x="4117" y="4637"/>
                    </a:lnTo>
                    <a:lnTo>
                      <a:pt x="4117" y="4486"/>
                    </a:lnTo>
                    <a:lnTo>
                      <a:pt x="4252" y="4486"/>
                    </a:lnTo>
                    <a:lnTo>
                      <a:pt x="4252" y="4297"/>
                    </a:lnTo>
                    <a:lnTo>
                      <a:pt x="4387" y="4297"/>
                    </a:lnTo>
                    <a:lnTo>
                      <a:pt x="4387" y="4147"/>
                    </a:lnTo>
                    <a:lnTo>
                      <a:pt x="4523" y="4147"/>
                    </a:lnTo>
                    <a:lnTo>
                      <a:pt x="4590" y="4109"/>
                    </a:lnTo>
                    <a:lnTo>
                      <a:pt x="4590" y="4034"/>
                    </a:lnTo>
                    <a:lnTo>
                      <a:pt x="4725" y="3958"/>
                    </a:lnTo>
                    <a:lnTo>
                      <a:pt x="4860" y="3958"/>
                    </a:lnTo>
                    <a:lnTo>
                      <a:pt x="4860" y="3845"/>
                    </a:lnTo>
                    <a:lnTo>
                      <a:pt x="4995" y="3845"/>
                    </a:lnTo>
                    <a:lnTo>
                      <a:pt x="4995" y="3694"/>
                    </a:lnTo>
                    <a:lnTo>
                      <a:pt x="5063" y="3619"/>
                    </a:lnTo>
                    <a:lnTo>
                      <a:pt x="5063" y="3581"/>
                    </a:lnTo>
                    <a:lnTo>
                      <a:pt x="5198" y="3506"/>
                    </a:lnTo>
                    <a:lnTo>
                      <a:pt x="5198" y="3430"/>
                    </a:lnTo>
                    <a:lnTo>
                      <a:pt x="5333" y="3506"/>
                    </a:lnTo>
                    <a:lnTo>
                      <a:pt x="5468" y="3506"/>
                    </a:lnTo>
                    <a:lnTo>
                      <a:pt x="5468" y="3430"/>
                    </a:lnTo>
                    <a:lnTo>
                      <a:pt x="5670" y="3430"/>
                    </a:lnTo>
                    <a:lnTo>
                      <a:pt x="5670" y="3355"/>
                    </a:lnTo>
                    <a:lnTo>
                      <a:pt x="5805" y="3355"/>
                    </a:lnTo>
                    <a:lnTo>
                      <a:pt x="5805" y="3317"/>
                    </a:lnTo>
                    <a:lnTo>
                      <a:pt x="5670" y="3317"/>
                    </a:lnTo>
                    <a:lnTo>
                      <a:pt x="5670" y="3242"/>
                    </a:lnTo>
                    <a:lnTo>
                      <a:pt x="5535" y="3242"/>
                    </a:lnTo>
                    <a:lnTo>
                      <a:pt x="5535" y="3129"/>
                    </a:lnTo>
                    <a:lnTo>
                      <a:pt x="5468" y="3053"/>
                    </a:lnTo>
                    <a:lnTo>
                      <a:pt x="5468" y="2262"/>
                    </a:lnTo>
                    <a:lnTo>
                      <a:pt x="5535" y="2262"/>
                    </a:lnTo>
                    <a:lnTo>
                      <a:pt x="5535" y="2186"/>
                    </a:lnTo>
                    <a:lnTo>
                      <a:pt x="5670" y="2186"/>
                    </a:lnTo>
                    <a:lnTo>
                      <a:pt x="5670" y="2111"/>
                    </a:lnTo>
                    <a:lnTo>
                      <a:pt x="5535" y="2111"/>
                    </a:lnTo>
                    <a:lnTo>
                      <a:pt x="5535" y="2073"/>
                    </a:lnTo>
                    <a:lnTo>
                      <a:pt x="5468" y="1998"/>
                    </a:lnTo>
                    <a:lnTo>
                      <a:pt x="5468" y="1847"/>
                    </a:lnTo>
                    <a:lnTo>
                      <a:pt x="5535" y="1847"/>
                    </a:lnTo>
                    <a:lnTo>
                      <a:pt x="5535" y="1809"/>
                    </a:lnTo>
                    <a:lnTo>
                      <a:pt x="5670" y="1809"/>
                    </a:lnTo>
                    <a:lnTo>
                      <a:pt x="5805" y="1734"/>
                    </a:lnTo>
                    <a:lnTo>
                      <a:pt x="5940" y="1734"/>
                    </a:lnTo>
                    <a:lnTo>
                      <a:pt x="5940" y="1659"/>
                    </a:lnTo>
                    <a:lnTo>
                      <a:pt x="6278" y="1659"/>
                    </a:lnTo>
                    <a:lnTo>
                      <a:pt x="6278" y="1583"/>
                    </a:lnTo>
                    <a:lnTo>
                      <a:pt x="6413" y="1583"/>
                    </a:lnTo>
                    <a:lnTo>
                      <a:pt x="6480" y="1546"/>
                    </a:lnTo>
                    <a:lnTo>
                      <a:pt x="6750" y="1546"/>
                    </a:lnTo>
                    <a:lnTo>
                      <a:pt x="6750" y="1470"/>
                    </a:lnTo>
                    <a:lnTo>
                      <a:pt x="6885" y="1395"/>
                    </a:lnTo>
                    <a:lnTo>
                      <a:pt x="6885" y="1319"/>
                    </a:lnTo>
                    <a:lnTo>
                      <a:pt x="6952" y="1282"/>
                    </a:lnTo>
                    <a:lnTo>
                      <a:pt x="6952" y="1055"/>
                    </a:lnTo>
                    <a:lnTo>
                      <a:pt x="7088" y="1018"/>
                    </a:lnTo>
                    <a:lnTo>
                      <a:pt x="7088" y="867"/>
                    </a:lnTo>
                    <a:lnTo>
                      <a:pt x="7223" y="867"/>
                    </a:lnTo>
                    <a:lnTo>
                      <a:pt x="7223" y="792"/>
                    </a:lnTo>
                    <a:lnTo>
                      <a:pt x="7088" y="792"/>
                    </a:lnTo>
                    <a:lnTo>
                      <a:pt x="7088" y="754"/>
                    </a:lnTo>
                    <a:lnTo>
                      <a:pt x="6952" y="754"/>
                    </a:lnTo>
                    <a:lnTo>
                      <a:pt x="6952" y="679"/>
                    </a:lnTo>
                    <a:lnTo>
                      <a:pt x="7088" y="679"/>
                    </a:lnTo>
                    <a:lnTo>
                      <a:pt x="7088" y="603"/>
                    </a:lnTo>
                    <a:lnTo>
                      <a:pt x="7223" y="528"/>
                    </a:lnTo>
                    <a:lnTo>
                      <a:pt x="7223" y="490"/>
                    </a:lnTo>
                    <a:lnTo>
                      <a:pt x="7425" y="490"/>
                    </a:lnTo>
                    <a:lnTo>
                      <a:pt x="7425" y="339"/>
                    </a:lnTo>
                    <a:lnTo>
                      <a:pt x="7560" y="339"/>
                    </a:lnTo>
                    <a:lnTo>
                      <a:pt x="7695" y="264"/>
                    </a:lnTo>
                    <a:lnTo>
                      <a:pt x="7898" y="264"/>
                    </a:lnTo>
                    <a:lnTo>
                      <a:pt x="7898" y="151"/>
                    </a:lnTo>
                    <a:lnTo>
                      <a:pt x="8032" y="151"/>
                    </a:lnTo>
                    <a:lnTo>
                      <a:pt x="8032" y="0"/>
                    </a:lnTo>
                    <a:close/>
                    <a:moveTo>
                      <a:pt x="8032" y="0"/>
                    </a:moveTo>
                  </a:path>
                </a:pathLst>
              </a:custGeom>
              <a:solidFill>
                <a:srgbClr val="00BACF"/>
              </a:solidFill>
              <a:ln w="12700">
                <a:solidFill>
                  <a:srgbClr val="FFFFFF"/>
                </a:solidFill>
                <a:round/>
                <a:headEnd/>
                <a:tailEnd/>
              </a:ln>
            </p:spPr>
            <p:txBody>
              <a:bodyPr lIns="0" tIns="0" rIns="0" bIns="0"/>
              <a:lstStyle/>
              <a:p>
                <a:endParaRPr lang="es-ES"/>
              </a:p>
            </p:txBody>
          </p:sp>
          <p:sp>
            <p:nvSpPr>
              <p:cNvPr id="15433" name="Freeform 78"/>
              <p:cNvSpPr>
                <a:spLocks/>
              </p:cNvSpPr>
              <p:nvPr/>
            </p:nvSpPr>
            <p:spPr bwMode="auto">
              <a:xfrm>
                <a:off x="2565" y="1063"/>
                <a:ext cx="35" cy="4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1600"/>
                  <a:gd name="T49" fmla="*/ 0 h 21600"/>
                  <a:gd name="T50" fmla="*/ 21600 w 21600"/>
                  <a:gd name="T51" fmla="*/ 21600 h 2160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1600" h="21600">
                    <a:moveTo>
                      <a:pt x="18000" y="0"/>
                    </a:moveTo>
                    <a:lnTo>
                      <a:pt x="21600" y="0"/>
                    </a:lnTo>
                    <a:lnTo>
                      <a:pt x="21600" y="4629"/>
                    </a:lnTo>
                    <a:lnTo>
                      <a:pt x="18000" y="4629"/>
                    </a:lnTo>
                    <a:lnTo>
                      <a:pt x="18000" y="18514"/>
                    </a:lnTo>
                    <a:lnTo>
                      <a:pt x="5400" y="18514"/>
                    </a:lnTo>
                    <a:lnTo>
                      <a:pt x="1800" y="21600"/>
                    </a:lnTo>
                    <a:lnTo>
                      <a:pt x="0" y="18514"/>
                    </a:lnTo>
                    <a:lnTo>
                      <a:pt x="0" y="15429"/>
                    </a:lnTo>
                    <a:lnTo>
                      <a:pt x="5400" y="15429"/>
                    </a:lnTo>
                    <a:lnTo>
                      <a:pt x="5400" y="7714"/>
                    </a:lnTo>
                    <a:lnTo>
                      <a:pt x="1800" y="4629"/>
                    </a:lnTo>
                    <a:lnTo>
                      <a:pt x="1800" y="1543"/>
                    </a:lnTo>
                    <a:lnTo>
                      <a:pt x="18000" y="1543"/>
                    </a:lnTo>
                    <a:lnTo>
                      <a:pt x="18000" y="0"/>
                    </a:lnTo>
                    <a:close/>
                    <a:moveTo>
                      <a:pt x="18000" y="0"/>
                    </a:moveTo>
                  </a:path>
                </a:pathLst>
              </a:custGeom>
              <a:solidFill>
                <a:srgbClr val="00BACF"/>
              </a:solidFill>
              <a:ln w="12700">
                <a:solidFill>
                  <a:srgbClr val="FFFFFF"/>
                </a:solidFill>
                <a:round/>
                <a:headEnd/>
                <a:tailEnd/>
              </a:ln>
            </p:spPr>
            <p:txBody>
              <a:bodyPr lIns="0" tIns="0" rIns="0" bIns="0"/>
              <a:lstStyle/>
              <a:p>
                <a:endParaRPr lang="es-ES"/>
              </a:p>
            </p:txBody>
          </p:sp>
          <p:sp>
            <p:nvSpPr>
              <p:cNvPr id="15434" name="AutoShape 79"/>
              <p:cNvSpPr>
                <a:spLocks/>
              </p:cNvSpPr>
              <p:nvPr/>
            </p:nvSpPr>
            <p:spPr bwMode="auto">
              <a:xfrm>
                <a:off x="161" y="155"/>
                <a:ext cx="26" cy="3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600"/>
                  <a:gd name="T61" fmla="*/ 0 h 21600"/>
                  <a:gd name="T62" fmla="*/ 21600 w 21600"/>
                  <a:gd name="T63" fmla="*/ 21600 h 2160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600" h="21600">
                    <a:moveTo>
                      <a:pt x="16800" y="17673"/>
                    </a:moveTo>
                    <a:lnTo>
                      <a:pt x="21600" y="17673"/>
                    </a:lnTo>
                    <a:lnTo>
                      <a:pt x="21600" y="21600"/>
                    </a:lnTo>
                    <a:lnTo>
                      <a:pt x="16800" y="21600"/>
                    </a:lnTo>
                    <a:lnTo>
                      <a:pt x="16800" y="17673"/>
                    </a:lnTo>
                    <a:close/>
                    <a:moveTo>
                      <a:pt x="7200" y="11782"/>
                    </a:moveTo>
                    <a:lnTo>
                      <a:pt x="16800" y="11782"/>
                    </a:lnTo>
                    <a:lnTo>
                      <a:pt x="16800" y="17673"/>
                    </a:lnTo>
                    <a:lnTo>
                      <a:pt x="7200" y="17673"/>
                    </a:lnTo>
                    <a:lnTo>
                      <a:pt x="7200" y="11782"/>
                    </a:lnTo>
                    <a:close/>
                    <a:moveTo>
                      <a:pt x="4800" y="3927"/>
                    </a:moveTo>
                    <a:lnTo>
                      <a:pt x="7200" y="3927"/>
                    </a:lnTo>
                    <a:lnTo>
                      <a:pt x="7200" y="11782"/>
                    </a:lnTo>
                    <a:lnTo>
                      <a:pt x="4800" y="11782"/>
                    </a:lnTo>
                    <a:lnTo>
                      <a:pt x="4800" y="3927"/>
                    </a:lnTo>
                    <a:close/>
                    <a:moveTo>
                      <a:pt x="0" y="0"/>
                    </a:moveTo>
                    <a:lnTo>
                      <a:pt x="4800" y="0"/>
                    </a:lnTo>
                    <a:lnTo>
                      <a:pt x="4800" y="3927"/>
                    </a:lnTo>
                    <a:lnTo>
                      <a:pt x="0" y="0"/>
                    </a:lnTo>
                    <a:close/>
                    <a:moveTo>
                      <a:pt x="0" y="0"/>
                    </a:moveTo>
                  </a:path>
                </a:pathLst>
              </a:custGeom>
              <a:solidFill>
                <a:srgbClr val="00BACF"/>
              </a:solidFill>
              <a:ln w="12700">
                <a:solidFill>
                  <a:srgbClr val="FFFFFF"/>
                </a:solidFill>
                <a:round/>
                <a:headEnd/>
                <a:tailEnd/>
              </a:ln>
            </p:spPr>
            <p:txBody>
              <a:bodyPr lIns="0" tIns="0" rIns="0" bIns="0"/>
              <a:lstStyle/>
              <a:p>
                <a:endParaRPr lang="es-ES"/>
              </a:p>
            </p:txBody>
          </p:sp>
          <p:sp>
            <p:nvSpPr>
              <p:cNvPr id="15435" name="AutoShape 80"/>
              <p:cNvSpPr>
                <a:spLocks/>
              </p:cNvSpPr>
              <p:nvPr/>
            </p:nvSpPr>
            <p:spPr bwMode="auto">
              <a:xfrm>
                <a:off x="0" y="0"/>
                <a:ext cx="1404" cy="89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w 21600"/>
                  <a:gd name="T117" fmla="*/ 0 h 21600"/>
                  <a:gd name="T118" fmla="*/ 0 w 21600"/>
                  <a:gd name="T119" fmla="*/ 0 h 2160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1600"/>
                  <a:gd name="T181" fmla="*/ 0 h 21600"/>
                  <a:gd name="T182" fmla="*/ 21600 w 21600"/>
                  <a:gd name="T183" fmla="*/ 21600 h 2160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1600" h="21600">
                    <a:moveTo>
                      <a:pt x="16189" y="19643"/>
                    </a:moveTo>
                    <a:lnTo>
                      <a:pt x="16278" y="19643"/>
                    </a:lnTo>
                    <a:lnTo>
                      <a:pt x="16322" y="19783"/>
                    </a:lnTo>
                    <a:lnTo>
                      <a:pt x="16189" y="19783"/>
                    </a:lnTo>
                    <a:lnTo>
                      <a:pt x="16189" y="19643"/>
                    </a:lnTo>
                    <a:close/>
                    <a:moveTo>
                      <a:pt x="15036" y="16847"/>
                    </a:moveTo>
                    <a:lnTo>
                      <a:pt x="15036" y="16986"/>
                    </a:lnTo>
                    <a:lnTo>
                      <a:pt x="15080" y="16986"/>
                    </a:lnTo>
                    <a:lnTo>
                      <a:pt x="15080" y="16847"/>
                    </a:lnTo>
                    <a:lnTo>
                      <a:pt x="15036" y="16847"/>
                    </a:lnTo>
                    <a:close/>
                    <a:moveTo>
                      <a:pt x="21068" y="15798"/>
                    </a:moveTo>
                    <a:lnTo>
                      <a:pt x="21156" y="15798"/>
                    </a:lnTo>
                    <a:lnTo>
                      <a:pt x="21156" y="15868"/>
                    </a:lnTo>
                    <a:lnTo>
                      <a:pt x="21068" y="15868"/>
                    </a:lnTo>
                    <a:lnTo>
                      <a:pt x="21068" y="15798"/>
                    </a:lnTo>
                    <a:close/>
                    <a:moveTo>
                      <a:pt x="13927" y="13212"/>
                    </a:moveTo>
                    <a:lnTo>
                      <a:pt x="14016" y="13212"/>
                    </a:lnTo>
                    <a:lnTo>
                      <a:pt x="14016" y="13351"/>
                    </a:lnTo>
                    <a:lnTo>
                      <a:pt x="14104" y="13351"/>
                    </a:lnTo>
                    <a:lnTo>
                      <a:pt x="14104" y="13561"/>
                    </a:lnTo>
                    <a:lnTo>
                      <a:pt x="14016" y="13701"/>
                    </a:lnTo>
                    <a:lnTo>
                      <a:pt x="14016" y="13421"/>
                    </a:lnTo>
                    <a:lnTo>
                      <a:pt x="13927" y="13351"/>
                    </a:lnTo>
                    <a:lnTo>
                      <a:pt x="13927" y="13212"/>
                    </a:lnTo>
                    <a:close/>
                    <a:moveTo>
                      <a:pt x="13794" y="10276"/>
                    </a:moveTo>
                    <a:lnTo>
                      <a:pt x="13705" y="10416"/>
                    </a:lnTo>
                    <a:lnTo>
                      <a:pt x="13794" y="10485"/>
                    </a:lnTo>
                    <a:lnTo>
                      <a:pt x="13794" y="10276"/>
                    </a:lnTo>
                    <a:close/>
                    <a:moveTo>
                      <a:pt x="13794" y="9647"/>
                    </a:moveTo>
                    <a:lnTo>
                      <a:pt x="13794" y="9926"/>
                    </a:lnTo>
                    <a:lnTo>
                      <a:pt x="13705" y="9926"/>
                    </a:lnTo>
                    <a:lnTo>
                      <a:pt x="13794" y="9996"/>
                    </a:lnTo>
                    <a:lnTo>
                      <a:pt x="13883" y="9647"/>
                    </a:lnTo>
                    <a:lnTo>
                      <a:pt x="13794" y="9647"/>
                    </a:lnTo>
                    <a:close/>
                    <a:moveTo>
                      <a:pt x="1641" y="0"/>
                    </a:moveTo>
                    <a:lnTo>
                      <a:pt x="1730" y="0"/>
                    </a:lnTo>
                    <a:lnTo>
                      <a:pt x="1730" y="280"/>
                    </a:lnTo>
                    <a:lnTo>
                      <a:pt x="1774" y="280"/>
                    </a:lnTo>
                    <a:lnTo>
                      <a:pt x="2040" y="419"/>
                    </a:lnTo>
                    <a:lnTo>
                      <a:pt x="2484" y="769"/>
                    </a:lnTo>
                    <a:lnTo>
                      <a:pt x="3105" y="979"/>
                    </a:lnTo>
                    <a:lnTo>
                      <a:pt x="3726" y="1398"/>
                    </a:lnTo>
                    <a:lnTo>
                      <a:pt x="4435" y="1748"/>
                    </a:lnTo>
                    <a:lnTo>
                      <a:pt x="6343" y="1748"/>
                    </a:lnTo>
                    <a:lnTo>
                      <a:pt x="6343" y="1258"/>
                    </a:lnTo>
                    <a:lnTo>
                      <a:pt x="7496" y="1258"/>
                    </a:lnTo>
                    <a:lnTo>
                      <a:pt x="8738" y="2726"/>
                    </a:lnTo>
                    <a:lnTo>
                      <a:pt x="8738" y="2796"/>
                    </a:lnTo>
                    <a:lnTo>
                      <a:pt x="8826" y="2936"/>
                    </a:lnTo>
                    <a:lnTo>
                      <a:pt x="8826" y="3425"/>
                    </a:lnTo>
                    <a:lnTo>
                      <a:pt x="8915" y="3565"/>
                    </a:lnTo>
                    <a:lnTo>
                      <a:pt x="8915" y="3705"/>
                    </a:lnTo>
                    <a:lnTo>
                      <a:pt x="9004" y="3705"/>
                    </a:lnTo>
                    <a:lnTo>
                      <a:pt x="9004" y="3775"/>
                    </a:lnTo>
                    <a:lnTo>
                      <a:pt x="9048" y="3775"/>
                    </a:lnTo>
                    <a:lnTo>
                      <a:pt x="9048" y="3915"/>
                    </a:lnTo>
                    <a:lnTo>
                      <a:pt x="9137" y="3915"/>
                    </a:lnTo>
                    <a:lnTo>
                      <a:pt x="9137" y="4054"/>
                    </a:lnTo>
                    <a:lnTo>
                      <a:pt x="9314" y="4054"/>
                    </a:lnTo>
                    <a:lnTo>
                      <a:pt x="9314" y="4194"/>
                    </a:lnTo>
                    <a:lnTo>
                      <a:pt x="9359" y="4194"/>
                    </a:lnTo>
                    <a:lnTo>
                      <a:pt x="9359" y="4264"/>
                    </a:lnTo>
                    <a:lnTo>
                      <a:pt x="9625" y="4264"/>
                    </a:lnTo>
                    <a:lnTo>
                      <a:pt x="9625" y="4404"/>
                    </a:lnTo>
                    <a:lnTo>
                      <a:pt x="9758" y="4404"/>
                    </a:lnTo>
                    <a:lnTo>
                      <a:pt x="9846" y="4544"/>
                    </a:lnTo>
                    <a:lnTo>
                      <a:pt x="10068" y="4544"/>
                    </a:lnTo>
                    <a:lnTo>
                      <a:pt x="10068" y="4264"/>
                    </a:lnTo>
                    <a:lnTo>
                      <a:pt x="10246" y="4054"/>
                    </a:lnTo>
                    <a:lnTo>
                      <a:pt x="10246" y="3915"/>
                    </a:lnTo>
                    <a:lnTo>
                      <a:pt x="10290" y="3775"/>
                    </a:lnTo>
                    <a:lnTo>
                      <a:pt x="10290" y="3705"/>
                    </a:lnTo>
                    <a:lnTo>
                      <a:pt x="10556" y="3705"/>
                    </a:lnTo>
                    <a:lnTo>
                      <a:pt x="10556" y="3425"/>
                    </a:lnTo>
                    <a:lnTo>
                      <a:pt x="10689" y="3425"/>
                    </a:lnTo>
                    <a:lnTo>
                      <a:pt x="10689" y="3565"/>
                    </a:lnTo>
                    <a:lnTo>
                      <a:pt x="10822" y="3565"/>
                    </a:lnTo>
                    <a:lnTo>
                      <a:pt x="10911" y="3705"/>
                    </a:lnTo>
                    <a:lnTo>
                      <a:pt x="11088" y="3705"/>
                    </a:lnTo>
                    <a:lnTo>
                      <a:pt x="11088" y="3565"/>
                    </a:lnTo>
                    <a:lnTo>
                      <a:pt x="11133" y="3565"/>
                    </a:lnTo>
                    <a:lnTo>
                      <a:pt x="11310" y="3775"/>
                    </a:lnTo>
                    <a:lnTo>
                      <a:pt x="11443" y="3915"/>
                    </a:lnTo>
                    <a:lnTo>
                      <a:pt x="11532" y="4054"/>
                    </a:lnTo>
                    <a:lnTo>
                      <a:pt x="11621" y="4264"/>
                    </a:lnTo>
                    <a:lnTo>
                      <a:pt x="11709" y="4404"/>
                    </a:lnTo>
                    <a:lnTo>
                      <a:pt x="11709" y="4683"/>
                    </a:lnTo>
                    <a:lnTo>
                      <a:pt x="11754" y="4683"/>
                    </a:lnTo>
                    <a:lnTo>
                      <a:pt x="11754" y="4753"/>
                    </a:lnTo>
                    <a:lnTo>
                      <a:pt x="11842" y="4893"/>
                    </a:lnTo>
                    <a:lnTo>
                      <a:pt x="11842" y="5033"/>
                    </a:lnTo>
                    <a:lnTo>
                      <a:pt x="12020" y="5243"/>
                    </a:lnTo>
                    <a:lnTo>
                      <a:pt x="12020" y="5383"/>
                    </a:lnTo>
                    <a:lnTo>
                      <a:pt x="12153" y="5662"/>
                    </a:lnTo>
                    <a:lnTo>
                      <a:pt x="12153" y="5732"/>
                    </a:lnTo>
                    <a:lnTo>
                      <a:pt x="12241" y="5732"/>
                    </a:lnTo>
                    <a:lnTo>
                      <a:pt x="12241" y="5872"/>
                    </a:lnTo>
                    <a:lnTo>
                      <a:pt x="12330" y="6012"/>
                    </a:lnTo>
                    <a:lnTo>
                      <a:pt x="12330" y="6151"/>
                    </a:lnTo>
                    <a:lnTo>
                      <a:pt x="12375" y="6151"/>
                    </a:lnTo>
                    <a:lnTo>
                      <a:pt x="12375" y="6221"/>
                    </a:lnTo>
                    <a:lnTo>
                      <a:pt x="12552" y="6221"/>
                    </a:lnTo>
                    <a:lnTo>
                      <a:pt x="12552" y="6641"/>
                    </a:lnTo>
                    <a:lnTo>
                      <a:pt x="12641" y="6850"/>
                    </a:lnTo>
                    <a:lnTo>
                      <a:pt x="12641" y="7130"/>
                    </a:lnTo>
                    <a:lnTo>
                      <a:pt x="12685" y="7130"/>
                    </a:lnTo>
                    <a:lnTo>
                      <a:pt x="12685" y="7480"/>
                    </a:lnTo>
                    <a:lnTo>
                      <a:pt x="12774" y="7619"/>
                    </a:lnTo>
                    <a:lnTo>
                      <a:pt x="12774" y="7689"/>
                    </a:lnTo>
                    <a:lnTo>
                      <a:pt x="12862" y="7829"/>
                    </a:lnTo>
                    <a:lnTo>
                      <a:pt x="13173" y="7829"/>
                    </a:lnTo>
                    <a:lnTo>
                      <a:pt x="13173" y="7969"/>
                    </a:lnTo>
                    <a:lnTo>
                      <a:pt x="13306" y="7969"/>
                    </a:lnTo>
                    <a:lnTo>
                      <a:pt x="13306" y="8109"/>
                    </a:lnTo>
                    <a:lnTo>
                      <a:pt x="13794" y="8109"/>
                    </a:lnTo>
                    <a:lnTo>
                      <a:pt x="13794" y="8179"/>
                    </a:lnTo>
                    <a:lnTo>
                      <a:pt x="13883" y="8179"/>
                    </a:lnTo>
                    <a:lnTo>
                      <a:pt x="13883" y="8318"/>
                    </a:lnTo>
                    <a:lnTo>
                      <a:pt x="14193" y="8318"/>
                    </a:lnTo>
                    <a:lnTo>
                      <a:pt x="14193" y="8598"/>
                    </a:lnTo>
                    <a:lnTo>
                      <a:pt x="14104" y="8598"/>
                    </a:lnTo>
                    <a:lnTo>
                      <a:pt x="14104" y="8948"/>
                    </a:lnTo>
                    <a:lnTo>
                      <a:pt x="14016" y="8948"/>
                    </a:lnTo>
                    <a:lnTo>
                      <a:pt x="14016" y="8808"/>
                    </a:lnTo>
                    <a:lnTo>
                      <a:pt x="13927" y="8808"/>
                    </a:lnTo>
                    <a:lnTo>
                      <a:pt x="13927" y="9087"/>
                    </a:lnTo>
                    <a:lnTo>
                      <a:pt x="13794" y="9087"/>
                    </a:lnTo>
                    <a:lnTo>
                      <a:pt x="13794" y="9437"/>
                    </a:lnTo>
                    <a:lnTo>
                      <a:pt x="13883" y="9437"/>
                    </a:lnTo>
                    <a:lnTo>
                      <a:pt x="13883" y="9507"/>
                    </a:lnTo>
                    <a:lnTo>
                      <a:pt x="13927" y="9437"/>
                    </a:lnTo>
                    <a:lnTo>
                      <a:pt x="13927" y="9507"/>
                    </a:lnTo>
                    <a:lnTo>
                      <a:pt x="13883" y="9786"/>
                    </a:lnTo>
                    <a:lnTo>
                      <a:pt x="13883" y="10625"/>
                    </a:lnTo>
                    <a:lnTo>
                      <a:pt x="13794" y="10625"/>
                    </a:lnTo>
                    <a:lnTo>
                      <a:pt x="13794" y="11744"/>
                    </a:lnTo>
                    <a:lnTo>
                      <a:pt x="13705" y="11744"/>
                    </a:lnTo>
                    <a:lnTo>
                      <a:pt x="13705" y="12583"/>
                    </a:lnTo>
                    <a:lnTo>
                      <a:pt x="13794" y="12722"/>
                    </a:lnTo>
                    <a:lnTo>
                      <a:pt x="13794" y="12932"/>
                    </a:lnTo>
                    <a:lnTo>
                      <a:pt x="13883" y="12932"/>
                    </a:lnTo>
                    <a:lnTo>
                      <a:pt x="13883" y="13072"/>
                    </a:lnTo>
                    <a:lnTo>
                      <a:pt x="13927" y="13072"/>
                    </a:lnTo>
                    <a:lnTo>
                      <a:pt x="13927" y="13212"/>
                    </a:lnTo>
                    <a:lnTo>
                      <a:pt x="13883" y="13212"/>
                    </a:lnTo>
                    <a:lnTo>
                      <a:pt x="13883" y="13421"/>
                    </a:lnTo>
                    <a:lnTo>
                      <a:pt x="13927" y="13561"/>
                    </a:lnTo>
                    <a:lnTo>
                      <a:pt x="13927" y="13701"/>
                    </a:lnTo>
                    <a:lnTo>
                      <a:pt x="14016" y="13701"/>
                    </a:lnTo>
                    <a:lnTo>
                      <a:pt x="14016" y="13911"/>
                    </a:lnTo>
                    <a:lnTo>
                      <a:pt x="14104" y="14190"/>
                    </a:lnTo>
                    <a:lnTo>
                      <a:pt x="14193" y="14330"/>
                    </a:lnTo>
                    <a:lnTo>
                      <a:pt x="14193" y="14540"/>
                    </a:lnTo>
                    <a:lnTo>
                      <a:pt x="14504" y="15029"/>
                    </a:lnTo>
                    <a:lnTo>
                      <a:pt x="14637" y="15169"/>
                    </a:lnTo>
                    <a:lnTo>
                      <a:pt x="14637" y="15309"/>
                    </a:lnTo>
                    <a:lnTo>
                      <a:pt x="14725" y="15379"/>
                    </a:lnTo>
                    <a:lnTo>
                      <a:pt x="14725" y="15868"/>
                    </a:lnTo>
                    <a:lnTo>
                      <a:pt x="14814" y="16008"/>
                    </a:lnTo>
                    <a:lnTo>
                      <a:pt x="14858" y="16217"/>
                    </a:lnTo>
                    <a:lnTo>
                      <a:pt x="15036" y="16497"/>
                    </a:lnTo>
                    <a:lnTo>
                      <a:pt x="15080" y="16497"/>
                    </a:lnTo>
                    <a:lnTo>
                      <a:pt x="15080" y="16637"/>
                    </a:lnTo>
                    <a:lnTo>
                      <a:pt x="15169" y="16637"/>
                    </a:lnTo>
                    <a:lnTo>
                      <a:pt x="15080" y="16707"/>
                    </a:lnTo>
                    <a:lnTo>
                      <a:pt x="15479" y="16707"/>
                    </a:lnTo>
                    <a:lnTo>
                      <a:pt x="15568" y="16847"/>
                    </a:lnTo>
                    <a:lnTo>
                      <a:pt x="15701" y="16847"/>
                    </a:lnTo>
                    <a:lnTo>
                      <a:pt x="15701" y="16986"/>
                    </a:lnTo>
                    <a:lnTo>
                      <a:pt x="15878" y="16986"/>
                    </a:lnTo>
                    <a:lnTo>
                      <a:pt x="15878" y="17126"/>
                    </a:lnTo>
                    <a:lnTo>
                      <a:pt x="15967" y="17126"/>
                    </a:lnTo>
                    <a:lnTo>
                      <a:pt x="15967" y="17196"/>
                    </a:lnTo>
                    <a:lnTo>
                      <a:pt x="16100" y="17476"/>
                    </a:lnTo>
                    <a:lnTo>
                      <a:pt x="16278" y="17476"/>
                    </a:lnTo>
                    <a:lnTo>
                      <a:pt x="16322" y="17336"/>
                    </a:lnTo>
                    <a:lnTo>
                      <a:pt x="16588" y="17336"/>
                    </a:lnTo>
                    <a:lnTo>
                      <a:pt x="16721" y="17126"/>
                    </a:lnTo>
                    <a:lnTo>
                      <a:pt x="17120" y="17126"/>
                    </a:lnTo>
                    <a:lnTo>
                      <a:pt x="17120" y="16986"/>
                    </a:lnTo>
                    <a:lnTo>
                      <a:pt x="17520" y="16986"/>
                    </a:lnTo>
                    <a:lnTo>
                      <a:pt x="17520" y="16847"/>
                    </a:lnTo>
                    <a:lnTo>
                      <a:pt x="17741" y="16847"/>
                    </a:lnTo>
                    <a:lnTo>
                      <a:pt x="17741" y="16707"/>
                    </a:lnTo>
                    <a:lnTo>
                      <a:pt x="17874" y="16707"/>
                    </a:lnTo>
                    <a:lnTo>
                      <a:pt x="17963" y="16847"/>
                    </a:lnTo>
                    <a:lnTo>
                      <a:pt x="17874" y="16847"/>
                    </a:lnTo>
                    <a:lnTo>
                      <a:pt x="17874" y="16986"/>
                    </a:lnTo>
                    <a:lnTo>
                      <a:pt x="17963" y="16986"/>
                    </a:lnTo>
                    <a:lnTo>
                      <a:pt x="17963" y="17126"/>
                    </a:lnTo>
                    <a:lnTo>
                      <a:pt x="18140" y="17126"/>
                    </a:lnTo>
                    <a:lnTo>
                      <a:pt x="18185" y="16986"/>
                    </a:lnTo>
                    <a:lnTo>
                      <a:pt x="18362" y="16986"/>
                    </a:lnTo>
                    <a:lnTo>
                      <a:pt x="18362" y="16637"/>
                    </a:lnTo>
                    <a:lnTo>
                      <a:pt x="18274" y="16637"/>
                    </a:lnTo>
                    <a:lnTo>
                      <a:pt x="18274" y="16497"/>
                    </a:lnTo>
                    <a:lnTo>
                      <a:pt x="18451" y="16497"/>
                    </a:lnTo>
                    <a:lnTo>
                      <a:pt x="18451" y="16357"/>
                    </a:lnTo>
                    <a:lnTo>
                      <a:pt x="18495" y="16357"/>
                    </a:lnTo>
                    <a:lnTo>
                      <a:pt x="18495" y="16217"/>
                    </a:lnTo>
                    <a:lnTo>
                      <a:pt x="18584" y="16217"/>
                    </a:lnTo>
                    <a:lnTo>
                      <a:pt x="18761" y="16008"/>
                    </a:lnTo>
                    <a:lnTo>
                      <a:pt x="18761" y="15868"/>
                    </a:lnTo>
                    <a:lnTo>
                      <a:pt x="18806" y="15658"/>
                    </a:lnTo>
                    <a:lnTo>
                      <a:pt x="18806" y="15379"/>
                    </a:lnTo>
                    <a:lnTo>
                      <a:pt x="18894" y="15379"/>
                    </a:lnTo>
                    <a:lnTo>
                      <a:pt x="18894" y="15169"/>
                    </a:lnTo>
                    <a:lnTo>
                      <a:pt x="18983" y="15169"/>
                    </a:lnTo>
                    <a:lnTo>
                      <a:pt x="18983" y="14330"/>
                    </a:lnTo>
                    <a:lnTo>
                      <a:pt x="19205" y="13911"/>
                    </a:lnTo>
                    <a:lnTo>
                      <a:pt x="19294" y="13911"/>
                    </a:lnTo>
                    <a:lnTo>
                      <a:pt x="19338" y="13841"/>
                    </a:lnTo>
                    <a:lnTo>
                      <a:pt x="19515" y="13841"/>
                    </a:lnTo>
                    <a:lnTo>
                      <a:pt x="19604" y="13701"/>
                    </a:lnTo>
                    <a:lnTo>
                      <a:pt x="19959" y="13701"/>
                    </a:lnTo>
                    <a:lnTo>
                      <a:pt x="20136" y="13561"/>
                    </a:lnTo>
                    <a:lnTo>
                      <a:pt x="20225" y="13561"/>
                    </a:lnTo>
                    <a:lnTo>
                      <a:pt x="20358" y="13421"/>
                    </a:lnTo>
                    <a:lnTo>
                      <a:pt x="20979" y="13421"/>
                    </a:lnTo>
                    <a:lnTo>
                      <a:pt x="20979" y="13561"/>
                    </a:lnTo>
                    <a:lnTo>
                      <a:pt x="21156" y="13561"/>
                    </a:lnTo>
                    <a:lnTo>
                      <a:pt x="21156" y="13421"/>
                    </a:lnTo>
                    <a:lnTo>
                      <a:pt x="21467" y="13421"/>
                    </a:lnTo>
                    <a:lnTo>
                      <a:pt x="21511" y="13561"/>
                    </a:lnTo>
                    <a:lnTo>
                      <a:pt x="21511" y="13841"/>
                    </a:lnTo>
                    <a:lnTo>
                      <a:pt x="21600" y="13911"/>
                    </a:lnTo>
                    <a:lnTo>
                      <a:pt x="21600" y="14050"/>
                    </a:lnTo>
                    <a:lnTo>
                      <a:pt x="21511" y="14330"/>
                    </a:lnTo>
                    <a:lnTo>
                      <a:pt x="21467" y="14400"/>
                    </a:lnTo>
                    <a:lnTo>
                      <a:pt x="21467" y="14540"/>
                    </a:lnTo>
                    <a:lnTo>
                      <a:pt x="21378" y="14540"/>
                    </a:lnTo>
                    <a:lnTo>
                      <a:pt x="21290" y="14680"/>
                    </a:lnTo>
                    <a:lnTo>
                      <a:pt x="21290" y="14819"/>
                    </a:lnTo>
                    <a:lnTo>
                      <a:pt x="21201" y="14819"/>
                    </a:lnTo>
                    <a:lnTo>
                      <a:pt x="21201" y="14889"/>
                    </a:lnTo>
                    <a:lnTo>
                      <a:pt x="21156" y="14889"/>
                    </a:lnTo>
                    <a:lnTo>
                      <a:pt x="21156" y="15029"/>
                    </a:lnTo>
                    <a:lnTo>
                      <a:pt x="21068" y="15169"/>
                    </a:lnTo>
                    <a:lnTo>
                      <a:pt x="21068" y="15518"/>
                    </a:lnTo>
                    <a:lnTo>
                      <a:pt x="20979" y="15518"/>
                    </a:lnTo>
                    <a:lnTo>
                      <a:pt x="20890" y="15658"/>
                    </a:lnTo>
                    <a:lnTo>
                      <a:pt x="20890" y="15798"/>
                    </a:lnTo>
                    <a:lnTo>
                      <a:pt x="20979" y="15798"/>
                    </a:lnTo>
                    <a:lnTo>
                      <a:pt x="20979" y="15868"/>
                    </a:lnTo>
                    <a:lnTo>
                      <a:pt x="21068" y="15868"/>
                    </a:lnTo>
                    <a:lnTo>
                      <a:pt x="20979" y="16008"/>
                    </a:lnTo>
                    <a:lnTo>
                      <a:pt x="20979" y="16148"/>
                    </a:lnTo>
                    <a:lnTo>
                      <a:pt x="21068" y="16008"/>
                    </a:lnTo>
                    <a:lnTo>
                      <a:pt x="21156" y="16008"/>
                    </a:lnTo>
                    <a:lnTo>
                      <a:pt x="21156" y="16148"/>
                    </a:lnTo>
                    <a:lnTo>
                      <a:pt x="21068" y="16148"/>
                    </a:lnTo>
                    <a:lnTo>
                      <a:pt x="21068" y="16217"/>
                    </a:lnTo>
                    <a:lnTo>
                      <a:pt x="20979" y="16217"/>
                    </a:lnTo>
                    <a:lnTo>
                      <a:pt x="20979" y="16497"/>
                    </a:lnTo>
                    <a:lnTo>
                      <a:pt x="20890" y="16637"/>
                    </a:lnTo>
                    <a:lnTo>
                      <a:pt x="20890" y="16847"/>
                    </a:lnTo>
                    <a:lnTo>
                      <a:pt x="20846" y="16986"/>
                    </a:lnTo>
                    <a:lnTo>
                      <a:pt x="20846" y="17336"/>
                    </a:lnTo>
                    <a:lnTo>
                      <a:pt x="20757" y="17336"/>
                    </a:lnTo>
                    <a:lnTo>
                      <a:pt x="20757" y="17196"/>
                    </a:lnTo>
                    <a:lnTo>
                      <a:pt x="20669" y="17196"/>
                    </a:lnTo>
                    <a:lnTo>
                      <a:pt x="20669" y="16707"/>
                    </a:lnTo>
                    <a:lnTo>
                      <a:pt x="20580" y="16707"/>
                    </a:lnTo>
                    <a:lnTo>
                      <a:pt x="20580" y="16847"/>
                    </a:lnTo>
                    <a:lnTo>
                      <a:pt x="20536" y="16847"/>
                    </a:lnTo>
                    <a:lnTo>
                      <a:pt x="20536" y="16986"/>
                    </a:lnTo>
                    <a:lnTo>
                      <a:pt x="20358" y="16986"/>
                    </a:lnTo>
                    <a:lnTo>
                      <a:pt x="20358" y="17126"/>
                    </a:lnTo>
                    <a:lnTo>
                      <a:pt x="20269" y="17196"/>
                    </a:lnTo>
                    <a:lnTo>
                      <a:pt x="20269" y="17336"/>
                    </a:lnTo>
                    <a:lnTo>
                      <a:pt x="20225" y="17476"/>
                    </a:lnTo>
                    <a:lnTo>
                      <a:pt x="20225" y="17616"/>
                    </a:lnTo>
                    <a:lnTo>
                      <a:pt x="20136" y="17616"/>
                    </a:lnTo>
                    <a:lnTo>
                      <a:pt x="20136" y="17685"/>
                    </a:lnTo>
                    <a:lnTo>
                      <a:pt x="20048" y="17685"/>
                    </a:lnTo>
                    <a:lnTo>
                      <a:pt x="19959" y="17616"/>
                    </a:lnTo>
                    <a:lnTo>
                      <a:pt x="19915" y="17616"/>
                    </a:lnTo>
                    <a:lnTo>
                      <a:pt x="19915" y="17825"/>
                    </a:lnTo>
                    <a:lnTo>
                      <a:pt x="18584" y="17825"/>
                    </a:lnTo>
                    <a:lnTo>
                      <a:pt x="18584" y="18454"/>
                    </a:lnTo>
                    <a:lnTo>
                      <a:pt x="18274" y="18454"/>
                    </a:lnTo>
                    <a:lnTo>
                      <a:pt x="18274" y="18594"/>
                    </a:lnTo>
                    <a:lnTo>
                      <a:pt x="18451" y="18594"/>
                    </a:lnTo>
                    <a:lnTo>
                      <a:pt x="18451" y="18664"/>
                    </a:lnTo>
                    <a:lnTo>
                      <a:pt x="18495" y="18804"/>
                    </a:lnTo>
                    <a:lnTo>
                      <a:pt x="18495" y="18944"/>
                    </a:lnTo>
                    <a:lnTo>
                      <a:pt x="18673" y="18944"/>
                    </a:lnTo>
                    <a:lnTo>
                      <a:pt x="18761" y="19083"/>
                    </a:lnTo>
                    <a:lnTo>
                      <a:pt x="18806" y="19083"/>
                    </a:lnTo>
                    <a:lnTo>
                      <a:pt x="18806" y="19293"/>
                    </a:lnTo>
                    <a:lnTo>
                      <a:pt x="18894" y="19293"/>
                    </a:lnTo>
                    <a:lnTo>
                      <a:pt x="18894" y="19433"/>
                    </a:lnTo>
                    <a:lnTo>
                      <a:pt x="18983" y="19433"/>
                    </a:lnTo>
                    <a:lnTo>
                      <a:pt x="19072" y="19573"/>
                    </a:lnTo>
                    <a:lnTo>
                      <a:pt x="18983" y="19573"/>
                    </a:lnTo>
                    <a:lnTo>
                      <a:pt x="18983" y="19783"/>
                    </a:lnTo>
                    <a:lnTo>
                      <a:pt x="17963" y="19783"/>
                    </a:lnTo>
                    <a:lnTo>
                      <a:pt x="17653" y="20901"/>
                    </a:lnTo>
                    <a:lnTo>
                      <a:pt x="17830" y="21111"/>
                    </a:lnTo>
                    <a:lnTo>
                      <a:pt x="17830" y="21390"/>
                    </a:lnTo>
                    <a:lnTo>
                      <a:pt x="17741" y="21530"/>
                    </a:lnTo>
                    <a:lnTo>
                      <a:pt x="17741" y="21600"/>
                    </a:lnTo>
                    <a:lnTo>
                      <a:pt x="17653" y="21600"/>
                    </a:lnTo>
                    <a:lnTo>
                      <a:pt x="17653" y="21530"/>
                    </a:lnTo>
                    <a:lnTo>
                      <a:pt x="17564" y="21530"/>
                    </a:lnTo>
                    <a:lnTo>
                      <a:pt x="17564" y="21390"/>
                    </a:lnTo>
                    <a:lnTo>
                      <a:pt x="17520" y="21390"/>
                    </a:lnTo>
                    <a:lnTo>
                      <a:pt x="17520" y="21250"/>
                    </a:lnTo>
                    <a:lnTo>
                      <a:pt x="17209" y="20761"/>
                    </a:lnTo>
                    <a:lnTo>
                      <a:pt x="17120" y="20761"/>
                    </a:lnTo>
                    <a:lnTo>
                      <a:pt x="17120" y="20621"/>
                    </a:lnTo>
                    <a:lnTo>
                      <a:pt x="17032" y="20621"/>
                    </a:lnTo>
                    <a:lnTo>
                      <a:pt x="17032" y="20551"/>
                    </a:lnTo>
                    <a:lnTo>
                      <a:pt x="16943" y="20412"/>
                    </a:lnTo>
                    <a:lnTo>
                      <a:pt x="16899" y="20412"/>
                    </a:lnTo>
                    <a:lnTo>
                      <a:pt x="16899" y="20272"/>
                    </a:lnTo>
                    <a:lnTo>
                      <a:pt x="16810" y="20272"/>
                    </a:lnTo>
                    <a:lnTo>
                      <a:pt x="16632" y="20062"/>
                    </a:lnTo>
                    <a:lnTo>
                      <a:pt x="16588" y="20062"/>
                    </a:lnTo>
                    <a:lnTo>
                      <a:pt x="16588" y="19922"/>
                    </a:lnTo>
                    <a:lnTo>
                      <a:pt x="16499" y="19922"/>
                    </a:lnTo>
                    <a:lnTo>
                      <a:pt x="16499" y="19783"/>
                    </a:lnTo>
                    <a:lnTo>
                      <a:pt x="16411" y="19783"/>
                    </a:lnTo>
                    <a:lnTo>
                      <a:pt x="16278" y="19643"/>
                    </a:lnTo>
                    <a:lnTo>
                      <a:pt x="16189" y="19573"/>
                    </a:lnTo>
                    <a:lnTo>
                      <a:pt x="16189" y="19643"/>
                    </a:lnTo>
                    <a:lnTo>
                      <a:pt x="15878" y="19643"/>
                    </a:lnTo>
                    <a:lnTo>
                      <a:pt x="15878" y="19573"/>
                    </a:lnTo>
                    <a:lnTo>
                      <a:pt x="15701" y="19573"/>
                    </a:lnTo>
                    <a:lnTo>
                      <a:pt x="15701" y="19643"/>
                    </a:lnTo>
                    <a:lnTo>
                      <a:pt x="15657" y="19643"/>
                    </a:lnTo>
                    <a:lnTo>
                      <a:pt x="15479" y="19783"/>
                    </a:lnTo>
                    <a:lnTo>
                      <a:pt x="15391" y="19922"/>
                    </a:lnTo>
                    <a:lnTo>
                      <a:pt x="15346" y="19922"/>
                    </a:lnTo>
                    <a:lnTo>
                      <a:pt x="15346" y="20062"/>
                    </a:lnTo>
                    <a:lnTo>
                      <a:pt x="15080" y="20062"/>
                    </a:lnTo>
                    <a:lnTo>
                      <a:pt x="15080" y="20132"/>
                    </a:lnTo>
                    <a:lnTo>
                      <a:pt x="14947" y="20132"/>
                    </a:lnTo>
                    <a:lnTo>
                      <a:pt x="14858" y="20272"/>
                    </a:lnTo>
                    <a:lnTo>
                      <a:pt x="14415" y="20272"/>
                    </a:lnTo>
                    <a:lnTo>
                      <a:pt x="14237" y="20062"/>
                    </a:lnTo>
                    <a:lnTo>
                      <a:pt x="13883" y="20062"/>
                    </a:lnTo>
                    <a:lnTo>
                      <a:pt x="13794" y="19922"/>
                    </a:lnTo>
                    <a:lnTo>
                      <a:pt x="13705" y="19922"/>
                    </a:lnTo>
                    <a:lnTo>
                      <a:pt x="13705" y="19783"/>
                    </a:lnTo>
                    <a:lnTo>
                      <a:pt x="13572" y="19783"/>
                    </a:lnTo>
                    <a:lnTo>
                      <a:pt x="13572" y="19643"/>
                    </a:lnTo>
                    <a:lnTo>
                      <a:pt x="13306" y="19643"/>
                    </a:lnTo>
                    <a:lnTo>
                      <a:pt x="13306" y="19573"/>
                    </a:lnTo>
                    <a:lnTo>
                      <a:pt x="13173" y="19573"/>
                    </a:lnTo>
                    <a:lnTo>
                      <a:pt x="13173" y="19433"/>
                    </a:lnTo>
                    <a:lnTo>
                      <a:pt x="13084" y="19433"/>
                    </a:lnTo>
                    <a:lnTo>
                      <a:pt x="12995" y="19293"/>
                    </a:lnTo>
                    <a:lnTo>
                      <a:pt x="12862" y="19293"/>
                    </a:lnTo>
                    <a:lnTo>
                      <a:pt x="12774" y="19153"/>
                    </a:lnTo>
                    <a:lnTo>
                      <a:pt x="12552" y="19153"/>
                    </a:lnTo>
                    <a:lnTo>
                      <a:pt x="12375" y="19083"/>
                    </a:lnTo>
                    <a:lnTo>
                      <a:pt x="12330" y="18944"/>
                    </a:lnTo>
                    <a:lnTo>
                      <a:pt x="12153" y="18944"/>
                    </a:lnTo>
                    <a:lnTo>
                      <a:pt x="12064" y="18804"/>
                    </a:lnTo>
                    <a:lnTo>
                      <a:pt x="12020" y="18804"/>
                    </a:lnTo>
                    <a:lnTo>
                      <a:pt x="11931" y="18664"/>
                    </a:lnTo>
                    <a:lnTo>
                      <a:pt x="11842" y="18664"/>
                    </a:lnTo>
                    <a:lnTo>
                      <a:pt x="11754" y="18594"/>
                    </a:lnTo>
                    <a:lnTo>
                      <a:pt x="11621" y="18594"/>
                    </a:lnTo>
                    <a:lnTo>
                      <a:pt x="11621" y="18454"/>
                    </a:lnTo>
                    <a:lnTo>
                      <a:pt x="11443" y="18454"/>
                    </a:lnTo>
                    <a:lnTo>
                      <a:pt x="11443" y="18315"/>
                    </a:lnTo>
                    <a:lnTo>
                      <a:pt x="11310" y="18315"/>
                    </a:lnTo>
                    <a:lnTo>
                      <a:pt x="11221" y="18175"/>
                    </a:lnTo>
                    <a:lnTo>
                      <a:pt x="11133" y="18175"/>
                    </a:lnTo>
                    <a:lnTo>
                      <a:pt x="11133" y="18105"/>
                    </a:lnTo>
                    <a:lnTo>
                      <a:pt x="11088" y="18105"/>
                    </a:lnTo>
                    <a:lnTo>
                      <a:pt x="11088" y="17965"/>
                    </a:lnTo>
                    <a:lnTo>
                      <a:pt x="11000" y="17965"/>
                    </a:lnTo>
                    <a:lnTo>
                      <a:pt x="11000" y="17825"/>
                    </a:lnTo>
                    <a:lnTo>
                      <a:pt x="10911" y="17825"/>
                    </a:lnTo>
                    <a:lnTo>
                      <a:pt x="10911" y="17685"/>
                    </a:lnTo>
                    <a:lnTo>
                      <a:pt x="10822" y="17685"/>
                    </a:lnTo>
                    <a:lnTo>
                      <a:pt x="10778" y="17616"/>
                    </a:lnTo>
                    <a:lnTo>
                      <a:pt x="10689" y="17616"/>
                    </a:lnTo>
                    <a:lnTo>
                      <a:pt x="10689" y="17685"/>
                    </a:lnTo>
                    <a:lnTo>
                      <a:pt x="10556" y="17685"/>
                    </a:lnTo>
                    <a:lnTo>
                      <a:pt x="10467" y="17616"/>
                    </a:lnTo>
                    <a:lnTo>
                      <a:pt x="10290" y="17616"/>
                    </a:lnTo>
                    <a:lnTo>
                      <a:pt x="10290" y="17476"/>
                    </a:lnTo>
                    <a:lnTo>
                      <a:pt x="10068" y="17476"/>
                    </a:lnTo>
                    <a:lnTo>
                      <a:pt x="10068" y="17336"/>
                    </a:lnTo>
                    <a:lnTo>
                      <a:pt x="9846" y="17336"/>
                    </a:lnTo>
                    <a:lnTo>
                      <a:pt x="9669" y="17196"/>
                    </a:lnTo>
                    <a:lnTo>
                      <a:pt x="9625" y="17126"/>
                    </a:lnTo>
                    <a:lnTo>
                      <a:pt x="9536" y="16847"/>
                    </a:lnTo>
                    <a:lnTo>
                      <a:pt x="9447" y="16847"/>
                    </a:lnTo>
                    <a:lnTo>
                      <a:pt x="9447" y="16707"/>
                    </a:lnTo>
                    <a:lnTo>
                      <a:pt x="9359" y="16637"/>
                    </a:lnTo>
                    <a:lnTo>
                      <a:pt x="9225" y="16637"/>
                    </a:lnTo>
                    <a:lnTo>
                      <a:pt x="9225" y="16497"/>
                    </a:lnTo>
                    <a:lnTo>
                      <a:pt x="9137" y="16357"/>
                    </a:lnTo>
                    <a:lnTo>
                      <a:pt x="9048" y="16357"/>
                    </a:lnTo>
                    <a:lnTo>
                      <a:pt x="8915" y="16217"/>
                    </a:lnTo>
                    <a:lnTo>
                      <a:pt x="8826" y="16217"/>
                    </a:lnTo>
                    <a:lnTo>
                      <a:pt x="8516" y="15798"/>
                    </a:lnTo>
                    <a:lnTo>
                      <a:pt x="8427" y="15798"/>
                    </a:lnTo>
                    <a:lnTo>
                      <a:pt x="8427" y="15658"/>
                    </a:lnTo>
                    <a:lnTo>
                      <a:pt x="8383" y="15518"/>
                    </a:lnTo>
                    <a:lnTo>
                      <a:pt x="8383" y="15379"/>
                    </a:lnTo>
                    <a:lnTo>
                      <a:pt x="8294" y="15379"/>
                    </a:lnTo>
                    <a:lnTo>
                      <a:pt x="8294" y="15309"/>
                    </a:lnTo>
                    <a:lnTo>
                      <a:pt x="8205" y="15309"/>
                    </a:lnTo>
                    <a:lnTo>
                      <a:pt x="8205" y="15029"/>
                    </a:lnTo>
                    <a:lnTo>
                      <a:pt x="8117" y="14889"/>
                    </a:lnTo>
                    <a:lnTo>
                      <a:pt x="8117" y="14819"/>
                    </a:lnTo>
                    <a:lnTo>
                      <a:pt x="8205" y="14680"/>
                    </a:lnTo>
                    <a:lnTo>
                      <a:pt x="8427" y="14680"/>
                    </a:lnTo>
                    <a:lnTo>
                      <a:pt x="8427" y="14400"/>
                    </a:lnTo>
                    <a:lnTo>
                      <a:pt x="8205" y="14400"/>
                    </a:lnTo>
                    <a:lnTo>
                      <a:pt x="8205" y="14330"/>
                    </a:lnTo>
                    <a:lnTo>
                      <a:pt x="8294" y="14330"/>
                    </a:lnTo>
                    <a:lnTo>
                      <a:pt x="8383" y="14190"/>
                    </a:lnTo>
                    <a:lnTo>
                      <a:pt x="8383" y="13911"/>
                    </a:lnTo>
                    <a:lnTo>
                      <a:pt x="8427" y="13841"/>
                    </a:lnTo>
                    <a:lnTo>
                      <a:pt x="8427" y="13561"/>
                    </a:lnTo>
                    <a:lnTo>
                      <a:pt x="8383" y="13561"/>
                    </a:lnTo>
                    <a:lnTo>
                      <a:pt x="8383" y="13421"/>
                    </a:lnTo>
                    <a:lnTo>
                      <a:pt x="8294" y="13351"/>
                    </a:lnTo>
                    <a:lnTo>
                      <a:pt x="8294" y="13212"/>
                    </a:lnTo>
                    <a:lnTo>
                      <a:pt x="8205" y="13212"/>
                    </a:lnTo>
                    <a:lnTo>
                      <a:pt x="8205" y="13072"/>
                    </a:lnTo>
                    <a:lnTo>
                      <a:pt x="8117" y="13072"/>
                    </a:lnTo>
                    <a:lnTo>
                      <a:pt x="8117" y="12373"/>
                    </a:lnTo>
                    <a:lnTo>
                      <a:pt x="8072" y="12373"/>
                    </a:lnTo>
                    <a:lnTo>
                      <a:pt x="8072" y="12233"/>
                    </a:lnTo>
                    <a:lnTo>
                      <a:pt x="7895" y="11953"/>
                    </a:lnTo>
                    <a:lnTo>
                      <a:pt x="7806" y="11953"/>
                    </a:lnTo>
                    <a:lnTo>
                      <a:pt x="7806" y="11883"/>
                    </a:lnTo>
                    <a:lnTo>
                      <a:pt x="7496" y="11394"/>
                    </a:lnTo>
                    <a:lnTo>
                      <a:pt x="7451" y="11115"/>
                    </a:lnTo>
                    <a:lnTo>
                      <a:pt x="7363" y="11115"/>
                    </a:lnTo>
                    <a:lnTo>
                      <a:pt x="7363" y="10975"/>
                    </a:lnTo>
                    <a:lnTo>
                      <a:pt x="7185" y="10765"/>
                    </a:lnTo>
                    <a:lnTo>
                      <a:pt x="7185" y="10625"/>
                    </a:lnTo>
                    <a:lnTo>
                      <a:pt x="7141" y="10625"/>
                    </a:lnTo>
                    <a:lnTo>
                      <a:pt x="7141" y="10485"/>
                    </a:lnTo>
                    <a:lnTo>
                      <a:pt x="7052" y="10485"/>
                    </a:lnTo>
                    <a:lnTo>
                      <a:pt x="6963" y="10416"/>
                    </a:lnTo>
                    <a:lnTo>
                      <a:pt x="6875" y="10416"/>
                    </a:lnTo>
                    <a:lnTo>
                      <a:pt x="6875" y="10276"/>
                    </a:lnTo>
                    <a:lnTo>
                      <a:pt x="6830" y="10136"/>
                    </a:lnTo>
                    <a:lnTo>
                      <a:pt x="6830" y="9996"/>
                    </a:lnTo>
                    <a:lnTo>
                      <a:pt x="6564" y="9996"/>
                    </a:lnTo>
                    <a:lnTo>
                      <a:pt x="6564" y="9926"/>
                    </a:lnTo>
                    <a:lnTo>
                      <a:pt x="6520" y="9926"/>
                    </a:lnTo>
                    <a:lnTo>
                      <a:pt x="6520" y="9647"/>
                    </a:lnTo>
                    <a:lnTo>
                      <a:pt x="6431" y="9437"/>
                    </a:lnTo>
                    <a:lnTo>
                      <a:pt x="6431" y="9157"/>
                    </a:lnTo>
                    <a:lnTo>
                      <a:pt x="6298" y="9157"/>
                    </a:lnTo>
                    <a:lnTo>
                      <a:pt x="6209" y="9087"/>
                    </a:lnTo>
                    <a:lnTo>
                      <a:pt x="6121" y="9087"/>
                    </a:lnTo>
                    <a:lnTo>
                      <a:pt x="6032" y="8948"/>
                    </a:lnTo>
                    <a:lnTo>
                      <a:pt x="5899" y="8948"/>
                    </a:lnTo>
                    <a:lnTo>
                      <a:pt x="5810" y="8808"/>
                    </a:lnTo>
                    <a:lnTo>
                      <a:pt x="5810" y="8668"/>
                    </a:lnTo>
                    <a:lnTo>
                      <a:pt x="5677" y="8668"/>
                    </a:lnTo>
                    <a:lnTo>
                      <a:pt x="5677" y="8598"/>
                    </a:lnTo>
                    <a:lnTo>
                      <a:pt x="5500" y="8598"/>
                    </a:lnTo>
                    <a:lnTo>
                      <a:pt x="5500" y="8109"/>
                    </a:lnTo>
                    <a:lnTo>
                      <a:pt x="5589" y="8109"/>
                    </a:lnTo>
                    <a:lnTo>
                      <a:pt x="5589" y="7829"/>
                    </a:lnTo>
                    <a:lnTo>
                      <a:pt x="5677" y="7829"/>
                    </a:lnTo>
                    <a:lnTo>
                      <a:pt x="5677" y="7689"/>
                    </a:lnTo>
                    <a:lnTo>
                      <a:pt x="5589" y="7480"/>
                    </a:lnTo>
                    <a:lnTo>
                      <a:pt x="5500" y="7340"/>
                    </a:lnTo>
                    <a:lnTo>
                      <a:pt x="5367" y="7340"/>
                    </a:lnTo>
                    <a:lnTo>
                      <a:pt x="5367" y="7200"/>
                    </a:lnTo>
                    <a:lnTo>
                      <a:pt x="5101" y="7200"/>
                    </a:lnTo>
                    <a:lnTo>
                      <a:pt x="5101" y="6850"/>
                    </a:lnTo>
                    <a:lnTo>
                      <a:pt x="4879" y="6850"/>
                    </a:lnTo>
                    <a:lnTo>
                      <a:pt x="4879" y="6711"/>
                    </a:lnTo>
                    <a:lnTo>
                      <a:pt x="4746" y="6711"/>
                    </a:lnTo>
                    <a:lnTo>
                      <a:pt x="4746" y="6641"/>
                    </a:lnTo>
                    <a:lnTo>
                      <a:pt x="4657" y="6501"/>
                    </a:lnTo>
                    <a:lnTo>
                      <a:pt x="4657" y="6012"/>
                    </a:lnTo>
                    <a:lnTo>
                      <a:pt x="4568" y="6012"/>
                    </a:lnTo>
                    <a:lnTo>
                      <a:pt x="4480" y="5872"/>
                    </a:lnTo>
                    <a:lnTo>
                      <a:pt x="4347" y="5872"/>
                    </a:lnTo>
                    <a:lnTo>
                      <a:pt x="4036" y="5383"/>
                    </a:lnTo>
                    <a:lnTo>
                      <a:pt x="3859" y="5243"/>
                    </a:lnTo>
                    <a:lnTo>
                      <a:pt x="3814" y="5173"/>
                    </a:lnTo>
                    <a:lnTo>
                      <a:pt x="3814" y="5033"/>
                    </a:lnTo>
                    <a:lnTo>
                      <a:pt x="3726" y="4893"/>
                    </a:lnTo>
                    <a:lnTo>
                      <a:pt x="3637" y="4893"/>
                    </a:lnTo>
                    <a:lnTo>
                      <a:pt x="3637" y="4753"/>
                    </a:lnTo>
                    <a:lnTo>
                      <a:pt x="3504" y="4544"/>
                    </a:lnTo>
                    <a:lnTo>
                      <a:pt x="3504" y="4753"/>
                    </a:lnTo>
                    <a:lnTo>
                      <a:pt x="3415" y="4753"/>
                    </a:lnTo>
                    <a:lnTo>
                      <a:pt x="3415" y="4893"/>
                    </a:lnTo>
                    <a:lnTo>
                      <a:pt x="3326" y="4753"/>
                    </a:lnTo>
                    <a:lnTo>
                      <a:pt x="3238" y="4753"/>
                    </a:lnTo>
                    <a:lnTo>
                      <a:pt x="3238" y="4544"/>
                    </a:lnTo>
                    <a:lnTo>
                      <a:pt x="3326" y="4544"/>
                    </a:lnTo>
                    <a:lnTo>
                      <a:pt x="3326" y="4264"/>
                    </a:lnTo>
                    <a:lnTo>
                      <a:pt x="3504" y="4264"/>
                    </a:lnTo>
                    <a:lnTo>
                      <a:pt x="3415" y="4194"/>
                    </a:lnTo>
                    <a:lnTo>
                      <a:pt x="3326" y="4194"/>
                    </a:lnTo>
                    <a:lnTo>
                      <a:pt x="3326" y="3915"/>
                    </a:lnTo>
                    <a:lnTo>
                      <a:pt x="3238" y="3775"/>
                    </a:lnTo>
                    <a:lnTo>
                      <a:pt x="3238" y="3705"/>
                    </a:lnTo>
                    <a:lnTo>
                      <a:pt x="3193" y="3565"/>
                    </a:lnTo>
                    <a:lnTo>
                      <a:pt x="3193" y="3285"/>
                    </a:lnTo>
                    <a:lnTo>
                      <a:pt x="3105" y="3285"/>
                    </a:lnTo>
                    <a:lnTo>
                      <a:pt x="3105" y="3216"/>
                    </a:lnTo>
                    <a:lnTo>
                      <a:pt x="3016" y="3076"/>
                    </a:lnTo>
                    <a:lnTo>
                      <a:pt x="3016" y="2796"/>
                    </a:lnTo>
                    <a:lnTo>
                      <a:pt x="2927" y="2796"/>
                    </a:lnTo>
                    <a:lnTo>
                      <a:pt x="2927" y="2586"/>
                    </a:lnTo>
                    <a:lnTo>
                      <a:pt x="2883" y="2586"/>
                    </a:lnTo>
                    <a:lnTo>
                      <a:pt x="2883" y="1957"/>
                    </a:lnTo>
                    <a:lnTo>
                      <a:pt x="2794" y="1887"/>
                    </a:lnTo>
                    <a:lnTo>
                      <a:pt x="2706" y="1887"/>
                    </a:lnTo>
                    <a:lnTo>
                      <a:pt x="2572" y="1608"/>
                    </a:lnTo>
                    <a:lnTo>
                      <a:pt x="2395" y="1608"/>
                    </a:lnTo>
                    <a:lnTo>
                      <a:pt x="2395" y="1398"/>
                    </a:lnTo>
                    <a:lnTo>
                      <a:pt x="2262" y="1398"/>
                    </a:lnTo>
                    <a:lnTo>
                      <a:pt x="2262" y="1468"/>
                    </a:lnTo>
                    <a:lnTo>
                      <a:pt x="2040" y="1468"/>
                    </a:lnTo>
                    <a:lnTo>
                      <a:pt x="2040" y="1398"/>
                    </a:lnTo>
                    <a:lnTo>
                      <a:pt x="1863" y="1398"/>
                    </a:lnTo>
                    <a:lnTo>
                      <a:pt x="1863" y="1258"/>
                    </a:lnTo>
                    <a:lnTo>
                      <a:pt x="1730" y="1258"/>
                    </a:lnTo>
                    <a:lnTo>
                      <a:pt x="1730" y="1118"/>
                    </a:lnTo>
                    <a:lnTo>
                      <a:pt x="1641" y="979"/>
                    </a:lnTo>
                    <a:lnTo>
                      <a:pt x="1641" y="1398"/>
                    </a:lnTo>
                    <a:lnTo>
                      <a:pt x="1730" y="1398"/>
                    </a:lnTo>
                    <a:lnTo>
                      <a:pt x="1730" y="1468"/>
                    </a:lnTo>
                    <a:lnTo>
                      <a:pt x="1641" y="1468"/>
                    </a:lnTo>
                    <a:lnTo>
                      <a:pt x="1641" y="2237"/>
                    </a:lnTo>
                    <a:lnTo>
                      <a:pt x="1730" y="2237"/>
                    </a:lnTo>
                    <a:lnTo>
                      <a:pt x="1730" y="2586"/>
                    </a:lnTo>
                    <a:lnTo>
                      <a:pt x="1774" y="2726"/>
                    </a:lnTo>
                    <a:lnTo>
                      <a:pt x="1774" y="3216"/>
                    </a:lnTo>
                    <a:lnTo>
                      <a:pt x="1952" y="3425"/>
                    </a:lnTo>
                    <a:lnTo>
                      <a:pt x="1952" y="3565"/>
                    </a:lnTo>
                    <a:lnTo>
                      <a:pt x="2040" y="3565"/>
                    </a:lnTo>
                    <a:lnTo>
                      <a:pt x="2262" y="3915"/>
                    </a:lnTo>
                    <a:lnTo>
                      <a:pt x="2262" y="4054"/>
                    </a:lnTo>
                    <a:lnTo>
                      <a:pt x="2306" y="4054"/>
                    </a:lnTo>
                    <a:lnTo>
                      <a:pt x="2306" y="4194"/>
                    </a:lnTo>
                    <a:lnTo>
                      <a:pt x="2484" y="4404"/>
                    </a:lnTo>
                    <a:lnTo>
                      <a:pt x="2484" y="4544"/>
                    </a:lnTo>
                    <a:lnTo>
                      <a:pt x="2572" y="4683"/>
                    </a:lnTo>
                    <a:lnTo>
                      <a:pt x="2617" y="4683"/>
                    </a:lnTo>
                    <a:lnTo>
                      <a:pt x="2706" y="4753"/>
                    </a:lnTo>
                    <a:lnTo>
                      <a:pt x="2706" y="4893"/>
                    </a:lnTo>
                    <a:lnTo>
                      <a:pt x="2883" y="5173"/>
                    </a:lnTo>
                    <a:lnTo>
                      <a:pt x="2883" y="5243"/>
                    </a:lnTo>
                    <a:lnTo>
                      <a:pt x="3016" y="5243"/>
                    </a:lnTo>
                    <a:lnTo>
                      <a:pt x="3016" y="5522"/>
                    </a:lnTo>
                    <a:lnTo>
                      <a:pt x="3105" y="5732"/>
                    </a:lnTo>
                    <a:lnTo>
                      <a:pt x="3238" y="6012"/>
                    </a:lnTo>
                    <a:lnTo>
                      <a:pt x="3238" y="6151"/>
                    </a:lnTo>
                    <a:lnTo>
                      <a:pt x="3326" y="6361"/>
                    </a:lnTo>
                    <a:lnTo>
                      <a:pt x="3326" y="6501"/>
                    </a:lnTo>
                    <a:lnTo>
                      <a:pt x="3415" y="6501"/>
                    </a:lnTo>
                    <a:lnTo>
                      <a:pt x="3415" y="6641"/>
                    </a:lnTo>
                    <a:lnTo>
                      <a:pt x="3548" y="6850"/>
                    </a:lnTo>
                    <a:lnTo>
                      <a:pt x="3637" y="6850"/>
                    </a:lnTo>
                    <a:lnTo>
                      <a:pt x="3637" y="6990"/>
                    </a:lnTo>
                    <a:lnTo>
                      <a:pt x="3726" y="6990"/>
                    </a:lnTo>
                    <a:lnTo>
                      <a:pt x="3726" y="7340"/>
                    </a:lnTo>
                    <a:lnTo>
                      <a:pt x="3814" y="7340"/>
                    </a:lnTo>
                    <a:lnTo>
                      <a:pt x="3814" y="7200"/>
                    </a:lnTo>
                    <a:lnTo>
                      <a:pt x="3947" y="7200"/>
                    </a:lnTo>
                    <a:lnTo>
                      <a:pt x="3947" y="7480"/>
                    </a:lnTo>
                    <a:lnTo>
                      <a:pt x="4036" y="7480"/>
                    </a:lnTo>
                    <a:lnTo>
                      <a:pt x="4036" y="7829"/>
                    </a:lnTo>
                    <a:lnTo>
                      <a:pt x="4125" y="7829"/>
                    </a:lnTo>
                    <a:lnTo>
                      <a:pt x="4125" y="8109"/>
                    </a:lnTo>
                    <a:lnTo>
                      <a:pt x="4169" y="8179"/>
                    </a:lnTo>
                    <a:lnTo>
                      <a:pt x="4258" y="8179"/>
                    </a:lnTo>
                    <a:lnTo>
                      <a:pt x="4258" y="8598"/>
                    </a:lnTo>
                    <a:lnTo>
                      <a:pt x="4347" y="8668"/>
                    </a:lnTo>
                    <a:lnTo>
                      <a:pt x="4347" y="8808"/>
                    </a:lnTo>
                    <a:lnTo>
                      <a:pt x="4435" y="8948"/>
                    </a:lnTo>
                    <a:lnTo>
                      <a:pt x="4435" y="9157"/>
                    </a:lnTo>
                    <a:lnTo>
                      <a:pt x="4480" y="9157"/>
                    </a:lnTo>
                    <a:lnTo>
                      <a:pt x="4480" y="9297"/>
                    </a:lnTo>
                    <a:lnTo>
                      <a:pt x="4568" y="9437"/>
                    </a:lnTo>
                    <a:lnTo>
                      <a:pt x="4568" y="10136"/>
                    </a:lnTo>
                    <a:lnTo>
                      <a:pt x="4657" y="10136"/>
                    </a:lnTo>
                    <a:lnTo>
                      <a:pt x="4657" y="10276"/>
                    </a:lnTo>
                    <a:lnTo>
                      <a:pt x="4746" y="10276"/>
                    </a:lnTo>
                    <a:lnTo>
                      <a:pt x="4790" y="10416"/>
                    </a:lnTo>
                    <a:lnTo>
                      <a:pt x="4790" y="10276"/>
                    </a:lnTo>
                    <a:lnTo>
                      <a:pt x="4879" y="10276"/>
                    </a:lnTo>
                    <a:lnTo>
                      <a:pt x="4879" y="10136"/>
                    </a:lnTo>
                    <a:lnTo>
                      <a:pt x="4968" y="10136"/>
                    </a:lnTo>
                    <a:lnTo>
                      <a:pt x="4968" y="10416"/>
                    </a:lnTo>
                    <a:lnTo>
                      <a:pt x="5056" y="10485"/>
                    </a:lnTo>
                    <a:lnTo>
                      <a:pt x="5278" y="10485"/>
                    </a:lnTo>
                    <a:lnTo>
                      <a:pt x="5278" y="10905"/>
                    </a:lnTo>
                    <a:lnTo>
                      <a:pt x="5500" y="11254"/>
                    </a:lnTo>
                    <a:lnTo>
                      <a:pt x="5500" y="11464"/>
                    </a:lnTo>
                    <a:lnTo>
                      <a:pt x="5411" y="11604"/>
                    </a:lnTo>
                    <a:lnTo>
                      <a:pt x="5278" y="11604"/>
                    </a:lnTo>
                    <a:lnTo>
                      <a:pt x="5278" y="11744"/>
                    </a:lnTo>
                    <a:lnTo>
                      <a:pt x="5189" y="11744"/>
                    </a:lnTo>
                    <a:lnTo>
                      <a:pt x="5189" y="11883"/>
                    </a:lnTo>
                    <a:lnTo>
                      <a:pt x="5101" y="11883"/>
                    </a:lnTo>
                    <a:lnTo>
                      <a:pt x="5101" y="11744"/>
                    </a:lnTo>
                    <a:lnTo>
                      <a:pt x="5056" y="11604"/>
                    </a:lnTo>
                    <a:lnTo>
                      <a:pt x="5056" y="11464"/>
                    </a:lnTo>
                    <a:lnTo>
                      <a:pt x="4968" y="11464"/>
                    </a:lnTo>
                    <a:lnTo>
                      <a:pt x="4968" y="11254"/>
                    </a:lnTo>
                    <a:lnTo>
                      <a:pt x="4879" y="11254"/>
                    </a:lnTo>
                    <a:lnTo>
                      <a:pt x="4879" y="11115"/>
                    </a:lnTo>
                    <a:lnTo>
                      <a:pt x="4746" y="10975"/>
                    </a:lnTo>
                    <a:lnTo>
                      <a:pt x="4568" y="10765"/>
                    </a:lnTo>
                    <a:lnTo>
                      <a:pt x="4480" y="10765"/>
                    </a:lnTo>
                    <a:lnTo>
                      <a:pt x="4480" y="10625"/>
                    </a:lnTo>
                    <a:lnTo>
                      <a:pt x="4435" y="10625"/>
                    </a:lnTo>
                    <a:lnTo>
                      <a:pt x="4125" y="10136"/>
                    </a:lnTo>
                    <a:lnTo>
                      <a:pt x="3947" y="9996"/>
                    </a:lnTo>
                    <a:lnTo>
                      <a:pt x="3859" y="9926"/>
                    </a:lnTo>
                    <a:lnTo>
                      <a:pt x="3814" y="9926"/>
                    </a:lnTo>
                    <a:lnTo>
                      <a:pt x="3814" y="9786"/>
                    </a:lnTo>
                    <a:lnTo>
                      <a:pt x="3637" y="9786"/>
                    </a:lnTo>
                    <a:lnTo>
                      <a:pt x="3637" y="9647"/>
                    </a:lnTo>
                    <a:lnTo>
                      <a:pt x="3548" y="9647"/>
                    </a:lnTo>
                    <a:lnTo>
                      <a:pt x="3548" y="9786"/>
                    </a:lnTo>
                    <a:lnTo>
                      <a:pt x="3504" y="9786"/>
                    </a:lnTo>
                    <a:lnTo>
                      <a:pt x="3504" y="9647"/>
                    </a:lnTo>
                    <a:lnTo>
                      <a:pt x="3415" y="9647"/>
                    </a:lnTo>
                    <a:lnTo>
                      <a:pt x="3415" y="9507"/>
                    </a:lnTo>
                    <a:lnTo>
                      <a:pt x="3504" y="9507"/>
                    </a:lnTo>
                    <a:lnTo>
                      <a:pt x="3504" y="9157"/>
                    </a:lnTo>
                    <a:lnTo>
                      <a:pt x="3548" y="9087"/>
                    </a:lnTo>
                    <a:lnTo>
                      <a:pt x="3548" y="8458"/>
                    </a:lnTo>
                    <a:lnTo>
                      <a:pt x="3504" y="8458"/>
                    </a:lnTo>
                    <a:lnTo>
                      <a:pt x="3504" y="8179"/>
                    </a:lnTo>
                    <a:lnTo>
                      <a:pt x="3415" y="8109"/>
                    </a:lnTo>
                    <a:lnTo>
                      <a:pt x="3415" y="7969"/>
                    </a:lnTo>
                    <a:lnTo>
                      <a:pt x="3326" y="7969"/>
                    </a:lnTo>
                    <a:lnTo>
                      <a:pt x="3238" y="7829"/>
                    </a:lnTo>
                    <a:lnTo>
                      <a:pt x="3105" y="7829"/>
                    </a:lnTo>
                    <a:lnTo>
                      <a:pt x="3016" y="7689"/>
                    </a:lnTo>
                    <a:lnTo>
                      <a:pt x="3016" y="7619"/>
                    </a:lnTo>
                    <a:lnTo>
                      <a:pt x="2927" y="7619"/>
                    </a:lnTo>
                    <a:lnTo>
                      <a:pt x="2927" y="7480"/>
                    </a:lnTo>
                    <a:lnTo>
                      <a:pt x="2883" y="7480"/>
                    </a:lnTo>
                    <a:lnTo>
                      <a:pt x="2794" y="7340"/>
                    </a:lnTo>
                    <a:lnTo>
                      <a:pt x="2794" y="7200"/>
                    </a:lnTo>
                    <a:lnTo>
                      <a:pt x="2572" y="7200"/>
                    </a:lnTo>
                    <a:lnTo>
                      <a:pt x="2572" y="7340"/>
                    </a:lnTo>
                    <a:lnTo>
                      <a:pt x="2395" y="7340"/>
                    </a:lnTo>
                    <a:lnTo>
                      <a:pt x="2395" y="7200"/>
                    </a:lnTo>
                    <a:lnTo>
                      <a:pt x="2262" y="7200"/>
                    </a:lnTo>
                    <a:lnTo>
                      <a:pt x="2262" y="7130"/>
                    </a:lnTo>
                    <a:lnTo>
                      <a:pt x="2173" y="6990"/>
                    </a:lnTo>
                    <a:lnTo>
                      <a:pt x="2085" y="6990"/>
                    </a:lnTo>
                    <a:lnTo>
                      <a:pt x="2085" y="6850"/>
                    </a:lnTo>
                    <a:lnTo>
                      <a:pt x="2040" y="6850"/>
                    </a:lnTo>
                    <a:lnTo>
                      <a:pt x="1774" y="6501"/>
                    </a:lnTo>
                    <a:lnTo>
                      <a:pt x="1641" y="6361"/>
                    </a:lnTo>
                    <a:lnTo>
                      <a:pt x="1641" y="6221"/>
                    </a:lnTo>
                    <a:lnTo>
                      <a:pt x="1552" y="6221"/>
                    </a:lnTo>
                    <a:lnTo>
                      <a:pt x="1552" y="6151"/>
                    </a:lnTo>
                    <a:lnTo>
                      <a:pt x="1464" y="6151"/>
                    </a:lnTo>
                    <a:lnTo>
                      <a:pt x="1464" y="6012"/>
                    </a:lnTo>
                    <a:lnTo>
                      <a:pt x="1730" y="6012"/>
                    </a:lnTo>
                    <a:lnTo>
                      <a:pt x="1774" y="6151"/>
                    </a:lnTo>
                    <a:lnTo>
                      <a:pt x="1863" y="6151"/>
                    </a:lnTo>
                    <a:lnTo>
                      <a:pt x="1952" y="6012"/>
                    </a:lnTo>
                    <a:lnTo>
                      <a:pt x="2040" y="6012"/>
                    </a:lnTo>
                    <a:lnTo>
                      <a:pt x="2085" y="6151"/>
                    </a:lnTo>
                    <a:lnTo>
                      <a:pt x="2085" y="6221"/>
                    </a:lnTo>
                    <a:lnTo>
                      <a:pt x="2306" y="6221"/>
                    </a:lnTo>
                    <a:lnTo>
                      <a:pt x="2262" y="6151"/>
                    </a:lnTo>
                    <a:lnTo>
                      <a:pt x="2085" y="6151"/>
                    </a:lnTo>
                    <a:lnTo>
                      <a:pt x="2085" y="5383"/>
                    </a:lnTo>
                    <a:lnTo>
                      <a:pt x="2173" y="5383"/>
                    </a:lnTo>
                    <a:lnTo>
                      <a:pt x="2173" y="5173"/>
                    </a:lnTo>
                    <a:lnTo>
                      <a:pt x="2085" y="5173"/>
                    </a:lnTo>
                    <a:lnTo>
                      <a:pt x="2085" y="4893"/>
                    </a:lnTo>
                    <a:lnTo>
                      <a:pt x="2040" y="4893"/>
                    </a:lnTo>
                    <a:lnTo>
                      <a:pt x="2040" y="4753"/>
                    </a:lnTo>
                    <a:lnTo>
                      <a:pt x="1952" y="4753"/>
                    </a:lnTo>
                    <a:lnTo>
                      <a:pt x="1863" y="4683"/>
                    </a:lnTo>
                    <a:lnTo>
                      <a:pt x="1863" y="4544"/>
                    </a:lnTo>
                    <a:lnTo>
                      <a:pt x="1774" y="4544"/>
                    </a:lnTo>
                    <a:lnTo>
                      <a:pt x="1774" y="4404"/>
                    </a:lnTo>
                    <a:lnTo>
                      <a:pt x="1730" y="4404"/>
                    </a:lnTo>
                    <a:lnTo>
                      <a:pt x="1730" y="4264"/>
                    </a:lnTo>
                    <a:lnTo>
                      <a:pt x="1641" y="4264"/>
                    </a:lnTo>
                    <a:lnTo>
                      <a:pt x="1641" y="4194"/>
                    </a:lnTo>
                    <a:lnTo>
                      <a:pt x="1552" y="4194"/>
                    </a:lnTo>
                    <a:lnTo>
                      <a:pt x="1552" y="4054"/>
                    </a:lnTo>
                    <a:lnTo>
                      <a:pt x="1419" y="4054"/>
                    </a:lnTo>
                    <a:lnTo>
                      <a:pt x="1331" y="3915"/>
                    </a:lnTo>
                    <a:lnTo>
                      <a:pt x="1242" y="3915"/>
                    </a:lnTo>
                    <a:lnTo>
                      <a:pt x="1242" y="3775"/>
                    </a:lnTo>
                    <a:lnTo>
                      <a:pt x="1153" y="3775"/>
                    </a:lnTo>
                    <a:lnTo>
                      <a:pt x="1020" y="3565"/>
                    </a:lnTo>
                    <a:lnTo>
                      <a:pt x="931" y="3565"/>
                    </a:lnTo>
                    <a:lnTo>
                      <a:pt x="931" y="2936"/>
                    </a:lnTo>
                    <a:lnTo>
                      <a:pt x="843" y="2936"/>
                    </a:lnTo>
                    <a:lnTo>
                      <a:pt x="843" y="2796"/>
                    </a:lnTo>
                    <a:lnTo>
                      <a:pt x="798" y="2796"/>
                    </a:lnTo>
                    <a:lnTo>
                      <a:pt x="798" y="2377"/>
                    </a:lnTo>
                    <a:lnTo>
                      <a:pt x="710" y="2377"/>
                    </a:lnTo>
                    <a:lnTo>
                      <a:pt x="710" y="2237"/>
                    </a:lnTo>
                    <a:lnTo>
                      <a:pt x="621" y="2237"/>
                    </a:lnTo>
                    <a:lnTo>
                      <a:pt x="488" y="1957"/>
                    </a:lnTo>
                    <a:lnTo>
                      <a:pt x="488" y="1887"/>
                    </a:lnTo>
                    <a:lnTo>
                      <a:pt x="399" y="1608"/>
                    </a:lnTo>
                    <a:lnTo>
                      <a:pt x="310" y="1468"/>
                    </a:lnTo>
                    <a:lnTo>
                      <a:pt x="310" y="1118"/>
                    </a:lnTo>
                    <a:lnTo>
                      <a:pt x="222" y="1118"/>
                    </a:lnTo>
                    <a:lnTo>
                      <a:pt x="222" y="909"/>
                    </a:lnTo>
                    <a:lnTo>
                      <a:pt x="177" y="769"/>
                    </a:lnTo>
                    <a:lnTo>
                      <a:pt x="177" y="629"/>
                    </a:lnTo>
                    <a:lnTo>
                      <a:pt x="89" y="489"/>
                    </a:lnTo>
                    <a:lnTo>
                      <a:pt x="89" y="419"/>
                    </a:lnTo>
                    <a:lnTo>
                      <a:pt x="0" y="419"/>
                    </a:lnTo>
                    <a:lnTo>
                      <a:pt x="0" y="280"/>
                    </a:lnTo>
                    <a:lnTo>
                      <a:pt x="1641" y="0"/>
                    </a:lnTo>
                    <a:close/>
                    <a:moveTo>
                      <a:pt x="1641" y="0"/>
                    </a:moveTo>
                  </a:path>
                </a:pathLst>
              </a:custGeom>
              <a:solidFill>
                <a:srgbClr val="00BACF"/>
              </a:solidFill>
              <a:ln w="12700">
                <a:solidFill>
                  <a:srgbClr val="FFFFFF"/>
                </a:solidFill>
                <a:round/>
                <a:headEnd/>
                <a:tailEnd/>
              </a:ln>
            </p:spPr>
            <p:txBody>
              <a:bodyPr lIns="0" tIns="0" rIns="0" bIns="0"/>
              <a:lstStyle/>
              <a:p>
                <a:endParaRPr lang="es-ES"/>
              </a:p>
            </p:txBody>
          </p:sp>
          <p:sp>
            <p:nvSpPr>
              <p:cNvPr id="15436" name="AutoShape 81"/>
              <p:cNvSpPr>
                <a:spLocks/>
              </p:cNvSpPr>
              <p:nvPr/>
            </p:nvSpPr>
            <p:spPr bwMode="auto">
              <a:xfrm>
                <a:off x="1575" y="1124"/>
                <a:ext cx="274" cy="109"/>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1600"/>
                  <a:gd name="T160" fmla="*/ 0 h 21600"/>
                  <a:gd name="T161" fmla="*/ 21600 w 21600"/>
                  <a:gd name="T162" fmla="*/ 21600 h 2160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1600" h="21600">
                    <a:moveTo>
                      <a:pt x="17962" y="9663"/>
                    </a:moveTo>
                    <a:lnTo>
                      <a:pt x="17962" y="11937"/>
                    </a:lnTo>
                    <a:lnTo>
                      <a:pt x="18644" y="11937"/>
                    </a:lnTo>
                    <a:lnTo>
                      <a:pt x="18644" y="10800"/>
                    </a:lnTo>
                    <a:lnTo>
                      <a:pt x="18417" y="10800"/>
                    </a:lnTo>
                    <a:lnTo>
                      <a:pt x="18417" y="9663"/>
                    </a:lnTo>
                    <a:lnTo>
                      <a:pt x="17962" y="9663"/>
                    </a:lnTo>
                    <a:close/>
                    <a:moveTo>
                      <a:pt x="4547" y="3979"/>
                    </a:moveTo>
                    <a:lnTo>
                      <a:pt x="4775" y="3979"/>
                    </a:lnTo>
                    <a:lnTo>
                      <a:pt x="4775" y="4547"/>
                    </a:lnTo>
                    <a:lnTo>
                      <a:pt x="4547" y="3979"/>
                    </a:lnTo>
                    <a:close/>
                    <a:moveTo>
                      <a:pt x="909" y="0"/>
                    </a:moveTo>
                    <a:lnTo>
                      <a:pt x="1364" y="0"/>
                    </a:lnTo>
                    <a:lnTo>
                      <a:pt x="1364" y="568"/>
                    </a:lnTo>
                    <a:lnTo>
                      <a:pt x="2046" y="568"/>
                    </a:lnTo>
                    <a:lnTo>
                      <a:pt x="2046" y="1705"/>
                    </a:lnTo>
                    <a:lnTo>
                      <a:pt x="2501" y="1705"/>
                    </a:lnTo>
                    <a:lnTo>
                      <a:pt x="2501" y="2842"/>
                    </a:lnTo>
                    <a:lnTo>
                      <a:pt x="2956" y="2842"/>
                    </a:lnTo>
                    <a:lnTo>
                      <a:pt x="3183" y="3979"/>
                    </a:lnTo>
                    <a:lnTo>
                      <a:pt x="3183" y="5684"/>
                    </a:lnTo>
                    <a:lnTo>
                      <a:pt x="4775" y="5684"/>
                    </a:lnTo>
                    <a:lnTo>
                      <a:pt x="4775" y="4547"/>
                    </a:lnTo>
                    <a:lnTo>
                      <a:pt x="5229" y="4547"/>
                    </a:lnTo>
                    <a:lnTo>
                      <a:pt x="5684" y="5684"/>
                    </a:lnTo>
                    <a:lnTo>
                      <a:pt x="6139" y="5684"/>
                    </a:lnTo>
                    <a:lnTo>
                      <a:pt x="6139" y="6821"/>
                    </a:lnTo>
                    <a:lnTo>
                      <a:pt x="7958" y="6821"/>
                    </a:lnTo>
                    <a:lnTo>
                      <a:pt x="8867" y="5684"/>
                    </a:lnTo>
                    <a:lnTo>
                      <a:pt x="8867" y="4547"/>
                    </a:lnTo>
                    <a:lnTo>
                      <a:pt x="10004" y="4547"/>
                    </a:lnTo>
                    <a:lnTo>
                      <a:pt x="10914" y="2842"/>
                    </a:lnTo>
                    <a:lnTo>
                      <a:pt x="11141" y="2842"/>
                    </a:lnTo>
                    <a:lnTo>
                      <a:pt x="11141" y="1705"/>
                    </a:lnTo>
                    <a:lnTo>
                      <a:pt x="11596" y="1705"/>
                    </a:lnTo>
                    <a:lnTo>
                      <a:pt x="12505" y="0"/>
                    </a:lnTo>
                    <a:lnTo>
                      <a:pt x="14779" y="0"/>
                    </a:lnTo>
                    <a:lnTo>
                      <a:pt x="14779" y="568"/>
                    </a:lnTo>
                    <a:lnTo>
                      <a:pt x="17280" y="2842"/>
                    </a:lnTo>
                    <a:lnTo>
                      <a:pt x="17507" y="2842"/>
                    </a:lnTo>
                    <a:lnTo>
                      <a:pt x="17962" y="3979"/>
                    </a:lnTo>
                    <a:lnTo>
                      <a:pt x="18417" y="3979"/>
                    </a:lnTo>
                    <a:lnTo>
                      <a:pt x="19099" y="4547"/>
                    </a:lnTo>
                    <a:lnTo>
                      <a:pt x="20236" y="7958"/>
                    </a:lnTo>
                    <a:lnTo>
                      <a:pt x="20691" y="7958"/>
                    </a:lnTo>
                    <a:lnTo>
                      <a:pt x="20691" y="8526"/>
                    </a:lnTo>
                    <a:lnTo>
                      <a:pt x="20236" y="8526"/>
                    </a:lnTo>
                    <a:lnTo>
                      <a:pt x="20236" y="9663"/>
                    </a:lnTo>
                    <a:lnTo>
                      <a:pt x="20691" y="9663"/>
                    </a:lnTo>
                    <a:lnTo>
                      <a:pt x="20691" y="11937"/>
                    </a:lnTo>
                    <a:lnTo>
                      <a:pt x="21145" y="11937"/>
                    </a:lnTo>
                    <a:lnTo>
                      <a:pt x="21145" y="13642"/>
                    </a:lnTo>
                    <a:lnTo>
                      <a:pt x="21600" y="13642"/>
                    </a:lnTo>
                    <a:lnTo>
                      <a:pt x="21600" y="15347"/>
                    </a:lnTo>
                    <a:lnTo>
                      <a:pt x="20691" y="15347"/>
                    </a:lnTo>
                    <a:lnTo>
                      <a:pt x="20691" y="16484"/>
                    </a:lnTo>
                    <a:lnTo>
                      <a:pt x="20236" y="17621"/>
                    </a:lnTo>
                    <a:lnTo>
                      <a:pt x="20236" y="18758"/>
                    </a:lnTo>
                    <a:lnTo>
                      <a:pt x="20008" y="18758"/>
                    </a:lnTo>
                    <a:lnTo>
                      <a:pt x="20008" y="17621"/>
                    </a:lnTo>
                    <a:lnTo>
                      <a:pt x="19554" y="17621"/>
                    </a:lnTo>
                    <a:lnTo>
                      <a:pt x="19554" y="16484"/>
                    </a:lnTo>
                    <a:lnTo>
                      <a:pt x="19099" y="16484"/>
                    </a:lnTo>
                    <a:lnTo>
                      <a:pt x="19554" y="17621"/>
                    </a:lnTo>
                    <a:lnTo>
                      <a:pt x="19554" y="18758"/>
                    </a:lnTo>
                    <a:lnTo>
                      <a:pt x="19099" y="19326"/>
                    </a:lnTo>
                    <a:lnTo>
                      <a:pt x="19099" y="20463"/>
                    </a:lnTo>
                    <a:lnTo>
                      <a:pt x="18417" y="20463"/>
                    </a:lnTo>
                    <a:lnTo>
                      <a:pt x="18417" y="19326"/>
                    </a:lnTo>
                    <a:lnTo>
                      <a:pt x="17962" y="19326"/>
                    </a:lnTo>
                    <a:lnTo>
                      <a:pt x="17962" y="18758"/>
                    </a:lnTo>
                    <a:lnTo>
                      <a:pt x="17507" y="17621"/>
                    </a:lnTo>
                    <a:lnTo>
                      <a:pt x="17507" y="16484"/>
                    </a:lnTo>
                    <a:lnTo>
                      <a:pt x="17280" y="16484"/>
                    </a:lnTo>
                    <a:lnTo>
                      <a:pt x="17280" y="14779"/>
                    </a:lnTo>
                    <a:lnTo>
                      <a:pt x="16825" y="14779"/>
                    </a:lnTo>
                    <a:lnTo>
                      <a:pt x="16825" y="12505"/>
                    </a:lnTo>
                    <a:lnTo>
                      <a:pt x="17280" y="12505"/>
                    </a:lnTo>
                    <a:lnTo>
                      <a:pt x="17507" y="11937"/>
                    </a:lnTo>
                    <a:lnTo>
                      <a:pt x="17507" y="10800"/>
                    </a:lnTo>
                    <a:lnTo>
                      <a:pt x="17280" y="10800"/>
                    </a:lnTo>
                    <a:lnTo>
                      <a:pt x="17507" y="9663"/>
                    </a:lnTo>
                    <a:lnTo>
                      <a:pt x="17507" y="8526"/>
                    </a:lnTo>
                    <a:lnTo>
                      <a:pt x="17280" y="8526"/>
                    </a:lnTo>
                    <a:lnTo>
                      <a:pt x="17280" y="10800"/>
                    </a:lnTo>
                    <a:lnTo>
                      <a:pt x="16825" y="10800"/>
                    </a:lnTo>
                    <a:lnTo>
                      <a:pt x="16825" y="8526"/>
                    </a:lnTo>
                    <a:lnTo>
                      <a:pt x="16371" y="8526"/>
                    </a:lnTo>
                    <a:lnTo>
                      <a:pt x="16371" y="7958"/>
                    </a:lnTo>
                    <a:lnTo>
                      <a:pt x="15916" y="7958"/>
                    </a:lnTo>
                    <a:lnTo>
                      <a:pt x="15916" y="6821"/>
                    </a:lnTo>
                    <a:lnTo>
                      <a:pt x="15234" y="6821"/>
                    </a:lnTo>
                    <a:lnTo>
                      <a:pt x="15234" y="5684"/>
                    </a:lnTo>
                    <a:lnTo>
                      <a:pt x="14324" y="5684"/>
                    </a:lnTo>
                    <a:lnTo>
                      <a:pt x="14324" y="4547"/>
                    </a:lnTo>
                    <a:lnTo>
                      <a:pt x="13187" y="4547"/>
                    </a:lnTo>
                    <a:lnTo>
                      <a:pt x="12733" y="5684"/>
                    </a:lnTo>
                    <a:lnTo>
                      <a:pt x="12505" y="5684"/>
                    </a:lnTo>
                    <a:lnTo>
                      <a:pt x="12505" y="6821"/>
                    </a:lnTo>
                    <a:lnTo>
                      <a:pt x="12051" y="6821"/>
                    </a:lnTo>
                    <a:lnTo>
                      <a:pt x="12051" y="9663"/>
                    </a:lnTo>
                    <a:lnTo>
                      <a:pt x="11141" y="9663"/>
                    </a:lnTo>
                    <a:lnTo>
                      <a:pt x="11141" y="10800"/>
                    </a:lnTo>
                    <a:lnTo>
                      <a:pt x="10914" y="10800"/>
                    </a:lnTo>
                    <a:lnTo>
                      <a:pt x="10914" y="11937"/>
                    </a:lnTo>
                    <a:lnTo>
                      <a:pt x="9549" y="11937"/>
                    </a:lnTo>
                    <a:lnTo>
                      <a:pt x="9549" y="14779"/>
                    </a:lnTo>
                    <a:lnTo>
                      <a:pt x="10004" y="14779"/>
                    </a:lnTo>
                    <a:lnTo>
                      <a:pt x="10459" y="15347"/>
                    </a:lnTo>
                    <a:lnTo>
                      <a:pt x="10459" y="16484"/>
                    </a:lnTo>
                    <a:lnTo>
                      <a:pt x="10914" y="17621"/>
                    </a:lnTo>
                    <a:lnTo>
                      <a:pt x="11141" y="17621"/>
                    </a:lnTo>
                    <a:lnTo>
                      <a:pt x="11141" y="19326"/>
                    </a:lnTo>
                    <a:lnTo>
                      <a:pt x="10004" y="19326"/>
                    </a:lnTo>
                    <a:lnTo>
                      <a:pt x="9549" y="20463"/>
                    </a:lnTo>
                    <a:lnTo>
                      <a:pt x="9322" y="20463"/>
                    </a:lnTo>
                    <a:lnTo>
                      <a:pt x="8867" y="21600"/>
                    </a:lnTo>
                    <a:lnTo>
                      <a:pt x="7731" y="21600"/>
                    </a:lnTo>
                    <a:lnTo>
                      <a:pt x="7731" y="20463"/>
                    </a:lnTo>
                    <a:lnTo>
                      <a:pt x="7958" y="19326"/>
                    </a:lnTo>
                    <a:lnTo>
                      <a:pt x="7958" y="18758"/>
                    </a:lnTo>
                    <a:lnTo>
                      <a:pt x="7731" y="18758"/>
                    </a:lnTo>
                    <a:lnTo>
                      <a:pt x="7731" y="16484"/>
                    </a:lnTo>
                    <a:lnTo>
                      <a:pt x="7276" y="16484"/>
                    </a:lnTo>
                    <a:lnTo>
                      <a:pt x="7276" y="15347"/>
                    </a:lnTo>
                    <a:lnTo>
                      <a:pt x="6821" y="15347"/>
                    </a:lnTo>
                    <a:lnTo>
                      <a:pt x="6821" y="17621"/>
                    </a:lnTo>
                    <a:lnTo>
                      <a:pt x="6139" y="17621"/>
                    </a:lnTo>
                    <a:lnTo>
                      <a:pt x="6139" y="16484"/>
                    </a:lnTo>
                    <a:lnTo>
                      <a:pt x="5684" y="16484"/>
                    </a:lnTo>
                    <a:lnTo>
                      <a:pt x="5684" y="15347"/>
                    </a:lnTo>
                    <a:lnTo>
                      <a:pt x="5229" y="15347"/>
                    </a:lnTo>
                    <a:lnTo>
                      <a:pt x="5229" y="13642"/>
                    </a:lnTo>
                    <a:lnTo>
                      <a:pt x="4775" y="13642"/>
                    </a:lnTo>
                    <a:lnTo>
                      <a:pt x="4775" y="12505"/>
                    </a:lnTo>
                    <a:lnTo>
                      <a:pt x="3183" y="12505"/>
                    </a:lnTo>
                    <a:lnTo>
                      <a:pt x="3183" y="11937"/>
                    </a:lnTo>
                    <a:lnTo>
                      <a:pt x="2956" y="11937"/>
                    </a:lnTo>
                    <a:lnTo>
                      <a:pt x="2956" y="10800"/>
                    </a:lnTo>
                    <a:lnTo>
                      <a:pt x="2501" y="10800"/>
                    </a:lnTo>
                    <a:lnTo>
                      <a:pt x="2501" y="11937"/>
                    </a:lnTo>
                    <a:lnTo>
                      <a:pt x="1364" y="11937"/>
                    </a:lnTo>
                    <a:lnTo>
                      <a:pt x="455" y="13642"/>
                    </a:lnTo>
                    <a:lnTo>
                      <a:pt x="455" y="11937"/>
                    </a:lnTo>
                    <a:lnTo>
                      <a:pt x="0" y="11937"/>
                    </a:lnTo>
                    <a:lnTo>
                      <a:pt x="455" y="10800"/>
                    </a:lnTo>
                    <a:lnTo>
                      <a:pt x="455" y="9663"/>
                    </a:lnTo>
                    <a:lnTo>
                      <a:pt x="909" y="9663"/>
                    </a:lnTo>
                    <a:lnTo>
                      <a:pt x="909" y="7958"/>
                    </a:lnTo>
                    <a:lnTo>
                      <a:pt x="455" y="7958"/>
                    </a:lnTo>
                    <a:lnTo>
                      <a:pt x="909" y="6821"/>
                    </a:lnTo>
                    <a:lnTo>
                      <a:pt x="1364" y="6821"/>
                    </a:lnTo>
                    <a:lnTo>
                      <a:pt x="1364" y="5684"/>
                    </a:lnTo>
                    <a:lnTo>
                      <a:pt x="909" y="5684"/>
                    </a:lnTo>
                    <a:lnTo>
                      <a:pt x="909" y="4547"/>
                    </a:lnTo>
                    <a:lnTo>
                      <a:pt x="455" y="4547"/>
                    </a:lnTo>
                    <a:lnTo>
                      <a:pt x="455" y="1705"/>
                    </a:lnTo>
                    <a:lnTo>
                      <a:pt x="909" y="568"/>
                    </a:lnTo>
                    <a:lnTo>
                      <a:pt x="909" y="0"/>
                    </a:lnTo>
                    <a:close/>
                    <a:moveTo>
                      <a:pt x="909" y="0"/>
                    </a:moveTo>
                  </a:path>
                </a:pathLst>
              </a:custGeom>
              <a:solidFill>
                <a:srgbClr val="00BACF"/>
              </a:solidFill>
              <a:ln w="12700">
                <a:solidFill>
                  <a:srgbClr val="FFFFFF"/>
                </a:solidFill>
                <a:round/>
                <a:headEnd/>
                <a:tailEnd/>
              </a:ln>
            </p:spPr>
            <p:txBody>
              <a:bodyPr lIns="0" tIns="0" rIns="0" bIns="0"/>
              <a:lstStyle/>
              <a:p>
                <a:endParaRPr lang="es-ES"/>
              </a:p>
            </p:txBody>
          </p:sp>
          <p:sp>
            <p:nvSpPr>
              <p:cNvPr id="15437" name="AutoShape 82"/>
              <p:cNvSpPr>
                <a:spLocks/>
              </p:cNvSpPr>
              <p:nvPr/>
            </p:nvSpPr>
            <p:spPr bwMode="auto">
              <a:xfrm>
                <a:off x="1358" y="870"/>
                <a:ext cx="211" cy="19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1600"/>
                  <a:gd name="T127" fmla="*/ 0 h 21600"/>
                  <a:gd name="T128" fmla="*/ 21600 w 21600"/>
                  <a:gd name="T129" fmla="*/ 21600 h 2160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1600" h="21600">
                    <a:moveTo>
                      <a:pt x="11100" y="19376"/>
                    </a:moveTo>
                    <a:lnTo>
                      <a:pt x="12600" y="19376"/>
                    </a:lnTo>
                    <a:lnTo>
                      <a:pt x="12600" y="20012"/>
                    </a:lnTo>
                    <a:lnTo>
                      <a:pt x="11700" y="20012"/>
                    </a:lnTo>
                    <a:lnTo>
                      <a:pt x="11100" y="19376"/>
                    </a:lnTo>
                    <a:close/>
                    <a:moveTo>
                      <a:pt x="20100" y="0"/>
                    </a:moveTo>
                    <a:lnTo>
                      <a:pt x="21000" y="0"/>
                    </a:lnTo>
                    <a:lnTo>
                      <a:pt x="21000" y="635"/>
                    </a:lnTo>
                    <a:lnTo>
                      <a:pt x="21600" y="1271"/>
                    </a:lnTo>
                    <a:lnTo>
                      <a:pt x="21600" y="4447"/>
                    </a:lnTo>
                    <a:lnTo>
                      <a:pt x="21000" y="5082"/>
                    </a:lnTo>
                    <a:lnTo>
                      <a:pt x="21000" y="7306"/>
                    </a:lnTo>
                    <a:lnTo>
                      <a:pt x="20400" y="8259"/>
                    </a:lnTo>
                    <a:lnTo>
                      <a:pt x="20400" y="13341"/>
                    </a:lnTo>
                    <a:lnTo>
                      <a:pt x="20100" y="13341"/>
                    </a:lnTo>
                    <a:lnTo>
                      <a:pt x="20100" y="12388"/>
                    </a:lnTo>
                    <a:lnTo>
                      <a:pt x="19500" y="12388"/>
                    </a:lnTo>
                    <a:lnTo>
                      <a:pt x="19500" y="14612"/>
                    </a:lnTo>
                    <a:lnTo>
                      <a:pt x="18900" y="14612"/>
                    </a:lnTo>
                    <a:lnTo>
                      <a:pt x="18900" y="16835"/>
                    </a:lnTo>
                    <a:lnTo>
                      <a:pt x="19500" y="16835"/>
                    </a:lnTo>
                    <a:lnTo>
                      <a:pt x="19500" y="17788"/>
                    </a:lnTo>
                    <a:lnTo>
                      <a:pt x="18900" y="17788"/>
                    </a:lnTo>
                    <a:lnTo>
                      <a:pt x="18900" y="18424"/>
                    </a:lnTo>
                    <a:lnTo>
                      <a:pt x="18300" y="19059"/>
                    </a:lnTo>
                    <a:lnTo>
                      <a:pt x="18300" y="19376"/>
                    </a:lnTo>
                    <a:lnTo>
                      <a:pt x="18900" y="19376"/>
                    </a:lnTo>
                    <a:lnTo>
                      <a:pt x="18900" y="20647"/>
                    </a:lnTo>
                    <a:lnTo>
                      <a:pt x="19500" y="20647"/>
                    </a:lnTo>
                    <a:lnTo>
                      <a:pt x="19500" y="21600"/>
                    </a:lnTo>
                    <a:lnTo>
                      <a:pt x="17400" y="21600"/>
                    </a:lnTo>
                    <a:lnTo>
                      <a:pt x="17400" y="21282"/>
                    </a:lnTo>
                    <a:lnTo>
                      <a:pt x="16500" y="21282"/>
                    </a:lnTo>
                    <a:lnTo>
                      <a:pt x="16500" y="20647"/>
                    </a:lnTo>
                    <a:lnTo>
                      <a:pt x="15900" y="20647"/>
                    </a:lnTo>
                    <a:lnTo>
                      <a:pt x="15900" y="20012"/>
                    </a:lnTo>
                    <a:lnTo>
                      <a:pt x="15300" y="20012"/>
                    </a:lnTo>
                    <a:lnTo>
                      <a:pt x="15300" y="20647"/>
                    </a:lnTo>
                    <a:lnTo>
                      <a:pt x="13200" y="20647"/>
                    </a:lnTo>
                    <a:lnTo>
                      <a:pt x="13200" y="20012"/>
                    </a:lnTo>
                    <a:lnTo>
                      <a:pt x="14400" y="20012"/>
                    </a:lnTo>
                    <a:lnTo>
                      <a:pt x="14400" y="19059"/>
                    </a:lnTo>
                    <a:lnTo>
                      <a:pt x="13800" y="19059"/>
                    </a:lnTo>
                    <a:lnTo>
                      <a:pt x="13800" y="18424"/>
                    </a:lnTo>
                    <a:lnTo>
                      <a:pt x="13200" y="18424"/>
                    </a:lnTo>
                    <a:lnTo>
                      <a:pt x="13200" y="17788"/>
                    </a:lnTo>
                    <a:lnTo>
                      <a:pt x="11100" y="15565"/>
                    </a:lnTo>
                    <a:lnTo>
                      <a:pt x="10500" y="15565"/>
                    </a:lnTo>
                    <a:lnTo>
                      <a:pt x="10500" y="14929"/>
                    </a:lnTo>
                    <a:lnTo>
                      <a:pt x="9000" y="14929"/>
                    </a:lnTo>
                    <a:lnTo>
                      <a:pt x="9000" y="17153"/>
                    </a:lnTo>
                    <a:lnTo>
                      <a:pt x="9600" y="17788"/>
                    </a:lnTo>
                    <a:lnTo>
                      <a:pt x="9600" y="18424"/>
                    </a:lnTo>
                    <a:lnTo>
                      <a:pt x="10200" y="18424"/>
                    </a:lnTo>
                    <a:lnTo>
                      <a:pt x="10200" y="19059"/>
                    </a:lnTo>
                    <a:lnTo>
                      <a:pt x="11100" y="19059"/>
                    </a:lnTo>
                    <a:lnTo>
                      <a:pt x="11100" y="19376"/>
                    </a:lnTo>
                    <a:lnTo>
                      <a:pt x="10200" y="19376"/>
                    </a:lnTo>
                    <a:lnTo>
                      <a:pt x="10200" y="20012"/>
                    </a:lnTo>
                    <a:lnTo>
                      <a:pt x="9600" y="20012"/>
                    </a:lnTo>
                    <a:lnTo>
                      <a:pt x="9600" y="19376"/>
                    </a:lnTo>
                    <a:lnTo>
                      <a:pt x="9000" y="19376"/>
                    </a:lnTo>
                    <a:lnTo>
                      <a:pt x="9000" y="19059"/>
                    </a:lnTo>
                    <a:lnTo>
                      <a:pt x="8400" y="19059"/>
                    </a:lnTo>
                    <a:lnTo>
                      <a:pt x="8100" y="18424"/>
                    </a:lnTo>
                    <a:lnTo>
                      <a:pt x="7500" y="18424"/>
                    </a:lnTo>
                    <a:lnTo>
                      <a:pt x="7500" y="17788"/>
                    </a:lnTo>
                    <a:lnTo>
                      <a:pt x="6900" y="17153"/>
                    </a:lnTo>
                    <a:lnTo>
                      <a:pt x="6300" y="17153"/>
                    </a:lnTo>
                    <a:lnTo>
                      <a:pt x="6300" y="16835"/>
                    </a:lnTo>
                    <a:lnTo>
                      <a:pt x="4800" y="14929"/>
                    </a:lnTo>
                    <a:lnTo>
                      <a:pt x="4800" y="14612"/>
                    </a:lnTo>
                    <a:lnTo>
                      <a:pt x="4200" y="13976"/>
                    </a:lnTo>
                    <a:lnTo>
                      <a:pt x="3900" y="13976"/>
                    </a:lnTo>
                    <a:lnTo>
                      <a:pt x="2100" y="12388"/>
                    </a:lnTo>
                    <a:lnTo>
                      <a:pt x="1800" y="12388"/>
                    </a:lnTo>
                    <a:lnTo>
                      <a:pt x="1800" y="11753"/>
                    </a:lnTo>
                    <a:lnTo>
                      <a:pt x="1200" y="11753"/>
                    </a:lnTo>
                    <a:lnTo>
                      <a:pt x="1200" y="11118"/>
                    </a:lnTo>
                    <a:lnTo>
                      <a:pt x="600" y="11118"/>
                    </a:lnTo>
                    <a:lnTo>
                      <a:pt x="600" y="10482"/>
                    </a:lnTo>
                    <a:lnTo>
                      <a:pt x="0" y="10165"/>
                    </a:lnTo>
                    <a:lnTo>
                      <a:pt x="600" y="10165"/>
                    </a:lnTo>
                    <a:lnTo>
                      <a:pt x="600" y="9529"/>
                    </a:lnTo>
                    <a:lnTo>
                      <a:pt x="1200" y="9529"/>
                    </a:lnTo>
                    <a:lnTo>
                      <a:pt x="1200" y="10165"/>
                    </a:lnTo>
                    <a:lnTo>
                      <a:pt x="1800" y="10165"/>
                    </a:lnTo>
                    <a:lnTo>
                      <a:pt x="1800" y="10482"/>
                    </a:lnTo>
                    <a:lnTo>
                      <a:pt x="2100" y="10482"/>
                    </a:lnTo>
                    <a:lnTo>
                      <a:pt x="2100" y="10165"/>
                    </a:lnTo>
                    <a:lnTo>
                      <a:pt x="3300" y="10165"/>
                    </a:lnTo>
                    <a:lnTo>
                      <a:pt x="3900" y="9529"/>
                    </a:lnTo>
                    <a:lnTo>
                      <a:pt x="3900" y="8894"/>
                    </a:lnTo>
                    <a:lnTo>
                      <a:pt x="5400" y="8894"/>
                    </a:lnTo>
                    <a:lnTo>
                      <a:pt x="5400" y="8259"/>
                    </a:lnTo>
                    <a:lnTo>
                      <a:pt x="4800" y="8259"/>
                    </a:lnTo>
                    <a:lnTo>
                      <a:pt x="4800" y="6035"/>
                    </a:lnTo>
                    <a:lnTo>
                      <a:pt x="6900" y="6035"/>
                    </a:lnTo>
                    <a:lnTo>
                      <a:pt x="6900" y="5718"/>
                    </a:lnTo>
                    <a:lnTo>
                      <a:pt x="7500" y="5718"/>
                    </a:lnTo>
                    <a:lnTo>
                      <a:pt x="7500" y="5082"/>
                    </a:lnTo>
                    <a:lnTo>
                      <a:pt x="8100" y="5082"/>
                    </a:lnTo>
                    <a:lnTo>
                      <a:pt x="8100" y="4447"/>
                    </a:lnTo>
                    <a:lnTo>
                      <a:pt x="8400" y="5082"/>
                    </a:lnTo>
                    <a:lnTo>
                      <a:pt x="9000" y="5082"/>
                    </a:lnTo>
                    <a:lnTo>
                      <a:pt x="9000" y="5718"/>
                    </a:lnTo>
                    <a:lnTo>
                      <a:pt x="10200" y="5718"/>
                    </a:lnTo>
                    <a:lnTo>
                      <a:pt x="10200" y="5082"/>
                    </a:lnTo>
                    <a:lnTo>
                      <a:pt x="10500" y="5082"/>
                    </a:lnTo>
                    <a:lnTo>
                      <a:pt x="10500" y="4447"/>
                    </a:lnTo>
                    <a:lnTo>
                      <a:pt x="11100" y="4447"/>
                    </a:lnTo>
                    <a:lnTo>
                      <a:pt x="12300" y="3494"/>
                    </a:lnTo>
                    <a:lnTo>
                      <a:pt x="12600" y="3494"/>
                    </a:lnTo>
                    <a:lnTo>
                      <a:pt x="12600" y="2224"/>
                    </a:lnTo>
                    <a:lnTo>
                      <a:pt x="13200" y="1906"/>
                    </a:lnTo>
                    <a:lnTo>
                      <a:pt x="13200" y="1271"/>
                    </a:lnTo>
                    <a:lnTo>
                      <a:pt x="13800" y="635"/>
                    </a:lnTo>
                    <a:lnTo>
                      <a:pt x="14400" y="635"/>
                    </a:lnTo>
                    <a:lnTo>
                      <a:pt x="14400" y="1271"/>
                    </a:lnTo>
                    <a:lnTo>
                      <a:pt x="15300" y="1271"/>
                    </a:lnTo>
                    <a:lnTo>
                      <a:pt x="15300" y="1906"/>
                    </a:lnTo>
                    <a:lnTo>
                      <a:pt x="16800" y="1906"/>
                    </a:lnTo>
                    <a:lnTo>
                      <a:pt x="17400" y="1271"/>
                    </a:lnTo>
                    <a:lnTo>
                      <a:pt x="18000" y="1271"/>
                    </a:lnTo>
                    <a:lnTo>
                      <a:pt x="18000" y="635"/>
                    </a:lnTo>
                    <a:lnTo>
                      <a:pt x="20100" y="635"/>
                    </a:lnTo>
                    <a:lnTo>
                      <a:pt x="20100" y="0"/>
                    </a:lnTo>
                    <a:close/>
                    <a:moveTo>
                      <a:pt x="20100" y="0"/>
                    </a:moveTo>
                  </a:path>
                </a:pathLst>
              </a:custGeom>
              <a:solidFill>
                <a:srgbClr val="00BACF"/>
              </a:solidFill>
              <a:ln w="12700">
                <a:solidFill>
                  <a:srgbClr val="FFFFFF"/>
                </a:solidFill>
                <a:round/>
                <a:headEnd/>
                <a:tailEnd/>
              </a:ln>
            </p:spPr>
            <p:txBody>
              <a:bodyPr lIns="0" tIns="0" rIns="0" bIns="0"/>
              <a:lstStyle/>
              <a:p>
                <a:endParaRPr lang="es-ES"/>
              </a:p>
            </p:txBody>
          </p:sp>
          <p:sp>
            <p:nvSpPr>
              <p:cNvPr id="15438" name="Freeform 83"/>
              <p:cNvSpPr>
                <a:spLocks/>
              </p:cNvSpPr>
              <p:nvPr/>
            </p:nvSpPr>
            <p:spPr bwMode="auto">
              <a:xfrm>
                <a:off x="1148" y="735"/>
                <a:ext cx="187" cy="19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1600"/>
                  <a:gd name="T115" fmla="*/ 0 h 21600"/>
                  <a:gd name="T116" fmla="*/ 21600 w 21600"/>
                  <a:gd name="T117" fmla="*/ 21600 h 2160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1600" h="21600">
                    <a:moveTo>
                      <a:pt x="6978" y="0"/>
                    </a:moveTo>
                    <a:lnTo>
                      <a:pt x="16948" y="0"/>
                    </a:lnTo>
                    <a:lnTo>
                      <a:pt x="16948" y="6218"/>
                    </a:lnTo>
                    <a:lnTo>
                      <a:pt x="16283" y="8182"/>
                    </a:lnTo>
                    <a:lnTo>
                      <a:pt x="16283" y="10473"/>
                    </a:lnTo>
                    <a:lnTo>
                      <a:pt x="18609" y="10473"/>
                    </a:lnTo>
                    <a:lnTo>
                      <a:pt x="19274" y="10800"/>
                    </a:lnTo>
                    <a:lnTo>
                      <a:pt x="20271" y="10800"/>
                    </a:lnTo>
                    <a:lnTo>
                      <a:pt x="20271" y="10473"/>
                    </a:lnTo>
                    <a:lnTo>
                      <a:pt x="20935" y="10473"/>
                    </a:lnTo>
                    <a:lnTo>
                      <a:pt x="21600" y="10800"/>
                    </a:lnTo>
                    <a:lnTo>
                      <a:pt x="21600" y="11455"/>
                    </a:lnTo>
                    <a:lnTo>
                      <a:pt x="20935" y="11455"/>
                    </a:lnTo>
                    <a:lnTo>
                      <a:pt x="20935" y="12109"/>
                    </a:lnTo>
                    <a:lnTo>
                      <a:pt x="20271" y="12109"/>
                    </a:lnTo>
                    <a:lnTo>
                      <a:pt x="20271" y="12764"/>
                    </a:lnTo>
                    <a:lnTo>
                      <a:pt x="19606" y="13091"/>
                    </a:lnTo>
                    <a:lnTo>
                      <a:pt x="19274" y="13091"/>
                    </a:lnTo>
                    <a:lnTo>
                      <a:pt x="18609" y="13745"/>
                    </a:lnTo>
                    <a:lnTo>
                      <a:pt x="17945" y="13745"/>
                    </a:lnTo>
                    <a:lnTo>
                      <a:pt x="17945" y="14400"/>
                    </a:lnTo>
                    <a:lnTo>
                      <a:pt x="16948" y="14400"/>
                    </a:lnTo>
                    <a:lnTo>
                      <a:pt x="16948" y="15382"/>
                    </a:lnTo>
                    <a:lnTo>
                      <a:pt x="16283" y="16036"/>
                    </a:lnTo>
                    <a:lnTo>
                      <a:pt x="16948" y="16036"/>
                    </a:lnTo>
                    <a:lnTo>
                      <a:pt x="16948" y="17345"/>
                    </a:lnTo>
                    <a:lnTo>
                      <a:pt x="16283" y="17345"/>
                    </a:lnTo>
                    <a:lnTo>
                      <a:pt x="16283" y="17673"/>
                    </a:lnTo>
                    <a:lnTo>
                      <a:pt x="15618" y="17673"/>
                    </a:lnTo>
                    <a:lnTo>
                      <a:pt x="15618" y="18327"/>
                    </a:lnTo>
                    <a:lnTo>
                      <a:pt x="14622" y="18327"/>
                    </a:lnTo>
                    <a:lnTo>
                      <a:pt x="14622" y="19636"/>
                    </a:lnTo>
                    <a:lnTo>
                      <a:pt x="13957" y="19636"/>
                    </a:lnTo>
                    <a:lnTo>
                      <a:pt x="13957" y="19964"/>
                    </a:lnTo>
                    <a:lnTo>
                      <a:pt x="12628" y="19964"/>
                    </a:lnTo>
                    <a:lnTo>
                      <a:pt x="12628" y="20618"/>
                    </a:lnTo>
                    <a:lnTo>
                      <a:pt x="12295" y="20618"/>
                    </a:lnTo>
                    <a:lnTo>
                      <a:pt x="12295" y="21273"/>
                    </a:lnTo>
                    <a:lnTo>
                      <a:pt x="11631" y="21273"/>
                    </a:lnTo>
                    <a:lnTo>
                      <a:pt x="11631" y="21600"/>
                    </a:lnTo>
                    <a:lnTo>
                      <a:pt x="10966" y="21600"/>
                    </a:lnTo>
                    <a:lnTo>
                      <a:pt x="10634" y="21273"/>
                    </a:lnTo>
                    <a:lnTo>
                      <a:pt x="5982" y="21273"/>
                    </a:lnTo>
                    <a:lnTo>
                      <a:pt x="5317" y="20618"/>
                    </a:lnTo>
                    <a:lnTo>
                      <a:pt x="4652" y="20618"/>
                    </a:lnTo>
                    <a:lnTo>
                      <a:pt x="4652" y="19964"/>
                    </a:lnTo>
                    <a:lnTo>
                      <a:pt x="3655" y="19964"/>
                    </a:lnTo>
                    <a:lnTo>
                      <a:pt x="2991" y="19636"/>
                    </a:lnTo>
                    <a:lnTo>
                      <a:pt x="1662" y="18982"/>
                    </a:lnTo>
                    <a:lnTo>
                      <a:pt x="1329" y="18327"/>
                    </a:lnTo>
                    <a:lnTo>
                      <a:pt x="1329" y="17673"/>
                    </a:lnTo>
                    <a:lnTo>
                      <a:pt x="665" y="17673"/>
                    </a:lnTo>
                    <a:lnTo>
                      <a:pt x="665" y="17345"/>
                    </a:lnTo>
                    <a:lnTo>
                      <a:pt x="1329" y="16691"/>
                    </a:lnTo>
                    <a:lnTo>
                      <a:pt x="1329" y="15382"/>
                    </a:lnTo>
                    <a:lnTo>
                      <a:pt x="0" y="14400"/>
                    </a:lnTo>
                    <a:lnTo>
                      <a:pt x="2326" y="9164"/>
                    </a:lnTo>
                    <a:lnTo>
                      <a:pt x="9969" y="9164"/>
                    </a:lnTo>
                    <a:lnTo>
                      <a:pt x="10634" y="8509"/>
                    </a:lnTo>
                    <a:lnTo>
                      <a:pt x="10634" y="7527"/>
                    </a:lnTo>
                    <a:lnTo>
                      <a:pt x="9305" y="7527"/>
                    </a:lnTo>
                    <a:lnTo>
                      <a:pt x="9305" y="6873"/>
                    </a:lnTo>
                    <a:lnTo>
                      <a:pt x="8640" y="6873"/>
                    </a:lnTo>
                    <a:lnTo>
                      <a:pt x="8640" y="5891"/>
                    </a:lnTo>
                    <a:lnTo>
                      <a:pt x="8308" y="5891"/>
                    </a:lnTo>
                    <a:lnTo>
                      <a:pt x="8308" y="5236"/>
                    </a:lnTo>
                    <a:lnTo>
                      <a:pt x="7643" y="5236"/>
                    </a:lnTo>
                    <a:lnTo>
                      <a:pt x="6978" y="4582"/>
                    </a:lnTo>
                    <a:lnTo>
                      <a:pt x="6314" y="4582"/>
                    </a:lnTo>
                    <a:lnTo>
                      <a:pt x="5982" y="3927"/>
                    </a:lnTo>
                    <a:lnTo>
                      <a:pt x="5982" y="3600"/>
                    </a:lnTo>
                    <a:lnTo>
                      <a:pt x="5317" y="3600"/>
                    </a:lnTo>
                    <a:lnTo>
                      <a:pt x="4652" y="2945"/>
                    </a:lnTo>
                    <a:lnTo>
                      <a:pt x="6978" y="2945"/>
                    </a:lnTo>
                    <a:lnTo>
                      <a:pt x="6978" y="0"/>
                    </a:lnTo>
                    <a:close/>
                    <a:moveTo>
                      <a:pt x="6978" y="0"/>
                    </a:moveTo>
                  </a:path>
                </a:pathLst>
              </a:custGeom>
              <a:solidFill>
                <a:srgbClr val="00BACF"/>
              </a:solidFill>
              <a:ln w="12700">
                <a:solidFill>
                  <a:srgbClr val="FFFFFF"/>
                </a:solidFill>
                <a:round/>
                <a:headEnd/>
                <a:tailEnd/>
              </a:ln>
            </p:spPr>
            <p:txBody>
              <a:bodyPr lIns="0" tIns="0" rIns="0" bIns="0"/>
              <a:lstStyle/>
              <a:p>
                <a:endParaRPr lang="es-ES"/>
              </a:p>
            </p:txBody>
          </p:sp>
          <p:sp>
            <p:nvSpPr>
              <p:cNvPr id="15439" name="Freeform 84"/>
              <p:cNvSpPr>
                <a:spLocks/>
              </p:cNvSpPr>
              <p:nvPr/>
            </p:nvSpPr>
            <p:spPr bwMode="auto">
              <a:xfrm>
                <a:off x="1251" y="896"/>
                <a:ext cx="109" cy="6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1600"/>
                  <a:gd name="T121" fmla="*/ 0 h 21600"/>
                  <a:gd name="T122" fmla="*/ 21600 w 21600"/>
                  <a:gd name="T123" fmla="*/ 21600 h 2160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1600" h="21600">
                    <a:moveTo>
                      <a:pt x="5116" y="0"/>
                    </a:moveTo>
                    <a:lnTo>
                      <a:pt x="9095" y="0"/>
                    </a:lnTo>
                    <a:lnTo>
                      <a:pt x="9095" y="2057"/>
                    </a:lnTo>
                    <a:lnTo>
                      <a:pt x="10800" y="2057"/>
                    </a:lnTo>
                    <a:lnTo>
                      <a:pt x="10800" y="4114"/>
                    </a:lnTo>
                    <a:lnTo>
                      <a:pt x="11937" y="4114"/>
                    </a:lnTo>
                    <a:lnTo>
                      <a:pt x="11937" y="5143"/>
                    </a:lnTo>
                    <a:lnTo>
                      <a:pt x="13074" y="5143"/>
                    </a:lnTo>
                    <a:lnTo>
                      <a:pt x="13074" y="7200"/>
                    </a:lnTo>
                    <a:lnTo>
                      <a:pt x="14779" y="7200"/>
                    </a:lnTo>
                    <a:lnTo>
                      <a:pt x="14779" y="9257"/>
                    </a:lnTo>
                    <a:lnTo>
                      <a:pt x="17053" y="9257"/>
                    </a:lnTo>
                    <a:lnTo>
                      <a:pt x="17053" y="7200"/>
                    </a:lnTo>
                    <a:lnTo>
                      <a:pt x="18758" y="7200"/>
                    </a:lnTo>
                    <a:lnTo>
                      <a:pt x="18758" y="9257"/>
                    </a:lnTo>
                    <a:lnTo>
                      <a:pt x="21600" y="9257"/>
                    </a:lnTo>
                    <a:lnTo>
                      <a:pt x="21600" y="14400"/>
                    </a:lnTo>
                    <a:lnTo>
                      <a:pt x="21032" y="14400"/>
                    </a:lnTo>
                    <a:lnTo>
                      <a:pt x="21032" y="17486"/>
                    </a:lnTo>
                    <a:lnTo>
                      <a:pt x="18758" y="21600"/>
                    </a:lnTo>
                    <a:lnTo>
                      <a:pt x="17621" y="19543"/>
                    </a:lnTo>
                    <a:lnTo>
                      <a:pt x="10800" y="19543"/>
                    </a:lnTo>
                    <a:lnTo>
                      <a:pt x="9663" y="17486"/>
                    </a:lnTo>
                    <a:lnTo>
                      <a:pt x="9095" y="17486"/>
                    </a:lnTo>
                    <a:lnTo>
                      <a:pt x="9095" y="16457"/>
                    </a:lnTo>
                    <a:lnTo>
                      <a:pt x="5116" y="16457"/>
                    </a:lnTo>
                    <a:lnTo>
                      <a:pt x="3979" y="14400"/>
                    </a:lnTo>
                    <a:lnTo>
                      <a:pt x="2842" y="14400"/>
                    </a:lnTo>
                    <a:lnTo>
                      <a:pt x="1705" y="12343"/>
                    </a:lnTo>
                    <a:lnTo>
                      <a:pt x="0" y="12343"/>
                    </a:lnTo>
                    <a:lnTo>
                      <a:pt x="0" y="9257"/>
                    </a:lnTo>
                    <a:lnTo>
                      <a:pt x="1137" y="9257"/>
                    </a:lnTo>
                    <a:lnTo>
                      <a:pt x="1137" y="7200"/>
                    </a:lnTo>
                    <a:lnTo>
                      <a:pt x="1705" y="7200"/>
                    </a:lnTo>
                    <a:lnTo>
                      <a:pt x="1705" y="5143"/>
                    </a:lnTo>
                    <a:lnTo>
                      <a:pt x="3979" y="5143"/>
                    </a:lnTo>
                    <a:lnTo>
                      <a:pt x="3979" y="4114"/>
                    </a:lnTo>
                    <a:lnTo>
                      <a:pt x="5116" y="4114"/>
                    </a:lnTo>
                    <a:lnTo>
                      <a:pt x="5116" y="0"/>
                    </a:lnTo>
                    <a:close/>
                    <a:moveTo>
                      <a:pt x="5116" y="0"/>
                    </a:moveTo>
                  </a:path>
                </a:pathLst>
              </a:custGeom>
              <a:solidFill>
                <a:srgbClr val="00BACF"/>
              </a:solidFill>
              <a:ln w="12700">
                <a:solidFill>
                  <a:srgbClr val="FFFFFF"/>
                </a:solidFill>
                <a:round/>
                <a:headEnd/>
                <a:tailEnd/>
              </a:ln>
            </p:spPr>
            <p:txBody>
              <a:bodyPr lIns="0" tIns="0" rIns="0" bIns="0"/>
              <a:lstStyle/>
              <a:p>
                <a:endParaRPr lang="es-ES"/>
              </a:p>
            </p:txBody>
          </p:sp>
          <p:sp>
            <p:nvSpPr>
              <p:cNvPr id="15440" name="AutoShape 85"/>
              <p:cNvSpPr>
                <a:spLocks/>
              </p:cNvSpPr>
              <p:nvPr/>
            </p:nvSpPr>
            <p:spPr bwMode="auto">
              <a:xfrm>
                <a:off x="1439" y="1046"/>
                <a:ext cx="162" cy="147"/>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1600"/>
                  <a:gd name="T163" fmla="*/ 0 h 21600"/>
                  <a:gd name="T164" fmla="*/ 21600 w 21600"/>
                  <a:gd name="T165" fmla="*/ 21600 h 2160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1600" h="21600">
                    <a:moveTo>
                      <a:pt x="18129" y="20329"/>
                    </a:moveTo>
                    <a:lnTo>
                      <a:pt x="18900" y="20329"/>
                    </a:lnTo>
                    <a:lnTo>
                      <a:pt x="18900" y="21600"/>
                    </a:lnTo>
                    <a:lnTo>
                      <a:pt x="18129" y="20753"/>
                    </a:lnTo>
                    <a:lnTo>
                      <a:pt x="18129" y="20329"/>
                    </a:lnTo>
                    <a:close/>
                    <a:moveTo>
                      <a:pt x="2314" y="0"/>
                    </a:moveTo>
                    <a:lnTo>
                      <a:pt x="3471" y="0"/>
                    </a:lnTo>
                    <a:lnTo>
                      <a:pt x="4243" y="847"/>
                    </a:lnTo>
                    <a:lnTo>
                      <a:pt x="5014" y="847"/>
                    </a:lnTo>
                    <a:lnTo>
                      <a:pt x="5400" y="1694"/>
                    </a:lnTo>
                    <a:lnTo>
                      <a:pt x="8871" y="1694"/>
                    </a:lnTo>
                    <a:lnTo>
                      <a:pt x="8871" y="847"/>
                    </a:lnTo>
                    <a:lnTo>
                      <a:pt x="9643" y="847"/>
                    </a:lnTo>
                    <a:lnTo>
                      <a:pt x="9643" y="2541"/>
                    </a:lnTo>
                    <a:lnTo>
                      <a:pt x="10800" y="2541"/>
                    </a:lnTo>
                    <a:lnTo>
                      <a:pt x="10800" y="2965"/>
                    </a:lnTo>
                    <a:lnTo>
                      <a:pt x="14271" y="2965"/>
                    </a:lnTo>
                    <a:lnTo>
                      <a:pt x="14271" y="2541"/>
                    </a:lnTo>
                    <a:lnTo>
                      <a:pt x="15043" y="2541"/>
                    </a:lnTo>
                    <a:lnTo>
                      <a:pt x="15043" y="2965"/>
                    </a:lnTo>
                    <a:lnTo>
                      <a:pt x="15429" y="3812"/>
                    </a:lnTo>
                    <a:lnTo>
                      <a:pt x="15429" y="5506"/>
                    </a:lnTo>
                    <a:lnTo>
                      <a:pt x="16200" y="5506"/>
                    </a:lnTo>
                    <a:lnTo>
                      <a:pt x="16200" y="5929"/>
                    </a:lnTo>
                    <a:lnTo>
                      <a:pt x="16971" y="6776"/>
                    </a:lnTo>
                    <a:lnTo>
                      <a:pt x="17743" y="8471"/>
                    </a:lnTo>
                    <a:lnTo>
                      <a:pt x="18129" y="8894"/>
                    </a:lnTo>
                    <a:lnTo>
                      <a:pt x="18900" y="8894"/>
                    </a:lnTo>
                    <a:lnTo>
                      <a:pt x="18900" y="9741"/>
                    </a:lnTo>
                    <a:lnTo>
                      <a:pt x="19671" y="9741"/>
                    </a:lnTo>
                    <a:lnTo>
                      <a:pt x="20443" y="10588"/>
                    </a:lnTo>
                    <a:lnTo>
                      <a:pt x="20829" y="10588"/>
                    </a:lnTo>
                    <a:lnTo>
                      <a:pt x="20829" y="11435"/>
                    </a:lnTo>
                    <a:lnTo>
                      <a:pt x="21600" y="11435"/>
                    </a:lnTo>
                    <a:lnTo>
                      <a:pt x="20829" y="11859"/>
                    </a:lnTo>
                    <a:lnTo>
                      <a:pt x="20443" y="11859"/>
                    </a:lnTo>
                    <a:lnTo>
                      <a:pt x="20443" y="11435"/>
                    </a:lnTo>
                    <a:lnTo>
                      <a:pt x="19671" y="11435"/>
                    </a:lnTo>
                    <a:lnTo>
                      <a:pt x="19671" y="11859"/>
                    </a:lnTo>
                    <a:lnTo>
                      <a:pt x="18900" y="11859"/>
                    </a:lnTo>
                    <a:lnTo>
                      <a:pt x="18900" y="14824"/>
                    </a:lnTo>
                    <a:lnTo>
                      <a:pt x="19671" y="14824"/>
                    </a:lnTo>
                    <a:lnTo>
                      <a:pt x="19671" y="15671"/>
                    </a:lnTo>
                    <a:lnTo>
                      <a:pt x="20443" y="15671"/>
                    </a:lnTo>
                    <a:lnTo>
                      <a:pt x="20443" y="16518"/>
                    </a:lnTo>
                    <a:lnTo>
                      <a:pt x="18900" y="16518"/>
                    </a:lnTo>
                    <a:lnTo>
                      <a:pt x="18900" y="17365"/>
                    </a:lnTo>
                    <a:lnTo>
                      <a:pt x="19671" y="17365"/>
                    </a:lnTo>
                    <a:lnTo>
                      <a:pt x="19671" y="18635"/>
                    </a:lnTo>
                    <a:lnTo>
                      <a:pt x="18900" y="18635"/>
                    </a:lnTo>
                    <a:lnTo>
                      <a:pt x="18900" y="19482"/>
                    </a:lnTo>
                    <a:lnTo>
                      <a:pt x="18129" y="19482"/>
                    </a:lnTo>
                    <a:lnTo>
                      <a:pt x="18129" y="20329"/>
                    </a:lnTo>
                    <a:lnTo>
                      <a:pt x="17743" y="20329"/>
                    </a:lnTo>
                    <a:lnTo>
                      <a:pt x="17743" y="17788"/>
                    </a:lnTo>
                    <a:lnTo>
                      <a:pt x="16971" y="17788"/>
                    </a:lnTo>
                    <a:lnTo>
                      <a:pt x="16971" y="17365"/>
                    </a:lnTo>
                    <a:lnTo>
                      <a:pt x="15429" y="17365"/>
                    </a:lnTo>
                    <a:lnTo>
                      <a:pt x="15429" y="17788"/>
                    </a:lnTo>
                    <a:lnTo>
                      <a:pt x="16200" y="17788"/>
                    </a:lnTo>
                    <a:lnTo>
                      <a:pt x="16200" y="18635"/>
                    </a:lnTo>
                    <a:lnTo>
                      <a:pt x="16971" y="19482"/>
                    </a:lnTo>
                    <a:lnTo>
                      <a:pt x="15429" y="19482"/>
                    </a:lnTo>
                    <a:lnTo>
                      <a:pt x="15429" y="18635"/>
                    </a:lnTo>
                    <a:lnTo>
                      <a:pt x="14271" y="18635"/>
                    </a:lnTo>
                    <a:lnTo>
                      <a:pt x="14271" y="15671"/>
                    </a:lnTo>
                    <a:lnTo>
                      <a:pt x="15043" y="15671"/>
                    </a:lnTo>
                    <a:lnTo>
                      <a:pt x="13500" y="14400"/>
                    </a:lnTo>
                    <a:lnTo>
                      <a:pt x="13500" y="13553"/>
                    </a:lnTo>
                    <a:lnTo>
                      <a:pt x="12729" y="13553"/>
                    </a:lnTo>
                    <a:lnTo>
                      <a:pt x="12343" y="12706"/>
                    </a:lnTo>
                    <a:lnTo>
                      <a:pt x="11571" y="12706"/>
                    </a:lnTo>
                    <a:lnTo>
                      <a:pt x="10800" y="11859"/>
                    </a:lnTo>
                    <a:lnTo>
                      <a:pt x="10414" y="11859"/>
                    </a:lnTo>
                    <a:lnTo>
                      <a:pt x="9643" y="11435"/>
                    </a:lnTo>
                    <a:lnTo>
                      <a:pt x="8100" y="11435"/>
                    </a:lnTo>
                    <a:lnTo>
                      <a:pt x="8100" y="8894"/>
                    </a:lnTo>
                    <a:lnTo>
                      <a:pt x="7714" y="8471"/>
                    </a:lnTo>
                    <a:lnTo>
                      <a:pt x="6943" y="8471"/>
                    </a:lnTo>
                    <a:lnTo>
                      <a:pt x="6171" y="7624"/>
                    </a:lnTo>
                    <a:lnTo>
                      <a:pt x="5400" y="7624"/>
                    </a:lnTo>
                    <a:lnTo>
                      <a:pt x="5014" y="6776"/>
                    </a:lnTo>
                    <a:lnTo>
                      <a:pt x="5014" y="7624"/>
                    </a:lnTo>
                    <a:lnTo>
                      <a:pt x="5400" y="7624"/>
                    </a:lnTo>
                    <a:lnTo>
                      <a:pt x="5400" y="8894"/>
                    </a:lnTo>
                    <a:lnTo>
                      <a:pt x="6943" y="8894"/>
                    </a:lnTo>
                    <a:lnTo>
                      <a:pt x="6943" y="9741"/>
                    </a:lnTo>
                    <a:lnTo>
                      <a:pt x="6171" y="9741"/>
                    </a:lnTo>
                    <a:lnTo>
                      <a:pt x="6171" y="10588"/>
                    </a:lnTo>
                    <a:lnTo>
                      <a:pt x="5400" y="11435"/>
                    </a:lnTo>
                    <a:lnTo>
                      <a:pt x="5014" y="11435"/>
                    </a:lnTo>
                    <a:lnTo>
                      <a:pt x="5014" y="10588"/>
                    </a:lnTo>
                    <a:lnTo>
                      <a:pt x="4243" y="9741"/>
                    </a:lnTo>
                    <a:lnTo>
                      <a:pt x="3471" y="9741"/>
                    </a:lnTo>
                    <a:lnTo>
                      <a:pt x="2700" y="8894"/>
                    </a:lnTo>
                    <a:lnTo>
                      <a:pt x="2314" y="8894"/>
                    </a:lnTo>
                    <a:lnTo>
                      <a:pt x="1543" y="8471"/>
                    </a:lnTo>
                    <a:lnTo>
                      <a:pt x="1543" y="4659"/>
                    </a:lnTo>
                    <a:lnTo>
                      <a:pt x="2314" y="4659"/>
                    </a:lnTo>
                    <a:lnTo>
                      <a:pt x="2314" y="2965"/>
                    </a:lnTo>
                    <a:lnTo>
                      <a:pt x="1543" y="2541"/>
                    </a:lnTo>
                    <a:lnTo>
                      <a:pt x="0" y="2541"/>
                    </a:lnTo>
                    <a:lnTo>
                      <a:pt x="0" y="1694"/>
                    </a:lnTo>
                    <a:lnTo>
                      <a:pt x="1543" y="1694"/>
                    </a:lnTo>
                    <a:lnTo>
                      <a:pt x="1543" y="847"/>
                    </a:lnTo>
                    <a:lnTo>
                      <a:pt x="2314" y="847"/>
                    </a:lnTo>
                    <a:lnTo>
                      <a:pt x="2314" y="0"/>
                    </a:lnTo>
                    <a:close/>
                    <a:moveTo>
                      <a:pt x="2314" y="0"/>
                    </a:moveTo>
                  </a:path>
                </a:pathLst>
              </a:custGeom>
              <a:solidFill>
                <a:srgbClr val="00BACF"/>
              </a:solidFill>
              <a:ln w="12700">
                <a:solidFill>
                  <a:srgbClr val="FFFFFF"/>
                </a:solidFill>
                <a:round/>
                <a:headEnd/>
                <a:tailEnd/>
              </a:ln>
            </p:spPr>
            <p:txBody>
              <a:bodyPr lIns="0" tIns="0" rIns="0" bIns="0"/>
              <a:lstStyle/>
              <a:p>
                <a:endParaRPr lang="es-ES"/>
              </a:p>
            </p:txBody>
          </p:sp>
          <p:sp>
            <p:nvSpPr>
              <p:cNvPr id="15441" name="Freeform 86"/>
              <p:cNvSpPr>
                <a:spLocks/>
              </p:cNvSpPr>
              <p:nvPr/>
            </p:nvSpPr>
            <p:spPr bwMode="auto">
              <a:xfrm>
                <a:off x="2307" y="707"/>
                <a:ext cx="65" cy="1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600"/>
                  <a:gd name="T37" fmla="*/ 0 h 21600"/>
                  <a:gd name="T38" fmla="*/ 21600 w 21600"/>
                  <a:gd name="T39" fmla="*/ 21600 h 2160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600" h="21600">
                    <a:moveTo>
                      <a:pt x="0" y="0"/>
                    </a:moveTo>
                    <a:lnTo>
                      <a:pt x="19800" y="0"/>
                    </a:lnTo>
                    <a:lnTo>
                      <a:pt x="19800" y="2700"/>
                    </a:lnTo>
                    <a:lnTo>
                      <a:pt x="21600" y="2700"/>
                    </a:lnTo>
                    <a:lnTo>
                      <a:pt x="21600" y="13500"/>
                    </a:lnTo>
                    <a:lnTo>
                      <a:pt x="19800" y="13500"/>
                    </a:lnTo>
                    <a:lnTo>
                      <a:pt x="19800" y="18900"/>
                    </a:lnTo>
                    <a:lnTo>
                      <a:pt x="17100" y="18900"/>
                    </a:lnTo>
                    <a:lnTo>
                      <a:pt x="17100" y="21600"/>
                    </a:lnTo>
                    <a:lnTo>
                      <a:pt x="0" y="21600"/>
                    </a:lnTo>
                    <a:lnTo>
                      <a:pt x="0" y="0"/>
                    </a:lnTo>
                    <a:close/>
                    <a:moveTo>
                      <a:pt x="0" y="0"/>
                    </a:moveTo>
                  </a:path>
                </a:pathLst>
              </a:custGeom>
              <a:solidFill>
                <a:srgbClr val="00BACF"/>
              </a:solidFill>
              <a:ln w="12700">
                <a:solidFill>
                  <a:srgbClr val="FFFFFF"/>
                </a:solidFill>
                <a:round/>
                <a:headEnd/>
                <a:tailEnd/>
              </a:ln>
            </p:spPr>
            <p:txBody>
              <a:bodyPr lIns="0" tIns="0" rIns="0" bIns="0"/>
              <a:lstStyle/>
              <a:p>
                <a:endParaRPr lang="es-ES"/>
              </a:p>
            </p:txBody>
          </p:sp>
          <p:grpSp>
            <p:nvGrpSpPr>
              <p:cNvPr id="15442" name="Group 112"/>
              <p:cNvGrpSpPr>
                <a:grpSpLocks/>
              </p:cNvGrpSpPr>
              <p:nvPr/>
            </p:nvGrpSpPr>
            <p:grpSpPr bwMode="auto">
              <a:xfrm>
                <a:off x="1283" y="294"/>
                <a:ext cx="1743" cy="2580"/>
                <a:chOff x="0" y="0"/>
                <a:chExt cx="1742" cy="2580"/>
              </a:xfrm>
            </p:grpSpPr>
            <p:sp>
              <p:nvSpPr>
                <p:cNvPr id="15443" name="Freeform 87"/>
                <p:cNvSpPr>
                  <a:spLocks/>
                </p:cNvSpPr>
                <p:nvPr/>
              </p:nvSpPr>
              <p:spPr bwMode="auto">
                <a:xfrm>
                  <a:off x="1445" y="994"/>
                  <a:ext cx="190" cy="19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1600"/>
                    <a:gd name="T151" fmla="*/ 0 h 21600"/>
                    <a:gd name="T152" fmla="*/ 21600 w 21600"/>
                    <a:gd name="T153" fmla="*/ 21600 h 2160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1600" h="21600">
                      <a:moveTo>
                        <a:pt x="5891" y="0"/>
                      </a:moveTo>
                      <a:lnTo>
                        <a:pt x="6218" y="0"/>
                      </a:lnTo>
                      <a:lnTo>
                        <a:pt x="6873" y="655"/>
                      </a:lnTo>
                      <a:lnTo>
                        <a:pt x="9164" y="655"/>
                      </a:lnTo>
                      <a:lnTo>
                        <a:pt x="9818" y="1309"/>
                      </a:lnTo>
                      <a:lnTo>
                        <a:pt x="10800" y="1309"/>
                      </a:lnTo>
                      <a:lnTo>
                        <a:pt x="10800" y="1636"/>
                      </a:lnTo>
                      <a:lnTo>
                        <a:pt x="11455" y="1636"/>
                      </a:lnTo>
                      <a:lnTo>
                        <a:pt x="11455" y="655"/>
                      </a:lnTo>
                      <a:lnTo>
                        <a:pt x="12109" y="655"/>
                      </a:lnTo>
                      <a:lnTo>
                        <a:pt x="12764" y="0"/>
                      </a:lnTo>
                      <a:lnTo>
                        <a:pt x="13091" y="0"/>
                      </a:lnTo>
                      <a:lnTo>
                        <a:pt x="13745" y="655"/>
                      </a:lnTo>
                      <a:lnTo>
                        <a:pt x="15382" y="655"/>
                      </a:lnTo>
                      <a:lnTo>
                        <a:pt x="15382" y="0"/>
                      </a:lnTo>
                      <a:lnTo>
                        <a:pt x="17673" y="0"/>
                      </a:lnTo>
                      <a:lnTo>
                        <a:pt x="18327" y="655"/>
                      </a:lnTo>
                      <a:lnTo>
                        <a:pt x="20618" y="655"/>
                      </a:lnTo>
                      <a:lnTo>
                        <a:pt x="21273" y="1309"/>
                      </a:lnTo>
                      <a:lnTo>
                        <a:pt x="21600" y="1309"/>
                      </a:lnTo>
                      <a:lnTo>
                        <a:pt x="21600" y="1636"/>
                      </a:lnTo>
                      <a:lnTo>
                        <a:pt x="21273" y="1636"/>
                      </a:lnTo>
                      <a:lnTo>
                        <a:pt x="21273" y="3600"/>
                      </a:lnTo>
                      <a:lnTo>
                        <a:pt x="20618" y="3600"/>
                      </a:lnTo>
                      <a:lnTo>
                        <a:pt x="19636" y="4582"/>
                      </a:lnTo>
                      <a:lnTo>
                        <a:pt x="19636" y="5236"/>
                      </a:lnTo>
                      <a:lnTo>
                        <a:pt x="18982" y="5891"/>
                      </a:lnTo>
                      <a:lnTo>
                        <a:pt x="18982" y="6218"/>
                      </a:lnTo>
                      <a:lnTo>
                        <a:pt x="19636" y="6218"/>
                      </a:lnTo>
                      <a:lnTo>
                        <a:pt x="19636" y="8509"/>
                      </a:lnTo>
                      <a:lnTo>
                        <a:pt x="19964" y="9164"/>
                      </a:lnTo>
                      <a:lnTo>
                        <a:pt x="19964" y="10473"/>
                      </a:lnTo>
                      <a:lnTo>
                        <a:pt x="20618" y="10473"/>
                      </a:lnTo>
                      <a:lnTo>
                        <a:pt x="20618" y="11455"/>
                      </a:lnTo>
                      <a:lnTo>
                        <a:pt x="21273" y="12109"/>
                      </a:lnTo>
                      <a:lnTo>
                        <a:pt x="21273" y="12764"/>
                      </a:lnTo>
                      <a:lnTo>
                        <a:pt x="21600" y="12764"/>
                      </a:lnTo>
                      <a:lnTo>
                        <a:pt x="21600" y="13745"/>
                      </a:lnTo>
                      <a:lnTo>
                        <a:pt x="21273" y="13745"/>
                      </a:lnTo>
                      <a:lnTo>
                        <a:pt x="21273" y="16691"/>
                      </a:lnTo>
                      <a:lnTo>
                        <a:pt x="20618" y="16691"/>
                      </a:lnTo>
                      <a:lnTo>
                        <a:pt x="19964" y="17345"/>
                      </a:lnTo>
                      <a:lnTo>
                        <a:pt x="19964" y="17673"/>
                      </a:lnTo>
                      <a:lnTo>
                        <a:pt x="19636" y="17673"/>
                      </a:lnTo>
                      <a:lnTo>
                        <a:pt x="19636" y="18982"/>
                      </a:lnTo>
                      <a:lnTo>
                        <a:pt x="18982" y="18982"/>
                      </a:lnTo>
                      <a:lnTo>
                        <a:pt x="18327" y="19636"/>
                      </a:lnTo>
                      <a:lnTo>
                        <a:pt x="18327" y="18982"/>
                      </a:lnTo>
                      <a:lnTo>
                        <a:pt x="17673" y="18982"/>
                      </a:lnTo>
                      <a:lnTo>
                        <a:pt x="17673" y="18327"/>
                      </a:lnTo>
                      <a:lnTo>
                        <a:pt x="16691" y="18327"/>
                      </a:lnTo>
                      <a:lnTo>
                        <a:pt x="16691" y="17673"/>
                      </a:lnTo>
                      <a:lnTo>
                        <a:pt x="16036" y="17673"/>
                      </a:lnTo>
                      <a:lnTo>
                        <a:pt x="16036" y="18327"/>
                      </a:lnTo>
                      <a:lnTo>
                        <a:pt x="15055" y="18327"/>
                      </a:lnTo>
                      <a:lnTo>
                        <a:pt x="15055" y="18982"/>
                      </a:lnTo>
                      <a:lnTo>
                        <a:pt x="12109" y="18982"/>
                      </a:lnTo>
                      <a:lnTo>
                        <a:pt x="12109" y="18327"/>
                      </a:lnTo>
                      <a:lnTo>
                        <a:pt x="11455" y="18327"/>
                      </a:lnTo>
                      <a:lnTo>
                        <a:pt x="11455" y="18982"/>
                      </a:lnTo>
                      <a:lnTo>
                        <a:pt x="10800" y="18982"/>
                      </a:lnTo>
                      <a:lnTo>
                        <a:pt x="10800" y="20618"/>
                      </a:lnTo>
                      <a:lnTo>
                        <a:pt x="11455" y="20618"/>
                      </a:lnTo>
                      <a:lnTo>
                        <a:pt x="11455" y="21600"/>
                      </a:lnTo>
                      <a:lnTo>
                        <a:pt x="9164" y="21600"/>
                      </a:lnTo>
                      <a:lnTo>
                        <a:pt x="9164" y="21273"/>
                      </a:lnTo>
                      <a:lnTo>
                        <a:pt x="8182" y="21273"/>
                      </a:lnTo>
                      <a:lnTo>
                        <a:pt x="8182" y="20618"/>
                      </a:lnTo>
                      <a:lnTo>
                        <a:pt x="6873" y="20618"/>
                      </a:lnTo>
                      <a:lnTo>
                        <a:pt x="6873" y="19636"/>
                      </a:lnTo>
                      <a:lnTo>
                        <a:pt x="6218" y="19636"/>
                      </a:lnTo>
                      <a:lnTo>
                        <a:pt x="6218" y="18327"/>
                      </a:lnTo>
                      <a:lnTo>
                        <a:pt x="5891" y="18327"/>
                      </a:lnTo>
                      <a:lnTo>
                        <a:pt x="5891" y="17345"/>
                      </a:lnTo>
                      <a:lnTo>
                        <a:pt x="5236" y="17345"/>
                      </a:lnTo>
                      <a:lnTo>
                        <a:pt x="5236" y="16036"/>
                      </a:lnTo>
                      <a:lnTo>
                        <a:pt x="4582" y="16036"/>
                      </a:lnTo>
                      <a:lnTo>
                        <a:pt x="4582" y="13745"/>
                      </a:lnTo>
                      <a:lnTo>
                        <a:pt x="2291" y="13745"/>
                      </a:lnTo>
                      <a:lnTo>
                        <a:pt x="2291" y="12764"/>
                      </a:lnTo>
                      <a:lnTo>
                        <a:pt x="1309" y="12764"/>
                      </a:lnTo>
                      <a:lnTo>
                        <a:pt x="1309" y="11455"/>
                      </a:lnTo>
                      <a:lnTo>
                        <a:pt x="655" y="11455"/>
                      </a:lnTo>
                      <a:lnTo>
                        <a:pt x="655" y="10473"/>
                      </a:lnTo>
                      <a:lnTo>
                        <a:pt x="0" y="9818"/>
                      </a:lnTo>
                      <a:lnTo>
                        <a:pt x="1309" y="8509"/>
                      </a:lnTo>
                      <a:lnTo>
                        <a:pt x="1309" y="8182"/>
                      </a:lnTo>
                      <a:lnTo>
                        <a:pt x="1636" y="8182"/>
                      </a:lnTo>
                      <a:lnTo>
                        <a:pt x="1636" y="6873"/>
                      </a:lnTo>
                      <a:lnTo>
                        <a:pt x="1309" y="6873"/>
                      </a:lnTo>
                      <a:lnTo>
                        <a:pt x="1309" y="6218"/>
                      </a:lnTo>
                      <a:lnTo>
                        <a:pt x="1636" y="6218"/>
                      </a:lnTo>
                      <a:lnTo>
                        <a:pt x="1636" y="5236"/>
                      </a:lnTo>
                      <a:lnTo>
                        <a:pt x="4582" y="5236"/>
                      </a:lnTo>
                      <a:lnTo>
                        <a:pt x="4582" y="2291"/>
                      </a:lnTo>
                      <a:lnTo>
                        <a:pt x="5236" y="1636"/>
                      </a:lnTo>
                      <a:lnTo>
                        <a:pt x="5236" y="655"/>
                      </a:lnTo>
                      <a:lnTo>
                        <a:pt x="5891" y="655"/>
                      </a:lnTo>
                      <a:lnTo>
                        <a:pt x="5891" y="0"/>
                      </a:lnTo>
                      <a:close/>
                      <a:moveTo>
                        <a:pt x="5891" y="0"/>
                      </a:moveTo>
                    </a:path>
                  </a:pathLst>
                </a:custGeom>
                <a:solidFill>
                  <a:srgbClr val="B2EAE7"/>
                </a:solidFill>
                <a:ln w="12700">
                  <a:solidFill>
                    <a:srgbClr val="FFFFFF"/>
                  </a:solidFill>
                  <a:round/>
                  <a:headEnd/>
                  <a:tailEnd/>
                </a:ln>
              </p:spPr>
              <p:txBody>
                <a:bodyPr lIns="0" tIns="0" rIns="0" bIns="0"/>
                <a:lstStyle/>
                <a:p>
                  <a:endParaRPr lang="es-ES"/>
                </a:p>
              </p:txBody>
            </p:sp>
            <p:sp>
              <p:nvSpPr>
                <p:cNvPr id="15444" name="Freeform 88"/>
                <p:cNvSpPr>
                  <a:spLocks/>
                </p:cNvSpPr>
                <p:nvPr/>
              </p:nvSpPr>
              <p:spPr bwMode="auto">
                <a:xfrm>
                  <a:off x="1240" y="2173"/>
                  <a:ext cx="387" cy="407"/>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1600"/>
                    <a:gd name="T145" fmla="*/ 0 h 21600"/>
                    <a:gd name="T146" fmla="*/ 21600 w 21600"/>
                    <a:gd name="T147" fmla="*/ 21600 h 2160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1600" h="21600">
                      <a:moveTo>
                        <a:pt x="7737" y="0"/>
                      </a:moveTo>
                      <a:lnTo>
                        <a:pt x="8382" y="0"/>
                      </a:lnTo>
                      <a:lnTo>
                        <a:pt x="8382" y="153"/>
                      </a:lnTo>
                      <a:lnTo>
                        <a:pt x="8704" y="153"/>
                      </a:lnTo>
                      <a:lnTo>
                        <a:pt x="8704" y="0"/>
                      </a:lnTo>
                      <a:lnTo>
                        <a:pt x="8866" y="0"/>
                      </a:lnTo>
                      <a:lnTo>
                        <a:pt x="8866" y="153"/>
                      </a:lnTo>
                      <a:lnTo>
                        <a:pt x="9188" y="153"/>
                      </a:lnTo>
                      <a:lnTo>
                        <a:pt x="9510" y="460"/>
                      </a:lnTo>
                      <a:lnTo>
                        <a:pt x="9833" y="460"/>
                      </a:lnTo>
                      <a:lnTo>
                        <a:pt x="9994" y="766"/>
                      </a:lnTo>
                      <a:lnTo>
                        <a:pt x="10316" y="766"/>
                      </a:lnTo>
                      <a:lnTo>
                        <a:pt x="10316" y="1072"/>
                      </a:lnTo>
                      <a:lnTo>
                        <a:pt x="10639" y="1072"/>
                      </a:lnTo>
                      <a:lnTo>
                        <a:pt x="10639" y="1226"/>
                      </a:lnTo>
                      <a:lnTo>
                        <a:pt x="11122" y="1226"/>
                      </a:lnTo>
                      <a:lnTo>
                        <a:pt x="11445" y="1532"/>
                      </a:lnTo>
                      <a:lnTo>
                        <a:pt x="11445" y="2298"/>
                      </a:lnTo>
                      <a:lnTo>
                        <a:pt x="11122" y="2298"/>
                      </a:lnTo>
                      <a:lnTo>
                        <a:pt x="11445" y="2604"/>
                      </a:lnTo>
                      <a:lnTo>
                        <a:pt x="11445" y="3217"/>
                      </a:lnTo>
                      <a:lnTo>
                        <a:pt x="11767" y="3217"/>
                      </a:lnTo>
                      <a:lnTo>
                        <a:pt x="11767" y="3370"/>
                      </a:lnTo>
                      <a:lnTo>
                        <a:pt x="12090" y="3370"/>
                      </a:lnTo>
                      <a:lnTo>
                        <a:pt x="12090" y="4289"/>
                      </a:lnTo>
                      <a:lnTo>
                        <a:pt x="12251" y="4443"/>
                      </a:lnTo>
                      <a:lnTo>
                        <a:pt x="12090" y="4749"/>
                      </a:lnTo>
                      <a:lnTo>
                        <a:pt x="12090" y="6894"/>
                      </a:lnTo>
                      <a:lnTo>
                        <a:pt x="11767" y="6894"/>
                      </a:lnTo>
                      <a:lnTo>
                        <a:pt x="11767" y="7353"/>
                      </a:lnTo>
                      <a:lnTo>
                        <a:pt x="13218" y="7353"/>
                      </a:lnTo>
                      <a:lnTo>
                        <a:pt x="13379" y="7660"/>
                      </a:lnTo>
                      <a:lnTo>
                        <a:pt x="14346" y="7660"/>
                      </a:lnTo>
                      <a:lnTo>
                        <a:pt x="14507" y="7966"/>
                      </a:lnTo>
                      <a:lnTo>
                        <a:pt x="14830" y="7966"/>
                      </a:lnTo>
                      <a:lnTo>
                        <a:pt x="14830" y="7660"/>
                      </a:lnTo>
                      <a:lnTo>
                        <a:pt x="15152" y="7660"/>
                      </a:lnTo>
                      <a:lnTo>
                        <a:pt x="15152" y="7353"/>
                      </a:lnTo>
                      <a:lnTo>
                        <a:pt x="15636" y="7353"/>
                      </a:lnTo>
                      <a:lnTo>
                        <a:pt x="15636" y="7200"/>
                      </a:lnTo>
                      <a:lnTo>
                        <a:pt x="15958" y="7200"/>
                      </a:lnTo>
                      <a:lnTo>
                        <a:pt x="15958" y="7353"/>
                      </a:lnTo>
                      <a:lnTo>
                        <a:pt x="16281" y="7353"/>
                      </a:lnTo>
                      <a:lnTo>
                        <a:pt x="16281" y="7660"/>
                      </a:lnTo>
                      <a:lnTo>
                        <a:pt x="16603" y="7660"/>
                      </a:lnTo>
                      <a:lnTo>
                        <a:pt x="16764" y="7966"/>
                      </a:lnTo>
                      <a:lnTo>
                        <a:pt x="17731" y="7966"/>
                      </a:lnTo>
                      <a:lnTo>
                        <a:pt x="17731" y="8426"/>
                      </a:lnTo>
                      <a:lnTo>
                        <a:pt x="17893" y="8732"/>
                      </a:lnTo>
                      <a:lnTo>
                        <a:pt x="17893" y="10111"/>
                      </a:lnTo>
                      <a:lnTo>
                        <a:pt x="18215" y="10417"/>
                      </a:lnTo>
                      <a:lnTo>
                        <a:pt x="18215" y="11643"/>
                      </a:lnTo>
                      <a:lnTo>
                        <a:pt x="18537" y="11643"/>
                      </a:lnTo>
                      <a:lnTo>
                        <a:pt x="18537" y="12255"/>
                      </a:lnTo>
                      <a:lnTo>
                        <a:pt x="19343" y="12255"/>
                      </a:lnTo>
                      <a:lnTo>
                        <a:pt x="19343" y="11949"/>
                      </a:lnTo>
                      <a:lnTo>
                        <a:pt x="20472" y="11949"/>
                      </a:lnTo>
                      <a:lnTo>
                        <a:pt x="20472" y="12255"/>
                      </a:lnTo>
                      <a:lnTo>
                        <a:pt x="21600" y="12255"/>
                      </a:lnTo>
                      <a:lnTo>
                        <a:pt x="21278" y="12562"/>
                      </a:lnTo>
                      <a:lnTo>
                        <a:pt x="21278" y="13634"/>
                      </a:lnTo>
                      <a:lnTo>
                        <a:pt x="21116" y="13634"/>
                      </a:lnTo>
                      <a:lnTo>
                        <a:pt x="21116" y="13787"/>
                      </a:lnTo>
                      <a:lnTo>
                        <a:pt x="21278" y="14094"/>
                      </a:lnTo>
                      <a:lnTo>
                        <a:pt x="21278" y="14400"/>
                      </a:lnTo>
                      <a:lnTo>
                        <a:pt x="21116" y="14706"/>
                      </a:lnTo>
                      <a:lnTo>
                        <a:pt x="21116" y="15472"/>
                      </a:lnTo>
                      <a:lnTo>
                        <a:pt x="20794" y="15472"/>
                      </a:lnTo>
                      <a:lnTo>
                        <a:pt x="20794" y="16238"/>
                      </a:lnTo>
                      <a:lnTo>
                        <a:pt x="20472" y="16238"/>
                      </a:lnTo>
                      <a:lnTo>
                        <a:pt x="20472" y="17617"/>
                      </a:lnTo>
                      <a:lnTo>
                        <a:pt x="20149" y="17617"/>
                      </a:lnTo>
                      <a:lnTo>
                        <a:pt x="20149" y="17923"/>
                      </a:lnTo>
                      <a:lnTo>
                        <a:pt x="20472" y="18077"/>
                      </a:lnTo>
                      <a:lnTo>
                        <a:pt x="20472" y="18383"/>
                      </a:lnTo>
                      <a:lnTo>
                        <a:pt x="20149" y="18383"/>
                      </a:lnTo>
                      <a:lnTo>
                        <a:pt x="20149" y="18996"/>
                      </a:lnTo>
                      <a:lnTo>
                        <a:pt x="19988" y="18996"/>
                      </a:lnTo>
                      <a:lnTo>
                        <a:pt x="19988" y="19149"/>
                      </a:lnTo>
                      <a:lnTo>
                        <a:pt x="19343" y="19149"/>
                      </a:lnTo>
                      <a:lnTo>
                        <a:pt x="19343" y="19455"/>
                      </a:lnTo>
                      <a:lnTo>
                        <a:pt x="19021" y="19762"/>
                      </a:lnTo>
                      <a:lnTo>
                        <a:pt x="19021" y="19915"/>
                      </a:lnTo>
                      <a:lnTo>
                        <a:pt x="18537" y="19915"/>
                      </a:lnTo>
                      <a:lnTo>
                        <a:pt x="18537" y="20221"/>
                      </a:lnTo>
                      <a:lnTo>
                        <a:pt x="17893" y="20221"/>
                      </a:lnTo>
                      <a:lnTo>
                        <a:pt x="17893" y="20834"/>
                      </a:lnTo>
                      <a:lnTo>
                        <a:pt x="17731" y="20834"/>
                      </a:lnTo>
                      <a:lnTo>
                        <a:pt x="17731" y="20987"/>
                      </a:lnTo>
                      <a:lnTo>
                        <a:pt x="16603" y="20987"/>
                      </a:lnTo>
                      <a:lnTo>
                        <a:pt x="16603" y="21294"/>
                      </a:lnTo>
                      <a:lnTo>
                        <a:pt x="16281" y="21294"/>
                      </a:lnTo>
                      <a:lnTo>
                        <a:pt x="16281" y="21600"/>
                      </a:lnTo>
                      <a:lnTo>
                        <a:pt x="15636" y="21600"/>
                      </a:lnTo>
                      <a:lnTo>
                        <a:pt x="15636" y="21294"/>
                      </a:lnTo>
                      <a:lnTo>
                        <a:pt x="15475" y="21294"/>
                      </a:lnTo>
                      <a:lnTo>
                        <a:pt x="15152" y="20987"/>
                      </a:lnTo>
                      <a:lnTo>
                        <a:pt x="14830" y="20987"/>
                      </a:lnTo>
                      <a:lnTo>
                        <a:pt x="14830" y="21294"/>
                      </a:lnTo>
                      <a:lnTo>
                        <a:pt x="13379" y="21294"/>
                      </a:lnTo>
                      <a:lnTo>
                        <a:pt x="13218" y="20987"/>
                      </a:lnTo>
                      <a:lnTo>
                        <a:pt x="12896" y="20987"/>
                      </a:lnTo>
                      <a:lnTo>
                        <a:pt x="12573" y="20834"/>
                      </a:lnTo>
                      <a:lnTo>
                        <a:pt x="9994" y="20834"/>
                      </a:lnTo>
                      <a:lnTo>
                        <a:pt x="9994" y="20221"/>
                      </a:lnTo>
                      <a:lnTo>
                        <a:pt x="10316" y="20221"/>
                      </a:lnTo>
                      <a:lnTo>
                        <a:pt x="11122" y="19455"/>
                      </a:lnTo>
                      <a:lnTo>
                        <a:pt x="11122" y="18689"/>
                      </a:lnTo>
                      <a:lnTo>
                        <a:pt x="11445" y="18383"/>
                      </a:lnTo>
                      <a:lnTo>
                        <a:pt x="11445" y="18077"/>
                      </a:lnTo>
                      <a:lnTo>
                        <a:pt x="11767" y="17923"/>
                      </a:lnTo>
                      <a:lnTo>
                        <a:pt x="11767" y="17617"/>
                      </a:lnTo>
                      <a:lnTo>
                        <a:pt x="12090" y="17617"/>
                      </a:lnTo>
                      <a:lnTo>
                        <a:pt x="12090" y="17311"/>
                      </a:lnTo>
                      <a:lnTo>
                        <a:pt x="12251" y="17311"/>
                      </a:lnTo>
                      <a:lnTo>
                        <a:pt x="12251" y="16851"/>
                      </a:lnTo>
                      <a:lnTo>
                        <a:pt x="12573" y="16851"/>
                      </a:lnTo>
                      <a:lnTo>
                        <a:pt x="12573" y="16545"/>
                      </a:lnTo>
                      <a:lnTo>
                        <a:pt x="12896" y="16545"/>
                      </a:lnTo>
                      <a:lnTo>
                        <a:pt x="12896" y="15779"/>
                      </a:lnTo>
                      <a:lnTo>
                        <a:pt x="12573" y="15472"/>
                      </a:lnTo>
                      <a:lnTo>
                        <a:pt x="12090" y="15472"/>
                      </a:lnTo>
                      <a:lnTo>
                        <a:pt x="11445" y="14860"/>
                      </a:lnTo>
                      <a:lnTo>
                        <a:pt x="11122" y="14860"/>
                      </a:lnTo>
                      <a:lnTo>
                        <a:pt x="11122" y="14706"/>
                      </a:lnTo>
                      <a:lnTo>
                        <a:pt x="10639" y="14706"/>
                      </a:lnTo>
                      <a:lnTo>
                        <a:pt x="10639" y="14400"/>
                      </a:lnTo>
                      <a:lnTo>
                        <a:pt x="9994" y="14400"/>
                      </a:lnTo>
                      <a:lnTo>
                        <a:pt x="9510" y="14094"/>
                      </a:lnTo>
                      <a:lnTo>
                        <a:pt x="8866" y="13634"/>
                      </a:lnTo>
                      <a:lnTo>
                        <a:pt x="8704" y="13634"/>
                      </a:lnTo>
                      <a:lnTo>
                        <a:pt x="8382" y="13328"/>
                      </a:lnTo>
                      <a:lnTo>
                        <a:pt x="8060" y="13328"/>
                      </a:lnTo>
                      <a:lnTo>
                        <a:pt x="8060" y="13021"/>
                      </a:lnTo>
                      <a:lnTo>
                        <a:pt x="7737" y="13021"/>
                      </a:lnTo>
                      <a:lnTo>
                        <a:pt x="7737" y="12715"/>
                      </a:lnTo>
                      <a:lnTo>
                        <a:pt x="7254" y="12715"/>
                      </a:lnTo>
                      <a:lnTo>
                        <a:pt x="7254" y="12562"/>
                      </a:lnTo>
                      <a:lnTo>
                        <a:pt x="6931" y="12562"/>
                      </a:lnTo>
                      <a:lnTo>
                        <a:pt x="6609" y="12255"/>
                      </a:lnTo>
                      <a:lnTo>
                        <a:pt x="6125" y="12255"/>
                      </a:lnTo>
                      <a:lnTo>
                        <a:pt x="5803" y="11949"/>
                      </a:lnTo>
                      <a:lnTo>
                        <a:pt x="4513" y="11949"/>
                      </a:lnTo>
                      <a:lnTo>
                        <a:pt x="4191" y="11643"/>
                      </a:lnTo>
                      <a:lnTo>
                        <a:pt x="3869" y="11643"/>
                      </a:lnTo>
                      <a:lnTo>
                        <a:pt x="3546" y="11489"/>
                      </a:lnTo>
                      <a:lnTo>
                        <a:pt x="3546" y="11183"/>
                      </a:lnTo>
                      <a:lnTo>
                        <a:pt x="3385" y="11183"/>
                      </a:lnTo>
                      <a:lnTo>
                        <a:pt x="3385" y="10877"/>
                      </a:lnTo>
                      <a:lnTo>
                        <a:pt x="3063" y="10877"/>
                      </a:lnTo>
                      <a:lnTo>
                        <a:pt x="2740" y="10570"/>
                      </a:lnTo>
                      <a:lnTo>
                        <a:pt x="2740" y="10417"/>
                      </a:lnTo>
                      <a:lnTo>
                        <a:pt x="2418" y="10417"/>
                      </a:lnTo>
                      <a:lnTo>
                        <a:pt x="2257" y="10111"/>
                      </a:lnTo>
                      <a:lnTo>
                        <a:pt x="1934" y="10111"/>
                      </a:lnTo>
                      <a:lnTo>
                        <a:pt x="1934" y="9804"/>
                      </a:lnTo>
                      <a:lnTo>
                        <a:pt x="1612" y="9804"/>
                      </a:lnTo>
                      <a:lnTo>
                        <a:pt x="1612" y="9498"/>
                      </a:lnTo>
                      <a:lnTo>
                        <a:pt x="1290" y="9345"/>
                      </a:lnTo>
                      <a:lnTo>
                        <a:pt x="1290" y="9038"/>
                      </a:lnTo>
                      <a:lnTo>
                        <a:pt x="806" y="8426"/>
                      </a:lnTo>
                      <a:lnTo>
                        <a:pt x="806" y="8272"/>
                      </a:lnTo>
                      <a:lnTo>
                        <a:pt x="484" y="8272"/>
                      </a:lnTo>
                      <a:lnTo>
                        <a:pt x="484" y="7966"/>
                      </a:lnTo>
                      <a:lnTo>
                        <a:pt x="161" y="7966"/>
                      </a:lnTo>
                      <a:lnTo>
                        <a:pt x="161" y="7660"/>
                      </a:lnTo>
                      <a:lnTo>
                        <a:pt x="0" y="7660"/>
                      </a:lnTo>
                      <a:lnTo>
                        <a:pt x="0" y="6894"/>
                      </a:lnTo>
                      <a:lnTo>
                        <a:pt x="161" y="6587"/>
                      </a:lnTo>
                      <a:lnTo>
                        <a:pt x="161" y="5821"/>
                      </a:lnTo>
                      <a:lnTo>
                        <a:pt x="484" y="5821"/>
                      </a:lnTo>
                      <a:lnTo>
                        <a:pt x="484" y="5055"/>
                      </a:lnTo>
                      <a:lnTo>
                        <a:pt x="806" y="4749"/>
                      </a:lnTo>
                      <a:lnTo>
                        <a:pt x="806" y="3370"/>
                      </a:lnTo>
                      <a:lnTo>
                        <a:pt x="1128" y="3217"/>
                      </a:lnTo>
                      <a:lnTo>
                        <a:pt x="1128" y="2911"/>
                      </a:lnTo>
                      <a:lnTo>
                        <a:pt x="1290" y="2604"/>
                      </a:lnTo>
                      <a:lnTo>
                        <a:pt x="1290" y="2298"/>
                      </a:lnTo>
                      <a:lnTo>
                        <a:pt x="1612" y="2298"/>
                      </a:lnTo>
                      <a:lnTo>
                        <a:pt x="1612" y="2145"/>
                      </a:lnTo>
                      <a:lnTo>
                        <a:pt x="1934" y="2145"/>
                      </a:lnTo>
                      <a:lnTo>
                        <a:pt x="1934" y="1226"/>
                      </a:lnTo>
                      <a:lnTo>
                        <a:pt x="2257" y="1226"/>
                      </a:lnTo>
                      <a:lnTo>
                        <a:pt x="2257" y="1072"/>
                      </a:lnTo>
                      <a:lnTo>
                        <a:pt x="3063" y="1072"/>
                      </a:lnTo>
                      <a:lnTo>
                        <a:pt x="3385" y="766"/>
                      </a:lnTo>
                      <a:lnTo>
                        <a:pt x="4191" y="766"/>
                      </a:lnTo>
                      <a:lnTo>
                        <a:pt x="4513" y="460"/>
                      </a:lnTo>
                      <a:lnTo>
                        <a:pt x="5642" y="460"/>
                      </a:lnTo>
                      <a:lnTo>
                        <a:pt x="5803" y="153"/>
                      </a:lnTo>
                      <a:lnTo>
                        <a:pt x="7737" y="153"/>
                      </a:lnTo>
                      <a:lnTo>
                        <a:pt x="7737" y="0"/>
                      </a:lnTo>
                      <a:close/>
                      <a:moveTo>
                        <a:pt x="7737" y="0"/>
                      </a:moveTo>
                    </a:path>
                  </a:pathLst>
                </a:custGeom>
                <a:solidFill>
                  <a:srgbClr val="B2EAE7"/>
                </a:solidFill>
                <a:ln w="12700">
                  <a:solidFill>
                    <a:srgbClr val="FFFFFF"/>
                  </a:solidFill>
                  <a:round/>
                  <a:headEnd/>
                  <a:tailEnd/>
                </a:ln>
              </p:spPr>
              <p:txBody>
                <a:bodyPr lIns="0" tIns="0" rIns="0" bIns="0"/>
                <a:lstStyle/>
                <a:p>
                  <a:endParaRPr lang="es-ES"/>
                </a:p>
              </p:txBody>
            </p:sp>
            <p:sp>
              <p:nvSpPr>
                <p:cNvPr id="15445" name="AutoShape 89"/>
                <p:cNvSpPr>
                  <a:spLocks/>
                </p:cNvSpPr>
                <p:nvPr/>
              </p:nvSpPr>
              <p:spPr bwMode="auto">
                <a:xfrm>
                  <a:off x="1295" y="879"/>
                  <a:ext cx="225" cy="337"/>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1600"/>
                    <a:gd name="T154" fmla="*/ 0 h 21600"/>
                    <a:gd name="T155" fmla="*/ 21600 w 21600"/>
                    <a:gd name="T156" fmla="*/ 21600 h 2160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1600" h="21600">
                      <a:moveTo>
                        <a:pt x="12462" y="5538"/>
                      </a:moveTo>
                      <a:lnTo>
                        <a:pt x="11908" y="5723"/>
                      </a:lnTo>
                      <a:lnTo>
                        <a:pt x="11908" y="6092"/>
                      </a:lnTo>
                      <a:lnTo>
                        <a:pt x="12462" y="6092"/>
                      </a:lnTo>
                      <a:lnTo>
                        <a:pt x="12462" y="5538"/>
                      </a:lnTo>
                      <a:close/>
                      <a:moveTo>
                        <a:pt x="6092" y="0"/>
                      </a:moveTo>
                      <a:lnTo>
                        <a:pt x="6646" y="0"/>
                      </a:lnTo>
                      <a:lnTo>
                        <a:pt x="7754" y="738"/>
                      </a:lnTo>
                      <a:lnTo>
                        <a:pt x="8031" y="738"/>
                      </a:lnTo>
                      <a:lnTo>
                        <a:pt x="9138" y="1292"/>
                      </a:lnTo>
                      <a:lnTo>
                        <a:pt x="9969" y="1662"/>
                      </a:lnTo>
                      <a:lnTo>
                        <a:pt x="10523" y="1662"/>
                      </a:lnTo>
                      <a:lnTo>
                        <a:pt x="10523" y="1846"/>
                      </a:lnTo>
                      <a:lnTo>
                        <a:pt x="11631" y="2585"/>
                      </a:lnTo>
                      <a:lnTo>
                        <a:pt x="11908" y="2585"/>
                      </a:lnTo>
                      <a:lnTo>
                        <a:pt x="11908" y="2954"/>
                      </a:lnTo>
                      <a:lnTo>
                        <a:pt x="12462" y="3508"/>
                      </a:lnTo>
                      <a:lnTo>
                        <a:pt x="13015" y="3877"/>
                      </a:lnTo>
                      <a:lnTo>
                        <a:pt x="13015" y="4431"/>
                      </a:lnTo>
                      <a:lnTo>
                        <a:pt x="12462" y="4431"/>
                      </a:lnTo>
                      <a:lnTo>
                        <a:pt x="12462" y="5169"/>
                      </a:lnTo>
                      <a:lnTo>
                        <a:pt x="13015" y="4800"/>
                      </a:lnTo>
                      <a:lnTo>
                        <a:pt x="13846" y="4800"/>
                      </a:lnTo>
                      <a:lnTo>
                        <a:pt x="14400" y="5169"/>
                      </a:lnTo>
                      <a:lnTo>
                        <a:pt x="15508" y="5169"/>
                      </a:lnTo>
                      <a:lnTo>
                        <a:pt x="15508" y="5538"/>
                      </a:lnTo>
                      <a:lnTo>
                        <a:pt x="16338" y="6092"/>
                      </a:lnTo>
                      <a:lnTo>
                        <a:pt x="16338" y="6462"/>
                      </a:lnTo>
                      <a:lnTo>
                        <a:pt x="17723" y="6462"/>
                      </a:lnTo>
                      <a:lnTo>
                        <a:pt x="17723" y="6831"/>
                      </a:lnTo>
                      <a:lnTo>
                        <a:pt x="18277" y="6831"/>
                      </a:lnTo>
                      <a:lnTo>
                        <a:pt x="18277" y="7015"/>
                      </a:lnTo>
                      <a:lnTo>
                        <a:pt x="18831" y="7385"/>
                      </a:lnTo>
                      <a:lnTo>
                        <a:pt x="18831" y="8308"/>
                      </a:lnTo>
                      <a:lnTo>
                        <a:pt x="18277" y="8308"/>
                      </a:lnTo>
                      <a:lnTo>
                        <a:pt x="18277" y="10338"/>
                      </a:lnTo>
                      <a:lnTo>
                        <a:pt x="15785" y="10338"/>
                      </a:lnTo>
                      <a:lnTo>
                        <a:pt x="15785" y="10892"/>
                      </a:lnTo>
                      <a:lnTo>
                        <a:pt x="15508" y="10892"/>
                      </a:lnTo>
                      <a:lnTo>
                        <a:pt x="15508" y="11262"/>
                      </a:lnTo>
                      <a:lnTo>
                        <a:pt x="15785" y="11262"/>
                      </a:lnTo>
                      <a:lnTo>
                        <a:pt x="15785" y="11631"/>
                      </a:lnTo>
                      <a:lnTo>
                        <a:pt x="15508" y="11631"/>
                      </a:lnTo>
                      <a:lnTo>
                        <a:pt x="15508" y="12185"/>
                      </a:lnTo>
                      <a:lnTo>
                        <a:pt x="14954" y="12554"/>
                      </a:lnTo>
                      <a:lnTo>
                        <a:pt x="14400" y="12554"/>
                      </a:lnTo>
                      <a:lnTo>
                        <a:pt x="14400" y="12923"/>
                      </a:lnTo>
                      <a:lnTo>
                        <a:pt x="14954" y="13292"/>
                      </a:lnTo>
                      <a:lnTo>
                        <a:pt x="14954" y="13846"/>
                      </a:lnTo>
                      <a:lnTo>
                        <a:pt x="15508" y="13846"/>
                      </a:lnTo>
                      <a:lnTo>
                        <a:pt x="15508" y="14585"/>
                      </a:lnTo>
                      <a:lnTo>
                        <a:pt x="15785" y="14585"/>
                      </a:lnTo>
                      <a:lnTo>
                        <a:pt x="15785" y="14769"/>
                      </a:lnTo>
                      <a:lnTo>
                        <a:pt x="16338" y="14769"/>
                      </a:lnTo>
                      <a:lnTo>
                        <a:pt x="16338" y="15138"/>
                      </a:lnTo>
                      <a:lnTo>
                        <a:pt x="18277" y="15138"/>
                      </a:lnTo>
                      <a:lnTo>
                        <a:pt x="18277" y="16431"/>
                      </a:lnTo>
                      <a:lnTo>
                        <a:pt x="18831" y="16431"/>
                      </a:lnTo>
                      <a:lnTo>
                        <a:pt x="18831" y="17354"/>
                      </a:lnTo>
                      <a:lnTo>
                        <a:pt x="19662" y="18092"/>
                      </a:lnTo>
                      <a:lnTo>
                        <a:pt x="19662" y="18462"/>
                      </a:lnTo>
                      <a:lnTo>
                        <a:pt x="20215" y="18462"/>
                      </a:lnTo>
                      <a:lnTo>
                        <a:pt x="20215" y="19015"/>
                      </a:lnTo>
                      <a:lnTo>
                        <a:pt x="21323" y="19015"/>
                      </a:lnTo>
                      <a:lnTo>
                        <a:pt x="21323" y="19385"/>
                      </a:lnTo>
                      <a:lnTo>
                        <a:pt x="21600" y="19385"/>
                      </a:lnTo>
                      <a:lnTo>
                        <a:pt x="21600" y="19569"/>
                      </a:lnTo>
                      <a:lnTo>
                        <a:pt x="20215" y="19569"/>
                      </a:lnTo>
                      <a:lnTo>
                        <a:pt x="20215" y="19385"/>
                      </a:lnTo>
                      <a:lnTo>
                        <a:pt x="18831" y="19385"/>
                      </a:lnTo>
                      <a:lnTo>
                        <a:pt x="18831" y="19015"/>
                      </a:lnTo>
                      <a:lnTo>
                        <a:pt x="17723" y="19569"/>
                      </a:lnTo>
                      <a:lnTo>
                        <a:pt x="17446" y="19569"/>
                      </a:lnTo>
                      <a:lnTo>
                        <a:pt x="17446" y="19938"/>
                      </a:lnTo>
                      <a:lnTo>
                        <a:pt x="16892" y="19938"/>
                      </a:lnTo>
                      <a:lnTo>
                        <a:pt x="16892" y="20308"/>
                      </a:lnTo>
                      <a:lnTo>
                        <a:pt x="14954" y="20308"/>
                      </a:lnTo>
                      <a:lnTo>
                        <a:pt x="14400" y="20677"/>
                      </a:lnTo>
                      <a:lnTo>
                        <a:pt x="13015" y="20677"/>
                      </a:lnTo>
                      <a:lnTo>
                        <a:pt x="13015" y="21231"/>
                      </a:lnTo>
                      <a:lnTo>
                        <a:pt x="12462" y="21231"/>
                      </a:lnTo>
                      <a:lnTo>
                        <a:pt x="12462" y="21600"/>
                      </a:lnTo>
                      <a:lnTo>
                        <a:pt x="11077" y="21600"/>
                      </a:lnTo>
                      <a:lnTo>
                        <a:pt x="10523" y="21231"/>
                      </a:lnTo>
                      <a:lnTo>
                        <a:pt x="9969" y="21231"/>
                      </a:lnTo>
                      <a:lnTo>
                        <a:pt x="9692" y="20862"/>
                      </a:lnTo>
                      <a:lnTo>
                        <a:pt x="9138" y="20862"/>
                      </a:lnTo>
                      <a:lnTo>
                        <a:pt x="8585" y="20677"/>
                      </a:lnTo>
                      <a:lnTo>
                        <a:pt x="8585" y="20308"/>
                      </a:lnTo>
                      <a:lnTo>
                        <a:pt x="8031" y="20308"/>
                      </a:lnTo>
                      <a:lnTo>
                        <a:pt x="8031" y="19938"/>
                      </a:lnTo>
                      <a:lnTo>
                        <a:pt x="7754" y="19569"/>
                      </a:lnTo>
                      <a:lnTo>
                        <a:pt x="7754" y="19385"/>
                      </a:lnTo>
                      <a:lnTo>
                        <a:pt x="7200" y="19385"/>
                      </a:lnTo>
                      <a:lnTo>
                        <a:pt x="7200" y="18462"/>
                      </a:lnTo>
                      <a:lnTo>
                        <a:pt x="6646" y="18462"/>
                      </a:lnTo>
                      <a:lnTo>
                        <a:pt x="6646" y="15508"/>
                      </a:lnTo>
                      <a:lnTo>
                        <a:pt x="7200" y="15138"/>
                      </a:lnTo>
                      <a:lnTo>
                        <a:pt x="7200" y="14585"/>
                      </a:lnTo>
                      <a:lnTo>
                        <a:pt x="7754" y="14585"/>
                      </a:lnTo>
                      <a:lnTo>
                        <a:pt x="7754" y="13846"/>
                      </a:lnTo>
                      <a:lnTo>
                        <a:pt x="8031" y="13846"/>
                      </a:lnTo>
                      <a:lnTo>
                        <a:pt x="8031" y="13292"/>
                      </a:lnTo>
                      <a:lnTo>
                        <a:pt x="7754" y="13292"/>
                      </a:lnTo>
                      <a:lnTo>
                        <a:pt x="7200" y="12923"/>
                      </a:lnTo>
                      <a:lnTo>
                        <a:pt x="7200" y="12554"/>
                      </a:lnTo>
                      <a:lnTo>
                        <a:pt x="7754" y="12554"/>
                      </a:lnTo>
                      <a:lnTo>
                        <a:pt x="7754" y="12185"/>
                      </a:lnTo>
                      <a:lnTo>
                        <a:pt x="7200" y="12185"/>
                      </a:lnTo>
                      <a:lnTo>
                        <a:pt x="6646" y="12000"/>
                      </a:lnTo>
                      <a:lnTo>
                        <a:pt x="5815" y="12000"/>
                      </a:lnTo>
                      <a:lnTo>
                        <a:pt x="5262" y="11631"/>
                      </a:lnTo>
                      <a:lnTo>
                        <a:pt x="5815" y="11631"/>
                      </a:lnTo>
                      <a:lnTo>
                        <a:pt x="5815" y="10892"/>
                      </a:lnTo>
                      <a:lnTo>
                        <a:pt x="6092" y="10892"/>
                      </a:lnTo>
                      <a:lnTo>
                        <a:pt x="6092" y="10338"/>
                      </a:lnTo>
                      <a:lnTo>
                        <a:pt x="5815" y="10338"/>
                      </a:lnTo>
                      <a:lnTo>
                        <a:pt x="5815" y="9969"/>
                      </a:lnTo>
                      <a:lnTo>
                        <a:pt x="5262" y="9600"/>
                      </a:lnTo>
                      <a:lnTo>
                        <a:pt x="2769" y="9600"/>
                      </a:lnTo>
                      <a:lnTo>
                        <a:pt x="0" y="7754"/>
                      </a:lnTo>
                      <a:lnTo>
                        <a:pt x="0" y="7385"/>
                      </a:lnTo>
                      <a:lnTo>
                        <a:pt x="554" y="7385"/>
                      </a:lnTo>
                      <a:lnTo>
                        <a:pt x="831" y="7015"/>
                      </a:lnTo>
                      <a:lnTo>
                        <a:pt x="1385" y="7015"/>
                      </a:lnTo>
                      <a:lnTo>
                        <a:pt x="1385" y="6462"/>
                      </a:lnTo>
                      <a:lnTo>
                        <a:pt x="831" y="6462"/>
                      </a:lnTo>
                      <a:lnTo>
                        <a:pt x="831" y="5169"/>
                      </a:lnTo>
                      <a:lnTo>
                        <a:pt x="3323" y="5169"/>
                      </a:lnTo>
                      <a:lnTo>
                        <a:pt x="3323" y="4800"/>
                      </a:lnTo>
                      <a:lnTo>
                        <a:pt x="4431" y="4800"/>
                      </a:lnTo>
                      <a:lnTo>
                        <a:pt x="4431" y="4431"/>
                      </a:lnTo>
                      <a:lnTo>
                        <a:pt x="4708" y="4431"/>
                      </a:lnTo>
                      <a:lnTo>
                        <a:pt x="4708" y="3877"/>
                      </a:lnTo>
                      <a:lnTo>
                        <a:pt x="3877" y="3877"/>
                      </a:lnTo>
                      <a:lnTo>
                        <a:pt x="3323" y="3508"/>
                      </a:lnTo>
                      <a:lnTo>
                        <a:pt x="3323" y="3138"/>
                      </a:lnTo>
                      <a:lnTo>
                        <a:pt x="2769" y="3138"/>
                      </a:lnTo>
                      <a:lnTo>
                        <a:pt x="2769" y="2954"/>
                      </a:lnTo>
                      <a:lnTo>
                        <a:pt x="3323" y="2585"/>
                      </a:lnTo>
                      <a:lnTo>
                        <a:pt x="3323" y="2215"/>
                      </a:lnTo>
                      <a:lnTo>
                        <a:pt x="3877" y="2215"/>
                      </a:lnTo>
                      <a:lnTo>
                        <a:pt x="4431" y="1846"/>
                      </a:lnTo>
                      <a:lnTo>
                        <a:pt x="4708" y="1846"/>
                      </a:lnTo>
                      <a:lnTo>
                        <a:pt x="4708" y="1662"/>
                      </a:lnTo>
                      <a:lnTo>
                        <a:pt x="5262" y="1662"/>
                      </a:lnTo>
                      <a:lnTo>
                        <a:pt x="5262" y="1292"/>
                      </a:lnTo>
                      <a:lnTo>
                        <a:pt x="6092" y="1292"/>
                      </a:lnTo>
                      <a:lnTo>
                        <a:pt x="6092" y="923"/>
                      </a:lnTo>
                      <a:lnTo>
                        <a:pt x="6646" y="923"/>
                      </a:lnTo>
                      <a:lnTo>
                        <a:pt x="7200" y="738"/>
                      </a:lnTo>
                      <a:lnTo>
                        <a:pt x="6092" y="0"/>
                      </a:lnTo>
                      <a:close/>
                      <a:moveTo>
                        <a:pt x="6092" y="0"/>
                      </a:moveTo>
                    </a:path>
                  </a:pathLst>
                </a:custGeom>
                <a:solidFill>
                  <a:srgbClr val="B2EAE7"/>
                </a:solidFill>
                <a:ln w="12700">
                  <a:solidFill>
                    <a:srgbClr val="FFFFFF"/>
                  </a:solidFill>
                  <a:round/>
                  <a:headEnd/>
                  <a:tailEnd/>
                </a:ln>
              </p:spPr>
              <p:txBody>
                <a:bodyPr lIns="0" tIns="0" rIns="0" bIns="0"/>
                <a:lstStyle/>
                <a:p>
                  <a:endParaRPr lang="es-ES"/>
                </a:p>
              </p:txBody>
            </p:sp>
            <p:sp>
              <p:nvSpPr>
                <p:cNvPr id="15446" name="Freeform 90"/>
                <p:cNvSpPr>
                  <a:spLocks/>
                </p:cNvSpPr>
                <p:nvPr/>
              </p:nvSpPr>
              <p:spPr bwMode="auto">
                <a:xfrm>
                  <a:off x="1612" y="1006"/>
                  <a:ext cx="130" cy="17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00"/>
                    <a:gd name="T103" fmla="*/ 0 h 21600"/>
                    <a:gd name="T104" fmla="*/ 21600 w 21600"/>
                    <a:gd name="T105" fmla="*/ 21600 h 2160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00" h="21600">
                      <a:moveTo>
                        <a:pt x="3840" y="0"/>
                      </a:moveTo>
                      <a:lnTo>
                        <a:pt x="5760" y="0"/>
                      </a:lnTo>
                      <a:lnTo>
                        <a:pt x="7200" y="1098"/>
                      </a:lnTo>
                      <a:lnTo>
                        <a:pt x="10080" y="1098"/>
                      </a:lnTo>
                      <a:lnTo>
                        <a:pt x="10080" y="1831"/>
                      </a:lnTo>
                      <a:lnTo>
                        <a:pt x="11520" y="1831"/>
                      </a:lnTo>
                      <a:lnTo>
                        <a:pt x="12480" y="2563"/>
                      </a:lnTo>
                      <a:lnTo>
                        <a:pt x="13920" y="2929"/>
                      </a:lnTo>
                      <a:lnTo>
                        <a:pt x="16800" y="5125"/>
                      </a:lnTo>
                      <a:lnTo>
                        <a:pt x="16800" y="5492"/>
                      </a:lnTo>
                      <a:lnTo>
                        <a:pt x="17280" y="5492"/>
                      </a:lnTo>
                      <a:lnTo>
                        <a:pt x="18240" y="6224"/>
                      </a:lnTo>
                      <a:lnTo>
                        <a:pt x="19200" y="6224"/>
                      </a:lnTo>
                      <a:lnTo>
                        <a:pt x="19200" y="6956"/>
                      </a:lnTo>
                      <a:lnTo>
                        <a:pt x="20640" y="6956"/>
                      </a:lnTo>
                      <a:lnTo>
                        <a:pt x="20640" y="7688"/>
                      </a:lnTo>
                      <a:lnTo>
                        <a:pt x="21600" y="7688"/>
                      </a:lnTo>
                      <a:lnTo>
                        <a:pt x="21600" y="10617"/>
                      </a:lnTo>
                      <a:lnTo>
                        <a:pt x="20640" y="10617"/>
                      </a:lnTo>
                      <a:lnTo>
                        <a:pt x="20640" y="11349"/>
                      </a:lnTo>
                      <a:lnTo>
                        <a:pt x="20160" y="11349"/>
                      </a:lnTo>
                      <a:lnTo>
                        <a:pt x="20160" y="12814"/>
                      </a:lnTo>
                      <a:lnTo>
                        <a:pt x="19200" y="12814"/>
                      </a:lnTo>
                      <a:lnTo>
                        <a:pt x="18240" y="13180"/>
                      </a:lnTo>
                      <a:lnTo>
                        <a:pt x="18240" y="13912"/>
                      </a:lnTo>
                      <a:lnTo>
                        <a:pt x="17280" y="13912"/>
                      </a:lnTo>
                      <a:lnTo>
                        <a:pt x="17280" y="15376"/>
                      </a:lnTo>
                      <a:lnTo>
                        <a:pt x="16800" y="15742"/>
                      </a:lnTo>
                      <a:lnTo>
                        <a:pt x="16800" y="16475"/>
                      </a:lnTo>
                      <a:lnTo>
                        <a:pt x="15840" y="17207"/>
                      </a:lnTo>
                      <a:lnTo>
                        <a:pt x="14880" y="18305"/>
                      </a:lnTo>
                      <a:lnTo>
                        <a:pt x="14880" y="19037"/>
                      </a:lnTo>
                      <a:lnTo>
                        <a:pt x="12480" y="20868"/>
                      </a:lnTo>
                      <a:lnTo>
                        <a:pt x="10080" y="20868"/>
                      </a:lnTo>
                      <a:lnTo>
                        <a:pt x="9120" y="20502"/>
                      </a:lnTo>
                      <a:lnTo>
                        <a:pt x="5760" y="20502"/>
                      </a:lnTo>
                      <a:lnTo>
                        <a:pt x="4800" y="20868"/>
                      </a:lnTo>
                      <a:lnTo>
                        <a:pt x="3360" y="20868"/>
                      </a:lnTo>
                      <a:lnTo>
                        <a:pt x="3360" y="21600"/>
                      </a:lnTo>
                      <a:lnTo>
                        <a:pt x="2400" y="21600"/>
                      </a:lnTo>
                      <a:lnTo>
                        <a:pt x="1440" y="20868"/>
                      </a:lnTo>
                      <a:lnTo>
                        <a:pt x="960" y="20868"/>
                      </a:lnTo>
                      <a:lnTo>
                        <a:pt x="960" y="20502"/>
                      </a:lnTo>
                      <a:lnTo>
                        <a:pt x="0" y="20502"/>
                      </a:lnTo>
                      <a:lnTo>
                        <a:pt x="0" y="19769"/>
                      </a:lnTo>
                      <a:lnTo>
                        <a:pt x="960" y="19769"/>
                      </a:lnTo>
                      <a:lnTo>
                        <a:pt x="960" y="19037"/>
                      </a:lnTo>
                      <a:lnTo>
                        <a:pt x="1440" y="18305"/>
                      </a:lnTo>
                      <a:lnTo>
                        <a:pt x="1440" y="17939"/>
                      </a:lnTo>
                      <a:lnTo>
                        <a:pt x="2400" y="17939"/>
                      </a:lnTo>
                      <a:lnTo>
                        <a:pt x="2400" y="17207"/>
                      </a:lnTo>
                      <a:lnTo>
                        <a:pt x="3360" y="17207"/>
                      </a:lnTo>
                      <a:lnTo>
                        <a:pt x="3360" y="13912"/>
                      </a:lnTo>
                      <a:lnTo>
                        <a:pt x="3840" y="13912"/>
                      </a:lnTo>
                      <a:lnTo>
                        <a:pt x="3840" y="12814"/>
                      </a:lnTo>
                      <a:lnTo>
                        <a:pt x="3360" y="12814"/>
                      </a:lnTo>
                      <a:lnTo>
                        <a:pt x="3360" y="11349"/>
                      </a:lnTo>
                      <a:lnTo>
                        <a:pt x="2400" y="11349"/>
                      </a:lnTo>
                      <a:lnTo>
                        <a:pt x="2400" y="10251"/>
                      </a:lnTo>
                      <a:lnTo>
                        <a:pt x="1440" y="10251"/>
                      </a:lnTo>
                      <a:lnTo>
                        <a:pt x="1440" y="8786"/>
                      </a:lnTo>
                      <a:lnTo>
                        <a:pt x="960" y="8054"/>
                      </a:lnTo>
                      <a:lnTo>
                        <a:pt x="960" y="3661"/>
                      </a:lnTo>
                      <a:lnTo>
                        <a:pt x="2400" y="2563"/>
                      </a:lnTo>
                      <a:lnTo>
                        <a:pt x="3360" y="2563"/>
                      </a:lnTo>
                      <a:lnTo>
                        <a:pt x="3360" y="366"/>
                      </a:lnTo>
                      <a:lnTo>
                        <a:pt x="3840" y="366"/>
                      </a:lnTo>
                      <a:lnTo>
                        <a:pt x="3840" y="0"/>
                      </a:lnTo>
                      <a:close/>
                      <a:moveTo>
                        <a:pt x="3840" y="0"/>
                      </a:moveTo>
                    </a:path>
                  </a:pathLst>
                </a:custGeom>
                <a:solidFill>
                  <a:srgbClr val="B2EAE7"/>
                </a:solidFill>
                <a:ln w="12700">
                  <a:solidFill>
                    <a:srgbClr val="FFFFFF"/>
                  </a:solidFill>
                  <a:round/>
                  <a:headEnd/>
                  <a:tailEnd/>
                </a:ln>
              </p:spPr>
              <p:txBody>
                <a:bodyPr lIns="0" tIns="0" rIns="0" bIns="0"/>
                <a:lstStyle/>
                <a:p>
                  <a:endParaRPr lang="es-ES"/>
                </a:p>
              </p:txBody>
            </p:sp>
            <p:sp>
              <p:nvSpPr>
                <p:cNvPr id="15447" name="AutoShape 91"/>
                <p:cNvSpPr>
                  <a:spLocks/>
                </p:cNvSpPr>
                <p:nvPr/>
              </p:nvSpPr>
              <p:spPr bwMode="auto">
                <a:xfrm>
                  <a:off x="908" y="1723"/>
                  <a:ext cx="566" cy="62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1600"/>
                    <a:gd name="T163" fmla="*/ 0 h 21600"/>
                    <a:gd name="T164" fmla="*/ 21600 w 21600"/>
                    <a:gd name="T165" fmla="*/ 21600 h 2160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1600" h="21600">
                      <a:moveTo>
                        <a:pt x="220" y="1891"/>
                      </a:moveTo>
                      <a:lnTo>
                        <a:pt x="441" y="1891"/>
                      </a:lnTo>
                      <a:lnTo>
                        <a:pt x="441" y="2090"/>
                      </a:lnTo>
                      <a:lnTo>
                        <a:pt x="220" y="2090"/>
                      </a:lnTo>
                      <a:lnTo>
                        <a:pt x="220" y="1891"/>
                      </a:lnTo>
                      <a:close/>
                      <a:moveTo>
                        <a:pt x="6392" y="0"/>
                      </a:moveTo>
                      <a:lnTo>
                        <a:pt x="6943" y="0"/>
                      </a:lnTo>
                      <a:lnTo>
                        <a:pt x="7163" y="199"/>
                      </a:lnTo>
                      <a:lnTo>
                        <a:pt x="7273" y="199"/>
                      </a:lnTo>
                      <a:lnTo>
                        <a:pt x="7273" y="0"/>
                      </a:lnTo>
                      <a:lnTo>
                        <a:pt x="7494" y="0"/>
                      </a:lnTo>
                      <a:lnTo>
                        <a:pt x="7494" y="199"/>
                      </a:lnTo>
                      <a:lnTo>
                        <a:pt x="7714" y="199"/>
                      </a:lnTo>
                      <a:lnTo>
                        <a:pt x="7714" y="498"/>
                      </a:lnTo>
                      <a:lnTo>
                        <a:pt x="7494" y="896"/>
                      </a:lnTo>
                      <a:lnTo>
                        <a:pt x="7494" y="1891"/>
                      </a:lnTo>
                      <a:lnTo>
                        <a:pt x="7714" y="2090"/>
                      </a:lnTo>
                      <a:lnTo>
                        <a:pt x="7494" y="2289"/>
                      </a:lnTo>
                      <a:lnTo>
                        <a:pt x="7494" y="2588"/>
                      </a:lnTo>
                      <a:lnTo>
                        <a:pt x="7714" y="2588"/>
                      </a:lnTo>
                      <a:lnTo>
                        <a:pt x="7714" y="2986"/>
                      </a:lnTo>
                      <a:lnTo>
                        <a:pt x="8045" y="3285"/>
                      </a:lnTo>
                      <a:lnTo>
                        <a:pt x="8045" y="3484"/>
                      </a:lnTo>
                      <a:lnTo>
                        <a:pt x="8265" y="3484"/>
                      </a:lnTo>
                      <a:lnTo>
                        <a:pt x="8265" y="3683"/>
                      </a:lnTo>
                      <a:lnTo>
                        <a:pt x="8486" y="3683"/>
                      </a:lnTo>
                      <a:lnTo>
                        <a:pt x="8486" y="3882"/>
                      </a:lnTo>
                      <a:lnTo>
                        <a:pt x="8706" y="3882"/>
                      </a:lnTo>
                      <a:lnTo>
                        <a:pt x="8816" y="3982"/>
                      </a:lnTo>
                      <a:lnTo>
                        <a:pt x="9037" y="3982"/>
                      </a:lnTo>
                      <a:lnTo>
                        <a:pt x="9037" y="4181"/>
                      </a:lnTo>
                      <a:lnTo>
                        <a:pt x="9257" y="4181"/>
                      </a:lnTo>
                      <a:lnTo>
                        <a:pt x="9257" y="4380"/>
                      </a:lnTo>
                      <a:lnTo>
                        <a:pt x="9478" y="4380"/>
                      </a:lnTo>
                      <a:lnTo>
                        <a:pt x="9478" y="4579"/>
                      </a:lnTo>
                      <a:lnTo>
                        <a:pt x="10249" y="4579"/>
                      </a:lnTo>
                      <a:lnTo>
                        <a:pt x="10359" y="4380"/>
                      </a:lnTo>
                      <a:lnTo>
                        <a:pt x="10580" y="4380"/>
                      </a:lnTo>
                      <a:lnTo>
                        <a:pt x="10580" y="4579"/>
                      </a:lnTo>
                      <a:lnTo>
                        <a:pt x="11131" y="4579"/>
                      </a:lnTo>
                      <a:lnTo>
                        <a:pt x="11131" y="4678"/>
                      </a:lnTo>
                      <a:lnTo>
                        <a:pt x="11571" y="4678"/>
                      </a:lnTo>
                      <a:lnTo>
                        <a:pt x="11792" y="4877"/>
                      </a:lnTo>
                      <a:lnTo>
                        <a:pt x="11792" y="5076"/>
                      </a:lnTo>
                      <a:lnTo>
                        <a:pt x="11902" y="5076"/>
                      </a:lnTo>
                      <a:lnTo>
                        <a:pt x="11902" y="5276"/>
                      </a:lnTo>
                      <a:lnTo>
                        <a:pt x="12122" y="5276"/>
                      </a:lnTo>
                      <a:lnTo>
                        <a:pt x="12343" y="5375"/>
                      </a:lnTo>
                      <a:lnTo>
                        <a:pt x="13114" y="5375"/>
                      </a:lnTo>
                      <a:lnTo>
                        <a:pt x="13335" y="5574"/>
                      </a:lnTo>
                      <a:lnTo>
                        <a:pt x="13335" y="5773"/>
                      </a:lnTo>
                      <a:lnTo>
                        <a:pt x="13445" y="5773"/>
                      </a:lnTo>
                      <a:lnTo>
                        <a:pt x="13445" y="5972"/>
                      </a:lnTo>
                      <a:lnTo>
                        <a:pt x="13665" y="5972"/>
                      </a:lnTo>
                      <a:lnTo>
                        <a:pt x="13665" y="6072"/>
                      </a:lnTo>
                      <a:lnTo>
                        <a:pt x="14657" y="6072"/>
                      </a:lnTo>
                      <a:lnTo>
                        <a:pt x="14657" y="5972"/>
                      </a:lnTo>
                      <a:lnTo>
                        <a:pt x="14878" y="5972"/>
                      </a:lnTo>
                      <a:lnTo>
                        <a:pt x="14878" y="6072"/>
                      </a:lnTo>
                      <a:lnTo>
                        <a:pt x="15429" y="6072"/>
                      </a:lnTo>
                      <a:lnTo>
                        <a:pt x="15429" y="6271"/>
                      </a:lnTo>
                      <a:lnTo>
                        <a:pt x="15649" y="6271"/>
                      </a:lnTo>
                      <a:lnTo>
                        <a:pt x="15759" y="6470"/>
                      </a:lnTo>
                      <a:lnTo>
                        <a:pt x="15980" y="6470"/>
                      </a:lnTo>
                      <a:lnTo>
                        <a:pt x="15980" y="6669"/>
                      </a:lnTo>
                      <a:lnTo>
                        <a:pt x="16200" y="6669"/>
                      </a:lnTo>
                      <a:lnTo>
                        <a:pt x="16200" y="6769"/>
                      </a:lnTo>
                      <a:lnTo>
                        <a:pt x="16420" y="6769"/>
                      </a:lnTo>
                      <a:lnTo>
                        <a:pt x="16420" y="7665"/>
                      </a:lnTo>
                      <a:lnTo>
                        <a:pt x="16531" y="7665"/>
                      </a:lnTo>
                      <a:lnTo>
                        <a:pt x="16531" y="8162"/>
                      </a:lnTo>
                      <a:lnTo>
                        <a:pt x="16751" y="8361"/>
                      </a:lnTo>
                      <a:lnTo>
                        <a:pt x="16751" y="8560"/>
                      </a:lnTo>
                      <a:lnTo>
                        <a:pt x="16531" y="8759"/>
                      </a:lnTo>
                      <a:lnTo>
                        <a:pt x="16200" y="8759"/>
                      </a:lnTo>
                      <a:lnTo>
                        <a:pt x="16200" y="8859"/>
                      </a:lnTo>
                      <a:lnTo>
                        <a:pt x="16420" y="8859"/>
                      </a:lnTo>
                      <a:lnTo>
                        <a:pt x="16420" y="9058"/>
                      </a:lnTo>
                      <a:lnTo>
                        <a:pt x="16531" y="9257"/>
                      </a:lnTo>
                      <a:lnTo>
                        <a:pt x="16751" y="9556"/>
                      </a:lnTo>
                      <a:lnTo>
                        <a:pt x="16751" y="10651"/>
                      </a:lnTo>
                      <a:lnTo>
                        <a:pt x="20057" y="10651"/>
                      </a:lnTo>
                      <a:lnTo>
                        <a:pt x="20057" y="10949"/>
                      </a:lnTo>
                      <a:lnTo>
                        <a:pt x="19837" y="10949"/>
                      </a:lnTo>
                      <a:lnTo>
                        <a:pt x="19837" y="11347"/>
                      </a:lnTo>
                      <a:lnTo>
                        <a:pt x="19616" y="11347"/>
                      </a:lnTo>
                      <a:lnTo>
                        <a:pt x="19616" y="11447"/>
                      </a:lnTo>
                      <a:lnTo>
                        <a:pt x="19837" y="11646"/>
                      </a:lnTo>
                      <a:lnTo>
                        <a:pt x="19837" y="12044"/>
                      </a:lnTo>
                      <a:lnTo>
                        <a:pt x="20057" y="12144"/>
                      </a:lnTo>
                      <a:lnTo>
                        <a:pt x="20057" y="12343"/>
                      </a:lnTo>
                      <a:lnTo>
                        <a:pt x="20167" y="12343"/>
                      </a:lnTo>
                      <a:lnTo>
                        <a:pt x="20167" y="12542"/>
                      </a:lnTo>
                      <a:lnTo>
                        <a:pt x="20829" y="12542"/>
                      </a:lnTo>
                      <a:lnTo>
                        <a:pt x="20939" y="12741"/>
                      </a:lnTo>
                      <a:lnTo>
                        <a:pt x="20939" y="13040"/>
                      </a:lnTo>
                      <a:lnTo>
                        <a:pt x="21159" y="13040"/>
                      </a:lnTo>
                      <a:lnTo>
                        <a:pt x="21159" y="13438"/>
                      </a:lnTo>
                      <a:lnTo>
                        <a:pt x="21380" y="13438"/>
                      </a:lnTo>
                      <a:lnTo>
                        <a:pt x="21380" y="13736"/>
                      </a:lnTo>
                      <a:lnTo>
                        <a:pt x="21600" y="13736"/>
                      </a:lnTo>
                      <a:lnTo>
                        <a:pt x="21600" y="13935"/>
                      </a:lnTo>
                      <a:lnTo>
                        <a:pt x="21380" y="13935"/>
                      </a:lnTo>
                      <a:lnTo>
                        <a:pt x="21380" y="14234"/>
                      </a:lnTo>
                      <a:lnTo>
                        <a:pt x="21159" y="14433"/>
                      </a:lnTo>
                      <a:lnTo>
                        <a:pt x="21159" y="14931"/>
                      </a:lnTo>
                      <a:lnTo>
                        <a:pt x="20939" y="15130"/>
                      </a:lnTo>
                      <a:lnTo>
                        <a:pt x="20939" y="15329"/>
                      </a:lnTo>
                      <a:lnTo>
                        <a:pt x="20829" y="15329"/>
                      </a:lnTo>
                      <a:lnTo>
                        <a:pt x="20829" y="15628"/>
                      </a:lnTo>
                      <a:lnTo>
                        <a:pt x="20608" y="15827"/>
                      </a:lnTo>
                      <a:lnTo>
                        <a:pt x="20608" y="16225"/>
                      </a:lnTo>
                      <a:lnTo>
                        <a:pt x="20388" y="16225"/>
                      </a:lnTo>
                      <a:lnTo>
                        <a:pt x="20388" y="16324"/>
                      </a:lnTo>
                      <a:lnTo>
                        <a:pt x="20829" y="16723"/>
                      </a:lnTo>
                      <a:lnTo>
                        <a:pt x="20829" y="16922"/>
                      </a:lnTo>
                      <a:lnTo>
                        <a:pt x="20388" y="16922"/>
                      </a:lnTo>
                      <a:lnTo>
                        <a:pt x="20388" y="16523"/>
                      </a:lnTo>
                      <a:lnTo>
                        <a:pt x="20167" y="16324"/>
                      </a:lnTo>
                      <a:lnTo>
                        <a:pt x="20057" y="16324"/>
                      </a:lnTo>
                      <a:lnTo>
                        <a:pt x="19837" y="16225"/>
                      </a:lnTo>
                      <a:lnTo>
                        <a:pt x="19616" y="16225"/>
                      </a:lnTo>
                      <a:lnTo>
                        <a:pt x="19616" y="16026"/>
                      </a:lnTo>
                      <a:lnTo>
                        <a:pt x="19396" y="16026"/>
                      </a:lnTo>
                      <a:lnTo>
                        <a:pt x="19396" y="15827"/>
                      </a:lnTo>
                      <a:lnTo>
                        <a:pt x="19065" y="15827"/>
                      </a:lnTo>
                      <a:lnTo>
                        <a:pt x="18624" y="15528"/>
                      </a:lnTo>
                      <a:lnTo>
                        <a:pt x="17853" y="15528"/>
                      </a:lnTo>
                      <a:lnTo>
                        <a:pt x="17743" y="15628"/>
                      </a:lnTo>
                      <a:lnTo>
                        <a:pt x="16420" y="15628"/>
                      </a:lnTo>
                      <a:lnTo>
                        <a:pt x="16420" y="15827"/>
                      </a:lnTo>
                      <a:lnTo>
                        <a:pt x="15649" y="15827"/>
                      </a:lnTo>
                      <a:lnTo>
                        <a:pt x="15429" y="16026"/>
                      </a:lnTo>
                      <a:lnTo>
                        <a:pt x="14437" y="16026"/>
                      </a:lnTo>
                      <a:lnTo>
                        <a:pt x="14216" y="16225"/>
                      </a:lnTo>
                      <a:lnTo>
                        <a:pt x="14106" y="16225"/>
                      </a:lnTo>
                      <a:lnTo>
                        <a:pt x="14106" y="16324"/>
                      </a:lnTo>
                      <a:lnTo>
                        <a:pt x="13886" y="16324"/>
                      </a:lnTo>
                      <a:lnTo>
                        <a:pt x="13886" y="16723"/>
                      </a:lnTo>
                      <a:lnTo>
                        <a:pt x="13665" y="16922"/>
                      </a:lnTo>
                      <a:lnTo>
                        <a:pt x="13665" y="17021"/>
                      </a:lnTo>
                      <a:lnTo>
                        <a:pt x="13445" y="17021"/>
                      </a:lnTo>
                      <a:lnTo>
                        <a:pt x="13445" y="17220"/>
                      </a:lnTo>
                      <a:lnTo>
                        <a:pt x="13335" y="17220"/>
                      </a:lnTo>
                      <a:lnTo>
                        <a:pt x="13335" y="17419"/>
                      </a:lnTo>
                      <a:lnTo>
                        <a:pt x="13114" y="17618"/>
                      </a:lnTo>
                      <a:lnTo>
                        <a:pt x="13114" y="18614"/>
                      </a:lnTo>
                      <a:lnTo>
                        <a:pt x="12894" y="18614"/>
                      </a:lnTo>
                      <a:lnTo>
                        <a:pt x="12894" y="19311"/>
                      </a:lnTo>
                      <a:lnTo>
                        <a:pt x="12673" y="19311"/>
                      </a:lnTo>
                      <a:lnTo>
                        <a:pt x="12673" y="19808"/>
                      </a:lnTo>
                      <a:lnTo>
                        <a:pt x="12563" y="19808"/>
                      </a:lnTo>
                      <a:lnTo>
                        <a:pt x="12563" y="20306"/>
                      </a:lnTo>
                      <a:lnTo>
                        <a:pt x="12343" y="20306"/>
                      </a:lnTo>
                      <a:lnTo>
                        <a:pt x="12122" y="20206"/>
                      </a:lnTo>
                      <a:lnTo>
                        <a:pt x="12122" y="20007"/>
                      </a:lnTo>
                      <a:lnTo>
                        <a:pt x="11131" y="20007"/>
                      </a:lnTo>
                      <a:lnTo>
                        <a:pt x="11131" y="20206"/>
                      </a:lnTo>
                      <a:lnTo>
                        <a:pt x="10359" y="20206"/>
                      </a:lnTo>
                      <a:lnTo>
                        <a:pt x="10359" y="20007"/>
                      </a:lnTo>
                      <a:lnTo>
                        <a:pt x="10249" y="20007"/>
                      </a:lnTo>
                      <a:lnTo>
                        <a:pt x="10249" y="20206"/>
                      </a:lnTo>
                      <a:lnTo>
                        <a:pt x="10029" y="20206"/>
                      </a:lnTo>
                      <a:lnTo>
                        <a:pt x="10029" y="20306"/>
                      </a:lnTo>
                      <a:lnTo>
                        <a:pt x="9588" y="20704"/>
                      </a:lnTo>
                      <a:lnTo>
                        <a:pt x="9588" y="21600"/>
                      </a:lnTo>
                      <a:lnTo>
                        <a:pt x="9478" y="21600"/>
                      </a:lnTo>
                      <a:lnTo>
                        <a:pt x="9478" y="21401"/>
                      </a:lnTo>
                      <a:lnTo>
                        <a:pt x="9257" y="21202"/>
                      </a:lnTo>
                      <a:lnTo>
                        <a:pt x="9257" y="20903"/>
                      </a:lnTo>
                      <a:lnTo>
                        <a:pt x="9037" y="20903"/>
                      </a:lnTo>
                      <a:lnTo>
                        <a:pt x="9037" y="20306"/>
                      </a:lnTo>
                      <a:lnTo>
                        <a:pt x="8045" y="20306"/>
                      </a:lnTo>
                      <a:lnTo>
                        <a:pt x="8045" y="20206"/>
                      </a:lnTo>
                      <a:lnTo>
                        <a:pt x="7714" y="20206"/>
                      </a:lnTo>
                      <a:lnTo>
                        <a:pt x="7714" y="20306"/>
                      </a:lnTo>
                      <a:lnTo>
                        <a:pt x="7273" y="20306"/>
                      </a:lnTo>
                      <a:lnTo>
                        <a:pt x="7273" y="20206"/>
                      </a:lnTo>
                      <a:lnTo>
                        <a:pt x="6722" y="20206"/>
                      </a:lnTo>
                      <a:lnTo>
                        <a:pt x="6722" y="20007"/>
                      </a:lnTo>
                      <a:lnTo>
                        <a:pt x="6502" y="20007"/>
                      </a:lnTo>
                      <a:lnTo>
                        <a:pt x="6502" y="19808"/>
                      </a:lnTo>
                      <a:lnTo>
                        <a:pt x="6392" y="19808"/>
                      </a:lnTo>
                      <a:lnTo>
                        <a:pt x="6392" y="19609"/>
                      </a:lnTo>
                      <a:lnTo>
                        <a:pt x="6171" y="19609"/>
                      </a:lnTo>
                      <a:lnTo>
                        <a:pt x="6171" y="19808"/>
                      </a:lnTo>
                      <a:lnTo>
                        <a:pt x="5951" y="20007"/>
                      </a:lnTo>
                      <a:lnTo>
                        <a:pt x="5951" y="20206"/>
                      </a:lnTo>
                      <a:lnTo>
                        <a:pt x="5841" y="20206"/>
                      </a:lnTo>
                      <a:lnTo>
                        <a:pt x="5620" y="20306"/>
                      </a:lnTo>
                      <a:lnTo>
                        <a:pt x="5400" y="20306"/>
                      </a:lnTo>
                      <a:lnTo>
                        <a:pt x="5400" y="20505"/>
                      </a:lnTo>
                      <a:lnTo>
                        <a:pt x="5180" y="20505"/>
                      </a:lnTo>
                      <a:lnTo>
                        <a:pt x="5180" y="20704"/>
                      </a:lnTo>
                      <a:lnTo>
                        <a:pt x="5069" y="20903"/>
                      </a:lnTo>
                      <a:lnTo>
                        <a:pt x="4849" y="20903"/>
                      </a:lnTo>
                      <a:lnTo>
                        <a:pt x="4849" y="21003"/>
                      </a:lnTo>
                      <a:lnTo>
                        <a:pt x="4629" y="21003"/>
                      </a:lnTo>
                      <a:lnTo>
                        <a:pt x="4629" y="21202"/>
                      </a:lnTo>
                      <a:lnTo>
                        <a:pt x="4408" y="21401"/>
                      </a:lnTo>
                      <a:lnTo>
                        <a:pt x="4078" y="21401"/>
                      </a:lnTo>
                      <a:lnTo>
                        <a:pt x="4078" y="21600"/>
                      </a:lnTo>
                      <a:lnTo>
                        <a:pt x="3637" y="21600"/>
                      </a:lnTo>
                      <a:lnTo>
                        <a:pt x="3637" y="21401"/>
                      </a:lnTo>
                      <a:lnTo>
                        <a:pt x="3306" y="21401"/>
                      </a:lnTo>
                      <a:lnTo>
                        <a:pt x="3306" y="21202"/>
                      </a:lnTo>
                      <a:lnTo>
                        <a:pt x="3086" y="21003"/>
                      </a:lnTo>
                      <a:lnTo>
                        <a:pt x="3086" y="20306"/>
                      </a:lnTo>
                      <a:lnTo>
                        <a:pt x="2865" y="20206"/>
                      </a:lnTo>
                      <a:lnTo>
                        <a:pt x="2865" y="20007"/>
                      </a:lnTo>
                      <a:lnTo>
                        <a:pt x="2755" y="19808"/>
                      </a:lnTo>
                      <a:lnTo>
                        <a:pt x="2755" y="18912"/>
                      </a:lnTo>
                      <a:lnTo>
                        <a:pt x="2535" y="18912"/>
                      </a:lnTo>
                      <a:lnTo>
                        <a:pt x="2535" y="18614"/>
                      </a:lnTo>
                      <a:lnTo>
                        <a:pt x="2314" y="18415"/>
                      </a:lnTo>
                      <a:lnTo>
                        <a:pt x="2094" y="18415"/>
                      </a:lnTo>
                      <a:lnTo>
                        <a:pt x="2094" y="17718"/>
                      </a:lnTo>
                      <a:lnTo>
                        <a:pt x="1984" y="17718"/>
                      </a:lnTo>
                      <a:lnTo>
                        <a:pt x="1984" y="17618"/>
                      </a:lnTo>
                      <a:lnTo>
                        <a:pt x="1763" y="17618"/>
                      </a:lnTo>
                      <a:lnTo>
                        <a:pt x="1763" y="17220"/>
                      </a:lnTo>
                      <a:lnTo>
                        <a:pt x="1543" y="17220"/>
                      </a:lnTo>
                      <a:lnTo>
                        <a:pt x="1543" y="17021"/>
                      </a:lnTo>
                      <a:lnTo>
                        <a:pt x="1763" y="16922"/>
                      </a:lnTo>
                      <a:lnTo>
                        <a:pt x="1763" y="16723"/>
                      </a:lnTo>
                      <a:lnTo>
                        <a:pt x="1984" y="16723"/>
                      </a:lnTo>
                      <a:lnTo>
                        <a:pt x="1984" y="16324"/>
                      </a:lnTo>
                      <a:lnTo>
                        <a:pt x="1763" y="16324"/>
                      </a:lnTo>
                      <a:lnTo>
                        <a:pt x="1763" y="16225"/>
                      </a:lnTo>
                      <a:lnTo>
                        <a:pt x="1984" y="16225"/>
                      </a:lnTo>
                      <a:lnTo>
                        <a:pt x="1984" y="16026"/>
                      </a:lnTo>
                      <a:lnTo>
                        <a:pt x="2094" y="15827"/>
                      </a:lnTo>
                      <a:lnTo>
                        <a:pt x="2094" y="15628"/>
                      </a:lnTo>
                      <a:lnTo>
                        <a:pt x="1984" y="15628"/>
                      </a:lnTo>
                      <a:lnTo>
                        <a:pt x="1984" y="15528"/>
                      </a:lnTo>
                      <a:lnTo>
                        <a:pt x="1763" y="15528"/>
                      </a:lnTo>
                      <a:lnTo>
                        <a:pt x="1322" y="15130"/>
                      </a:lnTo>
                      <a:lnTo>
                        <a:pt x="1212" y="15130"/>
                      </a:lnTo>
                      <a:lnTo>
                        <a:pt x="1212" y="13537"/>
                      </a:lnTo>
                      <a:lnTo>
                        <a:pt x="992" y="13438"/>
                      </a:lnTo>
                      <a:lnTo>
                        <a:pt x="551" y="13438"/>
                      </a:lnTo>
                      <a:lnTo>
                        <a:pt x="551" y="13040"/>
                      </a:lnTo>
                      <a:lnTo>
                        <a:pt x="441" y="13040"/>
                      </a:lnTo>
                      <a:lnTo>
                        <a:pt x="441" y="12741"/>
                      </a:lnTo>
                      <a:lnTo>
                        <a:pt x="220" y="12741"/>
                      </a:lnTo>
                      <a:lnTo>
                        <a:pt x="220" y="12343"/>
                      </a:lnTo>
                      <a:lnTo>
                        <a:pt x="0" y="12343"/>
                      </a:lnTo>
                      <a:lnTo>
                        <a:pt x="0" y="12144"/>
                      </a:lnTo>
                      <a:lnTo>
                        <a:pt x="441" y="11845"/>
                      </a:lnTo>
                      <a:lnTo>
                        <a:pt x="771" y="11646"/>
                      </a:lnTo>
                      <a:lnTo>
                        <a:pt x="771" y="11347"/>
                      </a:lnTo>
                      <a:lnTo>
                        <a:pt x="992" y="11347"/>
                      </a:lnTo>
                      <a:lnTo>
                        <a:pt x="1212" y="11148"/>
                      </a:lnTo>
                      <a:lnTo>
                        <a:pt x="1212" y="10949"/>
                      </a:lnTo>
                      <a:lnTo>
                        <a:pt x="1322" y="10949"/>
                      </a:lnTo>
                      <a:lnTo>
                        <a:pt x="1543" y="10750"/>
                      </a:lnTo>
                      <a:lnTo>
                        <a:pt x="1543" y="10651"/>
                      </a:lnTo>
                      <a:lnTo>
                        <a:pt x="1322" y="10651"/>
                      </a:lnTo>
                      <a:lnTo>
                        <a:pt x="1322" y="10452"/>
                      </a:lnTo>
                      <a:lnTo>
                        <a:pt x="992" y="10452"/>
                      </a:lnTo>
                      <a:lnTo>
                        <a:pt x="992" y="10053"/>
                      </a:lnTo>
                      <a:lnTo>
                        <a:pt x="771" y="9954"/>
                      </a:lnTo>
                      <a:lnTo>
                        <a:pt x="771" y="9556"/>
                      </a:lnTo>
                      <a:lnTo>
                        <a:pt x="551" y="9556"/>
                      </a:lnTo>
                      <a:lnTo>
                        <a:pt x="551" y="9257"/>
                      </a:lnTo>
                      <a:lnTo>
                        <a:pt x="771" y="9257"/>
                      </a:lnTo>
                      <a:lnTo>
                        <a:pt x="771" y="9058"/>
                      </a:lnTo>
                      <a:lnTo>
                        <a:pt x="992" y="9058"/>
                      </a:lnTo>
                      <a:lnTo>
                        <a:pt x="992" y="8759"/>
                      </a:lnTo>
                      <a:lnTo>
                        <a:pt x="771" y="8759"/>
                      </a:lnTo>
                      <a:lnTo>
                        <a:pt x="771" y="8560"/>
                      </a:lnTo>
                      <a:lnTo>
                        <a:pt x="551" y="8560"/>
                      </a:lnTo>
                      <a:lnTo>
                        <a:pt x="551" y="8063"/>
                      </a:lnTo>
                      <a:lnTo>
                        <a:pt x="771" y="8063"/>
                      </a:lnTo>
                      <a:lnTo>
                        <a:pt x="771" y="7864"/>
                      </a:lnTo>
                      <a:lnTo>
                        <a:pt x="992" y="7864"/>
                      </a:lnTo>
                      <a:lnTo>
                        <a:pt x="992" y="7665"/>
                      </a:lnTo>
                      <a:lnTo>
                        <a:pt x="1212" y="7665"/>
                      </a:lnTo>
                      <a:lnTo>
                        <a:pt x="1212" y="7465"/>
                      </a:lnTo>
                      <a:lnTo>
                        <a:pt x="1322" y="7366"/>
                      </a:lnTo>
                      <a:lnTo>
                        <a:pt x="1322" y="6769"/>
                      </a:lnTo>
                      <a:lnTo>
                        <a:pt x="1212" y="6769"/>
                      </a:lnTo>
                      <a:lnTo>
                        <a:pt x="1212" y="5276"/>
                      </a:lnTo>
                      <a:lnTo>
                        <a:pt x="1543" y="4877"/>
                      </a:lnTo>
                      <a:lnTo>
                        <a:pt x="1543" y="4678"/>
                      </a:lnTo>
                      <a:lnTo>
                        <a:pt x="1763" y="4579"/>
                      </a:lnTo>
                      <a:lnTo>
                        <a:pt x="1763" y="4380"/>
                      </a:lnTo>
                      <a:lnTo>
                        <a:pt x="1543" y="4181"/>
                      </a:lnTo>
                      <a:lnTo>
                        <a:pt x="1543" y="3882"/>
                      </a:lnTo>
                      <a:lnTo>
                        <a:pt x="1322" y="3882"/>
                      </a:lnTo>
                      <a:lnTo>
                        <a:pt x="1322" y="3683"/>
                      </a:lnTo>
                      <a:lnTo>
                        <a:pt x="1212" y="3484"/>
                      </a:lnTo>
                      <a:lnTo>
                        <a:pt x="1212" y="3285"/>
                      </a:lnTo>
                      <a:lnTo>
                        <a:pt x="992" y="3185"/>
                      </a:lnTo>
                      <a:lnTo>
                        <a:pt x="992" y="2986"/>
                      </a:lnTo>
                      <a:lnTo>
                        <a:pt x="771" y="2986"/>
                      </a:lnTo>
                      <a:lnTo>
                        <a:pt x="771" y="2787"/>
                      </a:lnTo>
                      <a:lnTo>
                        <a:pt x="551" y="2787"/>
                      </a:lnTo>
                      <a:lnTo>
                        <a:pt x="551" y="2488"/>
                      </a:lnTo>
                      <a:lnTo>
                        <a:pt x="441" y="2488"/>
                      </a:lnTo>
                      <a:lnTo>
                        <a:pt x="441" y="2090"/>
                      </a:lnTo>
                      <a:lnTo>
                        <a:pt x="1212" y="2090"/>
                      </a:lnTo>
                      <a:lnTo>
                        <a:pt x="1212" y="2289"/>
                      </a:lnTo>
                      <a:lnTo>
                        <a:pt x="2094" y="2289"/>
                      </a:lnTo>
                      <a:lnTo>
                        <a:pt x="2094" y="2090"/>
                      </a:lnTo>
                      <a:lnTo>
                        <a:pt x="2314" y="2090"/>
                      </a:lnTo>
                      <a:lnTo>
                        <a:pt x="2314" y="1891"/>
                      </a:lnTo>
                      <a:lnTo>
                        <a:pt x="2755" y="1891"/>
                      </a:lnTo>
                      <a:lnTo>
                        <a:pt x="2755" y="1792"/>
                      </a:lnTo>
                      <a:lnTo>
                        <a:pt x="3086" y="1792"/>
                      </a:lnTo>
                      <a:lnTo>
                        <a:pt x="3086" y="1593"/>
                      </a:lnTo>
                      <a:lnTo>
                        <a:pt x="3527" y="1593"/>
                      </a:lnTo>
                      <a:lnTo>
                        <a:pt x="3527" y="1394"/>
                      </a:lnTo>
                      <a:lnTo>
                        <a:pt x="3637" y="1394"/>
                      </a:lnTo>
                      <a:lnTo>
                        <a:pt x="3637" y="1194"/>
                      </a:lnTo>
                      <a:lnTo>
                        <a:pt x="3857" y="1194"/>
                      </a:lnTo>
                      <a:lnTo>
                        <a:pt x="4078" y="1095"/>
                      </a:lnTo>
                      <a:lnTo>
                        <a:pt x="4298" y="1095"/>
                      </a:lnTo>
                      <a:lnTo>
                        <a:pt x="4408" y="896"/>
                      </a:lnTo>
                      <a:lnTo>
                        <a:pt x="4629" y="896"/>
                      </a:lnTo>
                      <a:lnTo>
                        <a:pt x="4849" y="697"/>
                      </a:lnTo>
                      <a:lnTo>
                        <a:pt x="4849" y="498"/>
                      </a:lnTo>
                      <a:lnTo>
                        <a:pt x="5180" y="498"/>
                      </a:lnTo>
                      <a:lnTo>
                        <a:pt x="5180" y="398"/>
                      </a:lnTo>
                      <a:lnTo>
                        <a:pt x="5400" y="398"/>
                      </a:lnTo>
                      <a:lnTo>
                        <a:pt x="5620" y="199"/>
                      </a:lnTo>
                      <a:lnTo>
                        <a:pt x="6171" y="199"/>
                      </a:lnTo>
                      <a:lnTo>
                        <a:pt x="6392" y="0"/>
                      </a:lnTo>
                      <a:close/>
                      <a:moveTo>
                        <a:pt x="6392" y="0"/>
                      </a:moveTo>
                    </a:path>
                  </a:pathLst>
                </a:custGeom>
                <a:solidFill>
                  <a:srgbClr val="B2EAE7"/>
                </a:solidFill>
                <a:ln w="12700">
                  <a:solidFill>
                    <a:srgbClr val="FFFFFF"/>
                  </a:solidFill>
                  <a:round/>
                  <a:headEnd/>
                  <a:tailEnd/>
                </a:ln>
              </p:spPr>
              <p:txBody>
                <a:bodyPr lIns="0" tIns="0" rIns="0" bIns="0"/>
                <a:lstStyle/>
                <a:p>
                  <a:endParaRPr lang="es-ES"/>
                </a:p>
              </p:txBody>
            </p:sp>
            <p:sp>
              <p:nvSpPr>
                <p:cNvPr id="15448" name="AutoShape 92"/>
                <p:cNvSpPr>
                  <a:spLocks/>
                </p:cNvSpPr>
                <p:nvPr/>
              </p:nvSpPr>
              <p:spPr bwMode="auto">
                <a:xfrm>
                  <a:off x="0" y="527"/>
                  <a:ext cx="282" cy="14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w 21600"/>
                    <a:gd name="T117" fmla="*/ 0 h 216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1600"/>
                    <a:gd name="T178" fmla="*/ 0 h 21600"/>
                    <a:gd name="T179" fmla="*/ 21600 w 21600"/>
                    <a:gd name="T180" fmla="*/ 21600 h 216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1600" h="21600">
                      <a:moveTo>
                        <a:pt x="19616" y="3967"/>
                      </a:moveTo>
                      <a:lnTo>
                        <a:pt x="20057" y="3967"/>
                      </a:lnTo>
                      <a:lnTo>
                        <a:pt x="20057" y="4408"/>
                      </a:lnTo>
                      <a:lnTo>
                        <a:pt x="19616" y="4408"/>
                      </a:lnTo>
                      <a:lnTo>
                        <a:pt x="19616" y="3967"/>
                      </a:lnTo>
                      <a:close/>
                      <a:moveTo>
                        <a:pt x="11902" y="0"/>
                      </a:moveTo>
                      <a:lnTo>
                        <a:pt x="12343" y="0"/>
                      </a:lnTo>
                      <a:lnTo>
                        <a:pt x="12784" y="882"/>
                      </a:lnTo>
                      <a:lnTo>
                        <a:pt x="14767" y="882"/>
                      </a:lnTo>
                      <a:lnTo>
                        <a:pt x="14767" y="0"/>
                      </a:lnTo>
                      <a:lnTo>
                        <a:pt x="15429" y="0"/>
                      </a:lnTo>
                      <a:lnTo>
                        <a:pt x="16310" y="1322"/>
                      </a:lnTo>
                      <a:lnTo>
                        <a:pt x="18514" y="1322"/>
                      </a:lnTo>
                      <a:lnTo>
                        <a:pt x="18514" y="2204"/>
                      </a:lnTo>
                      <a:lnTo>
                        <a:pt x="18955" y="2204"/>
                      </a:lnTo>
                      <a:lnTo>
                        <a:pt x="19616" y="3967"/>
                      </a:lnTo>
                      <a:lnTo>
                        <a:pt x="18955" y="3967"/>
                      </a:lnTo>
                      <a:lnTo>
                        <a:pt x="18955" y="4408"/>
                      </a:lnTo>
                      <a:lnTo>
                        <a:pt x="19176" y="5290"/>
                      </a:lnTo>
                      <a:lnTo>
                        <a:pt x="19616" y="5290"/>
                      </a:lnTo>
                      <a:lnTo>
                        <a:pt x="20057" y="6171"/>
                      </a:lnTo>
                      <a:lnTo>
                        <a:pt x="20057" y="4408"/>
                      </a:lnTo>
                      <a:lnTo>
                        <a:pt x="20498" y="4408"/>
                      </a:lnTo>
                      <a:lnTo>
                        <a:pt x="20498" y="5290"/>
                      </a:lnTo>
                      <a:lnTo>
                        <a:pt x="20718" y="6171"/>
                      </a:lnTo>
                      <a:lnTo>
                        <a:pt x="21159" y="6171"/>
                      </a:lnTo>
                      <a:lnTo>
                        <a:pt x="21159" y="7053"/>
                      </a:lnTo>
                      <a:lnTo>
                        <a:pt x="21600" y="7053"/>
                      </a:lnTo>
                      <a:lnTo>
                        <a:pt x="21600" y="7494"/>
                      </a:lnTo>
                      <a:lnTo>
                        <a:pt x="20498" y="7494"/>
                      </a:lnTo>
                      <a:lnTo>
                        <a:pt x="20057" y="8376"/>
                      </a:lnTo>
                      <a:lnTo>
                        <a:pt x="18955" y="8376"/>
                      </a:lnTo>
                      <a:lnTo>
                        <a:pt x="18955" y="9257"/>
                      </a:lnTo>
                      <a:lnTo>
                        <a:pt x="18073" y="9257"/>
                      </a:lnTo>
                      <a:lnTo>
                        <a:pt x="18073" y="10139"/>
                      </a:lnTo>
                      <a:lnTo>
                        <a:pt x="17412" y="10139"/>
                      </a:lnTo>
                      <a:lnTo>
                        <a:pt x="17412" y="9257"/>
                      </a:lnTo>
                      <a:lnTo>
                        <a:pt x="16310" y="9257"/>
                      </a:lnTo>
                      <a:lnTo>
                        <a:pt x="16310" y="8376"/>
                      </a:lnTo>
                      <a:lnTo>
                        <a:pt x="15869" y="8376"/>
                      </a:lnTo>
                      <a:lnTo>
                        <a:pt x="15429" y="9257"/>
                      </a:lnTo>
                      <a:lnTo>
                        <a:pt x="15429" y="10139"/>
                      </a:lnTo>
                      <a:lnTo>
                        <a:pt x="14988" y="10139"/>
                      </a:lnTo>
                      <a:lnTo>
                        <a:pt x="14988" y="12343"/>
                      </a:lnTo>
                      <a:lnTo>
                        <a:pt x="14327" y="12343"/>
                      </a:lnTo>
                      <a:lnTo>
                        <a:pt x="14327" y="13224"/>
                      </a:lnTo>
                      <a:lnTo>
                        <a:pt x="13886" y="13224"/>
                      </a:lnTo>
                      <a:lnTo>
                        <a:pt x="13886" y="13665"/>
                      </a:lnTo>
                      <a:lnTo>
                        <a:pt x="13445" y="13665"/>
                      </a:lnTo>
                      <a:lnTo>
                        <a:pt x="13445" y="14547"/>
                      </a:lnTo>
                      <a:lnTo>
                        <a:pt x="13224" y="14547"/>
                      </a:lnTo>
                      <a:lnTo>
                        <a:pt x="13224" y="15429"/>
                      </a:lnTo>
                      <a:lnTo>
                        <a:pt x="12343" y="15429"/>
                      </a:lnTo>
                      <a:lnTo>
                        <a:pt x="12343" y="14547"/>
                      </a:lnTo>
                      <a:lnTo>
                        <a:pt x="11902" y="14547"/>
                      </a:lnTo>
                      <a:lnTo>
                        <a:pt x="11902" y="13665"/>
                      </a:lnTo>
                      <a:lnTo>
                        <a:pt x="11682" y="13665"/>
                      </a:lnTo>
                      <a:lnTo>
                        <a:pt x="11682" y="14547"/>
                      </a:lnTo>
                      <a:lnTo>
                        <a:pt x="11241" y="14547"/>
                      </a:lnTo>
                      <a:lnTo>
                        <a:pt x="10800" y="15429"/>
                      </a:lnTo>
                      <a:lnTo>
                        <a:pt x="10800" y="15869"/>
                      </a:lnTo>
                      <a:lnTo>
                        <a:pt x="9257" y="15869"/>
                      </a:lnTo>
                      <a:lnTo>
                        <a:pt x="9257" y="19837"/>
                      </a:lnTo>
                      <a:lnTo>
                        <a:pt x="8596" y="19837"/>
                      </a:lnTo>
                      <a:lnTo>
                        <a:pt x="8596" y="20718"/>
                      </a:lnTo>
                      <a:lnTo>
                        <a:pt x="8155" y="20718"/>
                      </a:lnTo>
                      <a:lnTo>
                        <a:pt x="8155" y="21600"/>
                      </a:lnTo>
                      <a:lnTo>
                        <a:pt x="7273" y="21600"/>
                      </a:lnTo>
                      <a:lnTo>
                        <a:pt x="7273" y="20718"/>
                      </a:lnTo>
                      <a:lnTo>
                        <a:pt x="7053" y="20718"/>
                      </a:lnTo>
                      <a:lnTo>
                        <a:pt x="7053" y="19837"/>
                      </a:lnTo>
                      <a:lnTo>
                        <a:pt x="6612" y="19837"/>
                      </a:lnTo>
                      <a:lnTo>
                        <a:pt x="6612" y="18955"/>
                      </a:lnTo>
                      <a:lnTo>
                        <a:pt x="7053" y="18955"/>
                      </a:lnTo>
                      <a:lnTo>
                        <a:pt x="7053" y="18514"/>
                      </a:lnTo>
                      <a:lnTo>
                        <a:pt x="5731" y="18514"/>
                      </a:lnTo>
                      <a:lnTo>
                        <a:pt x="5731" y="15429"/>
                      </a:lnTo>
                      <a:lnTo>
                        <a:pt x="4629" y="15429"/>
                      </a:lnTo>
                      <a:lnTo>
                        <a:pt x="4629" y="14547"/>
                      </a:lnTo>
                      <a:lnTo>
                        <a:pt x="3967" y="14547"/>
                      </a:lnTo>
                      <a:lnTo>
                        <a:pt x="3967" y="15429"/>
                      </a:lnTo>
                      <a:lnTo>
                        <a:pt x="3086" y="15429"/>
                      </a:lnTo>
                      <a:lnTo>
                        <a:pt x="3086" y="14547"/>
                      </a:lnTo>
                      <a:lnTo>
                        <a:pt x="2424" y="14547"/>
                      </a:lnTo>
                      <a:lnTo>
                        <a:pt x="2424" y="13665"/>
                      </a:lnTo>
                      <a:lnTo>
                        <a:pt x="1984" y="13665"/>
                      </a:lnTo>
                      <a:lnTo>
                        <a:pt x="1984" y="13224"/>
                      </a:lnTo>
                      <a:lnTo>
                        <a:pt x="1543" y="13224"/>
                      </a:lnTo>
                      <a:lnTo>
                        <a:pt x="1543" y="12343"/>
                      </a:lnTo>
                      <a:lnTo>
                        <a:pt x="1102" y="12343"/>
                      </a:lnTo>
                      <a:lnTo>
                        <a:pt x="1102" y="11461"/>
                      </a:lnTo>
                      <a:lnTo>
                        <a:pt x="0" y="11461"/>
                      </a:lnTo>
                      <a:lnTo>
                        <a:pt x="0" y="10580"/>
                      </a:lnTo>
                      <a:lnTo>
                        <a:pt x="441" y="10580"/>
                      </a:lnTo>
                      <a:lnTo>
                        <a:pt x="441" y="10139"/>
                      </a:lnTo>
                      <a:lnTo>
                        <a:pt x="882" y="10139"/>
                      </a:lnTo>
                      <a:lnTo>
                        <a:pt x="882" y="8376"/>
                      </a:lnTo>
                      <a:lnTo>
                        <a:pt x="441" y="8376"/>
                      </a:lnTo>
                      <a:lnTo>
                        <a:pt x="882" y="7494"/>
                      </a:lnTo>
                      <a:lnTo>
                        <a:pt x="882" y="6171"/>
                      </a:lnTo>
                      <a:lnTo>
                        <a:pt x="1543" y="6171"/>
                      </a:lnTo>
                      <a:lnTo>
                        <a:pt x="2424" y="4408"/>
                      </a:lnTo>
                      <a:lnTo>
                        <a:pt x="2645" y="4408"/>
                      </a:lnTo>
                      <a:lnTo>
                        <a:pt x="3086" y="3967"/>
                      </a:lnTo>
                      <a:lnTo>
                        <a:pt x="3086" y="3086"/>
                      </a:lnTo>
                      <a:lnTo>
                        <a:pt x="3527" y="3086"/>
                      </a:lnTo>
                      <a:lnTo>
                        <a:pt x="3527" y="2204"/>
                      </a:lnTo>
                      <a:lnTo>
                        <a:pt x="3967" y="2204"/>
                      </a:lnTo>
                      <a:lnTo>
                        <a:pt x="3967" y="1322"/>
                      </a:lnTo>
                      <a:lnTo>
                        <a:pt x="5069" y="1322"/>
                      </a:lnTo>
                      <a:lnTo>
                        <a:pt x="5510" y="882"/>
                      </a:lnTo>
                      <a:lnTo>
                        <a:pt x="7273" y="882"/>
                      </a:lnTo>
                      <a:lnTo>
                        <a:pt x="7714" y="1322"/>
                      </a:lnTo>
                      <a:lnTo>
                        <a:pt x="11241" y="1322"/>
                      </a:lnTo>
                      <a:lnTo>
                        <a:pt x="11682" y="882"/>
                      </a:lnTo>
                      <a:lnTo>
                        <a:pt x="11902" y="882"/>
                      </a:lnTo>
                      <a:lnTo>
                        <a:pt x="11902" y="0"/>
                      </a:lnTo>
                      <a:close/>
                      <a:moveTo>
                        <a:pt x="11902" y="0"/>
                      </a:moveTo>
                    </a:path>
                  </a:pathLst>
                </a:custGeom>
                <a:solidFill>
                  <a:srgbClr val="B2EAE7"/>
                </a:solidFill>
                <a:ln w="12700">
                  <a:solidFill>
                    <a:srgbClr val="FFFFFF"/>
                  </a:solidFill>
                  <a:round/>
                  <a:headEnd/>
                  <a:tailEnd/>
                </a:ln>
              </p:spPr>
              <p:txBody>
                <a:bodyPr lIns="0" tIns="0" rIns="0" bIns="0"/>
                <a:lstStyle/>
                <a:p>
                  <a:endParaRPr lang="es-ES"/>
                </a:p>
              </p:txBody>
            </p:sp>
            <p:sp>
              <p:nvSpPr>
                <p:cNvPr id="15449" name="Freeform 93"/>
                <p:cNvSpPr>
                  <a:spLocks/>
                </p:cNvSpPr>
                <p:nvPr/>
              </p:nvSpPr>
              <p:spPr bwMode="auto">
                <a:xfrm>
                  <a:off x="5" y="406"/>
                  <a:ext cx="49" cy="127"/>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1600"/>
                    <a:gd name="T100" fmla="*/ 0 h 21600"/>
                    <a:gd name="T101" fmla="*/ 21600 w 21600"/>
                    <a:gd name="T102" fmla="*/ 21600 h 2160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1600" h="21600">
                      <a:moveTo>
                        <a:pt x="17788" y="0"/>
                      </a:moveTo>
                      <a:lnTo>
                        <a:pt x="17788" y="1473"/>
                      </a:lnTo>
                      <a:lnTo>
                        <a:pt x="21600" y="1473"/>
                      </a:lnTo>
                      <a:lnTo>
                        <a:pt x="21600" y="5891"/>
                      </a:lnTo>
                      <a:lnTo>
                        <a:pt x="20329" y="6873"/>
                      </a:lnTo>
                      <a:lnTo>
                        <a:pt x="20329" y="14727"/>
                      </a:lnTo>
                      <a:lnTo>
                        <a:pt x="17788" y="15218"/>
                      </a:lnTo>
                      <a:lnTo>
                        <a:pt x="17788" y="17182"/>
                      </a:lnTo>
                      <a:lnTo>
                        <a:pt x="15247" y="17182"/>
                      </a:lnTo>
                      <a:lnTo>
                        <a:pt x="15247" y="18164"/>
                      </a:lnTo>
                      <a:lnTo>
                        <a:pt x="12706" y="18164"/>
                      </a:lnTo>
                      <a:lnTo>
                        <a:pt x="12706" y="18655"/>
                      </a:lnTo>
                      <a:lnTo>
                        <a:pt x="11435" y="18655"/>
                      </a:lnTo>
                      <a:lnTo>
                        <a:pt x="11435" y="19636"/>
                      </a:lnTo>
                      <a:lnTo>
                        <a:pt x="8894" y="19636"/>
                      </a:lnTo>
                      <a:lnTo>
                        <a:pt x="8894" y="20618"/>
                      </a:lnTo>
                      <a:lnTo>
                        <a:pt x="6353" y="21600"/>
                      </a:lnTo>
                      <a:lnTo>
                        <a:pt x="0" y="21600"/>
                      </a:lnTo>
                      <a:lnTo>
                        <a:pt x="0" y="17182"/>
                      </a:lnTo>
                      <a:lnTo>
                        <a:pt x="2541" y="15218"/>
                      </a:lnTo>
                      <a:lnTo>
                        <a:pt x="2541" y="4418"/>
                      </a:lnTo>
                      <a:lnTo>
                        <a:pt x="3812" y="4418"/>
                      </a:lnTo>
                      <a:lnTo>
                        <a:pt x="6353" y="4909"/>
                      </a:lnTo>
                      <a:lnTo>
                        <a:pt x="8894" y="4909"/>
                      </a:lnTo>
                      <a:lnTo>
                        <a:pt x="8894" y="4418"/>
                      </a:lnTo>
                      <a:lnTo>
                        <a:pt x="11435" y="4418"/>
                      </a:lnTo>
                      <a:lnTo>
                        <a:pt x="11435" y="3436"/>
                      </a:lnTo>
                      <a:lnTo>
                        <a:pt x="12706" y="3436"/>
                      </a:lnTo>
                      <a:lnTo>
                        <a:pt x="12706" y="1473"/>
                      </a:lnTo>
                      <a:lnTo>
                        <a:pt x="15247" y="1473"/>
                      </a:lnTo>
                      <a:lnTo>
                        <a:pt x="15247" y="982"/>
                      </a:lnTo>
                      <a:lnTo>
                        <a:pt x="17788" y="0"/>
                      </a:lnTo>
                      <a:close/>
                      <a:moveTo>
                        <a:pt x="17788" y="0"/>
                      </a:moveTo>
                    </a:path>
                  </a:pathLst>
                </a:custGeom>
                <a:solidFill>
                  <a:srgbClr val="B2EAE7"/>
                </a:solidFill>
                <a:ln w="12700">
                  <a:solidFill>
                    <a:srgbClr val="FFFFFF"/>
                  </a:solidFill>
                  <a:round/>
                  <a:headEnd/>
                  <a:tailEnd/>
                </a:ln>
              </p:spPr>
              <p:txBody>
                <a:bodyPr lIns="0" tIns="0" rIns="0" bIns="0"/>
                <a:lstStyle/>
                <a:p>
                  <a:endParaRPr lang="es-ES"/>
                </a:p>
              </p:txBody>
            </p:sp>
            <p:sp>
              <p:nvSpPr>
                <p:cNvPr id="15450" name="AutoShape 94"/>
                <p:cNvSpPr>
                  <a:spLocks/>
                </p:cNvSpPr>
                <p:nvPr/>
              </p:nvSpPr>
              <p:spPr bwMode="auto">
                <a:xfrm>
                  <a:off x="776" y="239"/>
                  <a:ext cx="49" cy="17"/>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600"/>
                    <a:gd name="T64" fmla="*/ 0 h 21600"/>
                    <a:gd name="T65" fmla="*/ 21600 w 21600"/>
                    <a:gd name="T66" fmla="*/ 21600 h 2160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600" h="21600">
                      <a:moveTo>
                        <a:pt x="17788" y="14400"/>
                      </a:moveTo>
                      <a:lnTo>
                        <a:pt x="21600" y="14400"/>
                      </a:lnTo>
                      <a:lnTo>
                        <a:pt x="21600" y="21600"/>
                      </a:lnTo>
                      <a:lnTo>
                        <a:pt x="17788" y="21600"/>
                      </a:lnTo>
                      <a:lnTo>
                        <a:pt x="17788" y="14400"/>
                      </a:lnTo>
                      <a:close/>
                      <a:moveTo>
                        <a:pt x="2541" y="14400"/>
                      </a:moveTo>
                      <a:lnTo>
                        <a:pt x="2541" y="21600"/>
                      </a:lnTo>
                      <a:lnTo>
                        <a:pt x="0" y="21600"/>
                      </a:lnTo>
                      <a:lnTo>
                        <a:pt x="2541" y="14400"/>
                      </a:lnTo>
                      <a:close/>
                      <a:moveTo>
                        <a:pt x="8894" y="0"/>
                      </a:moveTo>
                      <a:lnTo>
                        <a:pt x="8894" y="14400"/>
                      </a:lnTo>
                      <a:lnTo>
                        <a:pt x="2541" y="14400"/>
                      </a:lnTo>
                      <a:lnTo>
                        <a:pt x="2541" y="7200"/>
                      </a:lnTo>
                      <a:lnTo>
                        <a:pt x="6353" y="7200"/>
                      </a:lnTo>
                      <a:lnTo>
                        <a:pt x="12706" y="0"/>
                      </a:lnTo>
                      <a:lnTo>
                        <a:pt x="12706" y="7200"/>
                      </a:lnTo>
                      <a:lnTo>
                        <a:pt x="17788" y="7200"/>
                      </a:lnTo>
                      <a:lnTo>
                        <a:pt x="17788" y="14400"/>
                      </a:lnTo>
                      <a:lnTo>
                        <a:pt x="12706" y="14400"/>
                      </a:lnTo>
                      <a:lnTo>
                        <a:pt x="8894" y="0"/>
                      </a:lnTo>
                      <a:close/>
                      <a:moveTo>
                        <a:pt x="8894" y="0"/>
                      </a:moveTo>
                    </a:path>
                  </a:pathLst>
                </a:custGeom>
                <a:solidFill>
                  <a:srgbClr val="B2EAE7"/>
                </a:solidFill>
                <a:ln w="12700">
                  <a:solidFill>
                    <a:srgbClr val="FFFFFF"/>
                  </a:solidFill>
                  <a:round/>
                  <a:headEnd/>
                  <a:tailEnd/>
                </a:ln>
              </p:spPr>
              <p:txBody>
                <a:bodyPr lIns="0" tIns="0" rIns="0" bIns="0"/>
                <a:lstStyle/>
                <a:p>
                  <a:endParaRPr lang="es-ES"/>
                </a:p>
              </p:txBody>
            </p:sp>
            <p:sp>
              <p:nvSpPr>
                <p:cNvPr id="15451" name="Freeform 95"/>
                <p:cNvSpPr>
                  <a:spLocks/>
                </p:cNvSpPr>
                <p:nvPr/>
              </p:nvSpPr>
              <p:spPr bwMode="auto">
                <a:xfrm>
                  <a:off x="510" y="406"/>
                  <a:ext cx="98" cy="4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1600"/>
                    <a:gd name="T106" fmla="*/ 0 h 21600"/>
                    <a:gd name="T107" fmla="*/ 21600 w 21600"/>
                    <a:gd name="T108" fmla="*/ 21600 h 2160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1600" h="21600">
                      <a:moveTo>
                        <a:pt x="3176" y="0"/>
                      </a:moveTo>
                      <a:lnTo>
                        <a:pt x="8259" y="0"/>
                      </a:lnTo>
                      <a:lnTo>
                        <a:pt x="9529" y="3086"/>
                      </a:lnTo>
                      <a:lnTo>
                        <a:pt x="9529" y="0"/>
                      </a:lnTo>
                      <a:lnTo>
                        <a:pt x="10800" y="0"/>
                      </a:lnTo>
                      <a:lnTo>
                        <a:pt x="10800" y="3086"/>
                      </a:lnTo>
                      <a:lnTo>
                        <a:pt x="15247" y="3086"/>
                      </a:lnTo>
                      <a:lnTo>
                        <a:pt x="15247" y="4629"/>
                      </a:lnTo>
                      <a:lnTo>
                        <a:pt x="16518" y="7714"/>
                      </a:lnTo>
                      <a:lnTo>
                        <a:pt x="19694" y="7714"/>
                      </a:lnTo>
                      <a:lnTo>
                        <a:pt x="19694" y="10800"/>
                      </a:lnTo>
                      <a:lnTo>
                        <a:pt x="20965" y="10800"/>
                      </a:lnTo>
                      <a:lnTo>
                        <a:pt x="20965" y="13886"/>
                      </a:lnTo>
                      <a:lnTo>
                        <a:pt x="21600" y="15429"/>
                      </a:lnTo>
                      <a:lnTo>
                        <a:pt x="13976" y="15429"/>
                      </a:lnTo>
                      <a:lnTo>
                        <a:pt x="13976" y="18514"/>
                      </a:lnTo>
                      <a:lnTo>
                        <a:pt x="12706" y="18514"/>
                      </a:lnTo>
                      <a:lnTo>
                        <a:pt x="12706" y="15429"/>
                      </a:lnTo>
                      <a:lnTo>
                        <a:pt x="12071" y="15429"/>
                      </a:lnTo>
                      <a:lnTo>
                        <a:pt x="12071" y="21600"/>
                      </a:lnTo>
                      <a:lnTo>
                        <a:pt x="10800" y="21600"/>
                      </a:lnTo>
                      <a:lnTo>
                        <a:pt x="10800" y="18514"/>
                      </a:lnTo>
                      <a:lnTo>
                        <a:pt x="9529" y="18514"/>
                      </a:lnTo>
                      <a:lnTo>
                        <a:pt x="9529" y="15429"/>
                      </a:lnTo>
                      <a:lnTo>
                        <a:pt x="5082" y="15429"/>
                      </a:lnTo>
                      <a:lnTo>
                        <a:pt x="5082" y="13886"/>
                      </a:lnTo>
                      <a:lnTo>
                        <a:pt x="3812" y="13886"/>
                      </a:lnTo>
                      <a:lnTo>
                        <a:pt x="3812" y="10800"/>
                      </a:lnTo>
                      <a:lnTo>
                        <a:pt x="3176" y="10800"/>
                      </a:lnTo>
                      <a:lnTo>
                        <a:pt x="3176" y="7714"/>
                      </a:lnTo>
                      <a:lnTo>
                        <a:pt x="0" y="7714"/>
                      </a:lnTo>
                      <a:lnTo>
                        <a:pt x="0" y="3086"/>
                      </a:lnTo>
                      <a:lnTo>
                        <a:pt x="1906" y="3086"/>
                      </a:lnTo>
                      <a:lnTo>
                        <a:pt x="3176" y="0"/>
                      </a:lnTo>
                      <a:close/>
                      <a:moveTo>
                        <a:pt x="3176" y="0"/>
                      </a:moveTo>
                    </a:path>
                  </a:pathLst>
                </a:custGeom>
                <a:solidFill>
                  <a:srgbClr val="B2EAE7"/>
                </a:solidFill>
                <a:ln w="12700">
                  <a:solidFill>
                    <a:srgbClr val="FFFFFF"/>
                  </a:solidFill>
                  <a:round/>
                  <a:headEnd/>
                  <a:tailEnd/>
                </a:ln>
              </p:spPr>
              <p:txBody>
                <a:bodyPr lIns="0" tIns="0" rIns="0" bIns="0"/>
                <a:lstStyle/>
                <a:p>
                  <a:endParaRPr lang="es-ES"/>
                </a:p>
              </p:txBody>
            </p:sp>
            <p:sp>
              <p:nvSpPr>
                <p:cNvPr id="15452" name="Freeform 96"/>
                <p:cNvSpPr>
                  <a:spLocks/>
                </p:cNvSpPr>
                <p:nvPr/>
              </p:nvSpPr>
              <p:spPr bwMode="auto">
                <a:xfrm>
                  <a:off x="747" y="386"/>
                  <a:ext cx="16" cy="14"/>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1600"/>
                    <a:gd name="T34" fmla="*/ 0 h 21600"/>
                    <a:gd name="T35" fmla="*/ 21600 w 21600"/>
                    <a:gd name="T36" fmla="*/ 21600 h 2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1600" h="21600">
                      <a:moveTo>
                        <a:pt x="0" y="0"/>
                      </a:moveTo>
                      <a:lnTo>
                        <a:pt x="13500" y="0"/>
                      </a:lnTo>
                      <a:lnTo>
                        <a:pt x="13500" y="8640"/>
                      </a:lnTo>
                      <a:lnTo>
                        <a:pt x="21600" y="8640"/>
                      </a:lnTo>
                      <a:lnTo>
                        <a:pt x="21600" y="21600"/>
                      </a:lnTo>
                      <a:lnTo>
                        <a:pt x="18900" y="12960"/>
                      </a:lnTo>
                      <a:lnTo>
                        <a:pt x="8100" y="12960"/>
                      </a:lnTo>
                      <a:lnTo>
                        <a:pt x="8100" y="8640"/>
                      </a:lnTo>
                      <a:lnTo>
                        <a:pt x="0" y="8640"/>
                      </a:lnTo>
                      <a:lnTo>
                        <a:pt x="0" y="0"/>
                      </a:lnTo>
                      <a:close/>
                      <a:moveTo>
                        <a:pt x="0" y="0"/>
                      </a:moveTo>
                    </a:path>
                  </a:pathLst>
                </a:custGeom>
                <a:solidFill>
                  <a:srgbClr val="B2EAE7"/>
                </a:solidFill>
                <a:ln w="12700">
                  <a:solidFill>
                    <a:srgbClr val="FFFFFF"/>
                  </a:solidFill>
                  <a:round/>
                  <a:headEnd/>
                  <a:tailEnd/>
                </a:ln>
              </p:spPr>
              <p:txBody>
                <a:bodyPr lIns="0" tIns="0" rIns="0" bIns="0"/>
                <a:lstStyle/>
                <a:p>
                  <a:endParaRPr lang="es-ES"/>
                </a:p>
              </p:txBody>
            </p:sp>
            <p:sp>
              <p:nvSpPr>
                <p:cNvPr id="15453" name="Freeform 97"/>
                <p:cNvSpPr>
                  <a:spLocks/>
                </p:cNvSpPr>
                <p:nvPr/>
              </p:nvSpPr>
              <p:spPr bwMode="auto">
                <a:xfrm>
                  <a:off x="689" y="337"/>
                  <a:ext cx="133" cy="95"/>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600"/>
                    <a:gd name="T118" fmla="*/ 0 h 21600"/>
                    <a:gd name="T119" fmla="*/ 21600 w 21600"/>
                    <a:gd name="T120" fmla="*/ 21600 h 2160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600" h="21600">
                      <a:moveTo>
                        <a:pt x="11739" y="0"/>
                      </a:moveTo>
                      <a:lnTo>
                        <a:pt x="13148" y="0"/>
                      </a:lnTo>
                      <a:lnTo>
                        <a:pt x="14087" y="655"/>
                      </a:lnTo>
                      <a:lnTo>
                        <a:pt x="15965" y="655"/>
                      </a:lnTo>
                      <a:lnTo>
                        <a:pt x="15965" y="1964"/>
                      </a:lnTo>
                      <a:lnTo>
                        <a:pt x="18313" y="1964"/>
                      </a:lnTo>
                      <a:lnTo>
                        <a:pt x="18313" y="3273"/>
                      </a:lnTo>
                      <a:lnTo>
                        <a:pt x="18783" y="3273"/>
                      </a:lnTo>
                      <a:lnTo>
                        <a:pt x="18783" y="1964"/>
                      </a:lnTo>
                      <a:lnTo>
                        <a:pt x="19722" y="1964"/>
                      </a:lnTo>
                      <a:lnTo>
                        <a:pt x="19722" y="3273"/>
                      </a:lnTo>
                      <a:lnTo>
                        <a:pt x="20661" y="3273"/>
                      </a:lnTo>
                      <a:lnTo>
                        <a:pt x="20661" y="4582"/>
                      </a:lnTo>
                      <a:lnTo>
                        <a:pt x="21600" y="5236"/>
                      </a:lnTo>
                      <a:lnTo>
                        <a:pt x="21600" y="6545"/>
                      </a:lnTo>
                      <a:lnTo>
                        <a:pt x="20661" y="6545"/>
                      </a:lnTo>
                      <a:lnTo>
                        <a:pt x="20661" y="7855"/>
                      </a:lnTo>
                      <a:lnTo>
                        <a:pt x="21600" y="7855"/>
                      </a:lnTo>
                      <a:lnTo>
                        <a:pt x="21600" y="9818"/>
                      </a:lnTo>
                      <a:lnTo>
                        <a:pt x="20661" y="9818"/>
                      </a:lnTo>
                      <a:lnTo>
                        <a:pt x="20661" y="14400"/>
                      </a:lnTo>
                      <a:lnTo>
                        <a:pt x="18783" y="14400"/>
                      </a:lnTo>
                      <a:lnTo>
                        <a:pt x="18783" y="15709"/>
                      </a:lnTo>
                      <a:lnTo>
                        <a:pt x="19722" y="15709"/>
                      </a:lnTo>
                      <a:lnTo>
                        <a:pt x="19722" y="17018"/>
                      </a:lnTo>
                      <a:lnTo>
                        <a:pt x="20661" y="17018"/>
                      </a:lnTo>
                      <a:lnTo>
                        <a:pt x="20661" y="17673"/>
                      </a:lnTo>
                      <a:lnTo>
                        <a:pt x="21600" y="17673"/>
                      </a:lnTo>
                      <a:lnTo>
                        <a:pt x="20661" y="18982"/>
                      </a:lnTo>
                      <a:lnTo>
                        <a:pt x="20661" y="20291"/>
                      </a:lnTo>
                      <a:lnTo>
                        <a:pt x="19722" y="20291"/>
                      </a:lnTo>
                      <a:lnTo>
                        <a:pt x="19722" y="18982"/>
                      </a:lnTo>
                      <a:lnTo>
                        <a:pt x="15026" y="18982"/>
                      </a:lnTo>
                      <a:lnTo>
                        <a:pt x="14087" y="20291"/>
                      </a:lnTo>
                      <a:lnTo>
                        <a:pt x="11739" y="20291"/>
                      </a:lnTo>
                      <a:lnTo>
                        <a:pt x="10800" y="18982"/>
                      </a:lnTo>
                      <a:lnTo>
                        <a:pt x="6104" y="18982"/>
                      </a:lnTo>
                      <a:lnTo>
                        <a:pt x="6104" y="21600"/>
                      </a:lnTo>
                      <a:lnTo>
                        <a:pt x="4226" y="21600"/>
                      </a:lnTo>
                      <a:lnTo>
                        <a:pt x="4226" y="20291"/>
                      </a:lnTo>
                      <a:lnTo>
                        <a:pt x="3287" y="18982"/>
                      </a:lnTo>
                      <a:lnTo>
                        <a:pt x="2817" y="18982"/>
                      </a:lnTo>
                      <a:lnTo>
                        <a:pt x="2817" y="17673"/>
                      </a:lnTo>
                      <a:lnTo>
                        <a:pt x="0" y="17673"/>
                      </a:lnTo>
                      <a:lnTo>
                        <a:pt x="0" y="15709"/>
                      </a:lnTo>
                      <a:lnTo>
                        <a:pt x="939" y="15709"/>
                      </a:lnTo>
                      <a:lnTo>
                        <a:pt x="939" y="14400"/>
                      </a:lnTo>
                      <a:lnTo>
                        <a:pt x="5165" y="14400"/>
                      </a:lnTo>
                      <a:lnTo>
                        <a:pt x="5165" y="15709"/>
                      </a:lnTo>
                      <a:lnTo>
                        <a:pt x="9391" y="15709"/>
                      </a:lnTo>
                      <a:lnTo>
                        <a:pt x="9391" y="17018"/>
                      </a:lnTo>
                      <a:lnTo>
                        <a:pt x="14087" y="17018"/>
                      </a:lnTo>
                      <a:lnTo>
                        <a:pt x="14087" y="15709"/>
                      </a:lnTo>
                      <a:lnTo>
                        <a:pt x="16435" y="15709"/>
                      </a:lnTo>
                      <a:lnTo>
                        <a:pt x="16435" y="14400"/>
                      </a:lnTo>
                      <a:lnTo>
                        <a:pt x="15965" y="13091"/>
                      </a:lnTo>
                      <a:lnTo>
                        <a:pt x="15026" y="13091"/>
                      </a:lnTo>
                      <a:lnTo>
                        <a:pt x="15026" y="12436"/>
                      </a:lnTo>
                      <a:lnTo>
                        <a:pt x="14087" y="12436"/>
                      </a:lnTo>
                      <a:lnTo>
                        <a:pt x="14087" y="11127"/>
                      </a:lnTo>
                      <a:lnTo>
                        <a:pt x="13148" y="11127"/>
                      </a:lnTo>
                      <a:lnTo>
                        <a:pt x="13148" y="9818"/>
                      </a:lnTo>
                      <a:lnTo>
                        <a:pt x="12678" y="9818"/>
                      </a:lnTo>
                      <a:lnTo>
                        <a:pt x="12678" y="8509"/>
                      </a:lnTo>
                      <a:lnTo>
                        <a:pt x="13148" y="8509"/>
                      </a:lnTo>
                      <a:lnTo>
                        <a:pt x="13148" y="5236"/>
                      </a:lnTo>
                      <a:lnTo>
                        <a:pt x="12678" y="4582"/>
                      </a:lnTo>
                      <a:lnTo>
                        <a:pt x="11739" y="4582"/>
                      </a:lnTo>
                      <a:lnTo>
                        <a:pt x="11739" y="3273"/>
                      </a:lnTo>
                      <a:lnTo>
                        <a:pt x="10800" y="3273"/>
                      </a:lnTo>
                      <a:lnTo>
                        <a:pt x="10800" y="4582"/>
                      </a:lnTo>
                      <a:lnTo>
                        <a:pt x="9861" y="4582"/>
                      </a:lnTo>
                      <a:lnTo>
                        <a:pt x="9861" y="3273"/>
                      </a:lnTo>
                      <a:lnTo>
                        <a:pt x="8452" y="3273"/>
                      </a:lnTo>
                      <a:lnTo>
                        <a:pt x="8452" y="1964"/>
                      </a:lnTo>
                      <a:lnTo>
                        <a:pt x="9391" y="655"/>
                      </a:lnTo>
                      <a:lnTo>
                        <a:pt x="11739" y="655"/>
                      </a:lnTo>
                      <a:lnTo>
                        <a:pt x="11739" y="0"/>
                      </a:lnTo>
                      <a:close/>
                      <a:moveTo>
                        <a:pt x="11739" y="0"/>
                      </a:moveTo>
                    </a:path>
                  </a:pathLst>
                </a:custGeom>
                <a:solidFill>
                  <a:srgbClr val="B2EAE7"/>
                </a:solidFill>
                <a:ln w="12700">
                  <a:solidFill>
                    <a:srgbClr val="FFFFFF"/>
                  </a:solidFill>
                  <a:round/>
                  <a:headEnd/>
                  <a:tailEnd/>
                </a:ln>
              </p:spPr>
              <p:txBody>
                <a:bodyPr lIns="0" tIns="0" rIns="0" bIns="0"/>
                <a:lstStyle/>
                <a:p>
                  <a:endParaRPr lang="es-ES"/>
                </a:p>
              </p:txBody>
            </p:sp>
            <p:sp>
              <p:nvSpPr>
                <p:cNvPr id="15454" name="AutoShape 98"/>
                <p:cNvSpPr>
                  <a:spLocks/>
                </p:cNvSpPr>
                <p:nvPr/>
              </p:nvSpPr>
              <p:spPr bwMode="auto">
                <a:xfrm>
                  <a:off x="804" y="337"/>
                  <a:ext cx="173" cy="11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1600"/>
                    <a:gd name="T142" fmla="*/ 0 h 21600"/>
                    <a:gd name="T143" fmla="*/ 21600 w 21600"/>
                    <a:gd name="T144" fmla="*/ 21600 h 2160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1600" h="21600">
                      <a:moveTo>
                        <a:pt x="19080" y="15660"/>
                      </a:moveTo>
                      <a:lnTo>
                        <a:pt x="19800" y="16740"/>
                      </a:lnTo>
                      <a:lnTo>
                        <a:pt x="19080" y="16740"/>
                      </a:lnTo>
                      <a:lnTo>
                        <a:pt x="19080" y="15660"/>
                      </a:lnTo>
                      <a:close/>
                      <a:moveTo>
                        <a:pt x="0" y="11880"/>
                      </a:moveTo>
                      <a:lnTo>
                        <a:pt x="720" y="11880"/>
                      </a:lnTo>
                      <a:lnTo>
                        <a:pt x="720" y="12960"/>
                      </a:lnTo>
                      <a:lnTo>
                        <a:pt x="0" y="12960"/>
                      </a:lnTo>
                      <a:lnTo>
                        <a:pt x="0" y="11880"/>
                      </a:lnTo>
                      <a:close/>
                      <a:moveTo>
                        <a:pt x="5760" y="0"/>
                      </a:moveTo>
                      <a:lnTo>
                        <a:pt x="5760" y="540"/>
                      </a:lnTo>
                      <a:lnTo>
                        <a:pt x="7560" y="540"/>
                      </a:lnTo>
                      <a:lnTo>
                        <a:pt x="7560" y="1620"/>
                      </a:lnTo>
                      <a:lnTo>
                        <a:pt x="9720" y="1620"/>
                      </a:lnTo>
                      <a:lnTo>
                        <a:pt x="9720" y="2700"/>
                      </a:lnTo>
                      <a:lnTo>
                        <a:pt x="12240" y="2700"/>
                      </a:lnTo>
                      <a:lnTo>
                        <a:pt x="12240" y="4320"/>
                      </a:lnTo>
                      <a:lnTo>
                        <a:pt x="12600" y="5400"/>
                      </a:lnTo>
                      <a:lnTo>
                        <a:pt x="12600" y="6480"/>
                      </a:lnTo>
                      <a:lnTo>
                        <a:pt x="14040" y="6480"/>
                      </a:lnTo>
                      <a:lnTo>
                        <a:pt x="14040" y="7020"/>
                      </a:lnTo>
                      <a:lnTo>
                        <a:pt x="14760" y="7020"/>
                      </a:lnTo>
                      <a:lnTo>
                        <a:pt x="14760" y="6480"/>
                      </a:lnTo>
                      <a:lnTo>
                        <a:pt x="14040" y="6480"/>
                      </a:lnTo>
                      <a:lnTo>
                        <a:pt x="14040" y="5400"/>
                      </a:lnTo>
                      <a:lnTo>
                        <a:pt x="16560" y="5400"/>
                      </a:lnTo>
                      <a:lnTo>
                        <a:pt x="16560" y="6480"/>
                      </a:lnTo>
                      <a:lnTo>
                        <a:pt x="15120" y="6480"/>
                      </a:lnTo>
                      <a:lnTo>
                        <a:pt x="15120" y="8100"/>
                      </a:lnTo>
                      <a:lnTo>
                        <a:pt x="19080" y="8100"/>
                      </a:lnTo>
                      <a:lnTo>
                        <a:pt x="19080" y="9180"/>
                      </a:lnTo>
                      <a:lnTo>
                        <a:pt x="19800" y="9180"/>
                      </a:lnTo>
                      <a:lnTo>
                        <a:pt x="19800" y="10260"/>
                      </a:lnTo>
                      <a:lnTo>
                        <a:pt x="20160" y="10260"/>
                      </a:lnTo>
                      <a:lnTo>
                        <a:pt x="20160" y="10800"/>
                      </a:lnTo>
                      <a:lnTo>
                        <a:pt x="20880" y="10800"/>
                      </a:lnTo>
                      <a:lnTo>
                        <a:pt x="20880" y="11880"/>
                      </a:lnTo>
                      <a:lnTo>
                        <a:pt x="21600" y="11880"/>
                      </a:lnTo>
                      <a:lnTo>
                        <a:pt x="21600" y="12960"/>
                      </a:lnTo>
                      <a:lnTo>
                        <a:pt x="20880" y="12960"/>
                      </a:lnTo>
                      <a:lnTo>
                        <a:pt x="20880" y="14580"/>
                      </a:lnTo>
                      <a:lnTo>
                        <a:pt x="20160" y="14580"/>
                      </a:lnTo>
                      <a:lnTo>
                        <a:pt x="20160" y="14040"/>
                      </a:lnTo>
                      <a:lnTo>
                        <a:pt x="19800" y="14040"/>
                      </a:lnTo>
                      <a:lnTo>
                        <a:pt x="19800" y="15660"/>
                      </a:lnTo>
                      <a:lnTo>
                        <a:pt x="19080" y="15660"/>
                      </a:lnTo>
                      <a:lnTo>
                        <a:pt x="19080" y="14580"/>
                      </a:lnTo>
                      <a:lnTo>
                        <a:pt x="18360" y="14580"/>
                      </a:lnTo>
                      <a:lnTo>
                        <a:pt x="18360" y="14040"/>
                      </a:lnTo>
                      <a:lnTo>
                        <a:pt x="11520" y="14040"/>
                      </a:lnTo>
                      <a:lnTo>
                        <a:pt x="11520" y="14580"/>
                      </a:lnTo>
                      <a:lnTo>
                        <a:pt x="10800" y="14580"/>
                      </a:lnTo>
                      <a:lnTo>
                        <a:pt x="10800" y="15660"/>
                      </a:lnTo>
                      <a:lnTo>
                        <a:pt x="8280" y="15660"/>
                      </a:lnTo>
                      <a:lnTo>
                        <a:pt x="8280" y="14040"/>
                      </a:lnTo>
                      <a:lnTo>
                        <a:pt x="7560" y="14040"/>
                      </a:lnTo>
                      <a:lnTo>
                        <a:pt x="7560" y="14580"/>
                      </a:lnTo>
                      <a:lnTo>
                        <a:pt x="6480" y="14580"/>
                      </a:lnTo>
                      <a:lnTo>
                        <a:pt x="6480" y="15660"/>
                      </a:lnTo>
                      <a:lnTo>
                        <a:pt x="5760" y="15660"/>
                      </a:lnTo>
                      <a:lnTo>
                        <a:pt x="5760" y="14580"/>
                      </a:lnTo>
                      <a:lnTo>
                        <a:pt x="5040" y="14580"/>
                      </a:lnTo>
                      <a:lnTo>
                        <a:pt x="5040" y="18360"/>
                      </a:lnTo>
                      <a:lnTo>
                        <a:pt x="4680" y="18360"/>
                      </a:lnTo>
                      <a:lnTo>
                        <a:pt x="4680" y="19440"/>
                      </a:lnTo>
                      <a:lnTo>
                        <a:pt x="3960" y="19440"/>
                      </a:lnTo>
                      <a:lnTo>
                        <a:pt x="3960" y="21600"/>
                      </a:lnTo>
                      <a:lnTo>
                        <a:pt x="3240" y="21600"/>
                      </a:lnTo>
                      <a:lnTo>
                        <a:pt x="3240" y="20520"/>
                      </a:lnTo>
                      <a:lnTo>
                        <a:pt x="2160" y="20520"/>
                      </a:lnTo>
                      <a:lnTo>
                        <a:pt x="2160" y="17820"/>
                      </a:lnTo>
                      <a:lnTo>
                        <a:pt x="1440" y="17820"/>
                      </a:lnTo>
                      <a:lnTo>
                        <a:pt x="1440" y="15660"/>
                      </a:lnTo>
                      <a:lnTo>
                        <a:pt x="2160" y="15660"/>
                      </a:lnTo>
                      <a:lnTo>
                        <a:pt x="2160" y="14580"/>
                      </a:lnTo>
                      <a:lnTo>
                        <a:pt x="1440" y="14580"/>
                      </a:lnTo>
                      <a:lnTo>
                        <a:pt x="1440" y="14040"/>
                      </a:lnTo>
                      <a:lnTo>
                        <a:pt x="720" y="14040"/>
                      </a:lnTo>
                      <a:lnTo>
                        <a:pt x="720" y="12960"/>
                      </a:lnTo>
                      <a:lnTo>
                        <a:pt x="2160" y="10800"/>
                      </a:lnTo>
                      <a:lnTo>
                        <a:pt x="2160" y="10260"/>
                      </a:lnTo>
                      <a:lnTo>
                        <a:pt x="1440" y="10260"/>
                      </a:lnTo>
                      <a:lnTo>
                        <a:pt x="1440" y="8100"/>
                      </a:lnTo>
                      <a:lnTo>
                        <a:pt x="2160" y="8100"/>
                      </a:lnTo>
                      <a:lnTo>
                        <a:pt x="2160" y="6480"/>
                      </a:lnTo>
                      <a:lnTo>
                        <a:pt x="1440" y="6480"/>
                      </a:lnTo>
                      <a:lnTo>
                        <a:pt x="1440" y="5400"/>
                      </a:lnTo>
                      <a:lnTo>
                        <a:pt x="2160" y="5400"/>
                      </a:lnTo>
                      <a:lnTo>
                        <a:pt x="2160" y="3780"/>
                      </a:lnTo>
                      <a:lnTo>
                        <a:pt x="1440" y="3780"/>
                      </a:lnTo>
                      <a:lnTo>
                        <a:pt x="1440" y="540"/>
                      </a:lnTo>
                      <a:lnTo>
                        <a:pt x="5040" y="540"/>
                      </a:lnTo>
                      <a:lnTo>
                        <a:pt x="5760" y="0"/>
                      </a:lnTo>
                      <a:close/>
                      <a:moveTo>
                        <a:pt x="5760" y="0"/>
                      </a:moveTo>
                    </a:path>
                  </a:pathLst>
                </a:custGeom>
                <a:solidFill>
                  <a:srgbClr val="B2EAE7"/>
                </a:solidFill>
                <a:ln w="12700">
                  <a:solidFill>
                    <a:srgbClr val="FFFFFF"/>
                  </a:solidFill>
                  <a:round/>
                  <a:headEnd/>
                  <a:tailEnd/>
                </a:ln>
              </p:spPr>
              <p:txBody>
                <a:bodyPr lIns="0" tIns="0" rIns="0" bIns="0"/>
                <a:lstStyle/>
                <a:p>
                  <a:endParaRPr lang="es-ES"/>
                </a:p>
              </p:txBody>
            </p:sp>
            <p:sp>
              <p:nvSpPr>
                <p:cNvPr id="15455" name="AutoShape 99"/>
                <p:cNvSpPr>
                  <a:spLocks/>
                </p:cNvSpPr>
                <p:nvPr/>
              </p:nvSpPr>
              <p:spPr bwMode="auto">
                <a:xfrm>
                  <a:off x="292" y="245"/>
                  <a:ext cx="16" cy="25"/>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1600"/>
                    <a:gd name="T49" fmla="*/ 0 h 21600"/>
                    <a:gd name="T50" fmla="*/ 21600 w 21600"/>
                    <a:gd name="T51" fmla="*/ 21600 h 2160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1600" h="21600">
                      <a:moveTo>
                        <a:pt x="0" y="12000"/>
                      </a:moveTo>
                      <a:lnTo>
                        <a:pt x="2700" y="16800"/>
                      </a:lnTo>
                      <a:lnTo>
                        <a:pt x="0" y="16800"/>
                      </a:lnTo>
                      <a:lnTo>
                        <a:pt x="0" y="12000"/>
                      </a:lnTo>
                      <a:close/>
                      <a:moveTo>
                        <a:pt x="2700" y="0"/>
                      </a:moveTo>
                      <a:lnTo>
                        <a:pt x="18900" y="0"/>
                      </a:lnTo>
                      <a:lnTo>
                        <a:pt x="18900" y="4800"/>
                      </a:lnTo>
                      <a:lnTo>
                        <a:pt x="21600" y="9600"/>
                      </a:lnTo>
                      <a:lnTo>
                        <a:pt x="21600" y="16800"/>
                      </a:lnTo>
                      <a:lnTo>
                        <a:pt x="18900" y="16800"/>
                      </a:lnTo>
                      <a:lnTo>
                        <a:pt x="13500" y="21600"/>
                      </a:lnTo>
                      <a:lnTo>
                        <a:pt x="8100" y="21600"/>
                      </a:lnTo>
                      <a:lnTo>
                        <a:pt x="8100" y="16800"/>
                      </a:lnTo>
                      <a:lnTo>
                        <a:pt x="2700" y="16800"/>
                      </a:lnTo>
                      <a:lnTo>
                        <a:pt x="2700" y="0"/>
                      </a:lnTo>
                      <a:close/>
                      <a:moveTo>
                        <a:pt x="2700" y="0"/>
                      </a:moveTo>
                    </a:path>
                  </a:pathLst>
                </a:custGeom>
                <a:solidFill>
                  <a:srgbClr val="B2EAE7"/>
                </a:solidFill>
                <a:ln w="12700">
                  <a:solidFill>
                    <a:srgbClr val="FFFFFF"/>
                  </a:solidFill>
                  <a:round/>
                  <a:headEnd/>
                  <a:tailEnd/>
                </a:ln>
              </p:spPr>
              <p:txBody>
                <a:bodyPr lIns="0" tIns="0" rIns="0" bIns="0"/>
                <a:lstStyle/>
                <a:p>
                  <a:endParaRPr lang="es-ES"/>
                </a:p>
              </p:txBody>
            </p:sp>
            <p:sp>
              <p:nvSpPr>
                <p:cNvPr id="15456" name="AutoShape 100"/>
                <p:cNvSpPr>
                  <a:spLocks/>
                </p:cNvSpPr>
                <p:nvPr/>
              </p:nvSpPr>
              <p:spPr bwMode="auto">
                <a:xfrm>
                  <a:off x="216" y="184"/>
                  <a:ext cx="490" cy="16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1600"/>
                    <a:gd name="T172" fmla="*/ 0 h 21600"/>
                    <a:gd name="T173" fmla="*/ 21600 w 21600"/>
                    <a:gd name="T174" fmla="*/ 21600 h 2160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1600" h="21600">
                      <a:moveTo>
                        <a:pt x="13341" y="5400"/>
                      </a:moveTo>
                      <a:lnTo>
                        <a:pt x="13722" y="5400"/>
                      </a:lnTo>
                      <a:lnTo>
                        <a:pt x="13722" y="6171"/>
                      </a:lnTo>
                      <a:lnTo>
                        <a:pt x="13976" y="6171"/>
                      </a:lnTo>
                      <a:lnTo>
                        <a:pt x="13976" y="6943"/>
                      </a:lnTo>
                      <a:lnTo>
                        <a:pt x="14485" y="6943"/>
                      </a:lnTo>
                      <a:lnTo>
                        <a:pt x="14485" y="8100"/>
                      </a:lnTo>
                      <a:lnTo>
                        <a:pt x="13976" y="8100"/>
                      </a:lnTo>
                      <a:lnTo>
                        <a:pt x="13976" y="7329"/>
                      </a:lnTo>
                      <a:lnTo>
                        <a:pt x="13722" y="7329"/>
                      </a:lnTo>
                      <a:lnTo>
                        <a:pt x="13722" y="6943"/>
                      </a:lnTo>
                      <a:lnTo>
                        <a:pt x="13595" y="6943"/>
                      </a:lnTo>
                      <a:lnTo>
                        <a:pt x="13595" y="6171"/>
                      </a:lnTo>
                      <a:lnTo>
                        <a:pt x="13341" y="5400"/>
                      </a:lnTo>
                      <a:close/>
                      <a:moveTo>
                        <a:pt x="13087" y="4629"/>
                      </a:moveTo>
                      <a:lnTo>
                        <a:pt x="13341" y="4629"/>
                      </a:lnTo>
                      <a:lnTo>
                        <a:pt x="13341" y="5400"/>
                      </a:lnTo>
                      <a:lnTo>
                        <a:pt x="13087" y="5400"/>
                      </a:lnTo>
                      <a:lnTo>
                        <a:pt x="13087" y="4629"/>
                      </a:lnTo>
                      <a:close/>
                      <a:moveTo>
                        <a:pt x="12452" y="4243"/>
                      </a:moveTo>
                      <a:lnTo>
                        <a:pt x="12960" y="4243"/>
                      </a:lnTo>
                      <a:lnTo>
                        <a:pt x="12960" y="4629"/>
                      </a:lnTo>
                      <a:lnTo>
                        <a:pt x="12452" y="4629"/>
                      </a:lnTo>
                      <a:lnTo>
                        <a:pt x="12452" y="4243"/>
                      </a:lnTo>
                      <a:close/>
                      <a:moveTo>
                        <a:pt x="4447" y="0"/>
                      </a:moveTo>
                      <a:lnTo>
                        <a:pt x="6480" y="0"/>
                      </a:lnTo>
                      <a:lnTo>
                        <a:pt x="6480" y="771"/>
                      </a:lnTo>
                      <a:lnTo>
                        <a:pt x="6734" y="0"/>
                      </a:lnTo>
                      <a:lnTo>
                        <a:pt x="6861" y="0"/>
                      </a:lnTo>
                      <a:lnTo>
                        <a:pt x="6861" y="771"/>
                      </a:lnTo>
                      <a:lnTo>
                        <a:pt x="7369" y="771"/>
                      </a:lnTo>
                      <a:lnTo>
                        <a:pt x="7369" y="0"/>
                      </a:lnTo>
                      <a:lnTo>
                        <a:pt x="7751" y="0"/>
                      </a:lnTo>
                      <a:lnTo>
                        <a:pt x="7624" y="771"/>
                      </a:lnTo>
                      <a:lnTo>
                        <a:pt x="8513" y="771"/>
                      </a:lnTo>
                      <a:lnTo>
                        <a:pt x="8513" y="1543"/>
                      </a:lnTo>
                      <a:lnTo>
                        <a:pt x="9529" y="1543"/>
                      </a:lnTo>
                      <a:lnTo>
                        <a:pt x="9529" y="1929"/>
                      </a:lnTo>
                      <a:lnTo>
                        <a:pt x="10038" y="1929"/>
                      </a:lnTo>
                      <a:lnTo>
                        <a:pt x="10038" y="2700"/>
                      </a:lnTo>
                      <a:lnTo>
                        <a:pt x="10292" y="2700"/>
                      </a:lnTo>
                      <a:lnTo>
                        <a:pt x="10292" y="3471"/>
                      </a:lnTo>
                      <a:lnTo>
                        <a:pt x="10419" y="3471"/>
                      </a:lnTo>
                      <a:lnTo>
                        <a:pt x="10419" y="4243"/>
                      </a:lnTo>
                      <a:lnTo>
                        <a:pt x="10673" y="4243"/>
                      </a:lnTo>
                      <a:lnTo>
                        <a:pt x="10673" y="4629"/>
                      </a:lnTo>
                      <a:lnTo>
                        <a:pt x="12198" y="4629"/>
                      </a:lnTo>
                      <a:lnTo>
                        <a:pt x="12198" y="5400"/>
                      </a:lnTo>
                      <a:lnTo>
                        <a:pt x="12452" y="5400"/>
                      </a:lnTo>
                      <a:lnTo>
                        <a:pt x="12452" y="6171"/>
                      </a:lnTo>
                      <a:lnTo>
                        <a:pt x="12960" y="6171"/>
                      </a:lnTo>
                      <a:lnTo>
                        <a:pt x="12960" y="6943"/>
                      </a:lnTo>
                      <a:lnTo>
                        <a:pt x="13595" y="6943"/>
                      </a:lnTo>
                      <a:lnTo>
                        <a:pt x="13595" y="8100"/>
                      </a:lnTo>
                      <a:lnTo>
                        <a:pt x="13976" y="8100"/>
                      </a:lnTo>
                      <a:lnTo>
                        <a:pt x="13976" y="8871"/>
                      </a:lnTo>
                      <a:lnTo>
                        <a:pt x="14485" y="8871"/>
                      </a:lnTo>
                      <a:lnTo>
                        <a:pt x="14485" y="8100"/>
                      </a:lnTo>
                      <a:lnTo>
                        <a:pt x="14612" y="8100"/>
                      </a:lnTo>
                      <a:lnTo>
                        <a:pt x="14612" y="8871"/>
                      </a:lnTo>
                      <a:lnTo>
                        <a:pt x="14866" y="8871"/>
                      </a:lnTo>
                      <a:lnTo>
                        <a:pt x="14866" y="9643"/>
                      </a:lnTo>
                      <a:lnTo>
                        <a:pt x="15120" y="9643"/>
                      </a:lnTo>
                      <a:lnTo>
                        <a:pt x="15374" y="10029"/>
                      </a:lnTo>
                      <a:lnTo>
                        <a:pt x="15120" y="10029"/>
                      </a:lnTo>
                      <a:lnTo>
                        <a:pt x="15120" y="10800"/>
                      </a:lnTo>
                      <a:lnTo>
                        <a:pt x="15374" y="10800"/>
                      </a:lnTo>
                      <a:lnTo>
                        <a:pt x="15374" y="10029"/>
                      </a:lnTo>
                      <a:lnTo>
                        <a:pt x="15501" y="10029"/>
                      </a:lnTo>
                      <a:lnTo>
                        <a:pt x="15501" y="10800"/>
                      </a:lnTo>
                      <a:lnTo>
                        <a:pt x="15755" y="10800"/>
                      </a:lnTo>
                      <a:lnTo>
                        <a:pt x="15755" y="11571"/>
                      </a:lnTo>
                      <a:lnTo>
                        <a:pt x="16391" y="11571"/>
                      </a:lnTo>
                      <a:lnTo>
                        <a:pt x="16391" y="12729"/>
                      </a:lnTo>
                      <a:lnTo>
                        <a:pt x="16645" y="12729"/>
                      </a:lnTo>
                      <a:lnTo>
                        <a:pt x="16645" y="12343"/>
                      </a:lnTo>
                      <a:lnTo>
                        <a:pt x="17153" y="12343"/>
                      </a:lnTo>
                      <a:lnTo>
                        <a:pt x="17153" y="12729"/>
                      </a:lnTo>
                      <a:lnTo>
                        <a:pt x="17280" y="12729"/>
                      </a:lnTo>
                      <a:lnTo>
                        <a:pt x="17280" y="13500"/>
                      </a:lnTo>
                      <a:lnTo>
                        <a:pt x="18042" y="13500"/>
                      </a:lnTo>
                      <a:lnTo>
                        <a:pt x="18042" y="12729"/>
                      </a:lnTo>
                      <a:lnTo>
                        <a:pt x="18424" y="12729"/>
                      </a:lnTo>
                      <a:lnTo>
                        <a:pt x="18424" y="13500"/>
                      </a:lnTo>
                      <a:lnTo>
                        <a:pt x="18678" y="14271"/>
                      </a:lnTo>
                      <a:lnTo>
                        <a:pt x="18424" y="14271"/>
                      </a:lnTo>
                      <a:lnTo>
                        <a:pt x="18424" y="15043"/>
                      </a:lnTo>
                      <a:lnTo>
                        <a:pt x="18169" y="15043"/>
                      </a:lnTo>
                      <a:lnTo>
                        <a:pt x="18169" y="16200"/>
                      </a:lnTo>
                      <a:lnTo>
                        <a:pt x="18424" y="16200"/>
                      </a:lnTo>
                      <a:lnTo>
                        <a:pt x="18424" y="15429"/>
                      </a:lnTo>
                      <a:lnTo>
                        <a:pt x="19313" y="15429"/>
                      </a:lnTo>
                      <a:lnTo>
                        <a:pt x="19567" y="16200"/>
                      </a:lnTo>
                      <a:lnTo>
                        <a:pt x="19821" y="15429"/>
                      </a:lnTo>
                      <a:lnTo>
                        <a:pt x="19821" y="16200"/>
                      </a:lnTo>
                      <a:lnTo>
                        <a:pt x="20456" y="16200"/>
                      </a:lnTo>
                      <a:lnTo>
                        <a:pt x="20456" y="16971"/>
                      </a:lnTo>
                      <a:lnTo>
                        <a:pt x="20711" y="16971"/>
                      </a:lnTo>
                      <a:lnTo>
                        <a:pt x="20711" y="17743"/>
                      </a:lnTo>
                      <a:lnTo>
                        <a:pt x="21092" y="17743"/>
                      </a:lnTo>
                      <a:lnTo>
                        <a:pt x="21092" y="18129"/>
                      </a:lnTo>
                      <a:lnTo>
                        <a:pt x="21600" y="18129"/>
                      </a:lnTo>
                      <a:lnTo>
                        <a:pt x="21600" y="18900"/>
                      </a:lnTo>
                      <a:lnTo>
                        <a:pt x="21346" y="18900"/>
                      </a:lnTo>
                      <a:lnTo>
                        <a:pt x="21346" y="19671"/>
                      </a:lnTo>
                      <a:lnTo>
                        <a:pt x="20456" y="19671"/>
                      </a:lnTo>
                      <a:lnTo>
                        <a:pt x="20456" y="20443"/>
                      </a:lnTo>
                      <a:lnTo>
                        <a:pt x="19948" y="20443"/>
                      </a:lnTo>
                      <a:lnTo>
                        <a:pt x="19821" y="20829"/>
                      </a:lnTo>
                      <a:lnTo>
                        <a:pt x="19567" y="20829"/>
                      </a:lnTo>
                      <a:lnTo>
                        <a:pt x="19567" y="20443"/>
                      </a:lnTo>
                      <a:lnTo>
                        <a:pt x="19313" y="20443"/>
                      </a:lnTo>
                      <a:lnTo>
                        <a:pt x="19313" y="20829"/>
                      </a:lnTo>
                      <a:lnTo>
                        <a:pt x="18932" y="20829"/>
                      </a:lnTo>
                      <a:lnTo>
                        <a:pt x="18678" y="21600"/>
                      </a:lnTo>
                      <a:lnTo>
                        <a:pt x="18424" y="20829"/>
                      </a:lnTo>
                      <a:lnTo>
                        <a:pt x="17534" y="20829"/>
                      </a:lnTo>
                      <a:lnTo>
                        <a:pt x="17280" y="20443"/>
                      </a:lnTo>
                      <a:lnTo>
                        <a:pt x="17153" y="20443"/>
                      </a:lnTo>
                      <a:lnTo>
                        <a:pt x="17153" y="20829"/>
                      </a:lnTo>
                      <a:lnTo>
                        <a:pt x="16009" y="20829"/>
                      </a:lnTo>
                      <a:lnTo>
                        <a:pt x="15755" y="21600"/>
                      </a:lnTo>
                      <a:lnTo>
                        <a:pt x="15374" y="21600"/>
                      </a:lnTo>
                      <a:lnTo>
                        <a:pt x="15374" y="20829"/>
                      </a:lnTo>
                      <a:lnTo>
                        <a:pt x="15120" y="20829"/>
                      </a:lnTo>
                      <a:lnTo>
                        <a:pt x="15120" y="21600"/>
                      </a:lnTo>
                      <a:lnTo>
                        <a:pt x="14231" y="21600"/>
                      </a:lnTo>
                      <a:lnTo>
                        <a:pt x="14231" y="20443"/>
                      </a:lnTo>
                      <a:lnTo>
                        <a:pt x="14612" y="20443"/>
                      </a:lnTo>
                      <a:lnTo>
                        <a:pt x="14612" y="19671"/>
                      </a:lnTo>
                      <a:lnTo>
                        <a:pt x="14866" y="19671"/>
                      </a:lnTo>
                      <a:lnTo>
                        <a:pt x="14866" y="18900"/>
                      </a:lnTo>
                      <a:lnTo>
                        <a:pt x="15374" y="18900"/>
                      </a:lnTo>
                      <a:lnTo>
                        <a:pt x="15374" y="18129"/>
                      </a:lnTo>
                      <a:lnTo>
                        <a:pt x="15501" y="18129"/>
                      </a:lnTo>
                      <a:lnTo>
                        <a:pt x="15501" y="16971"/>
                      </a:lnTo>
                      <a:lnTo>
                        <a:pt x="15374" y="16971"/>
                      </a:lnTo>
                      <a:lnTo>
                        <a:pt x="15374" y="16200"/>
                      </a:lnTo>
                      <a:lnTo>
                        <a:pt x="13595" y="16200"/>
                      </a:lnTo>
                      <a:lnTo>
                        <a:pt x="13341" y="15429"/>
                      </a:lnTo>
                      <a:lnTo>
                        <a:pt x="13341" y="15043"/>
                      </a:lnTo>
                      <a:lnTo>
                        <a:pt x="13087" y="15043"/>
                      </a:lnTo>
                      <a:lnTo>
                        <a:pt x="12960" y="14271"/>
                      </a:lnTo>
                      <a:lnTo>
                        <a:pt x="12706" y="14271"/>
                      </a:lnTo>
                      <a:lnTo>
                        <a:pt x="12706" y="12729"/>
                      </a:lnTo>
                      <a:lnTo>
                        <a:pt x="12452" y="12729"/>
                      </a:lnTo>
                      <a:lnTo>
                        <a:pt x="12452" y="10800"/>
                      </a:lnTo>
                      <a:lnTo>
                        <a:pt x="12071" y="10800"/>
                      </a:lnTo>
                      <a:lnTo>
                        <a:pt x="12071" y="10029"/>
                      </a:lnTo>
                      <a:lnTo>
                        <a:pt x="11308" y="10029"/>
                      </a:lnTo>
                      <a:lnTo>
                        <a:pt x="11308" y="10800"/>
                      </a:lnTo>
                      <a:lnTo>
                        <a:pt x="11181" y="10800"/>
                      </a:lnTo>
                      <a:lnTo>
                        <a:pt x="10927" y="10029"/>
                      </a:lnTo>
                      <a:lnTo>
                        <a:pt x="10292" y="10029"/>
                      </a:lnTo>
                      <a:lnTo>
                        <a:pt x="10292" y="9643"/>
                      </a:lnTo>
                      <a:lnTo>
                        <a:pt x="9529" y="9643"/>
                      </a:lnTo>
                      <a:lnTo>
                        <a:pt x="9402" y="8871"/>
                      </a:lnTo>
                      <a:lnTo>
                        <a:pt x="9148" y="8871"/>
                      </a:lnTo>
                      <a:lnTo>
                        <a:pt x="9148" y="8100"/>
                      </a:lnTo>
                      <a:lnTo>
                        <a:pt x="8894" y="8100"/>
                      </a:lnTo>
                      <a:lnTo>
                        <a:pt x="8640" y="7329"/>
                      </a:lnTo>
                      <a:lnTo>
                        <a:pt x="8640" y="6943"/>
                      </a:lnTo>
                      <a:lnTo>
                        <a:pt x="8513" y="6943"/>
                      </a:lnTo>
                      <a:lnTo>
                        <a:pt x="8513" y="7329"/>
                      </a:lnTo>
                      <a:lnTo>
                        <a:pt x="7369" y="7329"/>
                      </a:lnTo>
                      <a:lnTo>
                        <a:pt x="7369" y="6943"/>
                      </a:lnTo>
                      <a:lnTo>
                        <a:pt x="7115" y="6943"/>
                      </a:lnTo>
                      <a:lnTo>
                        <a:pt x="7115" y="7329"/>
                      </a:lnTo>
                      <a:lnTo>
                        <a:pt x="6861" y="7329"/>
                      </a:lnTo>
                      <a:lnTo>
                        <a:pt x="6861" y="6943"/>
                      </a:lnTo>
                      <a:lnTo>
                        <a:pt x="6734" y="7329"/>
                      </a:lnTo>
                      <a:lnTo>
                        <a:pt x="6734" y="6943"/>
                      </a:lnTo>
                      <a:lnTo>
                        <a:pt x="6480" y="6171"/>
                      </a:lnTo>
                      <a:lnTo>
                        <a:pt x="5972" y="6171"/>
                      </a:lnTo>
                      <a:lnTo>
                        <a:pt x="5972" y="6943"/>
                      </a:lnTo>
                      <a:lnTo>
                        <a:pt x="5845" y="6943"/>
                      </a:lnTo>
                      <a:lnTo>
                        <a:pt x="5845" y="6171"/>
                      </a:lnTo>
                      <a:lnTo>
                        <a:pt x="5591" y="6171"/>
                      </a:lnTo>
                      <a:lnTo>
                        <a:pt x="5336" y="5400"/>
                      </a:lnTo>
                      <a:lnTo>
                        <a:pt x="5082" y="5400"/>
                      </a:lnTo>
                      <a:lnTo>
                        <a:pt x="5082" y="4629"/>
                      </a:lnTo>
                      <a:lnTo>
                        <a:pt x="6226" y="4629"/>
                      </a:lnTo>
                      <a:lnTo>
                        <a:pt x="6226" y="4243"/>
                      </a:lnTo>
                      <a:lnTo>
                        <a:pt x="5972" y="4243"/>
                      </a:lnTo>
                      <a:lnTo>
                        <a:pt x="5972" y="3471"/>
                      </a:lnTo>
                      <a:lnTo>
                        <a:pt x="4447" y="3471"/>
                      </a:lnTo>
                      <a:lnTo>
                        <a:pt x="4193" y="2700"/>
                      </a:lnTo>
                      <a:lnTo>
                        <a:pt x="4066" y="2700"/>
                      </a:lnTo>
                      <a:lnTo>
                        <a:pt x="4066" y="3471"/>
                      </a:lnTo>
                      <a:lnTo>
                        <a:pt x="3812" y="3471"/>
                      </a:lnTo>
                      <a:lnTo>
                        <a:pt x="3812" y="4243"/>
                      </a:lnTo>
                      <a:lnTo>
                        <a:pt x="3304" y="4243"/>
                      </a:lnTo>
                      <a:lnTo>
                        <a:pt x="3176" y="4629"/>
                      </a:lnTo>
                      <a:lnTo>
                        <a:pt x="3176" y="5400"/>
                      </a:lnTo>
                      <a:lnTo>
                        <a:pt x="2668" y="5400"/>
                      </a:lnTo>
                      <a:lnTo>
                        <a:pt x="2668" y="6171"/>
                      </a:lnTo>
                      <a:lnTo>
                        <a:pt x="2287" y="6171"/>
                      </a:lnTo>
                      <a:lnTo>
                        <a:pt x="2033" y="6943"/>
                      </a:lnTo>
                      <a:lnTo>
                        <a:pt x="1398" y="6943"/>
                      </a:lnTo>
                      <a:lnTo>
                        <a:pt x="1398" y="8100"/>
                      </a:lnTo>
                      <a:lnTo>
                        <a:pt x="762" y="8100"/>
                      </a:lnTo>
                      <a:lnTo>
                        <a:pt x="762" y="8871"/>
                      </a:lnTo>
                      <a:lnTo>
                        <a:pt x="508" y="8871"/>
                      </a:lnTo>
                      <a:lnTo>
                        <a:pt x="508" y="8100"/>
                      </a:lnTo>
                      <a:lnTo>
                        <a:pt x="0" y="8100"/>
                      </a:lnTo>
                      <a:lnTo>
                        <a:pt x="0" y="7329"/>
                      </a:lnTo>
                      <a:lnTo>
                        <a:pt x="762" y="7329"/>
                      </a:lnTo>
                      <a:lnTo>
                        <a:pt x="762" y="6943"/>
                      </a:lnTo>
                      <a:lnTo>
                        <a:pt x="508" y="6943"/>
                      </a:lnTo>
                      <a:lnTo>
                        <a:pt x="508" y="5400"/>
                      </a:lnTo>
                      <a:lnTo>
                        <a:pt x="762" y="5400"/>
                      </a:lnTo>
                      <a:lnTo>
                        <a:pt x="762" y="4629"/>
                      </a:lnTo>
                      <a:lnTo>
                        <a:pt x="889" y="4629"/>
                      </a:lnTo>
                      <a:lnTo>
                        <a:pt x="889" y="3471"/>
                      </a:lnTo>
                      <a:lnTo>
                        <a:pt x="1398" y="3471"/>
                      </a:lnTo>
                      <a:lnTo>
                        <a:pt x="1398" y="2700"/>
                      </a:lnTo>
                      <a:lnTo>
                        <a:pt x="2033" y="2700"/>
                      </a:lnTo>
                      <a:lnTo>
                        <a:pt x="2033" y="1929"/>
                      </a:lnTo>
                      <a:lnTo>
                        <a:pt x="2287" y="1929"/>
                      </a:lnTo>
                      <a:lnTo>
                        <a:pt x="2287" y="1543"/>
                      </a:lnTo>
                      <a:lnTo>
                        <a:pt x="2922" y="1543"/>
                      </a:lnTo>
                      <a:lnTo>
                        <a:pt x="2922" y="771"/>
                      </a:lnTo>
                      <a:lnTo>
                        <a:pt x="3304" y="771"/>
                      </a:lnTo>
                      <a:lnTo>
                        <a:pt x="3304" y="1543"/>
                      </a:lnTo>
                      <a:lnTo>
                        <a:pt x="3558" y="1543"/>
                      </a:lnTo>
                      <a:lnTo>
                        <a:pt x="3558" y="771"/>
                      </a:lnTo>
                      <a:lnTo>
                        <a:pt x="4447" y="771"/>
                      </a:lnTo>
                      <a:lnTo>
                        <a:pt x="4447" y="0"/>
                      </a:lnTo>
                      <a:close/>
                      <a:moveTo>
                        <a:pt x="4447" y="0"/>
                      </a:moveTo>
                    </a:path>
                  </a:pathLst>
                </a:custGeom>
                <a:solidFill>
                  <a:srgbClr val="B2EAE7"/>
                </a:solidFill>
                <a:ln w="12700">
                  <a:solidFill>
                    <a:srgbClr val="FFFFFF"/>
                  </a:solidFill>
                  <a:round/>
                  <a:headEnd/>
                  <a:tailEnd/>
                </a:ln>
              </p:spPr>
              <p:txBody>
                <a:bodyPr lIns="0" tIns="0" rIns="0" bIns="0"/>
                <a:lstStyle/>
                <a:p>
                  <a:endParaRPr lang="es-ES"/>
                </a:p>
              </p:txBody>
            </p:sp>
            <p:sp>
              <p:nvSpPr>
                <p:cNvPr id="15457" name="AutoShape 101"/>
                <p:cNvSpPr>
                  <a:spLocks/>
                </p:cNvSpPr>
                <p:nvPr/>
              </p:nvSpPr>
              <p:spPr bwMode="auto">
                <a:xfrm>
                  <a:off x="490" y="8"/>
                  <a:ext cx="43" cy="1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1600"/>
                    <a:gd name="T46" fmla="*/ 0 h 21600"/>
                    <a:gd name="T47" fmla="*/ 21600 w 21600"/>
                    <a:gd name="T48" fmla="*/ 21600 h 2160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1600" h="21600">
                      <a:moveTo>
                        <a:pt x="18720" y="10800"/>
                      </a:moveTo>
                      <a:lnTo>
                        <a:pt x="21600" y="10800"/>
                      </a:lnTo>
                      <a:lnTo>
                        <a:pt x="21600" y="21600"/>
                      </a:lnTo>
                      <a:lnTo>
                        <a:pt x="18720" y="21600"/>
                      </a:lnTo>
                      <a:lnTo>
                        <a:pt x="18720" y="10800"/>
                      </a:lnTo>
                      <a:close/>
                      <a:moveTo>
                        <a:pt x="4320" y="0"/>
                      </a:moveTo>
                      <a:lnTo>
                        <a:pt x="18720" y="0"/>
                      </a:lnTo>
                      <a:lnTo>
                        <a:pt x="18720" y="10800"/>
                      </a:lnTo>
                      <a:lnTo>
                        <a:pt x="7200" y="10800"/>
                      </a:lnTo>
                      <a:lnTo>
                        <a:pt x="7200" y="21600"/>
                      </a:lnTo>
                      <a:lnTo>
                        <a:pt x="0" y="21600"/>
                      </a:lnTo>
                      <a:lnTo>
                        <a:pt x="0" y="10800"/>
                      </a:lnTo>
                      <a:lnTo>
                        <a:pt x="4320" y="10800"/>
                      </a:lnTo>
                      <a:lnTo>
                        <a:pt x="4320" y="0"/>
                      </a:lnTo>
                      <a:close/>
                      <a:moveTo>
                        <a:pt x="4320" y="0"/>
                      </a:moveTo>
                    </a:path>
                  </a:pathLst>
                </a:custGeom>
                <a:solidFill>
                  <a:srgbClr val="B2EAE7"/>
                </a:solidFill>
                <a:ln w="12700">
                  <a:solidFill>
                    <a:srgbClr val="FFFFFF"/>
                  </a:solidFill>
                  <a:round/>
                  <a:headEnd/>
                  <a:tailEnd/>
                </a:ln>
              </p:spPr>
              <p:txBody>
                <a:bodyPr lIns="0" tIns="0" rIns="0" bIns="0"/>
                <a:lstStyle/>
                <a:p>
                  <a:endParaRPr lang="es-ES"/>
                </a:p>
              </p:txBody>
            </p:sp>
            <p:sp>
              <p:nvSpPr>
                <p:cNvPr id="15458" name="AutoShape 102"/>
                <p:cNvSpPr>
                  <a:spLocks/>
                </p:cNvSpPr>
                <p:nvPr/>
              </p:nvSpPr>
              <p:spPr bwMode="auto">
                <a:xfrm>
                  <a:off x="545" y="0"/>
                  <a:ext cx="16" cy="49"/>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1600"/>
                    <a:gd name="T100" fmla="*/ 0 h 21600"/>
                    <a:gd name="T101" fmla="*/ 21600 w 21600"/>
                    <a:gd name="T102" fmla="*/ 21600 h 2160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1600" h="21600">
                      <a:moveTo>
                        <a:pt x="8100" y="17788"/>
                      </a:moveTo>
                      <a:lnTo>
                        <a:pt x="13500" y="17788"/>
                      </a:lnTo>
                      <a:lnTo>
                        <a:pt x="13500" y="19059"/>
                      </a:lnTo>
                      <a:lnTo>
                        <a:pt x="18900" y="21600"/>
                      </a:lnTo>
                      <a:lnTo>
                        <a:pt x="13500" y="21600"/>
                      </a:lnTo>
                      <a:lnTo>
                        <a:pt x="8100" y="19059"/>
                      </a:lnTo>
                      <a:lnTo>
                        <a:pt x="8100" y="17788"/>
                      </a:lnTo>
                      <a:close/>
                      <a:moveTo>
                        <a:pt x="13500" y="6353"/>
                      </a:moveTo>
                      <a:lnTo>
                        <a:pt x="21600" y="6353"/>
                      </a:lnTo>
                      <a:lnTo>
                        <a:pt x="21600" y="12706"/>
                      </a:lnTo>
                      <a:lnTo>
                        <a:pt x="18900" y="12706"/>
                      </a:lnTo>
                      <a:lnTo>
                        <a:pt x="18900" y="17788"/>
                      </a:lnTo>
                      <a:lnTo>
                        <a:pt x="13500" y="17788"/>
                      </a:lnTo>
                      <a:lnTo>
                        <a:pt x="13500" y="12706"/>
                      </a:lnTo>
                      <a:lnTo>
                        <a:pt x="8100" y="12706"/>
                      </a:lnTo>
                      <a:lnTo>
                        <a:pt x="8100" y="10165"/>
                      </a:lnTo>
                      <a:lnTo>
                        <a:pt x="13500" y="10165"/>
                      </a:lnTo>
                      <a:lnTo>
                        <a:pt x="13500" y="6353"/>
                      </a:lnTo>
                      <a:close/>
                      <a:moveTo>
                        <a:pt x="8100" y="3812"/>
                      </a:moveTo>
                      <a:lnTo>
                        <a:pt x="13500" y="3812"/>
                      </a:lnTo>
                      <a:lnTo>
                        <a:pt x="13500" y="6353"/>
                      </a:lnTo>
                      <a:lnTo>
                        <a:pt x="8100" y="6353"/>
                      </a:lnTo>
                      <a:lnTo>
                        <a:pt x="8100" y="3812"/>
                      </a:lnTo>
                      <a:close/>
                      <a:moveTo>
                        <a:pt x="2700" y="1271"/>
                      </a:moveTo>
                      <a:lnTo>
                        <a:pt x="8100" y="1271"/>
                      </a:lnTo>
                      <a:lnTo>
                        <a:pt x="8100" y="3812"/>
                      </a:lnTo>
                      <a:lnTo>
                        <a:pt x="2700" y="3812"/>
                      </a:lnTo>
                      <a:lnTo>
                        <a:pt x="2700" y="1271"/>
                      </a:lnTo>
                      <a:close/>
                      <a:moveTo>
                        <a:pt x="0" y="0"/>
                      </a:moveTo>
                      <a:lnTo>
                        <a:pt x="2700" y="0"/>
                      </a:lnTo>
                      <a:lnTo>
                        <a:pt x="2700" y="1271"/>
                      </a:lnTo>
                      <a:lnTo>
                        <a:pt x="0" y="0"/>
                      </a:lnTo>
                      <a:close/>
                      <a:moveTo>
                        <a:pt x="0" y="0"/>
                      </a:moveTo>
                    </a:path>
                  </a:pathLst>
                </a:custGeom>
                <a:solidFill>
                  <a:srgbClr val="B2EAE7"/>
                </a:solidFill>
                <a:ln w="12700">
                  <a:solidFill>
                    <a:srgbClr val="FFFFFF"/>
                  </a:solidFill>
                  <a:round/>
                  <a:headEnd/>
                  <a:tailEnd/>
                </a:ln>
              </p:spPr>
              <p:txBody>
                <a:bodyPr lIns="0" tIns="0" rIns="0" bIns="0"/>
                <a:lstStyle/>
                <a:p>
                  <a:endParaRPr lang="es-ES"/>
                </a:p>
              </p:txBody>
            </p:sp>
            <p:sp>
              <p:nvSpPr>
                <p:cNvPr id="15459" name="AutoShape 103"/>
                <p:cNvSpPr>
                  <a:spLocks/>
                </p:cNvSpPr>
                <p:nvPr/>
              </p:nvSpPr>
              <p:spPr bwMode="auto">
                <a:xfrm>
                  <a:off x="579" y="63"/>
                  <a:ext cx="35" cy="4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1600"/>
                    <a:gd name="T82" fmla="*/ 0 h 21600"/>
                    <a:gd name="T83" fmla="*/ 21600 w 21600"/>
                    <a:gd name="T84" fmla="*/ 21600 h 2160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1600" h="21600">
                      <a:moveTo>
                        <a:pt x="18000" y="18514"/>
                      </a:moveTo>
                      <a:lnTo>
                        <a:pt x="18000" y="21600"/>
                      </a:lnTo>
                      <a:lnTo>
                        <a:pt x="16200" y="21600"/>
                      </a:lnTo>
                      <a:lnTo>
                        <a:pt x="18000" y="18514"/>
                      </a:lnTo>
                      <a:close/>
                      <a:moveTo>
                        <a:pt x="18000" y="10800"/>
                      </a:moveTo>
                      <a:lnTo>
                        <a:pt x="21600" y="10800"/>
                      </a:lnTo>
                      <a:lnTo>
                        <a:pt x="18000" y="16971"/>
                      </a:lnTo>
                      <a:lnTo>
                        <a:pt x="18000" y="10800"/>
                      </a:lnTo>
                      <a:close/>
                      <a:moveTo>
                        <a:pt x="16200" y="9257"/>
                      </a:moveTo>
                      <a:lnTo>
                        <a:pt x="18000" y="10800"/>
                      </a:lnTo>
                      <a:lnTo>
                        <a:pt x="16200" y="10800"/>
                      </a:lnTo>
                      <a:lnTo>
                        <a:pt x="16200" y="9257"/>
                      </a:lnTo>
                      <a:close/>
                      <a:moveTo>
                        <a:pt x="9000" y="6171"/>
                      </a:moveTo>
                      <a:lnTo>
                        <a:pt x="16200" y="6171"/>
                      </a:lnTo>
                      <a:lnTo>
                        <a:pt x="16200" y="9257"/>
                      </a:lnTo>
                      <a:lnTo>
                        <a:pt x="12600" y="9257"/>
                      </a:lnTo>
                      <a:lnTo>
                        <a:pt x="9000" y="6171"/>
                      </a:lnTo>
                      <a:close/>
                      <a:moveTo>
                        <a:pt x="5400" y="3086"/>
                      </a:moveTo>
                      <a:lnTo>
                        <a:pt x="9000" y="6171"/>
                      </a:lnTo>
                      <a:lnTo>
                        <a:pt x="5400" y="6171"/>
                      </a:lnTo>
                      <a:lnTo>
                        <a:pt x="5400" y="3086"/>
                      </a:lnTo>
                      <a:close/>
                      <a:moveTo>
                        <a:pt x="0" y="0"/>
                      </a:moveTo>
                      <a:lnTo>
                        <a:pt x="5400" y="0"/>
                      </a:lnTo>
                      <a:lnTo>
                        <a:pt x="5400" y="3086"/>
                      </a:lnTo>
                      <a:lnTo>
                        <a:pt x="0" y="3086"/>
                      </a:lnTo>
                      <a:lnTo>
                        <a:pt x="0" y="0"/>
                      </a:lnTo>
                      <a:close/>
                      <a:moveTo>
                        <a:pt x="0" y="0"/>
                      </a:moveTo>
                    </a:path>
                  </a:pathLst>
                </a:custGeom>
                <a:solidFill>
                  <a:srgbClr val="B2EAE7"/>
                </a:solidFill>
                <a:ln w="12700">
                  <a:solidFill>
                    <a:srgbClr val="FFFFFF"/>
                  </a:solidFill>
                  <a:round/>
                  <a:headEnd/>
                  <a:tailEnd/>
                </a:ln>
              </p:spPr>
              <p:txBody>
                <a:bodyPr lIns="0" tIns="0" rIns="0" bIns="0"/>
                <a:lstStyle/>
                <a:p>
                  <a:endParaRPr lang="es-ES"/>
                </a:p>
              </p:txBody>
            </p:sp>
            <p:sp>
              <p:nvSpPr>
                <p:cNvPr id="15460" name="AutoShape 104"/>
                <p:cNvSpPr>
                  <a:spLocks/>
                </p:cNvSpPr>
                <p:nvPr/>
              </p:nvSpPr>
              <p:spPr bwMode="auto">
                <a:xfrm>
                  <a:off x="628" y="103"/>
                  <a:ext cx="21" cy="3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1600"/>
                    <a:gd name="T55" fmla="*/ 0 h 21600"/>
                    <a:gd name="T56" fmla="*/ 21600 w 21600"/>
                    <a:gd name="T57" fmla="*/ 21600 h 2160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1600" h="21600">
                      <a:moveTo>
                        <a:pt x="12343" y="13745"/>
                      </a:moveTo>
                      <a:lnTo>
                        <a:pt x="21600" y="13745"/>
                      </a:lnTo>
                      <a:lnTo>
                        <a:pt x="21600" y="21600"/>
                      </a:lnTo>
                      <a:lnTo>
                        <a:pt x="12343" y="21600"/>
                      </a:lnTo>
                      <a:lnTo>
                        <a:pt x="12343" y="17673"/>
                      </a:lnTo>
                      <a:lnTo>
                        <a:pt x="18514" y="17673"/>
                      </a:lnTo>
                      <a:lnTo>
                        <a:pt x="12343" y="13745"/>
                      </a:lnTo>
                      <a:close/>
                      <a:moveTo>
                        <a:pt x="6171" y="7855"/>
                      </a:moveTo>
                      <a:lnTo>
                        <a:pt x="12343" y="7855"/>
                      </a:lnTo>
                      <a:lnTo>
                        <a:pt x="12343" y="13745"/>
                      </a:lnTo>
                      <a:lnTo>
                        <a:pt x="6171" y="9818"/>
                      </a:lnTo>
                      <a:lnTo>
                        <a:pt x="6171" y="7855"/>
                      </a:lnTo>
                      <a:close/>
                      <a:moveTo>
                        <a:pt x="0" y="0"/>
                      </a:moveTo>
                      <a:lnTo>
                        <a:pt x="6171" y="3927"/>
                      </a:lnTo>
                      <a:lnTo>
                        <a:pt x="6171" y="7855"/>
                      </a:lnTo>
                      <a:lnTo>
                        <a:pt x="0" y="3927"/>
                      </a:lnTo>
                      <a:lnTo>
                        <a:pt x="0" y="0"/>
                      </a:lnTo>
                      <a:close/>
                      <a:moveTo>
                        <a:pt x="0" y="0"/>
                      </a:moveTo>
                    </a:path>
                  </a:pathLst>
                </a:custGeom>
                <a:solidFill>
                  <a:srgbClr val="B2EAE7"/>
                </a:solidFill>
                <a:ln w="12700">
                  <a:solidFill>
                    <a:srgbClr val="FFFFFF"/>
                  </a:solidFill>
                  <a:round/>
                  <a:headEnd/>
                  <a:tailEnd/>
                </a:ln>
              </p:spPr>
              <p:txBody>
                <a:bodyPr lIns="0" tIns="0" rIns="0" bIns="0"/>
                <a:lstStyle/>
                <a:p>
                  <a:endParaRPr lang="es-ES"/>
                </a:p>
              </p:txBody>
            </p:sp>
            <p:sp>
              <p:nvSpPr>
                <p:cNvPr id="15461" name="AutoShape 105"/>
                <p:cNvSpPr>
                  <a:spLocks/>
                </p:cNvSpPr>
                <p:nvPr/>
              </p:nvSpPr>
              <p:spPr bwMode="auto">
                <a:xfrm>
                  <a:off x="649" y="154"/>
                  <a:ext cx="20" cy="3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600"/>
                    <a:gd name="T43" fmla="*/ 0 h 21600"/>
                    <a:gd name="T44" fmla="*/ 21600 w 21600"/>
                    <a:gd name="T45" fmla="*/ 21600 h 21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600" h="21600">
                      <a:moveTo>
                        <a:pt x="18514" y="17673"/>
                      </a:moveTo>
                      <a:lnTo>
                        <a:pt x="21600" y="17673"/>
                      </a:lnTo>
                      <a:lnTo>
                        <a:pt x="21600" y="21600"/>
                      </a:lnTo>
                      <a:lnTo>
                        <a:pt x="18514" y="17673"/>
                      </a:lnTo>
                      <a:close/>
                      <a:moveTo>
                        <a:pt x="6171" y="13745"/>
                      </a:moveTo>
                      <a:lnTo>
                        <a:pt x="12343" y="13745"/>
                      </a:lnTo>
                      <a:lnTo>
                        <a:pt x="12343" y="17673"/>
                      </a:lnTo>
                      <a:lnTo>
                        <a:pt x="6171" y="17673"/>
                      </a:lnTo>
                      <a:lnTo>
                        <a:pt x="6171" y="13745"/>
                      </a:lnTo>
                      <a:close/>
                      <a:moveTo>
                        <a:pt x="0" y="0"/>
                      </a:moveTo>
                      <a:lnTo>
                        <a:pt x="6171" y="0"/>
                      </a:lnTo>
                      <a:lnTo>
                        <a:pt x="6171" y="3927"/>
                      </a:lnTo>
                      <a:lnTo>
                        <a:pt x="0" y="0"/>
                      </a:lnTo>
                      <a:close/>
                      <a:moveTo>
                        <a:pt x="0" y="0"/>
                      </a:moveTo>
                    </a:path>
                  </a:pathLst>
                </a:custGeom>
                <a:solidFill>
                  <a:srgbClr val="B2EAE7"/>
                </a:solidFill>
                <a:ln w="12700">
                  <a:solidFill>
                    <a:srgbClr val="FFFFFF"/>
                  </a:solidFill>
                  <a:round/>
                  <a:headEnd/>
                  <a:tailEnd/>
                </a:ln>
              </p:spPr>
              <p:txBody>
                <a:bodyPr lIns="0" tIns="0" rIns="0" bIns="0"/>
                <a:lstStyle/>
                <a:p>
                  <a:endParaRPr lang="es-ES"/>
                </a:p>
              </p:txBody>
            </p:sp>
            <p:sp>
              <p:nvSpPr>
                <p:cNvPr id="15462" name="AutoShape 106"/>
                <p:cNvSpPr>
                  <a:spLocks/>
                </p:cNvSpPr>
                <p:nvPr/>
              </p:nvSpPr>
              <p:spPr bwMode="auto">
                <a:xfrm>
                  <a:off x="608" y="149"/>
                  <a:ext cx="32" cy="2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600"/>
                    <a:gd name="T61" fmla="*/ 0 h 21600"/>
                    <a:gd name="T62" fmla="*/ 21600 w 21600"/>
                    <a:gd name="T63" fmla="*/ 21600 h 2160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600" h="21600">
                      <a:moveTo>
                        <a:pt x="13745" y="15429"/>
                      </a:moveTo>
                      <a:lnTo>
                        <a:pt x="21600" y="15429"/>
                      </a:lnTo>
                      <a:lnTo>
                        <a:pt x="21600" y="21600"/>
                      </a:lnTo>
                      <a:lnTo>
                        <a:pt x="13745" y="21600"/>
                      </a:lnTo>
                      <a:lnTo>
                        <a:pt x="13745" y="15429"/>
                      </a:lnTo>
                      <a:close/>
                      <a:moveTo>
                        <a:pt x="11782" y="9257"/>
                      </a:moveTo>
                      <a:lnTo>
                        <a:pt x="13745" y="15429"/>
                      </a:lnTo>
                      <a:lnTo>
                        <a:pt x="11782" y="15429"/>
                      </a:lnTo>
                      <a:lnTo>
                        <a:pt x="11782" y="9257"/>
                      </a:lnTo>
                      <a:close/>
                      <a:moveTo>
                        <a:pt x="3927" y="6171"/>
                      </a:moveTo>
                      <a:lnTo>
                        <a:pt x="7855" y="6171"/>
                      </a:lnTo>
                      <a:lnTo>
                        <a:pt x="7855" y="9257"/>
                      </a:lnTo>
                      <a:lnTo>
                        <a:pt x="3927" y="9257"/>
                      </a:lnTo>
                      <a:lnTo>
                        <a:pt x="3927" y="6171"/>
                      </a:lnTo>
                      <a:close/>
                      <a:moveTo>
                        <a:pt x="0" y="0"/>
                      </a:moveTo>
                      <a:lnTo>
                        <a:pt x="3927" y="0"/>
                      </a:lnTo>
                      <a:lnTo>
                        <a:pt x="3927" y="6171"/>
                      </a:lnTo>
                      <a:lnTo>
                        <a:pt x="0" y="6171"/>
                      </a:lnTo>
                      <a:lnTo>
                        <a:pt x="0" y="0"/>
                      </a:lnTo>
                      <a:close/>
                      <a:moveTo>
                        <a:pt x="0" y="0"/>
                      </a:moveTo>
                    </a:path>
                  </a:pathLst>
                </a:custGeom>
                <a:solidFill>
                  <a:srgbClr val="B2EAE7"/>
                </a:solidFill>
                <a:ln w="12700">
                  <a:solidFill>
                    <a:srgbClr val="FFFFFF"/>
                  </a:solidFill>
                  <a:round/>
                  <a:headEnd/>
                  <a:tailEnd/>
                </a:ln>
              </p:spPr>
              <p:txBody>
                <a:bodyPr lIns="0" tIns="0" rIns="0" bIns="0"/>
                <a:lstStyle/>
                <a:p>
                  <a:endParaRPr lang="es-ES"/>
                </a:p>
              </p:txBody>
            </p:sp>
            <p:sp>
              <p:nvSpPr>
                <p:cNvPr id="15463" name="AutoShape 107"/>
                <p:cNvSpPr>
                  <a:spLocks/>
                </p:cNvSpPr>
                <p:nvPr/>
              </p:nvSpPr>
              <p:spPr bwMode="auto">
                <a:xfrm>
                  <a:off x="695" y="196"/>
                  <a:ext cx="20" cy="34"/>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1600"/>
                    <a:gd name="T79" fmla="*/ 0 h 21600"/>
                    <a:gd name="T80" fmla="*/ 21600 w 21600"/>
                    <a:gd name="T81" fmla="*/ 21600 h 2160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1600" h="21600">
                      <a:moveTo>
                        <a:pt x="0" y="18000"/>
                      </a:moveTo>
                      <a:lnTo>
                        <a:pt x="6171" y="18000"/>
                      </a:lnTo>
                      <a:lnTo>
                        <a:pt x="6171" y="21600"/>
                      </a:lnTo>
                      <a:lnTo>
                        <a:pt x="0" y="21600"/>
                      </a:lnTo>
                      <a:lnTo>
                        <a:pt x="0" y="18000"/>
                      </a:lnTo>
                      <a:close/>
                      <a:moveTo>
                        <a:pt x="6171" y="14400"/>
                      </a:moveTo>
                      <a:lnTo>
                        <a:pt x="12343" y="14400"/>
                      </a:lnTo>
                      <a:lnTo>
                        <a:pt x="12343" y="18000"/>
                      </a:lnTo>
                      <a:lnTo>
                        <a:pt x="6171" y="18000"/>
                      </a:lnTo>
                      <a:lnTo>
                        <a:pt x="6171" y="14400"/>
                      </a:lnTo>
                      <a:close/>
                      <a:moveTo>
                        <a:pt x="12343" y="12600"/>
                      </a:moveTo>
                      <a:lnTo>
                        <a:pt x="15429" y="12600"/>
                      </a:lnTo>
                      <a:lnTo>
                        <a:pt x="15429" y="14400"/>
                      </a:lnTo>
                      <a:lnTo>
                        <a:pt x="12343" y="14400"/>
                      </a:lnTo>
                      <a:lnTo>
                        <a:pt x="12343" y="12600"/>
                      </a:lnTo>
                      <a:close/>
                      <a:moveTo>
                        <a:pt x="0" y="0"/>
                      </a:moveTo>
                      <a:lnTo>
                        <a:pt x="6171" y="0"/>
                      </a:lnTo>
                      <a:lnTo>
                        <a:pt x="6171" y="1800"/>
                      </a:lnTo>
                      <a:lnTo>
                        <a:pt x="21600" y="1800"/>
                      </a:lnTo>
                      <a:lnTo>
                        <a:pt x="21600" y="9000"/>
                      </a:lnTo>
                      <a:lnTo>
                        <a:pt x="15429" y="9000"/>
                      </a:lnTo>
                      <a:lnTo>
                        <a:pt x="15429" y="5400"/>
                      </a:lnTo>
                      <a:lnTo>
                        <a:pt x="6171" y="5400"/>
                      </a:lnTo>
                      <a:lnTo>
                        <a:pt x="0" y="1800"/>
                      </a:lnTo>
                      <a:lnTo>
                        <a:pt x="0" y="0"/>
                      </a:lnTo>
                      <a:close/>
                      <a:moveTo>
                        <a:pt x="0" y="0"/>
                      </a:moveTo>
                    </a:path>
                  </a:pathLst>
                </a:custGeom>
                <a:solidFill>
                  <a:srgbClr val="B2EAE7"/>
                </a:solidFill>
                <a:ln w="12700">
                  <a:solidFill>
                    <a:srgbClr val="FFFFFF"/>
                  </a:solidFill>
                  <a:round/>
                  <a:headEnd/>
                  <a:tailEnd/>
                </a:ln>
              </p:spPr>
              <p:txBody>
                <a:bodyPr lIns="0" tIns="0" rIns="0" bIns="0"/>
                <a:lstStyle/>
                <a:p>
                  <a:endParaRPr lang="es-ES"/>
                </a:p>
              </p:txBody>
            </p:sp>
            <p:sp>
              <p:nvSpPr>
                <p:cNvPr id="15464" name="Freeform 108"/>
                <p:cNvSpPr>
                  <a:spLocks/>
                </p:cNvSpPr>
                <p:nvPr/>
              </p:nvSpPr>
              <p:spPr bwMode="auto">
                <a:xfrm>
                  <a:off x="730" y="270"/>
                  <a:ext cx="29" cy="2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1600"/>
                    <a:gd name="T49" fmla="*/ 0 h 21600"/>
                    <a:gd name="T50" fmla="*/ 21600 w 21600"/>
                    <a:gd name="T51" fmla="*/ 21600 h 2160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1600" h="21600">
                      <a:moveTo>
                        <a:pt x="17280" y="0"/>
                      </a:moveTo>
                      <a:lnTo>
                        <a:pt x="21600" y="0"/>
                      </a:lnTo>
                      <a:lnTo>
                        <a:pt x="21600" y="6171"/>
                      </a:lnTo>
                      <a:lnTo>
                        <a:pt x="17280" y="9257"/>
                      </a:lnTo>
                      <a:lnTo>
                        <a:pt x="17280" y="21600"/>
                      </a:lnTo>
                      <a:lnTo>
                        <a:pt x="0" y="21600"/>
                      </a:lnTo>
                      <a:lnTo>
                        <a:pt x="0" y="9257"/>
                      </a:lnTo>
                      <a:lnTo>
                        <a:pt x="2160" y="9257"/>
                      </a:lnTo>
                      <a:lnTo>
                        <a:pt x="6480" y="6171"/>
                      </a:lnTo>
                      <a:lnTo>
                        <a:pt x="10800" y="6171"/>
                      </a:lnTo>
                      <a:lnTo>
                        <a:pt x="10800" y="9257"/>
                      </a:lnTo>
                      <a:lnTo>
                        <a:pt x="15120" y="9257"/>
                      </a:lnTo>
                      <a:lnTo>
                        <a:pt x="15120" y="6171"/>
                      </a:lnTo>
                      <a:lnTo>
                        <a:pt x="17280" y="6171"/>
                      </a:lnTo>
                      <a:lnTo>
                        <a:pt x="17280" y="0"/>
                      </a:lnTo>
                      <a:close/>
                      <a:moveTo>
                        <a:pt x="17280" y="0"/>
                      </a:moveTo>
                    </a:path>
                  </a:pathLst>
                </a:custGeom>
                <a:solidFill>
                  <a:srgbClr val="B2EAE7"/>
                </a:solidFill>
                <a:ln w="12700">
                  <a:solidFill>
                    <a:srgbClr val="FFFFFF"/>
                  </a:solidFill>
                  <a:round/>
                  <a:headEnd/>
                  <a:tailEnd/>
                </a:ln>
              </p:spPr>
              <p:txBody>
                <a:bodyPr lIns="0" tIns="0" rIns="0" bIns="0"/>
                <a:lstStyle/>
                <a:p>
                  <a:endParaRPr lang="es-ES"/>
                </a:p>
              </p:txBody>
            </p:sp>
            <p:sp>
              <p:nvSpPr>
                <p:cNvPr id="15465" name="AutoShape 109"/>
                <p:cNvSpPr>
                  <a:spLocks/>
                </p:cNvSpPr>
                <p:nvPr/>
              </p:nvSpPr>
              <p:spPr bwMode="auto">
                <a:xfrm>
                  <a:off x="626" y="178"/>
                  <a:ext cx="14" cy="5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600"/>
                    <a:gd name="T43" fmla="*/ 0 h 21600"/>
                    <a:gd name="T44" fmla="*/ 21600 w 21600"/>
                    <a:gd name="T45" fmla="*/ 21600 h 21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600" h="21600">
                      <a:moveTo>
                        <a:pt x="4320" y="19200"/>
                      </a:moveTo>
                      <a:lnTo>
                        <a:pt x="12960" y="21600"/>
                      </a:lnTo>
                      <a:lnTo>
                        <a:pt x="4320" y="21600"/>
                      </a:lnTo>
                      <a:lnTo>
                        <a:pt x="4320" y="19200"/>
                      </a:lnTo>
                      <a:close/>
                      <a:moveTo>
                        <a:pt x="4320" y="2400"/>
                      </a:moveTo>
                      <a:lnTo>
                        <a:pt x="4320" y="4800"/>
                      </a:lnTo>
                      <a:lnTo>
                        <a:pt x="0" y="4800"/>
                      </a:lnTo>
                      <a:lnTo>
                        <a:pt x="4320" y="2400"/>
                      </a:lnTo>
                      <a:close/>
                      <a:moveTo>
                        <a:pt x="12960" y="0"/>
                      </a:moveTo>
                      <a:lnTo>
                        <a:pt x="21600" y="0"/>
                      </a:lnTo>
                      <a:lnTo>
                        <a:pt x="21600" y="2400"/>
                      </a:lnTo>
                      <a:lnTo>
                        <a:pt x="12960" y="2400"/>
                      </a:lnTo>
                      <a:lnTo>
                        <a:pt x="12960" y="0"/>
                      </a:lnTo>
                      <a:close/>
                      <a:moveTo>
                        <a:pt x="12960" y="0"/>
                      </a:moveTo>
                    </a:path>
                  </a:pathLst>
                </a:custGeom>
                <a:solidFill>
                  <a:srgbClr val="B2EAE7"/>
                </a:solidFill>
                <a:ln w="12700">
                  <a:solidFill>
                    <a:srgbClr val="FFFFFF"/>
                  </a:solidFill>
                  <a:round/>
                  <a:headEnd/>
                  <a:tailEnd/>
                </a:ln>
              </p:spPr>
              <p:txBody>
                <a:bodyPr lIns="0" tIns="0" rIns="0" bIns="0"/>
                <a:lstStyle/>
                <a:p>
                  <a:endParaRPr lang="es-ES"/>
                </a:p>
              </p:txBody>
            </p:sp>
            <p:sp>
              <p:nvSpPr>
                <p:cNvPr id="15466" name="AutoShape 110"/>
                <p:cNvSpPr>
                  <a:spLocks/>
                </p:cNvSpPr>
                <p:nvPr/>
              </p:nvSpPr>
              <p:spPr bwMode="auto">
                <a:xfrm>
                  <a:off x="510" y="80"/>
                  <a:ext cx="38" cy="75"/>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1600"/>
                    <a:gd name="T169" fmla="*/ 0 h 21600"/>
                    <a:gd name="T170" fmla="*/ 21600 w 21600"/>
                    <a:gd name="T171" fmla="*/ 21600 h 216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1600" h="21600">
                      <a:moveTo>
                        <a:pt x="13292" y="19938"/>
                      </a:moveTo>
                      <a:lnTo>
                        <a:pt x="16615" y="19938"/>
                      </a:lnTo>
                      <a:lnTo>
                        <a:pt x="16615" y="21600"/>
                      </a:lnTo>
                      <a:lnTo>
                        <a:pt x="13292" y="21600"/>
                      </a:lnTo>
                      <a:lnTo>
                        <a:pt x="13292" y="19938"/>
                      </a:lnTo>
                      <a:close/>
                      <a:moveTo>
                        <a:pt x="9969" y="14123"/>
                      </a:moveTo>
                      <a:lnTo>
                        <a:pt x="13292" y="14123"/>
                      </a:lnTo>
                      <a:lnTo>
                        <a:pt x="9969" y="15785"/>
                      </a:lnTo>
                      <a:lnTo>
                        <a:pt x="9969" y="14123"/>
                      </a:lnTo>
                      <a:close/>
                      <a:moveTo>
                        <a:pt x="16615" y="10800"/>
                      </a:moveTo>
                      <a:lnTo>
                        <a:pt x="19938" y="10800"/>
                      </a:lnTo>
                      <a:lnTo>
                        <a:pt x="19938" y="15785"/>
                      </a:lnTo>
                      <a:lnTo>
                        <a:pt x="21600" y="15785"/>
                      </a:lnTo>
                      <a:lnTo>
                        <a:pt x="21600" y="21600"/>
                      </a:lnTo>
                      <a:lnTo>
                        <a:pt x="19938" y="21600"/>
                      </a:lnTo>
                      <a:lnTo>
                        <a:pt x="19938" y="19938"/>
                      </a:lnTo>
                      <a:lnTo>
                        <a:pt x="16615" y="19938"/>
                      </a:lnTo>
                      <a:lnTo>
                        <a:pt x="16615" y="18277"/>
                      </a:lnTo>
                      <a:lnTo>
                        <a:pt x="13292" y="18277"/>
                      </a:lnTo>
                      <a:lnTo>
                        <a:pt x="13292" y="16615"/>
                      </a:lnTo>
                      <a:lnTo>
                        <a:pt x="9969" y="16615"/>
                      </a:lnTo>
                      <a:lnTo>
                        <a:pt x="9969" y="15785"/>
                      </a:lnTo>
                      <a:lnTo>
                        <a:pt x="13292" y="15785"/>
                      </a:lnTo>
                      <a:lnTo>
                        <a:pt x="13292" y="14123"/>
                      </a:lnTo>
                      <a:lnTo>
                        <a:pt x="16615" y="14123"/>
                      </a:lnTo>
                      <a:lnTo>
                        <a:pt x="16615" y="10800"/>
                      </a:lnTo>
                      <a:close/>
                      <a:moveTo>
                        <a:pt x="4985" y="0"/>
                      </a:moveTo>
                      <a:lnTo>
                        <a:pt x="8308" y="831"/>
                      </a:lnTo>
                      <a:lnTo>
                        <a:pt x="9969" y="831"/>
                      </a:lnTo>
                      <a:lnTo>
                        <a:pt x="9969" y="2492"/>
                      </a:lnTo>
                      <a:lnTo>
                        <a:pt x="13292" y="4154"/>
                      </a:lnTo>
                      <a:lnTo>
                        <a:pt x="9969" y="4985"/>
                      </a:lnTo>
                      <a:lnTo>
                        <a:pt x="13292" y="4985"/>
                      </a:lnTo>
                      <a:lnTo>
                        <a:pt x="13292" y="6646"/>
                      </a:lnTo>
                      <a:lnTo>
                        <a:pt x="9969" y="6646"/>
                      </a:lnTo>
                      <a:lnTo>
                        <a:pt x="9969" y="8308"/>
                      </a:lnTo>
                      <a:lnTo>
                        <a:pt x="13292" y="8308"/>
                      </a:lnTo>
                      <a:lnTo>
                        <a:pt x="13292" y="6646"/>
                      </a:lnTo>
                      <a:lnTo>
                        <a:pt x="16615" y="6646"/>
                      </a:lnTo>
                      <a:lnTo>
                        <a:pt x="16615" y="10800"/>
                      </a:lnTo>
                      <a:lnTo>
                        <a:pt x="13292" y="10800"/>
                      </a:lnTo>
                      <a:lnTo>
                        <a:pt x="13292" y="12462"/>
                      </a:lnTo>
                      <a:lnTo>
                        <a:pt x="9969" y="12462"/>
                      </a:lnTo>
                      <a:lnTo>
                        <a:pt x="9969" y="14123"/>
                      </a:lnTo>
                      <a:lnTo>
                        <a:pt x="8308" y="14123"/>
                      </a:lnTo>
                      <a:lnTo>
                        <a:pt x="8308" y="9969"/>
                      </a:lnTo>
                      <a:lnTo>
                        <a:pt x="4985" y="10800"/>
                      </a:lnTo>
                      <a:lnTo>
                        <a:pt x="1662" y="10800"/>
                      </a:lnTo>
                      <a:lnTo>
                        <a:pt x="1662" y="9969"/>
                      </a:lnTo>
                      <a:lnTo>
                        <a:pt x="0" y="9969"/>
                      </a:lnTo>
                      <a:lnTo>
                        <a:pt x="0" y="8308"/>
                      </a:lnTo>
                      <a:lnTo>
                        <a:pt x="1662" y="8308"/>
                      </a:lnTo>
                      <a:lnTo>
                        <a:pt x="1662" y="4985"/>
                      </a:lnTo>
                      <a:lnTo>
                        <a:pt x="4985" y="4985"/>
                      </a:lnTo>
                      <a:lnTo>
                        <a:pt x="4985" y="0"/>
                      </a:lnTo>
                      <a:close/>
                      <a:moveTo>
                        <a:pt x="4985" y="0"/>
                      </a:moveTo>
                    </a:path>
                  </a:pathLst>
                </a:custGeom>
                <a:solidFill>
                  <a:srgbClr val="B2EAE7"/>
                </a:solidFill>
                <a:ln w="12700">
                  <a:solidFill>
                    <a:srgbClr val="FFFFFF"/>
                  </a:solidFill>
                  <a:round/>
                  <a:headEnd/>
                  <a:tailEnd/>
                </a:ln>
              </p:spPr>
              <p:txBody>
                <a:bodyPr lIns="0" tIns="0" rIns="0" bIns="0"/>
                <a:lstStyle/>
                <a:p>
                  <a:endParaRPr lang="es-ES"/>
                </a:p>
              </p:txBody>
            </p:sp>
            <p:sp>
              <p:nvSpPr>
                <p:cNvPr id="15467" name="AutoShape 111"/>
                <p:cNvSpPr>
                  <a:spLocks/>
                </p:cNvSpPr>
                <p:nvPr/>
              </p:nvSpPr>
              <p:spPr bwMode="auto">
                <a:xfrm>
                  <a:off x="429" y="129"/>
                  <a:ext cx="29" cy="29"/>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1600"/>
                    <a:gd name="T58" fmla="*/ 0 h 21600"/>
                    <a:gd name="T59" fmla="*/ 21600 w 21600"/>
                    <a:gd name="T60" fmla="*/ 21600 h 2160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1600" h="21600">
                      <a:moveTo>
                        <a:pt x="17280" y="19440"/>
                      </a:moveTo>
                      <a:lnTo>
                        <a:pt x="21600" y="19440"/>
                      </a:lnTo>
                      <a:lnTo>
                        <a:pt x="21600" y="21600"/>
                      </a:lnTo>
                      <a:lnTo>
                        <a:pt x="17280" y="19440"/>
                      </a:lnTo>
                      <a:close/>
                      <a:moveTo>
                        <a:pt x="15120" y="6480"/>
                      </a:moveTo>
                      <a:lnTo>
                        <a:pt x="17280" y="10800"/>
                      </a:lnTo>
                      <a:lnTo>
                        <a:pt x="17280" y="15120"/>
                      </a:lnTo>
                      <a:lnTo>
                        <a:pt x="15120" y="10800"/>
                      </a:lnTo>
                      <a:lnTo>
                        <a:pt x="15120" y="6480"/>
                      </a:lnTo>
                      <a:close/>
                      <a:moveTo>
                        <a:pt x="10800" y="0"/>
                      </a:moveTo>
                      <a:lnTo>
                        <a:pt x="15120" y="0"/>
                      </a:lnTo>
                      <a:lnTo>
                        <a:pt x="15120" y="4320"/>
                      </a:lnTo>
                      <a:lnTo>
                        <a:pt x="10800" y="4320"/>
                      </a:lnTo>
                      <a:lnTo>
                        <a:pt x="10800" y="0"/>
                      </a:lnTo>
                      <a:close/>
                      <a:moveTo>
                        <a:pt x="6480" y="0"/>
                      </a:moveTo>
                      <a:lnTo>
                        <a:pt x="6480" y="4320"/>
                      </a:lnTo>
                      <a:lnTo>
                        <a:pt x="0" y="4320"/>
                      </a:lnTo>
                      <a:lnTo>
                        <a:pt x="6480" y="0"/>
                      </a:lnTo>
                      <a:close/>
                      <a:moveTo>
                        <a:pt x="6480" y="0"/>
                      </a:moveTo>
                    </a:path>
                  </a:pathLst>
                </a:custGeom>
                <a:solidFill>
                  <a:srgbClr val="B2EAE7"/>
                </a:solidFill>
                <a:ln w="12700">
                  <a:solidFill>
                    <a:srgbClr val="FFFFFF"/>
                  </a:solidFill>
                  <a:round/>
                  <a:headEnd/>
                  <a:tailEnd/>
                </a:ln>
              </p:spPr>
              <p:txBody>
                <a:bodyPr lIns="0" tIns="0" rIns="0" bIns="0"/>
                <a:lstStyle/>
                <a:p>
                  <a:endParaRPr lang="es-ES"/>
                </a:p>
              </p:txBody>
            </p:sp>
          </p:grpSp>
        </p:grpSp>
      </p:grpSp>
      <p:sp>
        <p:nvSpPr>
          <p:cNvPr id="15393" name="Rectangle 50"/>
          <p:cNvSpPr>
            <a:spLocks/>
          </p:cNvSpPr>
          <p:nvPr/>
        </p:nvSpPr>
        <p:spPr bwMode="auto">
          <a:xfrm>
            <a:off x="251520" y="5666374"/>
            <a:ext cx="8568952" cy="542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26788" tIns="26788" rIns="26788" bIns="26788" anchor="b">
            <a:spAutoFit/>
          </a:bodyPr>
          <a:lstStyle/>
          <a:p>
            <a:pPr algn="l" defTabSz="642938" eaLnBrk="1" hangingPunct="1"/>
            <a:r>
              <a:rPr lang="en-GB" sz="800" b="0" dirty="0">
                <a:solidFill>
                  <a:srgbClr val="193D4F"/>
                </a:solidFill>
                <a:ea typeface="ヒラギノ角ゴ ProN W3"/>
                <a:cs typeface="Arial" pitchFamily="34" charset="0"/>
                <a:sym typeface="Arial" pitchFamily="34" charset="0"/>
              </a:rPr>
              <a:t>Notes: </a:t>
            </a:r>
          </a:p>
          <a:p>
            <a:pPr algn="l" defTabSz="642938" eaLnBrk="1" hangingPunct="1"/>
            <a:r>
              <a:rPr lang="en-GB" sz="800" b="0" dirty="0">
                <a:solidFill>
                  <a:srgbClr val="193D4F"/>
                </a:solidFill>
                <a:ea typeface="ヒラギノ角ゴ ProN W3"/>
                <a:cs typeface="Arial" pitchFamily="34" charset="0"/>
                <a:sym typeface="Arial" pitchFamily="34" charset="0"/>
              </a:rPr>
              <a:t>- Central America includes Guatemala, Panama, El Salvador, Nicaragua and Costa Rica</a:t>
            </a:r>
          </a:p>
          <a:p>
            <a:pPr algn="l" defTabSz="642938" eaLnBrk="1" hangingPunct="1"/>
            <a:r>
              <a:rPr lang="en-GB" sz="800" b="0" dirty="0">
                <a:solidFill>
                  <a:srgbClr val="193D4F"/>
                </a:solidFill>
                <a:ea typeface="ヒラギノ角ゴ ProN W3"/>
                <a:cs typeface="Arial" pitchFamily="34" charset="0"/>
                <a:sym typeface="Arial" pitchFamily="34" charset="0"/>
              </a:rPr>
              <a:t>- Total accesses figure includes Narrowband Internet accesses of Terra Brazil and Terra Colombia, and Broadband Internet accesses of Terra Brazil, </a:t>
            </a:r>
            <a:r>
              <a:rPr lang="en-GB" sz="800" b="0" dirty="0" err="1">
                <a:solidFill>
                  <a:srgbClr val="193D4F"/>
                </a:solidFill>
                <a:ea typeface="ヒラギノ角ゴ ProN W3"/>
                <a:cs typeface="Arial" pitchFamily="34" charset="0"/>
                <a:sym typeface="Arial" pitchFamily="34" charset="0"/>
              </a:rPr>
              <a:t>Telefónica</a:t>
            </a:r>
            <a:r>
              <a:rPr lang="en-GB" sz="800" b="0" dirty="0">
                <a:solidFill>
                  <a:srgbClr val="193D4F"/>
                </a:solidFill>
                <a:ea typeface="ヒラギノ角ゴ ProN W3"/>
                <a:cs typeface="Arial" pitchFamily="34" charset="0"/>
                <a:sym typeface="Arial" pitchFamily="34" charset="0"/>
              </a:rPr>
              <a:t> de Argentina, Terra Guatemala and Terra Mexico</a:t>
            </a:r>
          </a:p>
        </p:txBody>
      </p:sp>
      <p:grpSp>
        <p:nvGrpSpPr>
          <p:cNvPr id="4" name="3 Grupo"/>
          <p:cNvGrpSpPr/>
          <p:nvPr/>
        </p:nvGrpSpPr>
        <p:grpSpPr>
          <a:xfrm>
            <a:off x="6254777" y="2541825"/>
            <a:ext cx="2749385" cy="2366711"/>
            <a:chOff x="2916104" y="825501"/>
            <a:chExt cx="5922354" cy="5339804"/>
          </a:xfrm>
        </p:grpSpPr>
        <p:pic>
          <p:nvPicPr>
            <p:cNvPr id="86" name="Picture 109"/>
            <p:cNvPicPr>
              <a:picLocks noChangeAspect="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2916104" y="5909718"/>
              <a:ext cx="803136" cy="255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25400">
                  <a:solidFill>
                    <a:srgbClr val="000000"/>
                  </a:solidFill>
                  <a:miter lim="800000"/>
                  <a:headEnd/>
                  <a:tailEnd/>
                </a14:hiddenLine>
              </a:ext>
            </a:extLst>
          </p:spPr>
        </p:pic>
        <p:grpSp>
          <p:nvGrpSpPr>
            <p:cNvPr id="87" name="Group 120"/>
            <p:cNvGrpSpPr>
              <a:grpSpLocks/>
            </p:cNvGrpSpPr>
            <p:nvPr/>
          </p:nvGrpSpPr>
          <p:grpSpPr bwMode="auto">
            <a:xfrm>
              <a:off x="3681567" y="825501"/>
              <a:ext cx="5156891" cy="5146675"/>
              <a:chOff x="0" y="0"/>
              <a:chExt cx="4619" cy="4611"/>
            </a:xfrm>
          </p:grpSpPr>
          <p:sp>
            <p:nvSpPr>
              <p:cNvPr id="88" name="AutoShape 42"/>
              <p:cNvSpPr>
                <a:spLocks/>
              </p:cNvSpPr>
              <p:nvPr/>
            </p:nvSpPr>
            <p:spPr bwMode="auto">
              <a:xfrm>
                <a:off x="381" y="2121"/>
                <a:ext cx="57" cy="5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600"/>
                  <a:gd name="T73" fmla="*/ 0 h 21600"/>
                  <a:gd name="T74" fmla="*/ 21600 w 21600"/>
                  <a:gd name="T75" fmla="*/ 21600 h 2160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600" h="21600">
                    <a:moveTo>
                      <a:pt x="0" y="16800"/>
                    </a:moveTo>
                    <a:lnTo>
                      <a:pt x="10800" y="16800"/>
                    </a:lnTo>
                    <a:lnTo>
                      <a:pt x="6480" y="21600"/>
                    </a:lnTo>
                    <a:lnTo>
                      <a:pt x="0" y="21600"/>
                    </a:lnTo>
                    <a:lnTo>
                      <a:pt x="0" y="16800"/>
                    </a:lnTo>
                    <a:close/>
                    <a:moveTo>
                      <a:pt x="10800" y="9600"/>
                    </a:moveTo>
                    <a:lnTo>
                      <a:pt x="15120" y="9600"/>
                    </a:lnTo>
                    <a:lnTo>
                      <a:pt x="19440" y="12000"/>
                    </a:lnTo>
                    <a:lnTo>
                      <a:pt x="21600" y="12000"/>
                    </a:lnTo>
                    <a:lnTo>
                      <a:pt x="21600" y="16800"/>
                    </a:lnTo>
                    <a:lnTo>
                      <a:pt x="19440" y="16800"/>
                    </a:lnTo>
                    <a:lnTo>
                      <a:pt x="19440" y="21600"/>
                    </a:lnTo>
                    <a:lnTo>
                      <a:pt x="15120" y="21600"/>
                    </a:lnTo>
                    <a:lnTo>
                      <a:pt x="15120" y="16800"/>
                    </a:lnTo>
                    <a:lnTo>
                      <a:pt x="10800" y="16800"/>
                    </a:lnTo>
                    <a:lnTo>
                      <a:pt x="10800" y="9600"/>
                    </a:lnTo>
                    <a:close/>
                    <a:moveTo>
                      <a:pt x="0" y="0"/>
                    </a:moveTo>
                    <a:lnTo>
                      <a:pt x="6480" y="0"/>
                    </a:lnTo>
                    <a:lnTo>
                      <a:pt x="6480" y="4800"/>
                    </a:lnTo>
                    <a:lnTo>
                      <a:pt x="10800" y="4800"/>
                    </a:lnTo>
                    <a:lnTo>
                      <a:pt x="10800" y="9600"/>
                    </a:lnTo>
                    <a:lnTo>
                      <a:pt x="0" y="9600"/>
                    </a:lnTo>
                    <a:lnTo>
                      <a:pt x="0" y="0"/>
                    </a:lnTo>
                    <a:close/>
                    <a:moveTo>
                      <a:pt x="0" y="0"/>
                    </a:moveTo>
                  </a:path>
                </a:pathLst>
              </a:custGeom>
              <a:solidFill>
                <a:srgbClr val="00BACF"/>
              </a:solidFill>
              <a:ln w="12700">
                <a:solidFill>
                  <a:srgbClr val="FFFFFF"/>
                </a:solidFill>
                <a:round/>
                <a:headEnd/>
                <a:tailEnd/>
              </a:ln>
            </p:spPr>
            <p:txBody>
              <a:bodyPr lIns="0" tIns="0" rIns="0" bIns="0"/>
              <a:lstStyle/>
              <a:p>
                <a:endParaRPr lang="en-US"/>
              </a:p>
            </p:txBody>
          </p:sp>
          <p:sp>
            <p:nvSpPr>
              <p:cNvPr id="89" name="Freeform 43"/>
              <p:cNvSpPr>
                <a:spLocks/>
              </p:cNvSpPr>
              <p:nvPr/>
            </p:nvSpPr>
            <p:spPr bwMode="auto">
              <a:xfrm>
                <a:off x="295" y="1883"/>
                <a:ext cx="80" cy="10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1600"/>
                  <a:gd name="T94" fmla="*/ 0 h 21600"/>
                  <a:gd name="T95" fmla="*/ 21600 w 21600"/>
                  <a:gd name="T96" fmla="*/ 21600 h 2160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1600" h="21600">
                    <a:moveTo>
                      <a:pt x="18514" y="0"/>
                    </a:moveTo>
                    <a:lnTo>
                      <a:pt x="21600" y="0"/>
                    </a:lnTo>
                    <a:lnTo>
                      <a:pt x="21600" y="8400"/>
                    </a:lnTo>
                    <a:lnTo>
                      <a:pt x="18514" y="10800"/>
                    </a:lnTo>
                    <a:lnTo>
                      <a:pt x="18514" y="14400"/>
                    </a:lnTo>
                    <a:lnTo>
                      <a:pt x="13886" y="14400"/>
                    </a:lnTo>
                    <a:lnTo>
                      <a:pt x="13886" y="13200"/>
                    </a:lnTo>
                    <a:lnTo>
                      <a:pt x="10800" y="13200"/>
                    </a:lnTo>
                    <a:lnTo>
                      <a:pt x="10800" y="16800"/>
                    </a:lnTo>
                    <a:lnTo>
                      <a:pt x="7714" y="19200"/>
                    </a:lnTo>
                    <a:lnTo>
                      <a:pt x="7714" y="21600"/>
                    </a:lnTo>
                    <a:lnTo>
                      <a:pt x="3086" y="21600"/>
                    </a:lnTo>
                    <a:lnTo>
                      <a:pt x="3086" y="19200"/>
                    </a:lnTo>
                    <a:lnTo>
                      <a:pt x="0" y="19200"/>
                    </a:lnTo>
                    <a:lnTo>
                      <a:pt x="0" y="16800"/>
                    </a:lnTo>
                    <a:lnTo>
                      <a:pt x="6171" y="16800"/>
                    </a:lnTo>
                    <a:lnTo>
                      <a:pt x="6171" y="14400"/>
                    </a:lnTo>
                    <a:lnTo>
                      <a:pt x="3086" y="14400"/>
                    </a:lnTo>
                    <a:lnTo>
                      <a:pt x="3086" y="13200"/>
                    </a:lnTo>
                    <a:lnTo>
                      <a:pt x="0" y="13200"/>
                    </a:lnTo>
                    <a:lnTo>
                      <a:pt x="3086" y="10800"/>
                    </a:lnTo>
                    <a:lnTo>
                      <a:pt x="3086" y="6000"/>
                    </a:lnTo>
                    <a:lnTo>
                      <a:pt x="6171" y="8400"/>
                    </a:lnTo>
                    <a:lnTo>
                      <a:pt x="7714" y="8400"/>
                    </a:lnTo>
                    <a:lnTo>
                      <a:pt x="7714" y="6000"/>
                    </a:lnTo>
                    <a:lnTo>
                      <a:pt x="10800" y="6000"/>
                    </a:lnTo>
                    <a:lnTo>
                      <a:pt x="10800" y="8400"/>
                    </a:lnTo>
                    <a:lnTo>
                      <a:pt x="13886" y="6000"/>
                    </a:lnTo>
                    <a:lnTo>
                      <a:pt x="13886" y="4800"/>
                    </a:lnTo>
                    <a:lnTo>
                      <a:pt x="18514" y="0"/>
                    </a:lnTo>
                    <a:close/>
                    <a:moveTo>
                      <a:pt x="18514" y="0"/>
                    </a:moveTo>
                  </a:path>
                </a:pathLst>
              </a:custGeom>
              <a:solidFill>
                <a:srgbClr val="00BACF"/>
              </a:solidFill>
              <a:ln w="12700">
                <a:solidFill>
                  <a:srgbClr val="FFFFFF"/>
                </a:solidFill>
                <a:round/>
                <a:headEnd/>
                <a:tailEnd/>
              </a:ln>
            </p:spPr>
            <p:txBody>
              <a:bodyPr lIns="0" tIns="0" rIns="0" bIns="0"/>
              <a:lstStyle/>
              <a:p>
                <a:endParaRPr lang="en-US"/>
              </a:p>
            </p:txBody>
          </p:sp>
          <p:sp>
            <p:nvSpPr>
              <p:cNvPr id="90" name="AutoShape 44"/>
              <p:cNvSpPr>
                <a:spLocks/>
              </p:cNvSpPr>
              <p:nvPr/>
            </p:nvSpPr>
            <p:spPr bwMode="auto">
              <a:xfrm>
                <a:off x="323" y="1985"/>
                <a:ext cx="103" cy="97"/>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1600"/>
                  <a:gd name="T97" fmla="*/ 0 h 21600"/>
                  <a:gd name="T98" fmla="*/ 21600 w 21600"/>
                  <a:gd name="T99" fmla="*/ 21600 h 2160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1600" h="21600">
                    <a:moveTo>
                      <a:pt x="14400" y="19059"/>
                    </a:moveTo>
                    <a:lnTo>
                      <a:pt x="16800" y="19059"/>
                    </a:lnTo>
                    <a:lnTo>
                      <a:pt x="16800" y="21600"/>
                    </a:lnTo>
                    <a:lnTo>
                      <a:pt x="14400" y="21600"/>
                    </a:lnTo>
                    <a:lnTo>
                      <a:pt x="14400" y="19059"/>
                    </a:lnTo>
                    <a:close/>
                    <a:moveTo>
                      <a:pt x="10800" y="0"/>
                    </a:moveTo>
                    <a:lnTo>
                      <a:pt x="10800" y="1271"/>
                    </a:lnTo>
                    <a:lnTo>
                      <a:pt x="13200" y="3812"/>
                    </a:lnTo>
                    <a:lnTo>
                      <a:pt x="13200" y="10165"/>
                    </a:lnTo>
                    <a:lnTo>
                      <a:pt x="14400" y="12706"/>
                    </a:lnTo>
                    <a:lnTo>
                      <a:pt x="21600" y="12706"/>
                    </a:lnTo>
                    <a:lnTo>
                      <a:pt x="21600" y="15247"/>
                    </a:lnTo>
                    <a:lnTo>
                      <a:pt x="19200" y="15247"/>
                    </a:lnTo>
                    <a:lnTo>
                      <a:pt x="19200" y="17788"/>
                    </a:lnTo>
                    <a:lnTo>
                      <a:pt x="16800" y="17788"/>
                    </a:lnTo>
                    <a:lnTo>
                      <a:pt x="16800" y="15247"/>
                    </a:lnTo>
                    <a:lnTo>
                      <a:pt x="14400" y="15247"/>
                    </a:lnTo>
                    <a:lnTo>
                      <a:pt x="13200" y="17788"/>
                    </a:lnTo>
                    <a:lnTo>
                      <a:pt x="13200" y="15247"/>
                    </a:lnTo>
                    <a:lnTo>
                      <a:pt x="10800" y="15247"/>
                    </a:lnTo>
                    <a:lnTo>
                      <a:pt x="8400" y="12706"/>
                    </a:lnTo>
                    <a:lnTo>
                      <a:pt x="7200" y="12706"/>
                    </a:lnTo>
                    <a:lnTo>
                      <a:pt x="7200" y="8894"/>
                    </a:lnTo>
                    <a:lnTo>
                      <a:pt x="0" y="8894"/>
                    </a:lnTo>
                    <a:lnTo>
                      <a:pt x="0" y="6353"/>
                    </a:lnTo>
                    <a:lnTo>
                      <a:pt x="4800" y="6353"/>
                    </a:lnTo>
                    <a:lnTo>
                      <a:pt x="4800" y="3812"/>
                    </a:lnTo>
                    <a:lnTo>
                      <a:pt x="7200" y="6353"/>
                    </a:lnTo>
                    <a:lnTo>
                      <a:pt x="8400" y="6353"/>
                    </a:lnTo>
                    <a:lnTo>
                      <a:pt x="8400" y="1271"/>
                    </a:lnTo>
                    <a:lnTo>
                      <a:pt x="10800" y="0"/>
                    </a:lnTo>
                    <a:close/>
                    <a:moveTo>
                      <a:pt x="10800" y="0"/>
                    </a:moveTo>
                  </a:path>
                </a:pathLst>
              </a:custGeom>
              <a:solidFill>
                <a:srgbClr val="00BACF"/>
              </a:solidFill>
              <a:ln w="12700">
                <a:solidFill>
                  <a:srgbClr val="FFFFFF"/>
                </a:solidFill>
                <a:round/>
                <a:headEnd/>
                <a:tailEnd/>
              </a:ln>
            </p:spPr>
            <p:txBody>
              <a:bodyPr lIns="0" tIns="0" rIns="0" bIns="0"/>
              <a:lstStyle/>
              <a:p>
                <a:endParaRPr lang="en-US"/>
              </a:p>
            </p:txBody>
          </p:sp>
          <p:sp>
            <p:nvSpPr>
              <p:cNvPr id="91" name="Freeform 45"/>
              <p:cNvSpPr>
                <a:spLocks/>
              </p:cNvSpPr>
              <p:nvPr/>
            </p:nvSpPr>
            <p:spPr bwMode="auto">
              <a:xfrm>
                <a:off x="642" y="1786"/>
                <a:ext cx="51" cy="5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600"/>
                  <a:gd name="T43" fmla="*/ 0 h 21600"/>
                  <a:gd name="T44" fmla="*/ 21600 w 21600"/>
                  <a:gd name="T45" fmla="*/ 21600 h 21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600" h="21600">
                    <a:moveTo>
                      <a:pt x="4800" y="0"/>
                    </a:moveTo>
                    <a:lnTo>
                      <a:pt x="9600" y="0"/>
                    </a:lnTo>
                    <a:lnTo>
                      <a:pt x="9600" y="12000"/>
                    </a:lnTo>
                    <a:lnTo>
                      <a:pt x="16800" y="12000"/>
                    </a:lnTo>
                    <a:lnTo>
                      <a:pt x="16800" y="16800"/>
                    </a:lnTo>
                    <a:lnTo>
                      <a:pt x="21600" y="16800"/>
                    </a:lnTo>
                    <a:lnTo>
                      <a:pt x="21600" y="21600"/>
                    </a:lnTo>
                    <a:lnTo>
                      <a:pt x="16800" y="21600"/>
                    </a:lnTo>
                    <a:lnTo>
                      <a:pt x="12000" y="16800"/>
                    </a:lnTo>
                    <a:lnTo>
                      <a:pt x="0" y="16800"/>
                    </a:lnTo>
                    <a:lnTo>
                      <a:pt x="0" y="7200"/>
                    </a:lnTo>
                    <a:lnTo>
                      <a:pt x="4800" y="7200"/>
                    </a:lnTo>
                    <a:lnTo>
                      <a:pt x="4800" y="0"/>
                    </a:lnTo>
                    <a:close/>
                    <a:moveTo>
                      <a:pt x="4800" y="0"/>
                    </a:moveTo>
                  </a:path>
                </a:pathLst>
              </a:custGeom>
              <a:solidFill>
                <a:srgbClr val="00BACF"/>
              </a:solidFill>
              <a:ln w="12700">
                <a:solidFill>
                  <a:srgbClr val="FFFFFF"/>
                </a:solidFill>
                <a:round/>
                <a:headEnd/>
                <a:tailEnd/>
              </a:ln>
            </p:spPr>
            <p:txBody>
              <a:bodyPr lIns="0" tIns="0" rIns="0" bIns="0"/>
              <a:lstStyle/>
              <a:p>
                <a:endParaRPr lang="en-US"/>
              </a:p>
            </p:txBody>
          </p:sp>
          <p:sp>
            <p:nvSpPr>
              <p:cNvPr id="92" name="Freeform 46"/>
              <p:cNvSpPr>
                <a:spLocks/>
              </p:cNvSpPr>
              <p:nvPr/>
            </p:nvSpPr>
            <p:spPr bwMode="auto">
              <a:xfrm>
                <a:off x="801" y="2855"/>
                <a:ext cx="51" cy="34"/>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600"/>
                  <a:gd name="T43" fmla="*/ 0 h 21600"/>
                  <a:gd name="T44" fmla="*/ 21600 w 21600"/>
                  <a:gd name="T45" fmla="*/ 21600 h 21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600" h="21600">
                    <a:moveTo>
                      <a:pt x="9600" y="0"/>
                    </a:moveTo>
                    <a:lnTo>
                      <a:pt x="12000" y="0"/>
                    </a:lnTo>
                    <a:lnTo>
                      <a:pt x="12000" y="7200"/>
                    </a:lnTo>
                    <a:lnTo>
                      <a:pt x="21600" y="7200"/>
                    </a:lnTo>
                    <a:lnTo>
                      <a:pt x="21600" y="14400"/>
                    </a:lnTo>
                    <a:lnTo>
                      <a:pt x="16800" y="14400"/>
                    </a:lnTo>
                    <a:lnTo>
                      <a:pt x="16800" y="21600"/>
                    </a:lnTo>
                    <a:lnTo>
                      <a:pt x="9600" y="21600"/>
                    </a:lnTo>
                    <a:lnTo>
                      <a:pt x="9600" y="14400"/>
                    </a:lnTo>
                    <a:lnTo>
                      <a:pt x="0" y="14400"/>
                    </a:lnTo>
                    <a:lnTo>
                      <a:pt x="0" y="7200"/>
                    </a:lnTo>
                    <a:lnTo>
                      <a:pt x="9600" y="7200"/>
                    </a:lnTo>
                    <a:lnTo>
                      <a:pt x="9600" y="0"/>
                    </a:lnTo>
                    <a:close/>
                    <a:moveTo>
                      <a:pt x="9600" y="0"/>
                    </a:moveTo>
                  </a:path>
                </a:pathLst>
              </a:custGeom>
              <a:solidFill>
                <a:srgbClr val="B2EAE7"/>
              </a:solidFill>
              <a:ln w="12700">
                <a:solidFill>
                  <a:srgbClr val="FFFFFF"/>
                </a:solidFill>
                <a:round/>
                <a:headEnd/>
                <a:tailEnd/>
              </a:ln>
            </p:spPr>
            <p:txBody>
              <a:bodyPr lIns="0" tIns="0" rIns="0" bIns="0"/>
              <a:lstStyle/>
              <a:p>
                <a:endParaRPr lang="en-US"/>
              </a:p>
            </p:txBody>
          </p:sp>
          <p:sp>
            <p:nvSpPr>
              <p:cNvPr id="93" name="Freeform 47"/>
              <p:cNvSpPr>
                <a:spLocks/>
              </p:cNvSpPr>
              <p:nvPr/>
            </p:nvSpPr>
            <p:spPr bwMode="auto">
              <a:xfrm>
                <a:off x="204" y="2303"/>
                <a:ext cx="239" cy="165"/>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600"/>
                  <a:gd name="T109" fmla="*/ 0 h 21600"/>
                  <a:gd name="T110" fmla="*/ 21600 w 21600"/>
                  <a:gd name="T111" fmla="*/ 21600 h 2160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600" h="21600">
                    <a:moveTo>
                      <a:pt x="13886" y="0"/>
                    </a:moveTo>
                    <a:lnTo>
                      <a:pt x="14400" y="745"/>
                    </a:lnTo>
                    <a:lnTo>
                      <a:pt x="16971" y="745"/>
                    </a:lnTo>
                    <a:lnTo>
                      <a:pt x="16971" y="3724"/>
                    </a:lnTo>
                    <a:lnTo>
                      <a:pt x="18000" y="3724"/>
                    </a:lnTo>
                    <a:lnTo>
                      <a:pt x="19029" y="5214"/>
                    </a:lnTo>
                    <a:lnTo>
                      <a:pt x="19029" y="5959"/>
                    </a:lnTo>
                    <a:lnTo>
                      <a:pt x="20057" y="5959"/>
                    </a:lnTo>
                    <a:lnTo>
                      <a:pt x="20057" y="7448"/>
                    </a:lnTo>
                    <a:lnTo>
                      <a:pt x="20571" y="7448"/>
                    </a:lnTo>
                    <a:lnTo>
                      <a:pt x="20057" y="8938"/>
                    </a:lnTo>
                    <a:lnTo>
                      <a:pt x="19029" y="8938"/>
                    </a:lnTo>
                    <a:lnTo>
                      <a:pt x="19029" y="10428"/>
                    </a:lnTo>
                    <a:lnTo>
                      <a:pt x="21600" y="10428"/>
                    </a:lnTo>
                    <a:lnTo>
                      <a:pt x="21600" y="14152"/>
                    </a:lnTo>
                    <a:lnTo>
                      <a:pt x="20057" y="14152"/>
                    </a:lnTo>
                    <a:lnTo>
                      <a:pt x="20057" y="14897"/>
                    </a:lnTo>
                    <a:lnTo>
                      <a:pt x="21600" y="14897"/>
                    </a:lnTo>
                    <a:lnTo>
                      <a:pt x="21600" y="16386"/>
                    </a:lnTo>
                    <a:lnTo>
                      <a:pt x="20057" y="16386"/>
                    </a:lnTo>
                    <a:lnTo>
                      <a:pt x="19029" y="17876"/>
                    </a:lnTo>
                    <a:lnTo>
                      <a:pt x="18000" y="17876"/>
                    </a:lnTo>
                    <a:lnTo>
                      <a:pt x="18000" y="19366"/>
                    </a:lnTo>
                    <a:lnTo>
                      <a:pt x="16971" y="19366"/>
                    </a:lnTo>
                    <a:lnTo>
                      <a:pt x="16971" y="20110"/>
                    </a:lnTo>
                    <a:lnTo>
                      <a:pt x="16457" y="21600"/>
                    </a:lnTo>
                    <a:lnTo>
                      <a:pt x="16457" y="20110"/>
                    </a:lnTo>
                    <a:lnTo>
                      <a:pt x="15429" y="20110"/>
                    </a:lnTo>
                    <a:lnTo>
                      <a:pt x="15429" y="19366"/>
                    </a:lnTo>
                    <a:lnTo>
                      <a:pt x="14400" y="19366"/>
                    </a:lnTo>
                    <a:lnTo>
                      <a:pt x="14400" y="20110"/>
                    </a:lnTo>
                    <a:lnTo>
                      <a:pt x="13886" y="19366"/>
                    </a:lnTo>
                    <a:lnTo>
                      <a:pt x="13886" y="20110"/>
                    </a:lnTo>
                    <a:lnTo>
                      <a:pt x="12857" y="20110"/>
                    </a:lnTo>
                    <a:lnTo>
                      <a:pt x="12857" y="17876"/>
                    </a:lnTo>
                    <a:lnTo>
                      <a:pt x="11829" y="17876"/>
                    </a:lnTo>
                    <a:lnTo>
                      <a:pt x="10800" y="16386"/>
                    </a:lnTo>
                    <a:lnTo>
                      <a:pt x="10800" y="14897"/>
                    </a:lnTo>
                    <a:lnTo>
                      <a:pt x="7200" y="14897"/>
                    </a:lnTo>
                    <a:lnTo>
                      <a:pt x="7200" y="16386"/>
                    </a:lnTo>
                    <a:lnTo>
                      <a:pt x="8229" y="17876"/>
                    </a:lnTo>
                    <a:lnTo>
                      <a:pt x="7200" y="17876"/>
                    </a:lnTo>
                    <a:lnTo>
                      <a:pt x="7200" y="19366"/>
                    </a:lnTo>
                    <a:lnTo>
                      <a:pt x="5657" y="19366"/>
                    </a:lnTo>
                    <a:lnTo>
                      <a:pt x="5657" y="17876"/>
                    </a:lnTo>
                    <a:lnTo>
                      <a:pt x="3600" y="17876"/>
                    </a:lnTo>
                    <a:lnTo>
                      <a:pt x="3600" y="16386"/>
                    </a:lnTo>
                    <a:lnTo>
                      <a:pt x="2057" y="16386"/>
                    </a:lnTo>
                    <a:lnTo>
                      <a:pt x="2057" y="14897"/>
                    </a:lnTo>
                    <a:lnTo>
                      <a:pt x="1029" y="14897"/>
                    </a:lnTo>
                    <a:lnTo>
                      <a:pt x="1029" y="14152"/>
                    </a:lnTo>
                    <a:lnTo>
                      <a:pt x="0" y="14152"/>
                    </a:lnTo>
                    <a:lnTo>
                      <a:pt x="0" y="12662"/>
                    </a:lnTo>
                    <a:lnTo>
                      <a:pt x="1029" y="12662"/>
                    </a:lnTo>
                    <a:lnTo>
                      <a:pt x="1029" y="11172"/>
                    </a:lnTo>
                    <a:lnTo>
                      <a:pt x="3600" y="11172"/>
                    </a:lnTo>
                    <a:lnTo>
                      <a:pt x="3600" y="10428"/>
                    </a:lnTo>
                    <a:lnTo>
                      <a:pt x="2057" y="10428"/>
                    </a:lnTo>
                    <a:lnTo>
                      <a:pt x="2057" y="8938"/>
                    </a:lnTo>
                    <a:lnTo>
                      <a:pt x="5657" y="8938"/>
                    </a:lnTo>
                    <a:lnTo>
                      <a:pt x="5657" y="5959"/>
                    </a:lnTo>
                    <a:lnTo>
                      <a:pt x="6686" y="5959"/>
                    </a:lnTo>
                    <a:lnTo>
                      <a:pt x="6686" y="5214"/>
                    </a:lnTo>
                    <a:lnTo>
                      <a:pt x="7200" y="5214"/>
                    </a:lnTo>
                    <a:lnTo>
                      <a:pt x="7200" y="3724"/>
                    </a:lnTo>
                    <a:lnTo>
                      <a:pt x="8229" y="3724"/>
                    </a:lnTo>
                    <a:lnTo>
                      <a:pt x="9257" y="2234"/>
                    </a:lnTo>
                    <a:lnTo>
                      <a:pt x="10286" y="2234"/>
                    </a:lnTo>
                    <a:lnTo>
                      <a:pt x="10286" y="745"/>
                    </a:lnTo>
                    <a:lnTo>
                      <a:pt x="12857" y="745"/>
                    </a:lnTo>
                    <a:lnTo>
                      <a:pt x="13886" y="0"/>
                    </a:lnTo>
                    <a:close/>
                    <a:moveTo>
                      <a:pt x="13886" y="0"/>
                    </a:moveTo>
                  </a:path>
                </a:pathLst>
              </a:custGeom>
              <a:solidFill>
                <a:srgbClr val="00BACF"/>
              </a:solidFill>
              <a:ln w="12700">
                <a:solidFill>
                  <a:srgbClr val="FFFFFF"/>
                </a:solidFill>
                <a:round/>
                <a:headEnd/>
                <a:tailEnd/>
              </a:ln>
            </p:spPr>
            <p:txBody>
              <a:bodyPr lIns="0" tIns="0" rIns="0" bIns="0"/>
              <a:lstStyle/>
              <a:p>
                <a:endParaRPr lang="en-US"/>
              </a:p>
            </p:txBody>
          </p:sp>
          <p:sp>
            <p:nvSpPr>
              <p:cNvPr id="94" name="AutoShape 48"/>
              <p:cNvSpPr>
                <a:spLocks/>
              </p:cNvSpPr>
              <p:nvPr/>
            </p:nvSpPr>
            <p:spPr bwMode="auto">
              <a:xfrm>
                <a:off x="386" y="1854"/>
                <a:ext cx="722" cy="110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w 21600"/>
                  <a:gd name="T117" fmla="*/ 0 h 216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1600"/>
                  <a:gd name="T178" fmla="*/ 0 h 21600"/>
                  <a:gd name="T179" fmla="*/ 21600 w 21600"/>
                  <a:gd name="T180" fmla="*/ 21600 h 216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1600" h="21600">
                    <a:moveTo>
                      <a:pt x="9694" y="17258"/>
                    </a:moveTo>
                    <a:lnTo>
                      <a:pt x="9694" y="17480"/>
                    </a:lnTo>
                    <a:lnTo>
                      <a:pt x="10035" y="17480"/>
                    </a:lnTo>
                    <a:lnTo>
                      <a:pt x="10035" y="17258"/>
                    </a:lnTo>
                    <a:lnTo>
                      <a:pt x="9694" y="17258"/>
                    </a:lnTo>
                    <a:close/>
                    <a:moveTo>
                      <a:pt x="2551" y="17258"/>
                    </a:moveTo>
                    <a:lnTo>
                      <a:pt x="2891" y="17258"/>
                    </a:lnTo>
                    <a:lnTo>
                      <a:pt x="2891" y="17480"/>
                    </a:lnTo>
                    <a:lnTo>
                      <a:pt x="2551" y="17480"/>
                    </a:lnTo>
                    <a:lnTo>
                      <a:pt x="2551" y="17258"/>
                    </a:lnTo>
                    <a:close/>
                    <a:moveTo>
                      <a:pt x="15647" y="12470"/>
                    </a:moveTo>
                    <a:lnTo>
                      <a:pt x="15647" y="12581"/>
                    </a:lnTo>
                    <a:lnTo>
                      <a:pt x="15987" y="12581"/>
                    </a:lnTo>
                    <a:lnTo>
                      <a:pt x="15647" y="12470"/>
                    </a:lnTo>
                    <a:close/>
                    <a:moveTo>
                      <a:pt x="3231" y="10132"/>
                    </a:moveTo>
                    <a:lnTo>
                      <a:pt x="3572" y="10132"/>
                    </a:lnTo>
                    <a:lnTo>
                      <a:pt x="3572" y="10355"/>
                    </a:lnTo>
                    <a:lnTo>
                      <a:pt x="3231" y="10355"/>
                    </a:lnTo>
                    <a:lnTo>
                      <a:pt x="3231" y="10132"/>
                    </a:lnTo>
                    <a:close/>
                    <a:moveTo>
                      <a:pt x="3572" y="6458"/>
                    </a:moveTo>
                    <a:lnTo>
                      <a:pt x="3572" y="7014"/>
                    </a:lnTo>
                    <a:lnTo>
                      <a:pt x="3742" y="7014"/>
                    </a:lnTo>
                    <a:lnTo>
                      <a:pt x="3742" y="6458"/>
                    </a:lnTo>
                    <a:lnTo>
                      <a:pt x="3572" y="6458"/>
                    </a:lnTo>
                    <a:close/>
                    <a:moveTo>
                      <a:pt x="2381" y="1893"/>
                    </a:moveTo>
                    <a:lnTo>
                      <a:pt x="2381" y="2115"/>
                    </a:lnTo>
                    <a:lnTo>
                      <a:pt x="2551" y="2115"/>
                    </a:lnTo>
                    <a:lnTo>
                      <a:pt x="2551" y="1893"/>
                    </a:lnTo>
                    <a:lnTo>
                      <a:pt x="2381" y="1893"/>
                    </a:lnTo>
                    <a:close/>
                    <a:moveTo>
                      <a:pt x="7313" y="0"/>
                    </a:moveTo>
                    <a:lnTo>
                      <a:pt x="7654" y="0"/>
                    </a:lnTo>
                    <a:lnTo>
                      <a:pt x="7654" y="223"/>
                    </a:lnTo>
                    <a:lnTo>
                      <a:pt x="8504" y="223"/>
                    </a:lnTo>
                    <a:lnTo>
                      <a:pt x="8504" y="334"/>
                    </a:lnTo>
                    <a:lnTo>
                      <a:pt x="8334" y="334"/>
                    </a:lnTo>
                    <a:lnTo>
                      <a:pt x="8334" y="557"/>
                    </a:lnTo>
                    <a:lnTo>
                      <a:pt x="8504" y="557"/>
                    </a:lnTo>
                    <a:lnTo>
                      <a:pt x="8504" y="779"/>
                    </a:lnTo>
                    <a:lnTo>
                      <a:pt x="8334" y="779"/>
                    </a:lnTo>
                    <a:lnTo>
                      <a:pt x="7654" y="1113"/>
                    </a:lnTo>
                    <a:lnTo>
                      <a:pt x="7313" y="1113"/>
                    </a:lnTo>
                    <a:lnTo>
                      <a:pt x="7313" y="1336"/>
                    </a:lnTo>
                    <a:lnTo>
                      <a:pt x="7143" y="1336"/>
                    </a:lnTo>
                    <a:lnTo>
                      <a:pt x="7143" y="1559"/>
                    </a:lnTo>
                    <a:lnTo>
                      <a:pt x="6803" y="1559"/>
                    </a:lnTo>
                    <a:lnTo>
                      <a:pt x="6463" y="1781"/>
                    </a:lnTo>
                    <a:lnTo>
                      <a:pt x="6123" y="1781"/>
                    </a:lnTo>
                    <a:lnTo>
                      <a:pt x="5953" y="1893"/>
                    </a:lnTo>
                    <a:lnTo>
                      <a:pt x="5613" y="1893"/>
                    </a:lnTo>
                    <a:lnTo>
                      <a:pt x="5613" y="2338"/>
                    </a:lnTo>
                    <a:lnTo>
                      <a:pt x="6123" y="2338"/>
                    </a:lnTo>
                    <a:lnTo>
                      <a:pt x="5953" y="2561"/>
                    </a:lnTo>
                    <a:lnTo>
                      <a:pt x="5613" y="2561"/>
                    </a:lnTo>
                    <a:lnTo>
                      <a:pt x="5613" y="2672"/>
                    </a:lnTo>
                    <a:lnTo>
                      <a:pt x="5272" y="2672"/>
                    </a:lnTo>
                    <a:lnTo>
                      <a:pt x="5272" y="2895"/>
                    </a:lnTo>
                    <a:lnTo>
                      <a:pt x="4932" y="3118"/>
                    </a:lnTo>
                    <a:lnTo>
                      <a:pt x="5613" y="3118"/>
                    </a:lnTo>
                    <a:lnTo>
                      <a:pt x="5613" y="2895"/>
                    </a:lnTo>
                    <a:lnTo>
                      <a:pt x="5953" y="2895"/>
                    </a:lnTo>
                    <a:lnTo>
                      <a:pt x="5953" y="2672"/>
                    </a:lnTo>
                    <a:lnTo>
                      <a:pt x="6123" y="2672"/>
                    </a:lnTo>
                    <a:lnTo>
                      <a:pt x="6123" y="2895"/>
                    </a:lnTo>
                    <a:lnTo>
                      <a:pt x="6463" y="2895"/>
                    </a:lnTo>
                    <a:lnTo>
                      <a:pt x="6463" y="2672"/>
                    </a:lnTo>
                    <a:lnTo>
                      <a:pt x="7313" y="2672"/>
                    </a:lnTo>
                    <a:lnTo>
                      <a:pt x="7654" y="2561"/>
                    </a:lnTo>
                    <a:lnTo>
                      <a:pt x="8334" y="2561"/>
                    </a:lnTo>
                    <a:lnTo>
                      <a:pt x="8504" y="2672"/>
                    </a:lnTo>
                    <a:lnTo>
                      <a:pt x="10375" y="2672"/>
                    </a:lnTo>
                    <a:lnTo>
                      <a:pt x="10715" y="2895"/>
                    </a:lnTo>
                    <a:lnTo>
                      <a:pt x="11225" y="2895"/>
                    </a:lnTo>
                    <a:lnTo>
                      <a:pt x="11225" y="2672"/>
                    </a:lnTo>
                    <a:lnTo>
                      <a:pt x="11906" y="2672"/>
                    </a:lnTo>
                    <a:lnTo>
                      <a:pt x="11906" y="3340"/>
                    </a:lnTo>
                    <a:lnTo>
                      <a:pt x="11565" y="3340"/>
                    </a:lnTo>
                    <a:lnTo>
                      <a:pt x="11565" y="3674"/>
                    </a:lnTo>
                    <a:lnTo>
                      <a:pt x="11225" y="3674"/>
                    </a:lnTo>
                    <a:lnTo>
                      <a:pt x="11225" y="4231"/>
                    </a:lnTo>
                    <a:lnTo>
                      <a:pt x="10885" y="4231"/>
                    </a:lnTo>
                    <a:lnTo>
                      <a:pt x="10885" y="4454"/>
                    </a:lnTo>
                    <a:lnTo>
                      <a:pt x="10715" y="4454"/>
                    </a:lnTo>
                    <a:lnTo>
                      <a:pt x="10715" y="4899"/>
                    </a:lnTo>
                    <a:lnTo>
                      <a:pt x="9184" y="5790"/>
                    </a:lnTo>
                    <a:lnTo>
                      <a:pt x="9184" y="6012"/>
                    </a:lnTo>
                    <a:lnTo>
                      <a:pt x="9524" y="6012"/>
                    </a:lnTo>
                    <a:lnTo>
                      <a:pt x="9524" y="6458"/>
                    </a:lnTo>
                    <a:lnTo>
                      <a:pt x="8504" y="6458"/>
                    </a:lnTo>
                    <a:lnTo>
                      <a:pt x="8504" y="6569"/>
                    </a:lnTo>
                    <a:lnTo>
                      <a:pt x="8334" y="6792"/>
                    </a:lnTo>
                    <a:lnTo>
                      <a:pt x="7313" y="6792"/>
                    </a:lnTo>
                    <a:lnTo>
                      <a:pt x="7654" y="7014"/>
                    </a:lnTo>
                    <a:lnTo>
                      <a:pt x="7994" y="7014"/>
                    </a:lnTo>
                    <a:lnTo>
                      <a:pt x="7994" y="6792"/>
                    </a:lnTo>
                    <a:lnTo>
                      <a:pt x="8334" y="7014"/>
                    </a:lnTo>
                    <a:lnTo>
                      <a:pt x="10035" y="7014"/>
                    </a:lnTo>
                    <a:lnTo>
                      <a:pt x="10375" y="7237"/>
                    </a:lnTo>
                    <a:lnTo>
                      <a:pt x="10885" y="7348"/>
                    </a:lnTo>
                    <a:lnTo>
                      <a:pt x="11225" y="7348"/>
                    </a:lnTo>
                    <a:lnTo>
                      <a:pt x="11225" y="7571"/>
                    </a:lnTo>
                    <a:lnTo>
                      <a:pt x="11565" y="7571"/>
                    </a:lnTo>
                    <a:lnTo>
                      <a:pt x="12076" y="8016"/>
                    </a:lnTo>
                    <a:lnTo>
                      <a:pt x="12416" y="8351"/>
                    </a:lnTo>
                    <a:lnTo>
                      <a:pt x="12416" y="8796"/>
                    </a:lnTo>
                    <a:lnTo>
                      <a:pt x="12756" y="8907"/>
                    </a:lnTo>
                    <a:lnTo>
                      <a:pt x="12756" y="9575"/>
                    </a:lnTo>
                    <a:lnTo>
                      <a:pt x="13096" y="9687"/>
                    </a:lnTo>
                    <a:lnTo>
                      <a:pt x="13096" y="10132"/>
                    </a:lnTo>
                    <a:lnTo>
                      <a:pt x="13266" y="10132"/>
                    </a:lnTo>
                    <a:lnTo>
                      <a:pt x="13266" y="10355"/>
                    </a:lnTo>
                    <a:lnTo>
                      <a:pt x="14287" y="10355"/>
                    </a:lnTo>
                    <a:lnTo>
                      <a:pt x="14287" y="10466"/>
                    </a:lnTo>
                    <a:lnTo>
                      <a:pt x="14797" y="10466"/>
                    </a:lnTo>
                    <a:lnTo>
                      <a:pt x="14797" y="10689"/>
                    </a:lnTo>
                    <a:lnTo>
                      <a:pt x="15137" y="10689"/>
                    </a:lnTo>
                    <a:lnTo>
                      <a:pt x="15137" y="10911"/>
                    </a:lnTo>
                    <a:lnTo>
                      <a:pt x="15477" y="10911"/>
                    </a:lnTo>
                    <a:lnTo>
                      <a:pt x="15647" y="11023"/>
                    </a:lnTo>
                    <a:lnTo>
                      <a:pt x="15647" y="11245"/>
                    </a:lnTo>
                    <a:lnTo>
                      <a:pt x="15987" y="11245"/>
                    </a:lnTo>
                    <a:lnTo>
                      <a:pt x="15987" y="11468"/>
                    </a:lnTo>
                    <a:lnTo>
                      <a:pt x="16328" y="11468"/>
                    </a:lnTo>
                    <a:lnTo>
                      <a:pt x="16328" y="11802"/>
                    </a:lnTo>
                    <a:lnTo>
                      <a:pt x="16498" y="11802"/>
                    </a:lnTo>
                    <a:lnTo>
                      <a:pt x="16498" y="12025"/>
                    </a:lnTo>
                    <a:lnTo>
                      <a:pt x="16838" y="12025"/>
                    </a:lnTo>
                    <a:lnTo>
                      <a:pt x="16838" y="12581"/>
                    </a:lnTo>
                    <a:lnTo>
                      <a:pt x="17178" y="12581"/>
                    </a:lnTo>
                    <a:lnTo>
                      <a:pt x="17178" y="12804"/>
                    </a:lnTo>
                    <a:lnTo>
                      <a:pt x="16498" y="12804"/>
                    </a:lnTo>
                    <a:lnTo>
                      <a:pt x="16328" y="12581"/>
                    </a:lnTo>
                    <a:lnTo>
                      <a:pt x="16328" y="12804"/>
                    </a:lnTo>
                    <a:lnTo>
                      <a:pt x="16498" y="13027"/>
                    </a:lnTo>
                    <a:lnTo>
                      <a:pt x="16838" y="13027"/>
                    </a:lnTo>
                    <a:lnTo>
                      <a:pt x="16838" y="13249"/>
                    </a:lnTo>
                    <a:lnTo>
                      <a:pt x="17688" y="13806"/>
                    </a:lnTo>
                    <a:lnTo>
                      <a:pt x="17688" y="14029"/>
                    </a:lnTo>
                    <a:lnTo>
                      <a:pt x="16838" y="14586"/>
                    </a:lnTo>
                    <a:lnTo>
                      <a:pt x="17178" y="14586"/>
                    </a:lnTo>
                    <a:lnTo>
                      <a:pt x="17518" y="14808"/>
                    </a:lnTo>
                    <a:lnTo>
                      <a:pt x="17518" y="14920"/>
                    </a:lnTo>
                    <a:lnTo>
                      <a:pt x="17688" y="14808"/>
                    </a:lnTo>
                    <a:lnTo>
                      <a:pt x="17688" y="14586"/>
                    </a:lnTo>
                    <a:lnTo>
                      <a:pt x="18369" y="14586"/>
                    </a:lnTo>
                    <a:lnTo>
                      <a:pt x="18369" y="14363"/>
                    </a:lnTo>
                    <a:lnTo>
                      <a:pt x="19899" y="14363"/>
                    </a:lnTo>
                    <a:lnTo>
                      <a:pt x="20069" y="14586"/>
                    </a:lnTo>
                    <a:lnTo>
                      <a:pt x="20750" y="14586"/>
                    </a:lnTo>
                    <a:lnTo>
                      <a:pt x="21600" y="15142"/>
                    </a:lnTo>
                    <a:lnTo>
                      <a:pt x="21600" y="15922"/>
                    </a:lnTo>
                    <a:lnTo>
                      <a:pt x="21260" y="15922"/>
                    </a:lnTo>
                    <a:lnTo>
                      <a:pt x="21260" y="16367"/>
                    </a:lnTo>
                    <a:lnTo>
                      <a:pt x="21090" y="16478"/>
                    </a:lnTo>
                    <a:lnTo>
                      <a:pt x="21090" y="16701"/>
                    </a:lnTo>
                    <a:lnTo>
                      <a:pt x="20409" y="16701"/>
                    </a:lnTo>
                    <a:lnTo>
                      <a:pt x="20409" y="16924"/>
                    </a:lnTo>
                    <a:lnTo>
                      <a:pt x="20069" y="16924"/>
                    </a:lnTo>
                    <a:lnTo>
                      <a:pt x="20069" y="17258"/>
                    </a:lnTo>
                    <a:lnTo>
                      <a:pt x="19219" y="17258"/>
                    </a:lnTo>
                    <a:lnTo>
                      <a:pt x="19219" y="17703"/>
                    </a:lnTo>
                    <a:lnTo>
                      <a:pt x="18879" y="17926"/>
                    </a:lnTo>
                    <a:lnTo>
                      <a:pt x="18369" y="17926"/>
                    </a:lnTo>
                    <a:lnTo>
                      <a:pt x="18028" y="18037"/>
                    </a:lnTo>
                    <a:lnTo>
                      <a:pt x="19899" y="18037"/>
                    </a:lnTo>
                    <a:lnTo>
                      <a:pt x="19899" y="18260"/>
                    </a:lnTo>
                    <a:lnTo>
                      <a:pt x="20069" y="18260"/>
                    </a:lnTo>
                    <a:lnTo>
                      <a:pt x="20069" y="18037"/>
                    </a:lnTo>
                    <a:lnTo>
                      <a:pt x="20750" y="18037"/>
                    </a:lnTo>
                    <a:lnTo>
                      <a:pt x="20750" y="18260"/>
                    </a:lnTo>
                    <a:lnTo>
                      <a:pt x="20409" y="18260"/>
                    </a:lnTo>
                    <a:lnTo>
                      <a:pt x="20409" y="18817"/>
                    </a:lnTo>
                    <a:lnTo>
                      <a:pt x="20069" y="18817"/>
                    </a:lnTo>
                    <a:lnTo>
                      <a:pt x="19219" y="19485"/>
                    </a:lnTo>
                    <a:lnTo>
                      <a:pt x="18709" y="19485"/>
                    </a:lnTo>
                    <a:lnTo>
                      <a:pt x="18369" y="19596"/>
                    </a:lnTo>
                    <a:lnTo>
                      <a:pt x="16498" y="19596"/>
                    </a:lnTo>
                    <a:lnTo>
                      <a:pt x="15987" y="19485"/>
                    </a:lnTo>
                    <a:lnTo>
                      <a:pt x="15647" y="19596"/>
                    </a:lnTo>
                    <a:lnTo>
                      <a:pt x="15137" y="19596"/>
                    </a:lnTo>
                    <a:lnTo>
                      <a:pt x="14797" y="19819"/>
                    </a:lnTo>
                    <a:lnTo>
                      <a:pt x="14457" y="19819"/>
                    </a:lnTo>
                    <a:lnTo>
                      <a:pt x="14457" y="19596"/>
                    </a:lnTo>
                    <a:lnTo>
                      <a:pt x="14287" y="19596"/>
                    </a:lnTo>
                    <a:lnTo>
                      <a:pt x="14287" y="19485"/>
                    </a:lnTo>
                    <a:lnTo>
                      <a:pt x="13946" y="19485"/>
                    </a:lnTo>
                    <a:lnTo>
                      <a:pt x="13946" y="19596"/>
                    </a:lnTo>
                    <a:lnTo>
                      <a:pt x="13606" y="19485"/>
                    </a:lnTo>
                    <a:lnTo>
                      <a:pt x="12756" y="19485"/>
                    </a:lnTo>
                    <a:lnTo>
                      <a:pt x="12756" y="19596"/>
                    </a:lnTo>
                    <a:lnTo>
                      <a:pt x="12416" y="19596"/>
                    </a:lnTo>
                    <a:lnTo>
                      <a:pt x="12416" y="19819"/>
                    </a:lnTo>
                    <a:lnTo>
                      <a:pt x="11565" y="19819"/>
                    </a:lnTo>
                    <a:lnTo>
                      <a:pt x="11565" y="20041"/>
                    </a:lnTo>
                    <a:lnTo>
                      <a:pt x="10375" y="20041"/>
                    </a:lnTo>
                    <a:lnTo>
                      <a:pt x="10375" y="20264"/>
                    </a:lnTo>
                    <a:lnTo>
                      <a:pt x="10035" y="20264"/>
                    </a:lnTo>
                    <a:lnTo>
                      <a:pt x="9694" y="20041"/>
                    </a:lnTo>
                    <a:lnTo>
                      <a:pt x="9694" y="19819"/>
                    </a:lnTo>
                    <a:lnTo>
                      <a:pt x="7313" y="19819"/>
                    </a:lnTo>
                    <a:lnTo>
                      <a:pt x="7313" y="20264"/>
                    </a:lnTo>
                    <a:lnTo>
                      <a:pt x="7143" y="20375"/>
                    </a:lnTo>
                    <a:lnTo>
                      <a:pt x="7143" y="20598"/>
                    </a:lnTo>
                    <a:lnTo>
                      <a:pt x="6803" y="20821"/>
                    </a:lnTo>
                    <a:lnTo>
                      <a:pt x="6803" y="20932"/>
                    </a:lnTo>
                    <a:lnTo>
                      <a:pt x="6123" y="20932"/>
                    </a:lnTo>
                    <a:lnTo>
                      <a:pt x="6123" y="20821"/>
                    </a:lnTo>
                    <a:lnTo>
                      <a:pt x="5613" y="20821"/>
                    </a:lnTo>
                    <a:lnTo>
                      <a:pt x="5613" y="20598"/>
                    </a:lnTo>
                    <a:lnTo>
                      <a:pt x="5272" y="20598"/>
                    </a:lnTo>
                    <a:lnTo>
                      <a:pt x="5272" y="20821"/>
                    </a:lnTo>
                    <a:lnTo>
                      <a:pt x="4932" y="20598"/>
                    </a:lnTo>
                    <a:lnTo>
                      <a:pt x="4762" y="20598"/>
                    </a:lnTo>
                    <a:lnTo>
                      <a:pt x="4762" y="20821"/>
                    </a:lnTo>
                    <a:lnTo>
                      <a:pt x="4082" y="20821"/>
                    </a:lnTo>
                    <a:lnTo>
                      <a:pt x="3742" y="20932"/>
                    </a:lnTo>
                    <a:lnTo>
                      <a:pt x="3231" y="20932"/>
                    </a:lnTo>
                    <a:lnTo>
                      <a:pt x="2891" y="21155"/>
                    </a:lnTo>
                    <a:lnTo>
                      <a:pt x="2891" y="21377"/>
                    </a:lnTo>
                    <a:lnTo>
                      <a:pt x="2551" y="21600"/>
                    </a:lnTo>
                    <a:lnTo>
                      <a:pt x="2381" y="21377"/>
                    </a:lnTo>
                    <a:lnTo>
                      <a:pt x="1191" y="21377"/>
                    </a:lnTo>
                    <a:lnTo>
                      <a:pt x="1191" y="21155"/>
                    </a:lnTo>
                    <a:lnTo>
                      <a:pt x="1701" y="21155"/>
                    </a:lnTo>
                    <a:lnTo>
                      <a:pt x="1701" y="20932"/>
                    </a:lnTo>
                    <a:lnTo>
                      <a:pt x="2041" y="20821"/>
                    </a:lnTo>
                    <a:lnTo>
                      <a:pt x="2551" y="20821"/>
                    </a:lnTo>
                    <a:lnTo>
                      <a:pt x="2551" y="20375"/>
                    </a:lnTo>
                    <a:lnTo>
                      <a:pt x="3231" y="20375"/>
                    </a:lnTo>
                    <a:lnTo>
                      <a:pt x="3572" y="20264"/>
                    </a:lnTo>
                    <a:lnTo>
                      <a:pt x="3572" y="20041"/>
                    </a:lnTo>
                    <a:lnTo>
                      <a:pt x="4082" y="20041"/>
                    </a:lnTo>
                    <a:lnTo>
                      <a:pt x="4082" y="19596"/>
                    </a:lnTo>
                    <a:lnTo>
                      <a:pt x="4422" y="19596"/>
                    </a:lnTo>
                    <a:lnTo>
                      <a:pt x="4422" y="19262"/>
                    </a:lnTo>
                    <a:lnTo>
                      <a:pt x="4762" y="19039"/>
                    </a:lnTo>
                    <a:lnTo>
                      <a:pt x="4762" y="18817"/>
                    </a:lnTo>
                    <a:lnTo>
                      <a:pt x="5272" y="18817"/>
                    </a:lnTo>
                    <a:lnTo>
                      <a:pt x="5272" y="18705"/>
                    </a:lnTo>
                    <a:lnTo>
                      <a:pt x="5953" y="18705"/>
                    </a:lnTo>
                    <a:lnTo>
                      <a:pt x="6123" y="18482"/>
                    </a:lnTo>
                    <a:lnTo>
                      <a:pt x="7654" y="18482"/>
                    </a:lnTo>
                    <a:lnTo>
                      <a:pt x="7654" y="18705"/>
                    </a:lnTo>
                    <a:lnTo>
                      <a:pt x="8504" y="18705"/>
                    </a:lnTo>
                    <a:lnTo>
                      <a:pt x="8504" y="18482"/>
                    </a:lnTo>
                    <a:lnTo>
                      <a:pt x="8844" y="18260"/>
                    </a:lnTo>
                    <a:lnTo>
                      <a:pt x="8844" y="18037"/>
                    </a:lnTo>
                    <a:lnTo>
                      <a:pt x="9524" y="17703"/>
                    </a:lnTo>
                    <a:lnTo>
                      <a:pt x="8504" y="17703"/>
                    </a:lnTo>
                    <a:lnTo>
                      <a:pt x="8504" y="17926"/>
                    </a:lnTo>
                    <a:lnTo>
                      <a:pt x="8334" y="17926"/>
                    </a:lnTo>
                    <a:lnTo>
                      <a:pt x="8334" y="18037"/>
                    </a:lnTo>
                    <a:lnTo>
                      <a:pt x="6803" y="18037"/>
                    </a:lnTo>
                    <a:lnTo>
                      <a:pt x="6803" y="17703"/>
                    </a:lnTo>
                    <a:lnTo>
                      <a:pt x="5272" y="17703"/>
                    </a:lnTo>
                    <a:lnTo>
                      <a:pt x="5272" y="17258"/>
                    </a:lnTo>
                    <a:lnTo>
                      <a:pt x="4932" y="17258"/>
                    </a:lnTo>
                    <a:lnTo>
                      <a:pt x="4762" y="17146"/>
                    </a:lnTo>
                    <a:lnTo>
                      <a:pt x="4422" y="17258"/>
                    </a:lnTo>
                    <a:lnTo>
                      <a:pt x="3742" y="17480"/>
                    </a:lnTo>
                    <a:lnTo>
                      <a:pt x="3572" y="17480"/>
                    </a:lnTo>
                    <a:lnTo>
                      <a:pt x="3572" y="17703"/>
                    </a:lnTo>
                    <a:lnTo>
                      <a:pt x="2891" y="17703"/>
                    </a:lnTo>
                    <a:lnTo>
                      <a:pt x="2891" y="17480"/>
                    </a:lnTo>
                    <a:lnTo>
                      <a:pt x="3231" y="17480"/>
                    </a:lnTo>
                    <a:lnTo>
                      <a:pt x="3572" y="17258"/>
                    </a:lnTo>
                    <a:lnTo>
                      <a:pt x="2891" y="17258"/>
                    </a:lnTo>
                    <a:lnTo>
                      <a:pt x="2891" y="17146"/>
                    </a:lnTo>
                    <a:lnTo>
                      <a:pt x="2381" y="17146"/>
                    </a:lnTo>
                    <a:lnTo>
                      <a:pt x="2381" y="16924"/>
                    </a:lnTo>
                    <a:lnTo>
                      <a:pt x="2551" y="16924"/>
                    </a:lnTo>
                    <a:lnTo>
                      <a:pt x="2891" y="16701"/>
                    </a:lnTo>
                    <a:lnTo>
                      <a:pt x="3572" y="16701"/>
                    </a:lnTo>
                    <a:lnTo>
                      <a:pt x="3742" y="16478"/>
                    </a:lnTo>
                    <a:lnTo>
                      <a:pt x="4082" y="16478"/>
                    </a:lnTo>
                    <a:lnTo>
                      <a:pt x="4082" y="16367"/>
                    </a:lnTo>
                    <a:lnTo>
                      <a:pt x="4932" y="16367"/>
                    </a:lnTo>
                    <a:lnTo>
                      <a:pt x="4932" y="16144"/>
                    </a:lnTo>
                    <a:lnTo>
                      <a:pt x="5272" y="16144"/>
                    </a:lnTo>
                    <a:lnTo>
                      <a:pt x="5613" y="15922"/>
                    </a:lnTo>
                    <a:lnTo>
                      <a:pt x="5613" y="15699"/>
                    </a:lnTo>
                    <a:lnTo>
                      <a:pt x="5953" y="15699"/>
                    </a:lnTo>
                    <a:lnTo>
                      <a:pt x="5953" y="15365"/>
                    </a:lnTo>
                    <a:lnTo>
                      <a:pt x="5613" y="15365"/>
                    </a:lnTo>
                    <a:lnTo>
                      <a:pt x="5613" y="14363"/>
                    </a:lnTo>
                    <a:lnTo>
                      <a:pt x="5272" y="14363"/>
                    </a:lnTo>
                    <a:lnTo>
                      <a:pt x="5272" y="14586"/>
                    </a:lnTo>
                    <a:lnTo>
                      <a:pt x="4762" y="14586"/>
                    </a:lnTo>
                    <a:lnTo>
                      <a:pt x="4422" y="14808"/>
                    </a:lnTo>
                    <a:lnTo>
                      <a:pt x="3742" y="14808"/>
                    </a:lnTo>
                    <a:lnTo>
                      <a:pt x="3742" y="14586"/>
                    </a:lnTo>
                    <a:lnTo>
                      <a:pt x="4422" y="14586"/>
                    </a:lnTo>
                    <a:lnTo>
                      <a:pt x="4932" y="14140"/>
                    </a:lnTo>
                    <a:lnTo>
                      <a:pt x="4932" y="14029"/>
                    </a:lnTo>
                    <a:lnTo>
                      <a:pt x="5272" y="14029"/>
                    </a:lnTo>
                    <a:lnTo>
                      <a:pt x="5272" y="13806"/>
                    </a:lnTo>
                    <a:lnTo>
                      <a:pt x="5953" y="13806"/>
                    </a:lnTo>
                    <a:lnTo>
                      <a:pt x="5953" y="13584"/>
                    </a:lnTo>
                    <a:lnTo>
                      <a:pt x="8334" y="13584"/>
                    </a:lnTo>
                    <a:lnTo>
                      <a:pt x="7994" y="13361"/>
                    </a:lnTo>
                    <a:lnTo>
                      <a:pt x="8334" y="13361"/>
                    </a:lnTo>
                    <a:lnTo>
                      <a:pt x="8504" y="13584"/>
                    </a:lnTo>
                    <a:lnTo>
                      <a:pt x="8844" y="13584"/>
                    </a:lnTo>
                    <a:lnTo>
                      <a:pt x="8844" y="13361"/>
                    </a:lnTo>
                    <a:lnTo>
                      <a:pt x="8334" y="13361"/>
                    </a:lnTo>
                    <a:lnTo>
                      <a:pt x="8334" y="12804"/>
                    </a:lnTo>
                    <a:lnTo>
                      <a:pt x="8504" y="12581"/>
                    </a:lnTo>
                    <a:lnTo>
                      <a:pt x="8504" y="12470"/>
                    </a:lnTo>
                    <a:lnTo>
                      <a:pt x="8334" y="12247"/>
                    </a:lnTo>
                    <a:lnTo>
                      <a:pt x="8334" y="12025"/>
                    </a:lnTo>
                    <a:lnTo>
                      <a:pt x="8504" y="12025"/>
                    </a:lnTo>
                    <a:lnTo>
                      <a:pt x="8504" y="11691"/>
                    </a:lnTo>
                    <a:lnTo>
                      <a:pt x="8844" y="11468"/>
                    </a:lnTo>
                    <a:lnTo>
                      <a:pt x="8844" y="11245"/>
                    </a:lnTo>
                    <a:lnTo>
                      <a:pt x="8504" y="11245"/>
                    </a:lnTo>
                    <a:lnTo>
                      <a:pt x="8504" y="11468"/>
                    </a:lnTo>
                    <a:lnTo>
                      <a:pt x="8334" y="11468"/>
                    </a:lnTo>
                    <a:lnTo>
                      <a:pt x="8334" y="11802"/>
                    </a:lnTo>
                    <a:lnTo>
                      <a:pt x="7994" y="11802"/>
                    </a:lnTo>
                    <a:lnTo>
                      <a:pt x="7994" y="11468"/>
                    </a:lnTo>
                    <a:lnTo>
                      <a:pt x="7654" y="11468"/>
                    </a:lnTo>
                    <a:lnTo>
                      <a:pt x="7654" y="11245"/>
                    </a:lnTo>
                    <a:lnTo>
                      <a:pt x="7313" y="11023"/>
                    </a:lnTo>
                    <a:lnTo>
                      <a:pt x="7313" y="10911"/>
                    </a:lnTo>
                    <a:lnTo>
                      <a:pt x="6803" y="10911"/>
                    </a:lnTo>
                    <a:lnTo>
                      <a:pt x="6803" y="10466"/>
                    </a:lnTo>
                    <a:lnTo>
                      <a:pt x="7143" y="10355"/>
                    </a:lnTo>
                    <a:lnTo>
                      <a:pt x="7143" y="10132"/>
                    </a:lnTo>
                    <a:lnTo>
                      <a:pt x="7654" y="9687"/>
                    </a:lnTo>
                    <a:lnTo>
                      <a:pt x="7654" y="9575"/>
                    </a:lnTo>
                    <a:lnTo>
                      <a:pt x="6803" y="9575"/>
                    </a:lnTo>
                    <a:lnTo>
                      <a:pt x="6803" y="9687"/>
                    </a:lnTo>
                    <a:lnTo>
                      <a:pt x="6463" y="9687"/>
                    </a:lnTo>
                    <a:lnTo>
                      <a:pt x="6463" y="9909"/>
                    </a:lnTo>
                    <a:lnTo>
                      <a:pt x="6123" y="9909"/>
                    </a:lnTo>
                    <a:lnTo>
                      <a:pt x="6123" y="10132"/>
                    </a:lnTo>
                    <a:lnTo>
                      <a:pt x="5953" y="10132"/>
                    </a:lnTo>
                    <a:lnTo>
                      <a:pt x="5953" y="9909"/>
                    </a:lnTo>
                    <a:lnTo>
                      <a:pt x="5613" y="9909"/>
                    </a:lnTo>
                    <a:lnTo>
                      <a:pt x="5613" y="10132"/>
                    </a:lnTo>
                    <a:lnTo>
                      <a:pt x="5272" y="9909"/>
                    </a:lnTo>
                    <a:lnTo>
                      <a:pt x="5272" y="9687"/>
                    </a:lnTo>
                    <a:lnTo>
                      <a:pt x="4762" y="9687"/>
                    </a:lnTo>
                    <a:lnTo>
                      <a:pt x="4762" y="9909"/>
                    </a:lnTo>
                    <a:lnTo>
                      <a:pt x="4932" y="9909"/>
                    </a:lnTo>
                    <a:lnTo>
                      <a:pt x="4932" y="10132"/>
                    </a:lnTo>
                    <a:lnTo>
                      <a:pt x="4762" y="10132"/>
                    </a:lnTo>
                    <a:lnTo>
                      <a:pt x="4762" y="10355"/>
                    </a:lnTo>
                    <a:lnTo>
                      <a:pt x="4422" y="10355"/>
                    </a:lnTo>
                    <a:lnTo>
                      <a:pt x="4422" y="10132"/>
                    </a:lnTo>
                    <a:lnTo>
                      <a:pt x="4082" y="10132"/>
                    </a:lnTo>
                    <a:lnTo>
                      <a:pt x="4082" y="9909"/>
                    </a:lnTo>
                    <a:lnTo>
                      <a:pt x="2891" y="9909"/>
                    </a:lnTo>
                    <a:lnTo>
                      <a:pt x="2891" y="9687"/>
                    </a:lnTo>
                    <a:lnTo>
                      <a:pt x="2551" y="9687"/>
                    </a:lnTo>
                    <a:lnTo>
                      <a:pt x="2551" y="9575"/>
                    </a:lnTo>
                    <a:lnTo>
                      <a:pt x="3231" y="9575"/>
                    </a:lnTo>
                    <a:lnTo>
                      <a:pt x="3231" y="8907"/>
                    </a:lnTo>
                    <a:lnTo>
                      <a:pt x="3572" y="8796"/>
                    </a:lnTo>
                    <a:lnTo>
                      <a:pt x="3742" y="8796"/>
                    </a:lnTo>
                    <a:lnTo>
                      <a:pt x="3742" y="8573"/>
                    </a:lnTo>
                    <a:lnTo>
                      <a:pt x="4082" y="8573"/>
                    </a:lnTo>
                    <a:lnTo>
                      <a:pt x="4082" y="8016"/>
                    </a:lnTo>
                    <a:lnTo>
                      <a:pt x="3742" y="8016"/>
                    </a:lnTo>
                    <a:lnTo>
                      <a:pt x="3742" y="7794"/>
                    </a:lnTo>
                    <a:lnTo>
                      <a:pt x="3572" y="7794"/>
                    </a:lnTo>
                    <a:lnTo>
                      <a:pt x="3572" y="7237"/>
                    </a:lnTo>
                    <a:lnTo>
                      <a:pt x="3231" y="7237"/>
                    </a:lnTo>
                    <a:lnTo>
                      <a:pt x="3231" y="7348"/>
                    </a:lnTo>
                    <a:lnTo>
                      <a:pt x="2891" y="7348"/>
                    </a:lnTo>
                    <a:lnTo>
                      <a:pt x="2891" y="7237"/>
                    </a:lnTo>
                    <a:lnTo>
                      <a:pt x="2551" y="7237"/>
                    </a:lnTo>
                    <a:lnTo>
                      <a:pt x="2551" y="7348"/>
                    </a:lnTo>
                    <a:lnTo>
                      <a:pt x="2381" y="7348"/>
                    </a:lnTo>
                    <a:lnTo>
                      <a:pt x="2381" y="6792"/>
                    </a:lnTo>
                    <a:lnTo>
                      <a:pt x="2041" y="6792"/>
                    </a:lnTo>
                    <a:lnTo>
                      <a:pt x="2041" y="7237"/>
                    </a:lnTo>
                    <a:lnTo>
                      <a:pt x="2381" y="7348"/>
                    </a:lnTo>
                    <a:lnTo>
                      <a:pt x="2381" y="7571"/>
                    </a:lnTo>
                    <a:lnTo>
                      <a:pt x="2041" y="7571"/>
                    </a:lnTo>
                    <a:lnTo>
                      <a:pt x="1701" y="7794"/>
                    </a:lnTo>
                    <a:lnTo>
                      <a:pt x="1701" y="8796"/>
                    </a:lnTo>
                    <a:lnTo>
                      <a:pt x="1361" y="8796"/>
                    </a:lnTo>
                    <a:lnTo>
                      <a:pt x="1361" y="8573"/>
                    </a:lnTo>
                    <a:lnTo>
                      <a:pt x="850" y="8573"/>
                    </a:lnTo>
                    <a:lnTo>
                      <a:pt x="850" y="8351"/>
                    </a:lnTo>
                    <a:lnTo>
                      <a:pt x="1191" y="8351"/>
                    </a:lnTo>
                    <a:lnTo>
                      <a:pt x="1191" y="8016"/>
                    </a:lnTo>
                    <a:lnTo>
                      <a:pt x="1361" y="7794"/>
                    </a:lnTo>
                    <a:lnTo>
                      <a:pt x="1361" y="7571"/>
                    </a:lnTo>
                    <a:lnTo>
                      <a:pt x="1701" y="7571"/>
                    </a:lnTo>
                    <a:lnTo>
                      <a:pt x="1701" y="7348"/>
                    </a:lnTo>
                    <a:lnTo>
                      <a:pt x="1361" y="7348"/>
                    </a:lnTo>
                    <a:lnTo>
                      <a:pt x="1361" y="7237"/>
                    </a:lnTo>
                    <a:lnTo>
                      <a:pt x="1191" y="7237"/>
                    </a:lnTo>
                    <a:lnTo>
                      <a:pt x="1191" y="7014"/>
                    </a:lnTo>
                    <a:lnTo>
                      <a:pt x="1361" y="7014"/>
                    </a:lnTo>
                    <a:lnTo>
                      <a:pt x="1361" y="6792"/>
                    </a:lnTo>
                    <a:lnTo>
                      <a:pt x="1701" y="6569"/>
                    </a:lnTo>
                    <a:lnTo>
                      <a:pt x="1701" y="5790"/>
                    </a:lnTo>
                    <a:lnTo>
                      <a:pt x="2041" y="5678"/>
                    </a:lnTo>
                    <a:lnTo>
                      <a:pt x="2041" y="5456"/>
                    </a:lnTo>
                    <a:lnTo>
                      <a:pt x="2381" y="5456"/>
                    </a:lnTo>
                    <a:lnTo>
                      <a:pt x="2551" y="5233"/>
                    </a:lnTo>
                    <a:lnTo>
                      <a:pt x="2551" y="5010"/>
                    </a:lnTo>
                    <a:lnTo>
                      <a:pt x="2891" y="4899"/>
                    </a:lnTo>
                    <a:lnTo>
                      <a:pt x="2551" y="4899"/>
                    </a:lnTo>
                    <a:lnTo>
                      <a:pt x="2551" y="5010"/>
                    </a:lnTo>
                    <a:lnTo>
                      <a:pt x="2381" y="5233"/>
                    </a:lnTo>
                    <a:lnTo>
                      <a:pt x="2041" y="5233"/>
                    </a:lnTo>
                    <a:lnTo>
                      <a:pt x="2041" y="5456"/>
                    </a:lnTo>
                    <a:lnTo>
                      <a:pt x="1701" y="5456"/>
                    </a:lnTo>
                    <a:lnTo>
                      <a:pt x="1701" y="5678"/>
                    </a:lnTo>
                    <a:lnTo>
                      <a:pt x="850" y="5678"/>
                    </a:lnTo>
                    <a:lnTo>
                      <a:pt x="510" y="5456"/>
                    </a:lnTo>
                    <a:lnTo>
                      <a:pt x="510" y="5233"/>
                    </a:lnTo>
                    <a:lnTo>
                      <a:pt x="0" y="5233"/>
                    </a:lnTo>
                    <a:lnTo>
                      <a:pt x="0" y="5010"/>
                    </a:lnTo>
                    <a:lnTo>
                      <a:pt x="850" y="5010"/>
                    </a:lnTo>
                    <a:lnTo>
                      <a:pt x="850" y="4676"/>
                    </a:lnTo>
                    <a:lnTo>
                      <a:pt x="510" y="4676"/>
                    </a:lnTo>
                    <a:lnTo>
                      <a:pt x="510" y="4454"/>
                    </a:lnTo>
                    <a:lnTo>
                      <a:pt x="1191" y="4454"/>
                    </a:lnTo>
                    <a:lnTo>
                      <a:pt x="850" y="4231"/>
                    </a:lnTo>
                    <a:lnTo>
                      <a:pt x="1191" y="4231"/>
                    </a:lnTo>
                    <a:lnTo>
                      <a:pt x="1191" y="4120"/>
                    </a:lnTo>
                    <a:lnTo>
                      <a:pt x="1361" y="4120"/>
                    </a:lnTo>
                    <a:lnTo>
                      <a:pt x="1191" y="3897"/>
                    </a:lnTo>
                    <a:lnTo>
                      <a:pt x="1191" y="3674"/>
                    </a:lnTo>
                    <a:lnTo>
                      <a:pt x="850" y="3674"/>
                    </a:lnTo>
                    <a:lnTo>
                      <a:pt x="850" y="3452"/>
                    </a:lnTo>
                    <a:lnTo>
                      <a:pt x="1361" y="3452"/>
                    </a:lnTo>
                    <a:lnTo>
                      <a:pt x="1361" y="3340"/>
                    </a:lnTo>
                    <a:lnTo>
                      <a:pt x="850" y="3340"/>
                    </a:lnTo>
                    <a:lnTo>
                      <a:pt x="850" y="2895"/>
                    </a:lnTo>
                    <a:lnTo>
                      <a:pt x="1191" y="2895"/>
                    </a:lnTo>
                    <a:lnTo>
                      <a:pt x="1191" y="3118"/>
                    </a:lnTo>
                    <a:lnTo>
                      <a:pt x="1701" y="3118"/>
                    </a:lnTo>
                    <a:lnTo>
                      <a:pt x="1191" y="2672"/>
                    </a:lnTo>
                    <a:lnTo>
                      <a:pt x="850" y="2672"/>
                    </a:lnTo>
                    <a:lnTo>
                      <a:pt x="850" y="2115"/>
                    </a:lnTo>
                    <a:lnTo>
                      <a:pt x="2041" y="2115"/>
                    </a:lnTo>
                    <a:lnTo>
                      <a:pt x="2041" y="1781"/>
                    </a:lnTo>
                    <a:lnTo>
                      <a:pt x="1701" y="1781"/>
                    </a:lnTo>
                    <a:lnTo>
                      <a:pt x="1701" y="1559"/>
                    </a:lnTo>
                    <a:lnTo>
                      <a:pt x="2381" y="1559"/>
                    </a:lnTo>
                    <a:lnTo>
                      <a:pt x="2381" y="1336"/>
                    </a:lnTo>
                    <a:lnTo>
                      <a:pt x="2041" y="1336"/>
                    </a:lnTo>
                    <a:lnTo>
                      <a:pt x="2041" y="1113"/>
                    </a:lnTo>
                    <a:lnTo>
                      <a:pt x="2891" y="1113"/>
                    </a:lnTo>
                    <a:lnTo>
                      <a:pt x="2891" y="1002"/>
                    </a:lnTo>
                    <a:lnTo>
                      <a:pt x="2551" y="1002"/>
                    </a:lnTo>
                    <a:lnTo>
                      <a:pt x="2551" y="779"/>
                    </a:lnTo>
                    <a:lnTo>
                      <a:pt x="2891" y="779"/>
                    </a:lnTo>
                    <a:lnTo>
                      <a:pt x="2891" y="557"/>
                    </a:lnTo>
                    <a:lnTo>
                      <a:pt x="2551" y="557"/>
                    </a:lnTo>
                    <a:lnTo>
                      <a:pt x="2551" y="334"/>
                    </a:lnTo>
                    <a:lnTo>
                      <a:pt x="2891" y="334"/>
                    </a:lnTo>
                    <a:lnTo>
                      <a:pt x="2891" y="223"/>
                    </a:lnTo>
                    <a:lnTo>
                      <a:pt x="3231" y="223"/>
                    </a:lnTo>
                    <a:lnTo>
                      <a:pt x="3231" y="334"/>
                    </a:lnTo>
                    <a:lnTo>
                      <a:pt x="3572" y="334"/>
                    </a:lnTo>
                    <a:lnTo>
                      <a:pt x="3572" y="223"/>
                    </a:lnTo>
                    <a:lnTo>
                      <a:pt x="3742" y="223"/>
                    </a:lnTo>
                    <a:lnTo>
                      <a:pt x="3742" y="557"/>
                    </a:lnTo>
                    <a:lnTo>
                      <a:pt x="4082" y="557"/>
                    </a:lnTo>
                    <a:lnTo>
                      <a:pt x="4082" y="334"/>
                    </a:lnTo>
                    <a:lnTo>
                      <a:pt x="4762" y="334"/>
                    </a:lnTo>
                    <a:lnTo>
                      <a:pt x="4762" y="557"/>
                    </a:lnTo>
                    <a:lnTo>
                      <a:pt x="4932" y="557"/>
                    </a:lnTo>
                    <a:lnTo>
                      <a:pt x="4932" y="334"/>
                    </a:lnTo>
                    <a:lnTo>
                      <a:pt x="6463" y="334"/>
                    </a:lnTo>
                    <a:lnTo>
                      <a:pt x="6803" y="223"/>
                    </a:lnTo>
                    <a:lnTo>
                      <a:pt x="7313" y="223"/>
                    </a:lnTo>
                    <a:lnTo>
                      <a:pt x="7313" y="0"/>
                    </a:lnTo>
                    <a:close/>
                    <a:moveTo>
                      <a:pt x="7313" y="0"/>
                    </a:moveTo>
                  </a:path>
                </a:pathLst>
              </a:custGeom>
              <a:solidFill>
                <a:srgbClr val="00BACF"/>
              </a:solidFill>
              <a:ln w="12700">
                <a:solidFill>
                  <a:srgbClr val="FFFFFF"/>
                </a:solidFill>
                <a:round/>
                <a:headEnd/>
                <a:tailEnd/>
              </a:ln>
            </p:spPr>
            <p:txBody>
              <a:bodyPr lIns="0" tIns="0" rIns="0" bIns="0"/>
              <a:lstStyle/>
              <a:p>
                <a:endParaRPr lang="en-US"/>
              </a:p>
            </p:txBody>
          </p:sp>
          <p:sp>
            <p:nvSpPr>
              <p:cNvPr id="95" name="AutoShape 49"/>
              <p:cNvSpPr>
                <a:spLocks/>
              </p:cNvSpPr>
              <p:nvPr/>
            </p:nvSpPr>
            <p:spPr bwMode="auto">
              <a:xfrm>
                <a:off x="2954" y="2656"/>
                <a:ext cx="1665" cy="93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w 21600"/>
                  <a:gd name="T117" fmla="*/ 0 h 21600"/>
                  <a:gd name="T118" fmla="*/ 0 w 21600"/>
                  <a:gd name="T119" fmla="*/ 0 h 2160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1600"/>
                  <a:gd name="T181" fmla="*/ 0 h 21600"/>
                  <a:gd name="T182" fmla="*/ 21600 w 21600"/>
                  <a:gd name="T183" fmla="*/ 21600 h 2160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1600" h="21600">
                    <a:moveTo>
                      <a:pt x="17103" y="19098"/>
                    </a:moveTo>
                    <a:lnTo>
                      <a:pt x="17251" y="19098"/>
                    </a:lnTo>
                    <a:lnTo>
                      <a:pt x="17251" y="19361"/>
                    </a:lnTo>
                    <a:lnTo>
                      <a:pt x="17103" y="19361"/>
                    </a:lnTo>
                    <a:lnTo>
                      <a:pt x="17103" y="19098"/>
                    </a:lnTo>
                    <a:close/>
                    <a:moveTo>
                      <a:pt x="15702" y="19098"/>
                    </a:moveTo>
                    <a:lnTo>
                      <a:pt x="15850" y="19098"/>
                    </a:lnTo>
                    <a:lnTo>
                      <a:pt x="15850" y="19361"/>
                    </a:lnTo>
                    <a:lnTo>
                      <a:pt x="15702" y="19361"/>
                    </a:lnTo>
                    <a:lnTo>
                      <a:pt x="15702" y="19098"/>
                    </a:lnTo>
                    <a:close/>
                    <a:moveTo>
                      <a:pt x="15555" y="18834"/>
                    </a:moveTo>
                    <a:lnTo>
                      <a:pt x="15702" y="18834"/>
                    </a:lnTo>
                    <a:lnTo>
                      <a:pt x="15702" y="19098"/>
                    </a:lnTo>
                    <a:lnTo>
                      <a:pt x="15555" y="19098"/>
                    </a:lnTo>
                    <a:lnTo>
                      <a:pt x="15555" y="18834"/>
                    </a:lnTo>
                    <a:close/>
                    <a:moveTo>
                      <a:pt x="15186" y="17780"/>
                    </a:moveTo>
                    <a:lnTo>
                      <a:pt x="15408" y="18176"/>
                    </a:lnTo>
                    <a:lnTo>
                      <a:pt x="15555" y="18702"/>
                    </a:lnTo>
                    <a:lnTo>
                      <a:pt x="15555" y="18834"/>
                    </a:lnTo>
                    <a:lnTo>
                      <a:pt x="15408" y="18702"/>
                    </a:lnTo>
                    <a:lnTo>
                      <a:pt x="15408" y="18439"/>
                    </a:lnTo>
                    <a:lnTo>
                      <a:pt x="15186" y="18044"/>
                    </a:lnTo>
                    <a:lnTo>
                      <a:pt x="15186" y="17780"/>
                    </a:lnTo>
                    <a:close/>
                    <a:moveTo>
                      <a:pt x="15408" y="17122"/>
                    </a:moveTo>
                    <a:lnTo>
                      <a:pt x="15555" y="17122"/>
                    </a:lnTo>
                    <a:lnTo>
                      <a:pt x="15408" y="17254"/>
                    </a:lnTo>
                    <a:lnTo>
                      <a:pt x="15408" y="17122"/>
                    </a:lnTo>
                    <a:close/>
                    <a:moveTo>
                      <a:pt x="15555" y="16859"/>
                    </a:moveTo>
                    <a:lnTo>
                      <a:pt x="15702" y="16859"/>
                    </a:lnTo>
                    <a:lnTo>
                      <a:pt x="15555" y="17122"/>
                    </a:lnTo>
                    <a:lnTo>
                      <a:pt x="15555" y="16859"/>
                    </a:lnTo>
                    <a:close/>
                    <a:moveTo>
                      <a:pt x="11205" y="16595"/>
                    </a:moveTo>
                    <a:lnTo>
                      <a:pt x="11279" y="16595"/>
                    </a:lnTo>
                    <a:lnTo>
                      <a:pt x="11279" y="16859"/>
                    </a:lnTo>
                    <a:lnTo>
                      <a:pt x="11205" y="16859"/>
                    </a:lnTo>
                    <a:lnTo>
                      <a:pt x="11205" y="16595"/>
                    </a:lnTo>
                    <a:close/>
                    <a:moveTo>
                      <a:pt x="8330" y="16200"/>
                    </a:moveTo>
                    <a:lnTo>
                      <a:pt x="8478" y="16200"/>
                    </a:lnTo>
                    <a:lnTo>
                      <a:pt x="8478" y="16332"/>
                    </a:lnTo>
                    <a:lnTo>
                      <a:pt x="8330" y="16332"/>
                    </a:lnTo>
                    <a:lnTo>
                      <a:pt x="8330" y="16595"/>
                    </a:lnTo>
                    <a:lnTo>
                      <a:pt x="8478" y="16859"/>
                    </a:lnTo>
                    <a:lnTo>
                      <a:pt x="8478" y="16595"/>
                    </a:lnTo>
                    <a:lnTo>
                      <a:pt x="8625" y="16595"/>
                    </a:lnTo>
                    <a:lnTo>
                      <a:pt x="8625" y="16332"/>
                    </a:lnTo>
                    <a:lnTo>
                      <a:pt x="8846" y="16332"/>
                    </a:lnTo>
                    <a:lnTo>
                      <a:pt x="8846" y="16595"/>
                    </a:lnTo>
                    <a:lnTo>
                      <a:pt x="8994" y="16595"/>
                    </a:lnTo>
                    <a:lnTo>
                      <a:pt x="8994" y="16859"/>
                    </a:lnTo>
                    <a:lnTo>
                      <a:pt x="9141" y="16859"/>
                    </a:lnTo>
                    <a:lnTo>
                      <a:pt x="9141" y="16595"/>
                    </a:lnTo>
                    <a:lnTo>
                      <a:pt x="9362" y="16595"/>
                    </a:lnTo>
                    <a:lnTo>
                      <a:pt x="9362" y="16859"/>
                    </a:lnTo>
                    <a:lnTo>
                      <a:pt x="9510" y="16859"/>
                    </a:lnTo>
                    <a:lnTo>
                      <a:pt x="9510" y="16595"/>
                    </a:lnTo>
                    <a:lnTo>
                      <a:pt x="9731" y="17122"/>
                    </a:lnTo>
                    <a:lnTo>
                      <a:pt x="9731" y="17254"/>
                    </a:lnTo>
                    <a:lnTo>
                      <a:pt x="9878" y="17254"/>
                    </a:lnTo>
                    <a:lnTo>
                      <a:pt x="9878" y="17517"/>
                    </a:lnTo>
                    <a:lnTo>
                      <a:pt x="9731" y="17517"/>
                    </a:lnTo>
                    <a:lnTo>
                      <a:pt x="9731" y="18044"/>
                    </a:lnTo>
                    <a:lnTo>
                      <a:pt x="9362" y="18044"/>
                    </a:lnTo>
                    <a:lnTo>
                      <a:pt x="9215" y="18176"/>
                    </a:lnTo>
                    <a:lnTo>
                      <a:pt x="9141" y="18176"/>
                    </a:lnTo>
                    <a:lnTo>
                      <a:pt x="8994" y="18439"/>
                    </a:lnTo>
                    <a:lnTo>
                      <a:pt x="8994" y="18702"/>
                    </a:lnTo>
                    <a:lnTo>
                      <a:pt x="9141" y="18834"/>
                    </a:lnTo>
                    <a:lnTo>
                      <a:pt x="9141" y="19098"/>
                    </a:lnTo>
                    <a:lnTo>
                      <a:pt x="8994" y="19361"/>
                    </a:lnTo>
                    <a:lnTo>
                      <a:pt x="8994" y="19098"/>
                    </a:lnTo>
                    <a:lnTo>
                      <a:pt x="8478" y="19098"/>
                    </a:lnTo>
                    <a:lnTo>
                      <a:pt x="8330" y="19361"/>
                    </a:lnTo>
                    <a:lnTo>
                      <a:pt x="8257" y="19361"/>
                    </a:lnTo>
                    <a:lnTo>
                      <a:pt x="8257" y="19624"/>
                    </a:lnTo>
                    <a:lnTo>
                      <a:pt x="8109" y="19361"/>
                    </a:lnTo>
                    <a:lnTo>
                      <a:pt x="7962" y="19361"/>
                    </a:lnTo>
                    <a:lnTo>
                      <a:pt x="7962" y="19624"/>
                    </a:lnTo>
                    <a:lnTo>
                      <a:pt x="7593" y="19624"/>
                    </a:lnTo>
                    <a:lnTo>
                      <a:pt x="7593" y="19361"/>
                    </a:lnTo>
                    <a:lnTo>
                      <a:pt x="7446" y="19361"/>
                    </a:lnTo>
                    <a:lnTo>
                      <a:pt x="7446" y="19098"/>
                    </a:lnTo>
                    <a:lnTo>
                      <a:pt x="7298" y="19098"/>
                    </a:lnTo>
                    <a:lnTo>
                      <a:pt x="7298" y="18834"/>
                    </a:lnTo>
                    <a:lnTo>
                      <a:pt x="7446" y="18834"/>
                    </a:lnTo>
                    <a:lnTo>
                      <a:pt x="7446" y="18702"/>
                    </a:lnTo>
                    <a:lnTo>
                      <a:pt x="7593" y="18702"/>
                    </a:lnTo>
                    <a:lnTo>
                      <a:pt x="7593" y="18439"/>
                    </a:lnTo>
                    <a:lnTo>
                      <a:pt x="7741" y="18439"/>
                    </a:lnTo>
                    <a:lnTo>
                      <a:pt x="7741" y="18176"/>
                    </a:lnTo>
                    <a:lnTo>
                      <a:pt x="7814" y="18176"/>
                    </a:lnTo>
                    <a:lnTo>
                      <a:pt x="7814" y="18044"/>
                    </a:lnTo>
                    <a:lnTo>
                      <a:pt x="7962" y="18044"/>
                    </a:lnTo>
                    <a:lnTo>
                      <a:pt x="8109" y="17780"/>
                    </a:lnTo>
                    <a:lnTo>
                      <a:pt x="8109" y="17254"/>
                    </a:lnTo>
                    <a:lnTo>
                      <a:pt x="8257" y="17254"/>
                    </a:lnTo>
                    <a:lnTo>
                      <a:pt x="8257" y="16595"/>
                    </a:lnTo>
                    <a:lnTo>
                      <a:pt x="8109" y="16595"/>
                    </a:lnTo>
                    <a:lnTo>
                      <a:pt x="8109" y="16332"/>
                    </a:lnTo>
                    <a:lnTo>
                      <a:pt x="8257" y="16332"/>
                    </a:lnTo>
                    <a:lnTo>
                      <a:pt x="8330" y="16200"/>
                    </a:lnTo>
                    <a:close/>
                    <a:moveTo>
                      <a:pt x="11205" y="15937"/>
                    </a:moveTo>
                    <a:lnTo>
                      <a:pt x="11279" y="16200"/>
                    </a:lnTo>
                    <a:lnTo>
                      <a:pt x="11205" y="16200"/>
                    </a:lnTo>
                    <a:lnTo>
                      <a:pt x="11205" y="15937"/>
                    </a:lnTo>
                    <a:close/>
                    <a:moveTo>
                      <a:pt x="21084" y="9878"/>
                    </a:moveTo>
                    <a:lnTo>
                      <a:pt x="21379" y="9878"/>
                    </a:lnTo>
                    <a:lnTo>
                      <a:pt x="21379" y="10141"/>
                    </a:lnTo>
                    <a:lnTo>
                      <a:pt x="21231" y="10141"/>
                    </a:lnTo>
                    <a:lnTo>
                      <a:pt x="21084" y="9878"/>
                    </a:lnTo>
                    <a:close/>
                    <a:moveTo>
                      <a:pt x="13859" y="0"/>
                    </a:moveTo>
                    <a:lnTo>
                      <a:pt x="14007" y="0"/>
                    </a:lnTo>
                    <a:lnTo>
                      <a:pt x="14007" y="527"/>
                    </a:lnTo>
                    <a:lnTo>
                      <a:pt x="14154" y="527"/>
                    </a:lnTo>
                    <a:lnTo>
                      <a:pt x="14154" y="790"/>
                    </a:lnTo>
                    <a:lnTo>
                      <a:pt x="14302" y="790"/>
                    </a:lnTo>
                    <a:lnTo>
                      <a:pt x="14302" y="1449"/>
                    </a:lnTo>
                    <a:lnTo>
                      <a:pt x="14375" y="1449"/>
                    </a:lnTo>
                    <a:lnTo>
                      <a:pt x="14375" y="1712"/>
                    </a:lnTo>
                    <a:lnTo>
                      <a:pt x="14670" y="1712"/>
                    </a:lnTo>
                    <a:lnTo>
                      <a:pt x="14670" y="1844"/>
                    </a:lnTo>
                    <a:lnTo>
                      <a:pt x="14523" y="1844"/>
                    </a:lnTo>
                    <a:lnTo>
                      <a:pt x="14375" y="2107"/>
                    </a:lnTo>
                    <a:lnTo>
                      <a:pt x="14154" y="2107"/>
                    </a:lnTo>
                    <a:lnTo>
                      <a:pt x="14154" y="2371"/>
                    </a:lnTo>
                    <a:lnTo>
                      <a:pt x="14302" y="2371"/>
                    </a:lnTo>
                    <a:lnTo>
                      <a:pt x="14302" y="2634"/>
                    </a:lnTo>
                    <a:lnTo>
                      <a:pt x="14375" y="2634"/>
                    </a:lnTo>
                    <a:lnTo>
                      <a:pt x="14375" y="3029"/>
                    </a:lnTo>
                    <a:lnTo>
                      <a:pt x="14302" y="3029"/>
                    </a:lnTo>
                    <a:lnTo>
                      <a:pt x="14302" y="3556"/>
                    </a:lnTo>
                    <a:lnTo>
                      <a:pt x="14891" y="3556"/>
                    </a:lnTo>
                    <a:lnTo>
                      <a:pt x="14891" y="3688"/>
                    </a:lnTo>
                    <a:lnTo>
                      <a:pt x="15039" y="3688"/>
                    </a:lnTo>
                    <a:lnTo>
                      <a:pt x="15186" y="3556"/>
                    </a:lnTo>
                    <a:lnTo>
                      <a:pt x="15334" y="3556"/>
                    </a:lnTo>
                    <a:lnTo>
                      <a:pt x="15334" y="3293"/>
                    </a:lnTo>
                    <a:lnTo>
                      <a:pt x="15408" y="3293"/>
                    </a:lnTo>
                    <a:lnTo>
                      <a:pt x="15408" y="3688"/>
                    </a:lnTo>
                    <a:lnTo>
                      <a:pt x="15555" y="3688"/>
                    </a:lnTo>
                    <a:lnTo>
                      <a:pt x="15555" y="3951"/>
                    </a:lnTo>
                    <a:lnTo>
                      <a:pt x="15850" y="3951"/>
                    </a:lnTo>
                    <a:lnTo>
                      <a:pt x="15702" y="4215"/>
                    </a:lnTo>
                    <a:lnTo>
                      <a:pt x="15702" y="4873"/>
                    </a:lnTo>
                    <a:lnTo>
                      <a:pt x="15850" y="4873"/>
                    </a:lnTo>
                    <a:lnTo>
                      <a:pt x="15850" y="5532"/>
                    </a:lnTo>
                    <a:lnTo>
                      <a:pt x="15924" y="5532"/>
                    </a:lnTo>
                    <a:lnTo>
                      <a:pt x="15924" y="6059"/>
                    </a:lnTo>
                    <a:lnTo>
                      <a:pt x="16071" y="6059"/>
                    </a:lnTo>
                    <a:lnTo>
                      <a:pt x="16071" y="5795"/>
                    </a:lnTo>
                    <a:lnTo>
                      <a:pt x="16587" y="5795"/>
                    </a:lnTo>
                    <a:lnTo>
                      <a:pt x="16734" y="6059"/>
                    </a:lnTo>
                    <a:lnTo>
                      <a:pt x="17103" y="6059"/>
                    </a:lnTo>
                    <a:lnTo>
                      <a:pt x="17103" y="6190"/>
                    </a:lnTo>
                    <a:lnTo>
                      <a:pt x="17251" y="6190"/>
                    </a:lnTo>
                    <a:lnTo>
                      <a:pt x="17251" y="6059"/>
                    </a:lnTo>
                    <a:lnTo>
                      <a:pt x="17324" y="6059"/>
                    </a:lnTo>
                    <a:lnTo>
                      <a:pt x="17472" y="5795"/>
                    </a:lnTo>
                    <a:lnTo>
                      <a:pt x="17988" y="5795"/>
                    </a:lnTo>
                    <a:lnTo>
                      <a:pt x="17988" y="5532"/>
                    </a:lnTo>
                    <a:lnTo>
                      <a:pt x="18135" y="5532"/>
                    </a:lnTo>
                    <a:lnTo>
                      <a:pt x="18283" y="5795"/>
                    </a:lnTo>
                    <a:lnTo>
                      <a:pt x="18283" y="6059"/>
                    </a:lnTo>
                    <a:lnTo>
                      <a:pt x="18504" y="6059"/>
                    </a:lnTo>
                    <a:lnTo>
                      <a:pt x="18504" y="6190"/>
                    </a:lnTo>
                    <a:lnTo>
                      <a:pt x="18356" y="6190"/>
                    </a:lnTo>
                    <a:lnTo>
                      <a:pt x="18504" y="6454"/>
                    </a:lnTo>
                    <a:lnTo>
                      <a:pt x="18504" y="6717"/>
                    </a:lnTo>
                    <a:lnTo>
                      <a:pt x="18799" y="6717"/>
                    </a:lnTo>
                    <a:lnTo>
                      <a:pt x="18799" y="6980"/>
                    </a:lnTo>
                    <a:lnTo>
                      <a:pt x="18872" y="6980"/>
                    </a:lnTo>
                    <a:lnTo>
                      <a:pt x="18872" y="7112"/>
                    </a:lnTo>
                    <a:lnTo>
                      <a:pt x="19020" y="7112"/>
                    </a:lnTo>
                    <a:lnTo>
                      <a:pt x="19020" y="6980"/>
                    </a:lnTo>
                    <a:lnTo>
                      <a:pt x="19167" y="6980"/>
                    </a:lnTo>
                    <a:lnTo>
                      <a:pt x="19167" y="6717"/>
                    </a:lnTo>
                    <a:lnTo>
                      <a:pt x="19388" y="6717"/>
                    </a:lnTo>
                    <a:lnTo>
                      <a:pt x="19388" y="6980"/>
                    </a:lnTo>
                    <a:lnTo>
                      <a:pt x="19831" y="6980"/>
                    </a:lnTo>
                    <a:lnTo>
                      <a:pt x="19831" y="7112"/>
                    </a:lnTo>
                    <a:lnTo>
                      <a:pt x="20052" y="7112"/>
                    </a:lnTo>
                    <a:lnTo>
                      <a:pt x="20052" y="7376"/>
                    </a:lnTo>
                    <a:lnTo>
                      <a:pt x="20199" y="7376"/>
                    </a:lnTo>
                    <a:lnTo>
                      <a:pt x="20199" y="7112"/>
                    </a:lnTo>
                    <a:lnTo>
                      <a:pt x="20347" y="7112"/>
                    </a:lnTo>
                    <a:lnTo>
                      <a:pt x="20420" y="7376"/>
                    </a:lnTo>
                    <a:lnTo>
                      <a:pt x="20420" y="7639"/>
                    </a:lnTo>
                    <a:lnTo>
                      <a:pt x="20715" y="7639"/>
                    </a:lnTo>
                    <a:lnTo>
                      <a:pt x="20863" y="7902"/>
                    </a:lnTo>
                    <a:lnTo>
                      <a:pt x="20863" y="8034"/>
                    </a:lnTo>
                    <a:lnTo>
                      <a:pt x="21379" y="8034"/>
                    </a:lnTo>
                    <a:lnTo>
                      <a:pt x="21379" y="7639"/>
                    </a:lnTo>
                    <a:lnTo>
                      <a:pt x="21600" y="7639"/>
                    </a:lnTo>
                    <a:lnTo>
                      <a:pt x="21600" y="7902"/>
                    </a:lnTo>
                    <a:lnTo>
                      <a:pt x="21453" y="7902"/>
                    </a:lnTo>
                    <a:lnTo>
                      <a:pt x="21453" y="8298"/>
                    </a:lnTo>
                    <a:lnTo>
                      <a:pt x="21379" y="8298"/>
                    </a:lnTo>
                    <a:lnTo>
                      <a:pt x="21379" y="8956"/>
                    </a:lnTo>
                    <a:lnTo>
                      <a:pt x="21231" y="8956"/>
                    </a:lnTo>
                    <a:lnTo>
                      <a:pt x="21231" y="9220"/>
                    </a:lnTo>
                    <a:lnTo>
                      <a:pt x="21084" y="9220"/>
                    </a:lnTo>
                    <a:lnTo>
                      <a:pt x="21084" y="9483"/>
                    </a:lnTo>
                    <a:lnTo>
                      <a:pt x="20863" y="9483"/>
                    </a:lnTo>
                    <a:lnTo>
                      <a:pt x="20863" y="9746"/>
                    </a:lnTo>
                    <a:lnTo>
                      <a:pt x="20937" y="9746"/>
                    </a:lnTo>
                    <a:lnTo>
                      <a:pt x="20937" y="10141"/>
                    </a:lnTo>
                    <a:lnTo>
                      <a:pt x="20863" y="10405"/>
                    </a:lnTo>
                    <a:lnTo>
                      <a:pt x="20863" y="10668"/>
                    </a:lnTo>
                    <a:lnTo>
                      <a:pt x="20715" y="10668"/>
                    </a:lnTo>
                    <a:lnTo>
                      <a:pt x="20715" y="10800"/>
                    </a:lnTo>
                    <a:lnTo>
                      <a:pt x="21084" y="10800"/>
                    </a:lnTo>
                    <a:lnTo>
                      <a:pt x="21084" y="11590"/>
                    </a:lnTo>
                    <a:lnTo>
                      <a:pt x="21231" y="11590"/>
                    </a:lnTo>
                    <a:lnTo>
                      <a:pt x="21084" y="11722"/>
                    </a:lnTo>
                    <a:lnTo>
                      <a:pt x="21084" y="12249"/>
                    </a:lnTo>
                    <a:lnTo>
                      <a:pt x="20937" y="12249"/>
                    </a:lnTo>
                    <a:lnTo>
                      <a:pt x="20937" y="12644"/>
                    </a:lnTo>
                    <a:lnTo>
                      <a:pt x="20863" y="12644"/>
                    </a:lnTo>
                    <a:lnTo>
                      <a:pt x="20863" y="12907"/>
                    </a:lnTo>
                    <a:lnTo>
                      <a:pt x="20568" y="12907"/>
                    </a:lnTo>
                    <a:lnTo>
                      <a:pt x="20568" y="12644"/>
                    </a:lnTo>
                    <a:lnTo>
                      <a:pt x="19904" y="12644"/>
                    </a:lnTo>
                    <a:lnTo>
                      <a:pt x="19904" y="12907"/>
                    </a:lnTo>
                    <a:lnTo>
                      <a:pt x="19536" y="12907"/>
                    </a:lnTo>
                    <a:lnTo>
                      <a:pt x="19536" y="13171"/>
                    </a:lnTo>
                    <a:lnTo>
                      <a:pt x="19315" y="13171"/>
                    </a:lnTo>
                    <a:lnTo>
                      <a:pt x="19315" y="13434"/>
                    </a:lnTo>
                    <a:lnTo>
                      <a:pt x="19167" y="13434"/>
                    </a:lnTo>
                    <a:lnTo>
                      <a:pt x="19167" y="13829"/>
                    </a:lnTo>
                    <a:lnTo>
                      <a:pt x="19020" y="13829"/>
                    </a:lnTo>
                    <a:lnTo>
                      <a:pt x="19020" y="14093"/>
                    </a:lnTo>
                    <a:lnTo>
                      <a:pt x="19167" y="14093"/>
                    </a:lnTo>
                    <a:lnTo>
                      <a:pt x="19167" y="14356"/>
                    </a:lnTo>
                    <a:lnTo>
                      <a:pt x="19020" y="14356"/>
                    </a:lnTo>
                    <a:lnTo>
                      <a:pt x="19020" y="14751"/>
                    </a:lnTo>
                    <a:lnTo>
                      <a:pt x="18356" y="14751"/>
                    </a:lnTo>
                    <a:lnTo>
                      <a:pt x="18135" y="15278"/>
                    </a:lnTo>
                    <a:lnTo>
                      <a:pt x="17767" y="15278"/>
                    </a:lnTo>
                    <a:lnTo>
                      <a:pt x="17767" y="15410"/>
                    </a:lnTo>
                    <a:lnTo>
                      <a:pt x="17619" y="15410"/>
                    </a:lnTo>
                    <a:lnTo>
                      <a:pt x="17472" y="15673"/>
                    </a:lnTo>
                    <a:lnTo>
                      <a:pt x="17472" y="15937"/>
                    </a:lnTo>
                    <a:lnTo>
                      <a:pt x="17324" y="15937"/>
                    </a:lnTo>
                    <a:lnTo>
                      <a:pt x="17324" y="15410"/>
                    </a:lnTo>
                    <a:lnTo>
                      <a:pt x="17103" y="15410"/>
                    </a:lnTo>
                    <a:lnTo>
                      <a:pt x="17103" y="15673"/>
                    </a:lnTo>
                    <a:lnTo>
                      <a:pt x="16808" y="15673"/>
                    </a:lnTo>
                    <a:lnTo>
                      <a:pt x="16808" y="15937"/>
                    </a:lnTo>
                    <a:lnTo>
                      <a:pt x="16218" y="15937"/>
                    </a:lnTo>
                    <a:lnTo>
                      <a:pt x="16218" y="16200"/>
                    </a:lnTo>
                    <a:lnTo>
                      <a:pt x="16071" y="16200"/>
                    </a:lnTo>
                    <a:lnTo>
                      <a:pt x="15924" y="16332"/>
                    </a:lnTo>
                    <a:lnTo>
                      <a:pt x="15924" y="16595"/>
                    </a:lnTo>
                    <a:lnTo>
                      <a:pt x="15850" y="16595"/>
                    </a:lnTo>
                    <a:lnTo>
                      <a:pt x="15850" y="16859"/>
                    </a:lnTo>
                    <a:lnTo>
                      <a:pt x="15702" y="16859"/>
                    </a:lnTo>
                    <a:lnTo>
                      <a:pt x="15702" y="16332"/>
                    </a:lnTo>
                    <a:lnTo>
                      <a:pt x="15555" y="16332"/>
                    </a:lnTo>
                    <a:lnTo>
                      <a:pt x="15555" y="16859"/>
                    </a:lnTo>
                    <a:lnTo>
                      <a:pt x="15334" y="16859"/>
                    </a:lnTo>
                    <a:lnTo>
                      <a:pt x="15334" y="17122"/>
                    </a:lnTo>
                    <a:lnTo>
                      <a:pt x="15186" y="17122"/>
                    </a:lnTo>
                    <a:lnTo>
                      <a:pt x="15186" y="17780"/>
                    </a:lnTo>
                    <a:lnTo>
                      <a:pt x="15039" y="17517"/>
                    </a:lnTo>
                    <a:lnTo>
                      <a:pt x="15039" y="17254"/>
                    </a:lnTo>
                    <a:lnTo>
                      <a:pt x="14891" y="17254"/>
                    </a:lnTo>
                    <a:lnTo>
                      <a:pt x="14891" y="17517"/>
                    </a:lnTo>
                    <a:lnTo>
                      <a:pt x="14670" y="17517"/>
                    </a:lnTo>
                    <a:lnTo>
                      <a:pt x="14670" y="17122"/>
                    </a:lnTo>
                    <a:lnTo>
                      <a:pt x="14523" y="17122"/>
                    </a:lnTo>
                    <a:lnTo>
                      <a:pt x="14523" y="16859"/>
                    </a:lnTo>
                    <a:lnTo>
                      <a:pt x="14302" y="16859"/>
                    </a:lnTo>
                    <a:lnTo>
                      <a:pt x="14302" y="17122"/>
                    </a:lnTo>
                    <a:lnTo>
                      <a:pt x="14007" y="17122"/>
                    </a:lnTo>
                    <a:lnTo>
                      <a:pt x="14007" y="17254"/>
                    </a:lnTo>
                    <a:lnTo>
                      <a:pt x="14154" y="17254"/>
                    </a:lnTo>
                    <a:lnTo>
                      <a:pt x="14154" y="17517"/>
                    </a:lnTo>
                    <a:lnTo>
                      <a:pt x="14302" y="17517"/>
                    </a:lnTo>
                    <a:lnTo>
                      <a:pt x="14375" y="17780"/>
                    </a:lnTo>
                    <a:lnTo>
                      <a:pt x="14891" y="17780"/>
                    </a:lnTo>
                    <a:lnTo>
                      <a:pt x="14818" y="18044"/>
                    </a:lnTo>
                    <a:lnTo>
                      <a:pt x="15039" y="18044"/>
                    </a:lnTo>
                    <a:lnTo>
                      <a:pt x="15039" y="18176"/>
                    </a:lnTo>
                    <a:lnTo>
                      <a:pt x="15186" y="18176"/>
                    </a:lnTo>
                    <a:lnTo>
                      <a:pt x="15186" y="18439"/>
                    </a:lnTo>
                    <a:lnTo>
                      <a:pt x="15334" y="18439"/>
                    </a:lnTo>
                    <a:lnTo>
                      <a:pt x="15334" y="18702"/>
                    </a:lnTo>
                    <a:lnTo>
                      <a:pt x="15408" y="18702"/>
                    </a:lnTo>
                    <a:lnTo>
                      <a:pt x="15408" y="19098"/>
                    </a:lnTo>
                    <a:lnTo>
                      <a:pt x="15555" y="19361"/>
                    </a:lnTo>
                    <a:lnTo>
                      <a:pt x="15702" y="19361"/>
                    </a:lnTo>
                    <a:lnTo>
                      <a:pt x="15850" y="19624"/>
                    </a:lnTo>
                    <a:lnTo>
                      <a:pt x="15850" y="19361"/>
                    </a:lnTo>
                    <a:lnTo>
                      <a:pt x="16218" y="19361"/>
                    </a:lnTo>
                    <a:lnTo>
                      <a:pt x="16218" y="19098"/>
                    </a:lnTo>
                    <a:lnTo>
                      <a:pt x="16440" y="19098"/>
                    </a:lnTo>
                    <a:lnTo>
                      <a:pt x="16587" y="19361"/>
                    </a:lnTo>
                    <a:lnTo>
                      <a:pt x="17103" y="19361"/>
                    </a:lnTo>
                    <a:lnTo>
                      <a:pt x="17103" y="19624"/>
                    </a:lnTo>
                    <a:lnTo>
                      <a:pt x="16956" y="19624"/>
                    </a:lnTo>
                    <a:lnTo>
                      <a:pt x="16956" y="20020"/>
                    </a:lnTo>
                    <a:lnTo>
                      <a:pt x="16587" y="20020"/>
                    </a:lnTo>
                    <a:lnTo>
                      <a:pt x="16587" y="20283"/>
                    </a:lnTo>
                    <a:lnTo>
                      <a:pt x="16292" y="20283"/>
                    </a:lnTo>
                    <a:lnTo>
                      <a:pt x="16292" y="20020"/>
                    </a:lnTo>
                    <a:lnTo>
                      <a:pt x="16071" y="20020"/>
                    </a:lnTo>
                    <a:lnTo>
                      <a:pt x="16071" y="19756"/>
                    </a:lnTo>
                    <a:lnTo>
                      <a:pt x="15924" y="19756"/>
                    </a:lnTo>
                    <a:lnTo>
                      <a:pt x="15850" y="20020"/>
                    </a:lnTo>
                    <a:lnTo>
                      <a:pt x="15555" y="20283"/>
                    </a:lnTo>
                    <a:lnTo>
                      <a:pt x="15408" y="20283"/>
                    </a:lnTo>
                    <a:lnTo>
                      <a:pt x="15408" y="20546"/>
                    </a:lnTo>
                    <a:lnTo>
                      <a:pt x="15186" y="20546"/>
                    </a:lnTo>
                    <a:lnTo>
                      <a:pt x="15186" y="20678"/>
                    </a:lnTo>
                    <a:lnTo>
                      <a:pt x="14891" y="20678"/>
                    </a:lnTo>
                    <a:lnTo>
                      <a:pt x="14891" y="20941"/>
                    </a:lnTo>
                    <a:lnTo>
                      <a:pt x="14670" y="20941"/>
                    </a:lnTo>
                    <a:lnTo>
                      <a:pt x="14670" y="21205"/>
                    </a:lnTo>
                    <a:lnTo>
                      <a:pt x="14523" y="21205"/>
                    </a:lnTo>
                    <a:lnTo>
                      <a:pt x="14302" y="21468"/>
                    </a:lnTo>
                    <a:lnTo>
                      <a:pt x="14154" y="21468"/>
                    </a:lnTo>
                    <a:lnTo>
                      <a:pt x="14154" y="21600"/>
                    </a:lnTo>
                    <a:lnTo>
                      <a:pt x="13491" y="21600"/>
                    </a:lnTo>
                    <a:lnTo>
                      <a:pt x="13491" y="21468"/>
                    </a:lnTo>
                    <a:lnTo>
                      <a:pt x="13343" y="21468"/>
                    </a:lnTo>
                    <a:lnTo>
                      <a:pt x="13343" y="21205"/>
                    </a:lnTo>
                    <a:lnTo>
                      <a:pt x="13638" y="21205"/>
                    </a:lnTo>
                    <a:lnTo>
                      <a:pt x="13638" y="20020"/>
                    </a:lnTo>
                    <a:lnTo>
                      <a:pt x="13491" y="19756"/>
                    </a:lnTo>
                    <a:lnTo>
                      <a:pt x="13122" y="19756"/>
                    </a:lnTo>
                    <a:lnTo>
                      <a:pt x="12975" y="19624"/>
                    </a:lnTo>
                    <a:lnTo>
                      <a:pt x="12606" y="19624"/>
                    </a:lnTo>
                    <a:lnTo>
                      <a:pt x="12311" y="19098"/>
                    </a:lnTo>
                    <a:lnTo>
                      <a:pt x="12311" y="18834"/>
                    </a:lnTo>
                    <a:lnTo>
                      <a:pt x="12606" y="18834"/>
                    </a:lnTo>
                    <a:lnTo>
                      <a:pt x="12827" y="18439"/>
                    </a:lnTo>
                    <a:lnTo>
                      <a:pt x="12975" y="18439"/>
                    </a:lnTo>
                    <a:lnTo>
                      <a:pt x="13122" y="18176"/>
                    </a:lnTo>
                    <a:lnTo>
                      <a:pt x="13343" y="18176"/>
                    </a:lnTo>
                    <a:lnTo>
                      <a:pt x="13343" y="18044"/>
                    </a:lnTo>
                    <a:lnTo>
                      <a:pt x="13786" y="18044"/>
                    </a:lnTo>
                    <a:lnTo>
                      <a:pt x="13786" y="17517"/>
                    </a:lnTo>
                    <a:lnTo>
                      <a:pt x="13270" y="17517"/>
                    </a:lnTo>
                    <a:lnTo>
                      <a:pt x="13270" y="17122"/>
                    </a:lnTo>
                    <a:lnTo>
                      <a:pt x="12827" y="17122"/>
                    </a:lnTo>
                    <a:lnTo>
                      <a:pt x="12754" y="17254"/>
                    </a:lnTo>
                    <a:lnTo>
                      <a:pt x="11943" y="17254"/>
                    </a:lnTo>
                    <a:lnTo>
                      <a:pt x="11943" y="17122"/>
                    </a:lnTo>
                    <a:lnTo>
                      <a:pt x="11427" y="17122"/>
                    </a:lnTo>
                    <a:lnTo>
                      <a:pt x="11279" y="16859"/>
                    </a:lnTo>
                    <a:lnTo>
                      <a:pt x="11427" y="16859"/>
                    </a:lnTo>
                    <a:lnTo>
                      <a:pt x="11427" y="16595"/>
                    </a:lnTo>
                    <a:lnTo>
                      <a:pt x="11574" y="16595"/>
                    </a:lnTo>
                    <a:lnTo>
                      <a:pt x="11574" y="16332"/>
                    </a:lnTo>
                    <a:lnTo>
                      <a:pt x="11279" y="16332"/>
                    </a:lnTo>
                    <a:lnTo>
                      <a:pt x="11279" y="16200"/>
                    </a:lnTo>
                    <a:lnTo>
                      <a:pt x="11722" y="16200"/>
                    </a:lnTo>
                    <a:lnTo>
                      <a:pt x="11795" y="16332"/>
                    </a:lnTo>
                    <a:lnTo>
                      <a:pt x="12238" y="16332"/>
                    </a:lnTo>
                    <a:lnTo>
                      <a:pt x="12238" y="16200"/>
                    </a:lnTo>
                    <a:lnTo>
                      <a:pt x="12311" y="16200"/>
                    </a:lnTo>
                    <a:lnTo>
                      <a:pt x="12311" y="15937"/>
                    </a:lnTo>
                    <a:lnTo>
                      <a:pt x="12238" y="16200"/>
                    </a:lnTo>
                    <a:lnTo>
                      <a:pt x="11943" y="16200"/>
                    </a:lnTo>
                    <a:lnTo>
                      <a:pt x="11943" y="15937"/>
                    </a:lnTo>
                    <a:lnTo>
                      <a:pt x="11795" y="15937"/>
                    </a:lnTo>
                    <a:lnTo>
                      <a:pt x="11795" y="15673"/>
                    </a:lnTo>
                    <a:lnTo>
                      <a:pt x="11722" y="15673"/>
                    </a:lnTo>
                    <a:lnTo>
                      <a:pt x="11722" y="15937"/>
                    </a:lnTo>
                    <a:lnTo>
                      <a:pt x="11574" y="15937"/>
                    </a:lnTo>
                    <a:lnTo>
                      <a:pt x="11574" y="15673"/>
                    </a:lnTo>
                    <a:lnTo>
                      <a:pt x="11058" y="15673"/>
                    </a:lnTo>
                    <a:lnTo>
                      <a:pt x="11058" y="15937"/>
                    </a:lnTo>
                    <a:lnTo>
                      <a:pt x="10542" y="15937"/>
                    </a:lnTo>
                    <a:lnTo>
                      <a:pt x="10395" y="16200"/>
                    </a:lnTo>
                    <a:lnTo>
                      <a:pt x="10247" y="16200"/>
                    </a:lnTo>
                    <a:lnTo>
                      <a:pt x="10247" y="16332"/>
                    </a:lnTo>
                    <a:lnTo>
                      <a:pt x="10026" y="16332"/>
                    </a:lnTo>
                    <a:lnTo>
                      <a:pt x="10026" y="16859"/>
                    </a:lnTo>
                    <a:lnTo>
                      <a:pt x="9878" y="17122"/>
                    </a:lnTo>
                    <a:lnTo>
                      <a:pt x="9878" y="16859"/>
                    </a:lnTo>
                    <a:lnTo>
                      <a:pt x="9731" y="16859"/>
                    </a:lnTo>
                    <a:lnTo>
                      <a:pt x="9731" y="16595"/>
                    </a:lnTo>
                    <a:lnTo>
                      <a:pt x="9657" y="16595"/>
                    </a:lnTo>
                    <a:lnTo>
                      <a:pt x="9657" y="16332"/>
                    </a:lnTo>
                    <a:lnTo>
                      <a:pt x="9362" y="16332"/>
                    </a:lnTo>
                    <a:lnTo>
                      <a:pt x="9362" y="15410"/>
                    </a:lnTo>
                    <a:lnTo>
                      <a:pt x="9215" y="15410"/>
                    </a:lnTo>
                    <a:lnTo>
                      <a:pt x="9215" y="15278"/>
                    </a:lnTo>
                    <a:lnTo>
                      <a:pt x="9141" y="15278"/>
                    </a:lnTo>
                    <a:lnTo>
                      <a:pt x="8994" y="15015"/>
                    </a:lnTo>
                    <a:lnTo>
                      <a:pt x="8994" y="14751"/>
                    </a:lnTo>
                    <a:lnTo>
                      <a:pt x="8846" y="14751"/>
                    </a:lnTo>
                    <a:lnTo>
                      <a:pt x="8846" y="14356"/>
                    </a:lnTo>
                    <a:lnTo>
                      <a:pt x="8994" y="14093"/>
                    </a:lnTo>
                    <a:lnTo>
                      <a:pt x="8773" y="14093"/>
                    </a:lnTo>
                    <a:lnTo>
                      <a:pt x="8773" y="13829"/>
                    </a:lnTo>
                    <a:lnTo>
                      <a:pt x="8625" y="13829"/>
                    </a:lnTo>
                    <a:lnTo>
                      <a:pt x="8478" y="13566"/>
                    </a:lnTo>
                    <a:lnTo>
                      <a:pt x="8330" y="13566"/>
                    </a:lnTo>
                    <a:lnTo>
                      <a:pt x="8330" y="13434"/>
                    </a:lnTo>
                    <a:lnTo>
                      <a:pt x="8478" y="13434"/>
                    </a:lnTo>
                    <a:lnTo>
                      <a:pt x="8478" y="12249"/>
                    </a:lnTo>
                    <a:lnTo>
                      <a:pt x="8257" y="12249"/>
                    </a:lnTo>
                    <a:lnTo>
                      <a:pt x="8257" y="12512"/>
                    </a:lnTo>
                    <a:lnTo>
                      <a:pt x="8109" y="12512"/>
                    </a:lnTo>
                    <a:lnTo>
                      <a:pt x="8109" y="12249"/>
                    </a:lnTo>
                    <a:lnTo>
                      <a:pt x="7962" y="12249"/>
                    </a:lnTo>
                    <a:lnTo>
                      <a:pt x="7962" y="11985"/>
                    </a:lnTo>
                    <a:lnTo>
                      <a:pt x="7741" y="11985"/>
                    </a:lnTo>
                    <a:lnTo>
                      <a:pt x="7741" y="11722"/>
                    </a:lnTo>
                    <a:lnTo>
                      <a:pt x="7446" y="11722"/>
                    </a:lnTo>
                    <a:lnTo>
                      <a:pt x="7446" y="11590"/>
                    </a:lnTo>
                    <a:lnTo>
                      <a:pt x="7077" y="11590"/>
                    </a:lnTo>
                    <a:lnTo>
                      <a:pt x="7077" y="11327"/>
                    </a:lnTo>
                    <a:lnTo>
                      <a:pt x="6782" y="11327"/>
                    </a:lnTo>
                    <a:lnTo>
                      <a:pt x="6709" y="11063"/>
                    </a:lnTo>
                    <a:lnTo>
                      <a:pt x="6045" y="11063"/>
                    </a:lnTo>
                    <a:lnTo>
                      <a:pt x="6045" y="11327"/>
                    </a:lnTo>
                    <a:lnTo>
                      <a:pt x="5382" y="11327"/>
                    </a:lnTo>
                    <a:lnTo>
                      <a:pt x="5382" y="11590"/>
                    </a:lnTo>
                    <a:lnTo>
                      <a:pt x="5234" y="11590"/>
                    </a:lnTo>
                    <a:lnTo>
                      <a:pt x="5234" y="11722"/>
                    </a:lnTo>
                    <a:lnTo>
                      <a:pt x="5160" y="11722"/>
                    </a:lnTo>
                    <a:lnTo>
                      <a:pt x="5013" y="11985"/>
                    </a:lnTo>
                    <a:lnTo>
                      <a:pt x="4866" y="11985"/>
                    </a:lnTo>
                    <a:lnTo>
                      <a:pt x="4866" y="12249"/>
                    </a:lnTo>
                    <a:lnTo>
                      <a:pt x="4718" y="12249"/>
                    </a:lnTo>
                    <a:lnTo>
                      <a:pt x="4644" y="12512"/>
                    </a:lnTo>
                    <a:lnTo>
                      <a:pt x="4349" y="12512"/>
                    </a:lnTo>
                    <a:lnTo>
                      <a:pt x="4349" y="12249"/>
                    </a:lnTo>
                    <a:lnTo>
                      <a:pt x="4202" y="12249"/>
                    </a:lnTo>
                    <a:lnTo>
                      <a:pt x="4202" y="12512"/>
                    </a:lnTo>
                    <a:lnTo>
                      <a:pt x="3686" y="12512"/>
                    </a:lnTo>
                    <a:lnTo>
                      <a:pt x="3686" y="12644"/>
                    </a:lnTo>
                    <a:lnTo>
                      <a:pt x="3465" y="12644"/>
                    </a:lnTo>
                    <a:lnTo>
                      <a:pt x="3465" y="13171"/>
                    </a:lnTo>
                    <a:lnTo>
                      <a:pt x="3317" y="13171"/>
                    </a:lnTo>
                    <a:lnTo>
                      <a:pt x="3317" y="12907"/>
                    </a:lnTo>
                    <a:lnTo>
                      <a:pt x="3170" y="12644"/>
                    </a:lnTo>
                    <a:lnTo>
                      <a:pt x="2949" y="12644"/>
                    </a:lnTo>
                    <a:lnTo>
                      <a:pt x="2949" y="12512"/>
                    </a:lnTo>
                    <a:lnTo>
                      <a:pt x="2801" y="12512"/>
                    </a:lnTo>
                    <a:lnTo>
                      <a:pt x="2801" y="12249"/>
                    </a:lnTo>
                    <a:lnTo>
                      <a:pt x="2285" y="12249"/>
                    </a:lnTo>
                    <a:lnTo>
                      <a:pt x="2285" y="12512"/>
                    </a:lnTo>
                    <a:lnTo>
                      <a:pt x="2138" y="12512"/>
                    </a:lnTo>
                    <a:lnTo>
                      <a:pt x="2138" y="12249"/>
                    </a:lnTo>
                    <a:lnTo>
                      <a:pt x="1548" y="12249"/>
                    </a:lnTo>
                    <a:lnTo>
                      <a:pt x="1548" y="11985"/>
                    </a:lnTo>
                    <a:lnTo>
                      <a:pt x="1253" y="11985"/>
                    </a:lnTo>
                    <a:lnTo>
                      <a:pt x="1253" y="12249"/>
                    </a:lnTo>
                    <a:lnTo>
                      <a:pt x="1180" y="12249"/>
                    </a:lnTo>
                    <a:lnTo>
                      <a:pt x="1180" y="12512"/>
                    </a:lnTo>
                    <a:lnTo>
                      <a:pt x="1032" y="12512"/>
                    </a:lnTo>
                    <a:lnTo>
                      <a:pt x="1032" y="11985"/>
                    </a:lnTo>
                    <a:lnTo>
                      <a:pt x="885" y="12249"/>
                    </a:lnTo>
                    <a:lnTo>
                      <a:pt x="885" y="11985"/>
                    </a:lnTo>
                    <a:lnTo>
                      <a:pt x="737" y="11722"/>
                    </a:lnTo>
                    <a:lnTo>
                      <a:pt x="516" y="11722"/>
                    </a:lnTo>
                    <a:lnTo>
                      <a:pt x="516" y="11590"/>
                    </a:lnTo>
                    <a:lnTo>
                      <a:pt x="369" y="11590"/>
                    </a:lnTo>
                    <a:lnTo>
                      <a:pt x="369" y="11327"/>
                    </a:lnTo>
                    <a:lnTo>
                      <a:pt x="221" y="11327"/>
                    </a:lnTo>
                    <a:lnTo>
                      <a:pt x="221" y="11063"/>
                    </a:lnTo>
                    <a:lnTo>
                      <a:pt x="0" y="11063"/>
                    </a:lnTo>
                    <a:lnTo>
                      <a:pt x="0" y="10800"/>
                    </a:lnTo>
                    <a:lnTo>
                      <a:pt x="147" y="10800"/>
                    </a:lnTo>
                    <a:lnTo>
                      <a:pt x="147" y="10668"/>
                    </a:lnTo>
                    <a:lnTo>
                      <a:pt x="221" y="10668"/>
                    </a:lnTo>
                    <a:lnTo>
                      <a:pt x="221" y="10141"/>
                    </a:lnTo>
                    <a:lnTo>
                      <a:pt x="369" y="10141"/>
                    </a:lnTo>
                    <a:lnTo>
                      <a:pt x="369" y="9746"/>
                    </a:lnTo>
                    <a:lnTo>
                      <a:pt x="516" y="9746"/>
                    </a:lnTo>
                    <a:lnTo>
                      <a:pt x="516" y="9220"/>
                    </a:lnTo>
                    <a:lnTo>
                      <a:pt x="663" y="9220"/>
                    </a:lnTo>
                    <a:lnTo>
                      <a:pt x="663" y="9483"/>
                    </a:lnTo>
                    <a:lnTo>
                      <a:pt x="885" y="9483"/>
                    </a:lnTo>
                    <a:lnTo>
                      <a:pt x="1032" y="9746"/>
                    </a:lnTo>
                    <a:lnTo>
                      <a:pt x="1032" y="9220"/>
                    </a:lnTo>
                    <a:lnTo>
                      <a:pt x="885" y="9220"/>
                    </a:lnTo>
                    <a:lnTo>
                      <a:pt x="885" y="8956"/>
                    </a:lnTo>
                    <a:lnTo>
                      <a:pt x="737" y="8956"/>
                    </a:lnTo>
                    <a:lnTo>
                      <a:pt x="737" y="7639"/>
                    </a:lnTo>
                    <a:lnTo>
                      <a:pt x="885" y="7639"/>
                    </a:lnTo>
                    <a:lnTo>
                      <a:pt x="1032" y="7376"/>
                    </a:lnTo>
                    <a:lnTo>
                      <a:pt x="1253" y="7112"/>
                    </a:lnTo>
                    <a:lnTo>
                      <a:pt x="1401" y="6980"/>
                    </a:lnTo>
                    <a:lnTo>
                      <a:pt x="1401" y="6717"/>
                    </a:lnTo>
                    <a:lnTo>
                      <a:pt x="1548" y="6717"/>
                    </a:lnTo>
                    <a:lnTo>
                      <a:pt x="1548" y="6190"/>
                    </a:lnTo>
                    <a:lnTo>
                      <a:pt x="1769" y="6190"/>
                    </a:lnTo>
                    <a:lnTo>
                      <a:pt x="1769" y="6059"/>
                    </a:lnTo>
                    <a:lnTo>
                      <a:pt x="1917" y="6059"/>
                    </a:lnTo>
                    <a:lnTo>
                      <a:pt x="1917" y="5795"/>
                    </a:lnTo>
                    <a:lnTo>
                      <a:pt x="2285" y="5795"/>
                    </a:lnTo>
                    <a:lnTo>
                      <a:pt x="2285" y="5532"/>
                    </a:lnTo>
                    <a:lnTo>
                      <a:pt x="2433" y="5400"/>
                    </a:lnTo>
                    <a:lnTo>
                      <a:pt x="2433" y="5137"/>
                    </a:lnTo>
                    <a:lnTo>
                      <a:pt x="2285" y="5137"/>
                    </a:lnTo>
                    <a:lnTo>
                      <a:pt x="2285" y="4873"/>
                    </a:lnTo>
                    <a:lnTo>
                      <a:pt x="2138" y="4610"/>
                    </a:lnTo>
                    <a:lnTo>
                      <a:pt x="2580" y="4610"/>
                    </a:lnTo>
                    <a:lnTo>
                      <a:pt x="2580" y="4478"/>
                    </a:lnTo>
                    <a:lnTo>
                      <a:pt x="2433" y="4478"/>
                    </a:lnTo>
                    <a:lnTo>
                      <a:pt x="2433" y="4215"/>
                    </a:lnTo>
                    <a:lnTo>
                      <a:pt x="2285" y="4215"/>
                    </a:lnTo>
                    <a:lnTo>
                      <a:pt x="2285" y="3951"/>
                    </a:lnTo>
                    <a:lnTo>
                      <a:pt x="2138" y="3688"/>
                    </a:lnTo>
                    <a:lnTo>
                      <a:pt x="2138" y="3556"/>
                    </a:lnTo>
                    <a:lnTo>
                      <a:pt x="2064" y="3293"/>
                    </a:lnTo>
                    <a:lnTo>
                      <a:pt x="1917" y="3293"/>
                    </a:lnTo>
                    <a:lnTo>
                      <a:pt x="1917" y="2634"/>
                    </a:lnTo>
                    <a:lnTo>
                      <a:pt x="2064" y="2634"/>
                    </a:lnTo>
                    <a:lnTo>
                      <a:pt x="2064" y="2371"/>
                    </a:lnTo>
                    <a:lnTo>
                      <a:pt x="2285" y="2371"/>
                    </a:lnTo>
                    <a:lnTo>
                      <a:pt x="2433" y="2107"/>
                    </a:lnTo>
                    <a:lnTo>
                      <a:pt x="2580" y="2107"/>
                    </a:lnTo>
                    <a:lnTo>
                      <a:pt x="2580" y="1844"/>
                    </a:lnTo>
                    <a:lnTo>
                      <a:pt x="2654" y="1844"/>
                    </a:lnTo>
                    <a:lnTo>
                      <a:pt x="2654" y="1712"/>
                    </a:lnTo>
                    <a:lnTo>
                      <a:pt x="2949" y="1712"/>
                    </a:lnTo>
                    <a:lnTo>
                      <a:pt x="3096" y="1449"/>
                    </a:lnTo>
                    <a:lnTo>
                      <a:pt x="3317" y="1449"/>
                    </a:lnTo>
                    <a:lnTo>
                      <a:pt x="3317" y="1712"/>
                    </a:lnTo>
                    <a:lnTo>
                      <a:pt x="3465" y="1712"/>
                    </a:lnTo>
                    <a:lnTo>
                      <a:pt x="3465" y="1449"/>
                    </a:lnTo>
                    <a:lnTo>
                      <a:pt x="4349" y="1449"/>
                    </a:lnTo>
                    <a:lnTo>
                      <a:pt x="4497" y="1712"/>
                    </a:lnTo>
                    <a:lnTo>
                      <a:pt x="5013" y="1712"/>
                    </a:lnTo>
                    <a:lnTo>
                      <a:pt x="5160" y="1844"/>
                    </a:lnTo>
                    <a:lnTo>
                      <a:pt x="5529" y="1844"/>
                    </a:lnTo>
                    <a:lnTo>
                      <a:pt x="5529" y="2107"/>
                    </a:lnTo>
                    <a:lnTo>
                      <a:pt x="5898" y="2107"/>
                    </a:lnTo>
                    <a:lnTo>
                      <a:pt x="5898" y="2371"/>
                    </a:lnTo>
                    <a:lnTo>
                      <a:pt x="6045" y="2371"/>
                    </a:lnTo>
                    <a:lnTo>
                      <a:pt x="6045" y="2107"/>
                    </a:lnTo>
                    <a:lnTo>
                      <a:pt x="6266" y="2107"/>
                    </a:lnTo>
                    <a:lnTo>
                      <a:pt x="6266" y="2371"/>
                    </a:lnTo>
                    <a:lnTo>
                      <a:pt x="6709" y="2371"/>
                    </a:lnTo>
                    <a:lnTo>
                      <a:pt x="6709" y="2634"/>
                    </a:lnTo>
                    <a:lnTo>
                      <a:pt x="6782" y="2634"/>
                    </a:lnTo>
                    <a:lnTo>
                      <a:pt x="6930" y="2371"/>
                    </a:lnTo>
                    <a:lnTo>
                      <a:pt x="7225" y="2371"/>
                    </a:lnTo>
                    <a:lnTo>
                      <a:pt x="7225" y="2107"/>
                    </a:lnTo>
                    <a:lnTo>
                      <a:pt x="7298" y="2107"/>
                    </a:lnTo>
                    <a:lnTo>
                      <a:pt x="7298" y="2371"/>
                    </a:lnTo>
                    <a:lnTo>
                      <a:pt x="7446" y="2371"/>
                    </a:lnTo>
                    <a:lnTo>
                      <a:pt x="7446" y="2634"/>
                    </a:lnTo>
                    <a:lnTo>
                      <a:pt x="7741" y="2634"/>
                    </a:lnTo>
                    <a:lnTo>
                      <a:pt x="7741" y="2766"/>
                    </a:lnTo>
                    <a:lnTo>
                      <a:pt x="7814" y="2766"/>
                    </a:lnTo>
                    <a:lnTo>
                      <a:pt x="7814" y="3029"/>
                    </a:lnTo>
                    <a:lnTo>
                      <a:pt x="7962" y="3029"/>
                    </a:lnTo>
                    <a:lnTo>
                      <a:pt x="7962" y="2634"/>
                    </a:lnTo>
                    <a:lnTo>
                      <a:pt x="8257" y="2634"/>
                    </a:lnTo>
                    <a:lnTo>
                      <a:pt x="8257" y="2371"/>
                    </a:lnTo>
                    <a:lnTo>
                      <a:pt x="8330" y="2371"/>
                    </a:lnTo>
                    <a:lnTo>
                      <a:pt x="8478" y="2634"/>
                    </a:lnTo>
                    <a:lnTo>
                      <a:pt x="8478" y="3029"/>
                    </a:lnTo>
                    <a:lnTo>
                      <a:pt x="8994" y="3029"/>
                    </a:lnTo>
                    <a:lnTo>
                      <a:pt x="8994" y="2766"/>
                    </a:lnTo>
                    <a:lnTo>
                      <a:pt x="9141" y="2766"/>
                    </a:lnTo>
                    <a:lnTo>
                      <a:pt x="9141" y="2634"/>
                    </a:lnTo>
                    <a:lnTo>
                      <a:pt x="9657" y="2634"/>
                    </a:lnTo>
                    <a:lnTo>
                      <a:pt x="9657" y="2766"/>
                    </a:lnTo>
                    <a:lnTo>
                      <a:pt x="9731" y="2766"/>
                    </a:lnTo>
                    <a:lnTo>
                      <a:pt x="9731" y="3029"/>
                    </a:lnTo>
                    <a:lnTo>
                      <a:pt x="9878" y="3029"/>
                    </a:lnTo>
                    <a:lnTo>
                      <a:pt x="9878" y="3293"/>
                    </a:lnTo>
                    <a:lnTo>
                      <a:pt x="10026" y="3556"/>
                    </a:lnTo>
                    <a:lnTo>
                      <a:pt x="10173" y="3556"/>
                    </a:lnTo>
                    <a:lnTo>
                      <a:pt x="10173" y="3293"/>
                    </a:lnTo>
                    <a:lnTo>
                      <a:pt x="10026" y="3293"/>
                    </a:lnTo>
                    <a:lnTo>
                      <a:pt x="10026" y="2107"/>
                    </a:lnTo>
                    <a:lnTo>
                      <a:pt x="10173" y="1844"/>
                    </a:lnTo>
                    <a:lnTo>
                      <a:pt x="10173" y="1712"/>
                    </a:lnTo>
                    <a:lnTo>
                      <a:pt x="10247" y="1712"/>
                    </a:lnTo>
                    <a:lnTo>
                      <a:pt x="10395" y="1449"/>
                    </a:lnTo>
                    <a:lnTo>
                      <a:pt x="10395" y="1185"/>
                    </a:lnTo>
                    <a:lnTo>
                      <a:pt x="10542" y="922"/>
                    </a:lnTo>
                    <a:lnTo>
                      <a:pt x="10689" y="922"/>
                    </a:lnTo>
                    <a:lnTo>
                      <a:pt x="10689" y="1185"/>
                    </a:lnTo>
                    <a:lnTo>
                      <a:pt x="10763" y="1185"/>
                    </a:lnTo>
                    <a:lnTo>
                      <a:pt x="10763" y="922"/>
                    </a:lnTo>
                    <a:lnTo>
                      <a:pt x="11279" y="922"/>
                    </a:lnTo>
                    <a:lnTo>
                      <a:pt x="11279" y="1185"/>
                    </a:lnTo>
                    <a:lnTo>
                      <a:pt x="11427" y="1185"/>
                    </a:lnTo>
                    <a:lnTo>
                      <a:pt x="11427" y="922"/>
                    </a:lnTo>
                    <a:lnTo>
                      <a:pt x="11722" y="922"/>
                    </a:lnTo>
                    <a:lnTo>
                      <a:pt x="11722" y="1185"/>
                    </a:lnTo>
                    <a:lnTo>
                      <a:pt x="12090" y="1185"/>
                    </a:lnTo>
                    <a:lnTo>
                      <a:pt x="12090" y="922"/>
                    </a:lnTo>
                    <a:lnTo>
                      <a:pt x="12238" y="922"/>
                    </a:lnTo>
                    <a:lnTo>
                      <a:pt x="12238" y="790"/>
                    </a:lnTo>
                    <a:lnTo>
                      <a:pt x="12311" y="790"/>
                    </a:lnTo>
                    <a:lnTo>
                      <a:pt x="12311" y="263"/>
                    </a:lnTo>
                    <a:lnTo>
                      <a:pt x="12459" y="263"/>
                    </a:lnTo>
                    <a:lnTo>
                      <a:pt x="12606" y="527"/>
                    </a:lnTo>
                    <a:lnTo>
                      <a:pt x="13122" y="527"/>
                    </a:lnTo>
                    <a:lnTo>
                      <a:pt x="13122" y="263"/>
                    </a:lnTo>
                    <a:lnTo>
                      <a:pt x="13786" y="263"/>
                    </a:lnTo>
                    <a:lnTo>
                      <a:pt x="13859" y="0"/>
                    </a:lnTo>
                    <a:close/>
                    <a:moveTo>
                      <a:pt x="13859" y="0"/>
                    </a:moveTo>
                  </a:path>
                </a:pathLst>
              </a:custGeom>
              <a:solidFill>
                <a:srgbClr val="B2EAE7"/>
              </a:solidFill>
              <a:ln w="12700">
                <a:solidFill>
                  <a:srgbClr val="FFFFFF"/>
                </a:solidFill>
                <a:round/>
                <a:headEnd/>
                <a:tailEnd/>
              </a:ln>
            </p:spPr>
            <p:txBody>
              <a:bodyPr lIns="0" tIns="0" rIns="0" bIns="0"/>
              <a:lstStyle/>
              <a:p>
                <a:endParaRPr lang="en-US"/>
              </a:p>
            </p:txBody>
          </p:sp>
          <p:sp>
            <p:nvSpPr>
              <p:cNvPr id="96" name="Freeform 50"/>
              <p:cNvSpPr>
                <a:spLocks/>
              </p:cNvSpPr>
              <p:nvPr/>
            </p:nvSpPr>
            <p:spPr bwMode="auto">
              <a:xfrm>
                <a:off x="1483" y="3201"/>
                <a:ext cx="420" cy="23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w 21600"/>
                  <a:gd name="T117" fmla="*/ 0 h 21600"/>
                  <a:gd name="T118" fmla="*/ 0 w 21600"/>
                  <a:gd name="T119" fmla="*/ 0 h 21600"/>
                  <a:gd name="T120" fmla="*/ 0 w 21600"/>
                  <a:gd name="T121" fmla="*/ 0 h 2160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1600"/>
                  <a:gd name="T184" fmla="*/ 0 h 21600"/>
                  <a:gd name="T185" fmla="*/ 21600 w 21600"/>
                  <a:gd name="T186" fmla="*/ 21600 h 2160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1600" h="21600">
                    <a:moveTo>
                      <a:pt x="12259" y="0"/>
                    </a:moveTo>
                    <a:lnTo>
                      <a:pt x="12843" y="0"/>
                    </a:lnTo>
                    <a:lnTo>
                      <a:pt x="12843" y="1054"/>
                    </a:lnTo>
                    <a:lnTo>
                      <a:pt x="13427" y="1054"/>
                    </a:lnTo>
                    <a:lnTo>
                      <a:pt x="13427" y="2107"/>
                    </a:lnTo>
                    <a:lnTo>
                      <a:pt x="14886" y="2107"/>
                    </a:lnTo>
                    <a:lnTo>
                      <a:pt x="14886" y="1054"/>
                    </a:lnTo>
                    <a:lnTo>
                      <a:pt x="15470" y="1054"/>
                    </a:lnTo>
                    <a:lnTo>
                      <a:pt x="15470" y="2107"/>
                    </a:lnTo>
                    <a:lnTo>
                      <a:pt x="16346" y="2107"/>
                    </a:lnTo>
                    <a:lnTo>
                      <a:pt x="16930" y="3161"/>
                    </a:lnTo>
                    <a:lnTo>
                      <a:pt x="17514" y="3161"/>
                    </a:lnTo>
                    <a:lnTo>
                      <a:pt x="17514" y="5795"/>
                    </a:lnTo>
                    <a:lnTo>
                      <a:pt x="16930" y="5795"/>
                    </a:lnTo>
                    <a:lnTo>
                      <a:pt x="16930" y="7376"/>
                    </a:lnTo>
                    <a:lnTo>
                      <a:pt x="16346" y="7376"/>
                    </a:lnTo>
                    <a:lnTo>
                      <a:pt x="16346" y="8429"/>
                    </a:lnTo>
                    <a:lnTo>
                      <a:pt x="17514" y="8429"/>
                    </a:lnTo>
                    <a:lnTo>
                      <a:pt x="17514" y="9483"/>
                    </a:lnTo>
                    <a:lnTo>
                      <a:pt x="18973" y="9483"/>
                    </a:lnTo>
                    <a:lnTo>
                      <a:pt x="18973" y="10537"/>
                    </a:lnTo>
                    <a:lnTo>
                      <a:pt x="19557" y="10537"/>
                    </a:lnTo>
                    <a:lnTo>
                      <a:pt x="19557" y="11063"/>
                    </a:lnTo>
                    <a:lnTo>
                      <a:pt x="20141" y="11063"/>
                    </a:lnTo>
                    <a:lnTo>
                      <a:pt x="20141" y="10537"/>
                    </a:lnTo>
                    <a:lnTo>
                      <a:pt x="20432" y="10537"/>
                    </a:lnTo>
                    <a:lnTo>
                      <a:pt x="20432" y="9483"/>
                    </a:lnTo>
                    <a:lnTo>
                      <a:pt x="21016" y="9483"/>
                    </a:lnTo>
                    <a:lnTo>
                      <a:pt x="21600" y="10537"/>
                    </a:lnTo>
                    <a:lnTo>
                      <a:pt x="21600" y="14224"/>
                    </a:lnTo>
                    <a:lnTo>
                      <a:pt x="20432" y="14224"/>
                    </a:lnTo>
                    <a:lnTo>
                      <a:pt x="20432" y="13171"/>
                    </a:lnTo>
                    <a:lnTo>
                      <a:pt x="20141" y="13171"/>
                    </a:lnTo>
                    <a:lnTo>
                      <a:pt x="19557" y="14224"/>
                    </a:lnTo>
                    <a:lnTo>
                      <a:pt x="19557" y="14751"/>
                    </a:lnTo>
                    <a:lnTo>
                      <a:pt x="20141" y="14751"/>
                    </a:lnTo>
                    <a:lnTo>
                      <a:pt x="20141" y="17912"/>
                    </a:lnTo>
                    <a:lnTo>
                      <a:pt x="19557" y="17912"/>
                    </a:lnTo>
                    <a:lnTo>
                      <a:pt x="19557" y="16859"/>
                    </a:lnTo>
                    <a:lnTo>
                      <a:pt x="18097" y="16859"/>
                    </a:lnTo>
                    <a:lnTo>
                      <a:pt x="17514" y="15805"/>
                    </a:lnTo>
                    <a:lnTo>
                      <a:pt x="16930" y="15805"/>
                    </a:lnTo>
                    <a:lnTo>
                      <a:pt x="16930" y="14751"/>
                    </a:lnTo>
                    <a:lnTo>
                      <a:pt x="16346" y="14751"/>
                    </a:lnTo>
                    <a:lnTo>
                      <a:pt x="16346" y="14224"/>
                    </a:lnTo>
                    <a:lnTo>
                      <a:pt x="16054" y="14224"/>
                    </a:lnTo>
                    <a:lnTo>
                      <a:pt x="16054" y="16859"/>
                    </a:lnTo>
                    <a:lnTo>
                      <a:pt x="15470" y="17912"/>
                    </a:lnTo>
                    <a:lnTo>
                      <a:pt x="14886" y="17912"/>
                    </a:lnTo>
                    <a:lnTo>
                      <a:pt x="14886" y="20546"/>
                    </a:lnTo>
                    <a:lnTo>
                      <a:pt x="14303" y="20546"/>
                    </a:lnTo>
                    <a:lnTo>
                      <a:pt x="14303" y="21600"/>
                    </a:lnTo>
                    <a:lnTo>
                      <a:pt x="14011" y="21600"/>
                    </a:lnTo>
                    <a:lnTo>
                      <a:pt x="14011" y="19493"/>
                    </a:lnTo>
                    <a:lnTo>
                      <a:pt x="13427" y="18439"/>
                    </a:lnTo>
                    <a:lnTo>
                      <a:pt x="12843" y="18439"/>
                    </a:lnTo>
                    <a:lnTo>
                      <a:pt x="12843" y="17912"/>
                    </a:lnTo>
                    <a:lnTo>
                      <a:pt x="12259" y="17912"/>
                    </a:lnTo>
                    <a:lnTo>
                      <a:pt x="12259" y="16859"/>
                    </a:lnTo>
                    <a:lnTo>
                      <a:pt x="11968" y="15805"/>
                    </a:lnTo>
                    <a:lnTo>
                      <a:pt x="12259" y="15805"/>
                    </a:lnTo>
                    <a:lnTo>
                      <a:pt x="12259" y="14751"/>
                    </a:lnTo>
                    <a:lnTo>
                      <a:pt x="11384" y="14751"/>
                    </a:lnTo>
                    <a:lnTo>
                      <a:pt x="11384" y="15805"/>
                    </a:lnTo>
                    <a:lnTo>
                      <a:pt x="10800" y="15805"/>
                    </a:lnTo>
                    <a:lnTo>
                      <a:pt x="10800" y="16859"/>
                    </a:lnTo>
                    <a:lnTo>
                      <a:pt x="10216" y="16859"/>
                    </a:lnTo>
                    <a:lnTo>
                      <a:pt x="10216" y="18439"/>
                    </a:lnTo>
                    <a:lnTo>
                      <a:pt x="9924" y="19493"/>
                    </a:lnTo>
                    <a:lnTo>
                      <a:pt x="9341" y="19493"/>
                    </a:lnTo>
                    <a:lnTo>
                      <a:pt x="9341" y="21600"/>
                    </a:lnTo>
                    <a:lnTo>
                      <a:pt x="8757" y="21600"/>
                    </a:lnTo>
                    <a:lnTo>
                      <a:pt x="8757" y="20546"/>
                    </a:lnTo>
                    <a:lnTo>
                      <a:pt x="8173" y="20546"/>
                    </a:lnTo>
                    <a:lnTo>
                      <a:pt x="8173" y="19493"/>
                    </a:lnTo>
                    <a:lnTo>
                      <a:pt x="7881" y="19493"/>
                    </a:lnTo>
                    <a:lnTo>
                      <a:pt x="7297" y="20546"/>
                    </a:lnTo>
                    <a:lnTo>
                      <a:pt x="5254" y="20546"/>
                    </a:lnTo>
                    <a:lnTo>
                      <a:pt x="5254" y="19493"/>
                    </a:lnTo>
                    <a:lnTo>
                      <a:pt x="4670" y="19493"/>
                    </a:lnTo>
                    <a:lnTo>
                      <a:pt x="4670" y="18439"/>
                    </a:lnTo>
                    <a:lnTo>
                      <a:pt x="4086" y="18439"/>
                    </a:lnTo>
                    <a:lnTo>
                      <a:pt x="4086" y="17912"/>
                    </a:lnTo>
                    <a:lnTo>
                      <a:pt x="4670" y="17912"/>
                    </a:lnTo>
                    <a:lnTo>
                      <a:pt x="4670" y="16859"/>
                    </a:lnTo>
                    <a:lnTo>
                      <a:pt x="4086" y="16859"/>
                    </a:lnTo>
                    <a:lnTo>
                      <a:pt x="4086" y="14751"/>
                    </a:lnTo>
                    <a:lnTo>
                      <a:pt x="1751" y="14751"/>
                    </a:lnTo>
                    <a:lnTo>
                      <a:pt x="1751" y="16859"/>
                    </a:lnTo>
                    <a:lnTo>
                      <a:pt x="1168" y="16859"/>
                    </a:lnTo>
                    <a:lnTo>
                      <a:pt x="1168" y="17912"/>
                    </a:lnTo>
                    <a:lnTo>
                      <a:pt x="584" y="17912"/>
                    </a:lnTo>
                    <a:lnTo>
                      <a:pt x="584" y="18439"/>
                    </a:lnTo>
                    <a:lnTo>
                      <a:pt x="0" y="18439"/>
                    </a:lnTo>
                    <a:lnTo>
                      <a:pt x="0" y="16859"/>
                    </a:lnTo>
                    <a:lnTo>
                      <a:pt x="584" y="16859"/>
                    </a:lnTo>
                    <a:lnTo>
                      <a:pt x="1168" y="15805"/>
                    </a:lnTo>
                    <a:lnTo>
                      <a:pt x="1168" y="14224"/>
                    </a:lnTo>
                    <a:lnTo>
                      <a:pt x="2043" y="12117"/>
                    </a:lnTo>
                    <a:lnTo>
                      <a:pt x="2627" y="12117"/>
                    </a:lnTo>
                    <a:lnTo>
                      <a:pt x="2627" y="9483"/>
                    </a:lnTo>
                    <a:lnTo>
                      <a:pt x="3211" y="9483"/>
                    </a:lnTo>
                    <a:lnTo>
                      <a:pt x="3211" y="8429"/>
                    </a:lnTo>
                    <a:lnTo>
                      <a:pt x="3795" y="8429"/>
                    </a:lnTo>
                    <a:lnTo>
                      <a:pt x="4670" y="6849"/>
                    </a:lnTo>
                    <a:lnTo>
                      <a:pt x="4670" y="5795"/>
                    </a:lnTo>
                    <a:lnTo>
                      <a:pt x="5254" y="5795"/>
                    </a:lnTo>
                    <a:lnTo>
                      <a:pt x="5254" y="4741"/>
                    </a:lnTo>
                    <a:lnTo>
                      <a:pt x="4670" y="4741"/>
                    </a:lnTo>
                    <a:lnTo>
                      <a:pt x="4670" y="3688"/>
                    </a:lnTo>
                    <a:lnTo>
                      <a:pt x="5838" y="3688"/>
                    </a:lnTo>
                    <a:lnTo>
                      <a:pt x="5838" y="4741"/>
                    </a:lnTo>
                    <a:lnTo>
                      <a:pt x="7297" y="4741"/>
                    </a:lnTo>
                    <a:lnTo>
                      <a:pt x="7297" y="3688"/>
                    </a:lnTo>
                    <a:lnTo>
                      <a:pt x="7881" y="3161"/>
                    </a:lnTo>
                    <a:lnTo>
                      <a:pt x="12843" y="3161"/>
                    </a:lnTo>
                    <a:lnTo>
                      <a:pt x="12843" y="2107"/>
                    </a:lnTo>
                    <a:lnTo>
                      <a:pt x="11968" y="2107"/>
                    </a:lnTo>
                    <a:lnTo>
                      <a:pt x="11968" y="1054"/>
                    </a:lnTo>
                    <a:lnTo>
                      <a:pt x="12259" y="1054"/>
                    </a:lnTo>
                    <a:lnTo>
                      <a:pt x="12259" y="0"/>
                    </a:lnTo>
                    <a:close/>
                    <a:moveTo>
                      <a:pt x="12259" y="0"/>
                    </a:moveTo>
                  </a:path>
                </a:pathLst>
              </a:custGeom>
              <a:solidFill>
                <a:srgbClr val="B2EAE7"/>
              </a:solidFill>
              <a:ln w="12700">
                <a:solidFill>
                  <a:srgbClr val="FFFFFF"/>
                </a:solidFill>
                <a:round/>
                <a:headEnd/>
                <a:tailEnd/>
              </a:ln>
            </p:spPr>
            <p:txBody>
              <a:bodyPr lIns="0" tIns="0" rIns="0" bIns="0"/>
              <a:lstStyle/>
              <a:p>
                <a:endParaRPr lang="en-US"/>
              </a:p>
            </p:txBody>
          </p:sp>
          <p:sp>
            <p:nvSpPr>
              <p:cNvPr id="97" name="Freeform 51"/>
              <p:cNvSpPr>
                <a:spLocks/>
              </p:cNvSpPr>
              <p:nvPr/>
            </p:nvSpPr>
            <p:spPr bwMode="auto">
              <a:xfrm>
                <a:off x="2437" y="2031"/>
                <a:ext cx="69" cy="14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1600"/>
                  <a:gd name="T82" fmla="*/ 0 h 21600"/>
                  <a:gd name="T83" fmla="*/ 21600 w 21600"/>
                  <a:gd name="T84" fmla="*/ 21600 h 2160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1600" h="21600">
                    <a:moveTo>
                      <a:pt x="19800" y="0"/>
                    </a:moveTo>
                    <a:lnTo>
                      <a:pt x="21600" y="0"/>
                    </a:lnTo>
                    <a:lnTo>
                      <a:pt x="21600" y="3456"/>
                    </a:lnTo>
                    <a:lnTo>
                      <a:pt x="19800" y="3456"/>
                    </a:lnTo>
                    <a:lnTo>
                      <a:pt x="19800" y="7776"/>
                    </a:lnTo>
                    <a:lnTo>
                      <a:pt x="16200" y="11232"/>
                    </a:lnTo>
                    <a:lnTo>
                      <a:pt x="12600" y="12096"/>
                    </a:lnTo>
                    <a:lnTo>
                      <a:pt x="12600" y="13824"/>
                    </a:lnTo>
                    <a:lnTo>
                      <a:pt x="9000" y="13824"/>
                    </a:lnTo>
                    <a:lnTo>
                      <a:pt x="9000" y="17280"/>
                    </a:lnTo>
                    <a:lnTo>
                      <a:pt x="7200" y="18144"/>
                    </a:lnTo>
                    <a:lnTo>
                      <a:pt x="7200" y="21600"/>
                    </a:lnTo>
                    <a:lnTo>
                      <a:pt x="3600" y="21600"/>
                    </a:lnTo>
                    <a:lnTo>
                      <a:pt x="3600" y="19872"/>
                    </a:lnTo>
                    <a:lnTo>
                      <a:pt x="0" y="18144"/>
                    </a:lnTo>
                    <a:lnTo>
                      <a:pt x="0" y="15552"/>
                    </a:lnTo>
                    <a:lnTo>
                      <a:pt x="3600" y="13824"/>
                    </a:lnTo>
                    <a:lnTo>
                      <a:pt x="3600" y="12096"/>
                    </a:lnTo>
                    <a:lnTo>
                      <a:pt x="7200" y="11232"/>
                    </a:lnTo>
                    <a:lnTo>
                      <a:pt x="9000" y="11232"/>
                    </a:lnTo>
                    <a:lnTo>
                      <a:pt x="9000" y="9504"/>
                    </a:lnTo>
                    <a:lnTo>
                      <a:pt x="12600" y="6048"/>
                    </a:lnTo>
                    <a:lnTo>
                      <a:pt x="16200" y="5184"/>
                    </a:lnTo>
                    <a:lnTo>
                      <a:pt x="16200" y="3456"/>
                    </a:lnTo>
                    <a:lnTo>
                      <a:pt x="19800" y="1728"/>
                    </a:lnTo>
                    <a:lnTo>
                      <a:pt x="19800" y="0"/>
                    </a:lnTo>
                    <a:close/>
                    <a:moveTo>
                      <a:pt x="19800" y="0"/>
                    </a:moveTo>
                  </a:path>
                </a:pathLst>
              </a:custGeom>
              <a:solidFill>
                <a:srgbClr val="B2EAE7"/>
              </a:solidFill>
              <a:ln w="12700">
                <a:solidFill>
                  <a:srgbClr val="FFFFFF"/>
                </a:solidFill>
                <a:round/>
                <a:headEnd/>
                <a:tailEnd/>
              </a:ln>
            </p:spPr>
            <p:txBody>
              <a:bodyPr lIns="0" tIns="0" rIns="0" bIns="0"/>
              <a:lstStyle/>
              <a:p>
                <a:endParaRPr lang="en-US"/>
              </a:p>
            </p:txBody>
          </p:sp>
          <p:sp>
            <p:nvSpPr>
              <p:cNvPr id="98" name="Freeform 52"/>
              <p:cNvSpPr>
                <a:spLocks/>
              </p:cNvSpPr>
              <p:nvPr/>
            </p:nvSpPr>
            <p:spPr bwMode="auto">
              <a:xfrm>
                <a:off x="2596" y="1951"/>
                <a:ext cx="96" cy="13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1600"/>
                  <a:gd name="T94" fmla="*/ 0 h 21600"/>
                  <a:gd name="T95" fmla="*/ 21600 w 21600"/>
                  <a:gd name="T96" fmla="*/ 21600 h 2160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1600" h="21600">
                    <a:moveTo>
                      <a:pt x="16200" y="0"/>
                    </a:moveTo>
                    <a:lnTo>
                      <a:pt x="18900" y="0"/>
                    </a:lnTo>
                    <a:lnTo>
                      <a:pt x="18900" y="1878"/>
                    </a:lnTo>
                    <a:lnTo>
                      <a:pt x="21600" y="1878"/>
                    </a:lnTo>
                    <a:lnTo>
                      <a:pt x="21600" y="3757"/>
                    </a:lnTo>
                    <a:lnTo>
                      <a:pt x="18900" y="3757"/>
                    </a:lnTo>
                    <a:lnTo>
                      <a:pt x="18900" y="5635"/>
                    </a:lnTo>
                    <a:lnTo>
                      <a:pt x="16200" y="5635"/>
                    </a:lnTo>
                    <a:lnTo>
                      <a:pt x="16200" y="8452"/>
                    </a:lnTo>
                    <a:lnTo>
                      <a:pt x="13500" y="8452"/>
                    </a:lnTo>
                    <a:lnTo>
                      <a:pt x="13500" y="10330"/>
                    </a:lnTo>
                    <a:lnTo>
                      <a:pt x="16200" y="12209"/>
                    </a:lnTo>
                    <a:lnTo>
                      <a:pt x="16200" y="13148"/>
                    </a:lnTo>
                    <a:lnTo>
                      <a:pt x="13500" y="13148"/>
                    </a:lnTo>
                    <a:lnTo>
                      <a:pt x="13500" y="16904"/>
                    </a:lnTo>
                    <a:lnTo>
                      <a:pt x="9450" y="16904"/>
                    </a:lnTo>
                    <a:lnTo>
                      <a:pt x="6750" y="18783"/>
                    </a:lnTo>
                    <a:lnTo>
                      <a:pt x="6750" y="19722"/>
                    </a:lnTo>
                    <a:lnTo>
                      <a:pt x="4050" y="21600"/>
                    </a:lnTo>
                    <a:lnTo>
                      <a:pt x="2700" y="21600"/>
                    </a:lnTo>
                    <a:lnTo>
                      <a:pt x="2700" y="18783"/>
                    </a:lnTo>
                    <a:lnTo>
                      <a:pt x="0" y="18783"/>
                    </a:lnTo>
                    <a:lnTo>
                      <a:pt x="0" y="8452"/>
                    </a:lnTo>
                    <a:lnTo>
                      <a:pt x="2700" y="8452"/>
                    </a:lnTo>
                    <a:lnTo>
                      <a:pt x="2700" y="6574"/>
                    </a:lnTo>
                    <a:lnTo>
                      <a:pt x="4050" y="6574"/>
                    </a:lnTo>
                    <a:lnTo>
                      <a:pt x="4050" y="5635"/>
                    </a:lnTo>
                    <a:lnTo>
                      <a:pt x="9450" y="1878"/>
                    </a:lnTo>
                    <a:lnTo>
                      <a:pt x="16200" y="1878"/>
                    </a:lnTo>
                    <a:lnTo>
                      <a:pt x="16200" y="0"/>
                    </a:lnTo>
                    <a:close/>
                    <a:moveTo>
                      <a:pt x="16200" y="0"/>
                    </a:moveTo>
                  </a:path>
                </a:pathLst>
              </a:custGeom>
              <a:solidFill>
                <a:srgbClr val="B2EAE7"/>
              </a:solidFill>
              <a:ln w="12700">
                <a:solidFill>
                  <a:srgbClr val="FFFFFF"/>
                </a:solidFill>
                <a:round/>
                <a:headEnd/>
                <a:tailEnd/>
              </a:ln>
            </p:spPr>
            <p:txBody>
              <a:bodyPr lIns="0" tIns="0" rIns="0" bIns="0"/>
              <a:lstStyle/>
              <a:p>
                <a:endParaRPr lang="en-US"/>
              </a:p>
            </p:txBody>
          </p:sp>
          <p:sp>
            <p:nvSpPr>
              <p:cNvPr id="99" name="AutoShape 53"/>
              <p:cNvSpPr>
                <a:spLocks/>
              </p:cNvSpPr>
              <p:nvPr/>
            </p:nvSpPr>
            <p:spPr bwMode="auto">
              <a:xfrm>
                <a:off x="1960" y="348"/>
                <a:ext cx="1193" cy="195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w 21600"/>
                  <a:gd name="T117" fmla="*/ 0 h 21600"/>
                  <a:gd name="T118" fmla="*/ 0 w 21600"/>
                  <a:gd name="T119" fmla="*/ 0 h 21600"/>
                  <a:gd name="T120" fmla="*/ 0 w 21600"/>
                  <a:gd name="T121" fmla="*/ 0 h 2160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1600"/>
                  <a:gd name="T184" fmla="*/ 0 h 21600"/>
                  <a:gd name="T185" fmla="*/ 21600 w 21600"/>
                  <a:gd name="T186" fmla="*/ 21600 h 2160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1600" h="21600">
                    <a:moveTo>
                      <a:pt x="1131" y="17205"/>
                    </a:moveTo>
                    <a:lnTo>
                      <a:pt x="1131" y="17267"/>
                    </a:lnTo>
                    <a:lnTo>
                      <a:pt x="1234" y="17267"/>
                    </a:lnTo>
                    <a:lnTo>
                      <a:pt x="1234" y="17205"/>
                    </a:lnTo>
                    <a:lnTo>
                      <a:pt x="1131" y="17205"/>
                    </a:lnTo>
                    <a:close/>
                    <a:moveTo>
                      <a:pt x="11006" y="10047"/>
                    </a:moveTo>
                    <a:lnTo>
                      <a:pt x="11006" y="10172"/>
                    </a:lnTo>
                    <a:lnTo>
                      <a:pt x="11109" y="10172"/>
                    </a:lnTo>
                    <a:lnTo>
                      <a:pt x="11006" y="10047"/>
                    </a:lnTo>
                    <a:close/>
                    <a:moveTo>
                      <a:pt x="14709" y="0"/>
                    </a:moveTo>
                    <a:lnTo>
                      <a:pt x="15840" y="0"/>
                    </a:lnTo>
                    <a:lnTo>
                      <a:pt x="15840" y="63"/>
                    </a:lnTo>
                    <a:lnTo>
                      <a:pt x="15634" y="63"/>
                    </a:lnTo>
                    <a:lnTo>
                      <a:pt x="15634" y="188"/>
                    </a:lnTo>
                    <a:lnTo>
                      <a:pt x="16149" y="188"/>
                    </a:lnTo>
                    <a:lnTo>
                      <a:pt x="16354" y="314"/>
                    </a:lnTo>
                    <a:lnTo>
                      <a:pt x="16560" y="314"/>
                    </a:lnTo>
                    <a:lnTo>
                      <a:pt x="16560" y="440"/>
                    </a:lnTo>
                    <a:lnTo>
                      <a:pt x="16869" y="440"/>
                    </a:lnTo>
                    <a:lnTo>
                      <a:pt x="16869" y="502"/>
                    </a:lnTo>
                    <a:lnTo>
                      <a:pt x="17074" y="502"/>
                    </a:lnTo>
                    <a:lnTo>
                      <a:pt x="17074" y="628"/>
                    </a:lnTo>
                    <a:lnTo>
                      <a:pt x="17486" y="628"/>
                    </a:lnTo>
                    <a:lnTo>
                      <a:pt x="17486" y="753"/>
                    </a:lnTo>
                    <a:lnTo>
                      <a:pt x="17794" y="753"/>
                    </a:lnTo>
                    <a:lnTo>
                      <a:pt x="17794" y="879"/>
                    </a:lnTo>
                    <a:lnTo>
                      <a:pt x="18206" y="879"/>
                    </a:lnTo>
                    <a:lnTo>
                      <a:pt x="18206" y="942"/>
                    </a:lnTo>
                    <a:lnTo>
                      <a:pt x="18309" y="942"/>
                    </a:lnTo>
                    <a:lnTo>
                      <a:pt x="18514" y="1067"/>
                    </a:lnTo>
                    <a:lnTo>
                      <a:pt x="18926" y="1067"/>
                    </a:lnTo>
                    <a:lnTo>
                      <a:pt x="18926" y="1193"/>
                    </a:lnTo>
                    <a:lnTo>
                      <a:pt x="19029" y="1193"/>
                    </a:lnTo>
                    <a:lnTo>
                      <a:pt x="19029" y="1319"/>
                    </a:lnTo>
                    <a:lnTo>
                      <a:pt x="19440" y="1319"/>
                    </a:lnTo>
                    <a:lnTo>
                      <a:pt x="19440" y="1381"/>
                    </a:lnTo>
                    <a:lnTo>
                      <a:pt x="19646" y="1507"/>
                    </a:lnTo>
                    <a:lnTo>
                      <a:pt x="19954" y="1507"/>
                    </a:lnTo>
                    <a:lnTo>
                      <a:pt x="19954" y="1633"/>
                    </a:lnTo>
                    <a:lnTo>
                      <a:pt x="20160" y="1633"/>
                    </a:lnTo>
                    <a:lnTo>
                      <a:pt x="20160" y="1758"/>
                    </a:lnTo>
                    <a:lnTo>
                      <a:pt x="20366" y="1758"/>
                    </a:lnTo>
                    <a:lnTo>
                      <a:pt x="20366" y="1821"/>
                    </a:lnTo>
                    <a:lnTo>
                      <a:pt x="20469" y="1821"/>
                    </a:lnTo>
                    <a:lnTo>
                      <a:pt x="20674" y="1947"/>
                    </a:lnTo>
                    <a:lnTo>
                      <a:pt x="20674" y="2072"/>
                    </a:lnTo>
                    <a:lnTo>
                      <a:pt x="20469" y="2072"/>
                    </a:lnTo>
                    <a:lnTo>
                      <a:pt x="20469" y="2512"/>
                    </a:lnTo>
                    <a:lnTo>
                      <a:pt x="20366" y="2512"/>
                    </a:lnTo>
                    <a:lnTo>
                      <a:pt x="20366" y="2826"/>
                    </a:lnTo>
                    <a:lnTo>
                      <a:pt x="20674" y="2826"/>
                    </a:lnTo>
                    <a:lnTo>
                      <a:pt x="20674" y="2951"/>
                    </a:lnTo>
                    <a:lnTo>
                      <a:pt x="20880" y="2951"/>
                    </a:lnTo>
                    <a:lnTo>
                      <a:pt x="20880" y="3140"/>
                    </a:lnTo>
                    <a:lnTo>
                      <a:pt x="20674" y="3140"/>
                    </a:lnTo>
                    <a:lnTo>
                      <a:pt x="20469" y="3265"/>
                    </a:lnTo>
                    <a:lnTo>
                      <a:pt x="20469" y="3516"/>
                    </a:lnTo>
                    <a:lnTo>
                      <a:pt x="20880" y="3516"/>
                    </a:lnTo>
                    <a:lnTo>
                      <a:pt x="20880" y="3705"/>
                    </a:lnTo>
                    <a:lnTo>
                      <a:pt x="20983" y="3705"/>
                    </a:lnTo>
                    <a:lnTo>
                      <a:pt x="20983" y="3830"/>
                    </a:lnTo>
                    <a:lnTo>
                      <a:pt x="21189" y="3830"/>
                    </a:lnTo>
                    <a:lnTo>
                      <a:pt x="21189" y="3956"/>
                    </a:lnTo>
                    <a:lnTo>
                      <a:pt x="20983" y="4019"/>
                    </a:lnTo>
                    <a:lnTo>
                      <a:pt x="20983" y="4270"/>
                    </a:lnTo>
                    <a:lnTo>
                      <a:pt x="20880" y="4270"/>
                    </a:lnTo>
                    <a:lnTo>
                      <a:pt x="20880" y="4458"/>
                    </a:lnTo>
                    <a:lnTo>
                      <a:pt x="20674" y="4458"/>
                    </a:lnTo>
                    <a:lnTo>
                      <a:pt x="20674" y="4709"/>
                    </a:lnTo>
                    <a:lnTo>
                      <a:pt x="20880" y="4709"/>
                    </a:lnTo>
                    <a:lnTo>
                      <a:pt x="20880" y="4898"/>
                    </a:lnTo>
                    <a:lnTo>
                      <a:pt x="20983" y="5023"/>
                    </a:lnTo>
                    <a:lnTo>
                      <a:pt x="21189" y="5023"/>
                    </a:lnTo>
                    <a:lnTo>
                      <a:pt x="21189" y="5337"/>
                    </a:lnTo>
                    <a:lnTo>
                      <a:pt x="21394" y="5337"/>
                    </a:lnTo>
                    <a:lnTo>
                      <a:pt x="21394" y="5463"/>
                    </a:lnTo>
                    <a:lnTo>
                      <a:pt x="21600" y="5463"/>
                    </a:lnTo>
                    <a:lnTo>
                      <a:pt x="21600" y="5588"/>
                    </a:lnTo>
                    <a:lnTo>
                      <a:pt x="20366" y="5588"/>
                    </a:lnTo>
                    <a:lnTo>
                      <a:pt x="20160" y="5463"/>
                    </a:lnTo>
                    <a:lnTo>
                      <a:pt x="19954" y="5463"/>
                    </a:lnTo>
                    <a:lnTo>
                      <a:pt x="19954" y="5588"/>
                    </a:lnTo>
                    <a:lnTo>
                      <a:pt x="19749" y="5651"/>
                    </a:lnTo>
                    <a:lnTo>
                      <a:pt x="19646" y="5651"/>
                    </a:lnTo>
                    <a:lnTo>
                      <a:pt x="19646" y="5588"/>
                    </a:lnTo>
                    <a:lnTo>
                      <a:pt x="19440" y="5588"/>
                    </a:lnTo>
                    <a:lnTo>
                      <a:pt x="19234" y="5463"/>
                    </a:lnTo>
                    <a:lnTo>
                      <a:pt x="19029" y="5588"/>
                    </a:lnTo>
                    <a:lnTo>
                      <a:pt x="18514" y="5588"/>
                    </a:lnTo>
                    <a:lnTo>
                      <a:pt x="18514" y="5777"/>
                    </a:lnTo>
                    <a:lnTo>
                      <a:pt x="18720" y="5777"/>
                    </a:lnTo>
                    <a:lnTo>
                      <a:pt x="18720" y="5902"/>
                    </a:lnTo>
                    <a:lnTo>
                      <a:pt x="18514" y="6028"/>
                    </a:lnTo>
                    <a:lnTo>
                      <a:pt x="18309" y="5902"/>
                    </a:lnTo>
                    <a:lnTo>
                      <a:pt x="18000" y="5902"/>
                    </a:lnTo>
                    <a:lnTo>
                      <a:pt x="17794" y="6028"/>
                    </a:lnTo>
                    <a:lnTo>
                      <a:pt x="17589" y="6028"/>
                    </a:lnTo>
                    <a:lnTo>
                      <a:pt x="17589" y="6091"/>
                    </a:lnTo>
                    <a:lnTo>
                      <a:pt x="17486" y="6091"/>
                    </a:lnTo>
                    <a:lnTo>
                      <a:pt x="17486" y="6216"/>
                    </a:lnTo>
                    <a:lnTo>
                      <a:pt x="17074" y="6216"/>
                    </a:lnTo>
                    <a:lnTo>
                      <a:pt x="17074" y="6342"/>
                    </a:lnTo>
                    <a:lnTo>
                      <a:pt x="17486" y="6342"/>
                    </a:lnTo>
                    <a:lnTo>
                      <a:pt x="17486" y="6467"/>
                    </a:lnTo>
                    <a:lnTo>
                      <a:pt x="17280" y="6467"/>
                    </a:lnTo>
                    <a:lnTo>
                      <a:pt x="17280" y="6781"/>
                    </a:lnTo>
                    <a:lnTo>
                      <a:pt x="17074" y="6907"/>
                    </a:lnTo>
                    <a:lnTo>
                      <a:pt x="16766" y="6907"/>
                    </a:lnTo>
                    <a:lnTo>
                      <a:pt x="16766" y="6970"/>
                    </a:lnTo>
                    <a:lnTo>
                      <a:pt x="16560" y="7095"/>
                    </a:lnTo>
                    <a:lnTo>
                      <a:pt x="16354" y="7095"/>
                    </a:lnTo>
                    <a:lnTo>
                      <a:pt x="16354" y="7221"/>
                    </a:lnTo>
                    <a:lnTo>
                      <a:pt x="16560" y="7221"/>
                    </a:lnTo>
                    <a:lnTo>
                      <a:pt x="16766" y="7347"/>
                    </a:lnTo>
                    <a:lnTo>
                      <a:pt x="16869" y="7347"/>
                    </a:lnTo>
                    <a:lnTo>
                      <a:pt x="16869" y="7409"/>
                    </a:lnTo>
                    <a:lnTo>
                      <a:pt x="16766" y="7409"/>
                    </a:lnTo>
                    <a:lnTo>
                      <a:pt x="16766" y="7535"/>
                    </a:lnTo>
                    <a:lnTo>
                      <a:pt x="17074" y="7535"/>
                    </a:lnTo>
                    <a:lnTo>
                      <a:pt x="17280" y="7660"/>
                    </a:lnTo>
                    <a:lnTo>
                      <a:pt x="17074" y="7660"/>
                    </a:lnTo>
                    <a:lnTo>
                      <a:pt x="17074" y="7786"/>
                    </a:lnTo>
                    <a:lnTo>
                      <a:pt x="17486" y="7786"/>
                    </a:lnTo>
                    <a:lnTo>
                      <a:pt x="17486" y="7849"/>
                    </a:lnTo>
                    <a:lnTo>
                      <a:pt x="17074" y="7849"/>
                    </a:lnTo>
                    <a:lnTo>
                      <a:pt x="17074" y="7974"/>
                    </a:lnTo>
                    <a:lnTo>
                      <a:pt x="16869" y="7974"/>
                    </a:lnTo>
                    <a:lnTo>
                      <a:pt x="16149" y="8414"/>
                    </a:lnTo>
                    <a:lnTo>
                      <a:pt x="16149" y="8540"/>
                    </a:lnTo>
                    <a:lnTo>
                      <a:pt x="15840" y="8728"/>
                    </a:lnTo>
                    <a:lnTo>
                      <a:pt x="15634" y="8979"/>
                    </a:lnTo>
                    <a:lnTo>
                      <a:pt x="15120" y="8979"/>
                    </a:lnTo>
                    <a:lnTo>
                      <a:pt x="14914" y="9105"/>
                    </a:lnTo>
                    <a:lnTo>
                      <a:pt x="14709" y="9105"/>
                    </a:lnTo>
                    <a:lnTo>
                      <a:pt x="14709" y="9167"/>
                    </a:lnTo>
                    <a:lnTo>
                      <a:pt x="14400" y="9167"/>
                    </a:lnTo>
                    <a:lnTo>
                      <a:pt x="14400" y="9419"/>
                    </a:lnTo>
                    <a:lnTo>
                      <a:pt x="13989" y="9419"/>
                    </a:lnTo>
                    <a:lnTo>
                      <a:pt x="13989" y="9293"/>
                    </a:lnTo>
                    <a:lnTo>
                      <a:pt x="13886" y="9293"/>
                    </a:lnTo>
                    <a:lnTo>
                      <a:pt x="13886" y="9419"/>
                    </a:lnTo>
                    <a:lnTo>
                      <a:pt x="13474" y="9419"/>
                    </a:lnTo>
                    <a:lnTo>
                      <a:pt x="13474" y="9544"/>
                    </a:lnTo>
                    <a:lnTo>
                      <a:pt x="13269" y="9544"/>
                    </a:lnTo>
                    <a:lnTo>
                      <a:pt x="13269" y="9607"/>
                    </a:lnTo>
                    <a:lnTo>
                      <a:pt x="13166" y="9607"/>
                    </a:lnTo>
                    <a:lnTo>
                      <a:pt x="13166" y="9733"/>
                    </a:lnTo>
                    <a:lnTo>
                      <a:pt x="12754" y="9733"/>
                    </a:lnTo>
                    <a:lnTo>
                      <a:pt x="12754" y="9858"/>
                    </a:lnTo>
                    <a:lnTo>
                      <a:pt x="12446" y="9858"/>
                    </a:lnTo>
                    <a:lnTo>
                      <a:pt x="12446" y="9984"/>
                    </a:lnTo>
                    <a:lnTo>
                      <a:pt x="12240" y="9984"/>
                    </a:lnTo>
                    <a:lnTo>
                      <a:pt x="12034" y="10047"/>
                    </a:lnTo>
                    <a:lnTo>
                      <a:pt x="11829" y="10047"/>
                    </a:lnTo>
                    <a:lnTo>
                      <a:pt x="11829" y="10172"/>
                    </a:lnTo>
                    <a:lnTo>
                      <a:pt x="11726" y="10298"/>
                    </a:lnTo>
                    <a:lnTo>
                      <a:pt x="11726" y="10423"/>
                    </a:lnTo>
                    <a:lnTo>
                      <a:pt x="11520" y="10486"/>
                    </a:lnTo>
                    <a:lnTo>
                      <a:pt x="11520" y="10423"/>
                    </a:lnTo>
                    <a:lnTo>
                      <a:pt x="11314" y="10423"/>
                    </a:lnTo>
                    <a:lnTo>
                      <a:pt x="11109" y="10298"/>
                    </a:lnTo>
                    <a:lnTo>
                      <a:pt x="11109" y="10423"/>
                    </a:lnTo>
                    <a:lnTo>
                      <a:pt x="11314" y="10423"/>
                    </a:lnTo>
                    <a:lnTo>
                      <a:pt x="11314" y="10486"/>
                    </a:lnTo>
                    <a:lnTo>
                      <a:pt x="11109" y="10612"/>
                    </a:lnTo>
                    <a:lnTo>
                      <a:pt x="11109" y="10800"/>
                    </a:lnTo>
                    <a:lnTo>
                      <a:pt x="11006" y="10926"/>
                    </a:lnTo>
                    <a:lnTo>
                      <a:pt x="10491" y="10926"/>
                    </a:lnTo>
                    <a:lnTo>
                      <a:pt x="10491" y="11177"/>
                    </a:lnTo>
                    <a:lnTo>
                      <a:pt x="10594" y="11177"/>
                    </a:lnTo>
                    <a:lnTo>
                      <a:pt x="10594" y="11491"/>
                    </a:lnTo>
                    <a:lnTo>
                      <a:pt x="10491" y="11491"/>
                    </a:lnTo>
                    <a:lnTo>
                      <a:pt x="10491" y="11679"/>
                    </a:lnTo>
                    <a:lnTo>
                      <a:pt x="10286" y="11679"/>
                    </a:lnTo>
                    <a:lnTo>
                      <a:pt x="10286" y="11930"/>
                    </a:lnTo>
                    <a:lnTo>
                      <a:pt x="10491" y="12056"/>
                    </a:lnTo>
                    <a:lnTo>
                      <a:pt x="10491" y="12119"/>
                    </a:lnTo>
                    <a:lnTo>
                      <a:pt x="9874" y="12119"/>
                    </a:lnTo>
                    <a:lnTo>
                      <a:pt x="9874" y="12244"/>
                    </a:lnTo>
                    <a:lnTo>
                      <a:pt x="10080" y="12244"/>
                    </a:lnTo>
                    <a:lnTo>
                      <a:pt x="10080" y="12370"/>
                    </a:lnTo>
                    <a:lnTo>
                      <a:pt x="9874" y="12370"/>
                    </a:lnTo>
                    <a:lnTo>
                      <a:pt x="9874" y="12684"/>
                    </a:lnTo>
                    <a:lnTo>
                      <a:pt x="10080" y="12684"/>
                    </a:lnTo>
                    <a:lnTo>
                      <a:pt x="10080" y="12809"/>
                    </a:lnTo>
                    <a:lnTo>
                      <a:pt x="9874" y="12809"/>
                    </a:lnTo>
                    <a:lnTo>
                      <a:pt x="9874" y="13249"/>
                    </a:lnTo>
                    <a:lnTo>
                      <a:pt x="10080" y="13249"/>
                    </a:lnTo>
                    <a:lnTo>
                      <a:pt x="10080" y="13437"/>
                    </a:lnTo>
                    <a:lnTo>
                      <a:pt x="10286" y="13437"/>
                    </a:lnTo>
                    <a:lnTo>
                      <a:pt x="10286" y="13688"/>
                    </a:lnTo>
                    <a:lnTo>
                      <a:pt x="10491" y="13688"/>
                    </a:lnTo>
                    <a:lnTo>
                      <a:pt x="10491" y="13814"/>
                    </a:lnTo>
                    <a:lnTo>
                      <a:pt x="10594" y="13814"/>
                    </a:lnTo>
                    <a:lnTo>
                      <a:pt x="10800" y="13877"/>
                    </a:lnTo>
                    <a:lnTo>
                      <a:pt x="11006" y="13877"/>
                    </a:lnTo>
                    <a:lnTo>
                      <a:pt x="11109" y="13814"/>
                    </a:lnTo>
                    <a:lnTo>
                      <a:pt x="11314" y="13814"/>
                    </a:lnTo>
                    <a:lnTo>
                      <a:pt x="11520" y="13877"/>
                    </a:lnTo>
                    <a:lnTo>
                      <a:pt x="11520" y="14002"/>
                    </a:lnTo>
                    <a:lnTo>
                      <a:pt x="11726" y="14128"/>
                    </a:lnTo>
                    <a:lnTo>
                      <a:pt x="12034" y="14128"/>
                    </a:lnTo>
                    <a:lnTo>
                      <a:pt x="12240" y="14253"/>
                    </a:lnTo>
                    <a:lnTo>
                      <a:pt x="12240" y="14442"/>
                    </a:lnTo>
                    <a:lnTo>
                      <a:pt x="12446" y="14567"/>
                    </a:lnTo>
                    <a:lnTo>
                      <a:pt x="12754" y="14567"/>
                    </a:lnTo>
                    <a:lnTo>
                      <a:pt x="12754" y="14693"/>
                    </a:lnTo>
                    <a:lnTo>
                      <a:pt x="12960" y="14693"/>
                    </a:lnTo>
                    <a:lnTo>
                      <a:pt x="12960" y="14881"/>
                    </a:lnTo>
                    <a:lnTo>
                      <a:pt x="13166" y="15007"/>
                    </a:lnTo>
                    <a:lnTo>
                      <a:pt x="13166" y="15133"/>
                    </a:lnTo>
                    <a:lnTo>
                      <a:pt x="12754" y="15133"/>
                    </a:lnTo>
                    <a:lnTo>
                      <a:pt x="12754" y="15195"/>
                    </a:lnTo>
                    <a:lnTo>
                      <a:pt x="12446" y="15195"/>
                    </a:lnTo>
                    <a:lnTo>
                      <a:pt x="12446" y="15321"/>
                    </a:lnTo>
                    <a:lnTo>
                      <a:pt x="12240" y="15321"/>
                    </a:lnTo>
                    <a:lnTo>
                      <a:pt x="12034" y="15447"/>
                    </a:lnTo>
                    <a:lnTo>
                      <a:pt x="11829" y="15447"/>
                    </a:lnTo>
                    <a:lnTo>
                      <a:pt x="11829" y="15635"/>
                    </a:lnTo>
                    <a:lnTo>
                      <a:pt x="12034" y="15635"/>
                    </a:lnTo>
                    <a:lnTo>
                      <a:pt x="12034" y="15572"/>
                    </a:lnTo>
                    <a:lnTo>
                      <a:pt x="12240" y="15635"/>
                    </a:lnTo>
                    <a:lnTo>
                      <a:pt x="12446" y="15635"/>
                    </a:lnTo>
                    <a:lnTo>
                      <a:pt x="12446" y="15886"/>
                    </a:lnTo>
                    <a:lnTo>
                      <a:pt x="12240" y="15886"/>
                    </a:lnTo>
                    <a:lnTo>
                      <a:pt x="12034" y="15760"/>
                    </a:lnTo>
                    <a:lnTo>
                      <a:pt x="12034" y="16074"/>
                    </a:lnTo>
                    <a:lnTo>
                      <a:pt x="11726" y="16074"/>
                    </a:lnTo>
                    <a:lnTo>
                      <a:pt x="11726" y="16200"/>
                    </a:lnTo>
                    <a:lnTo>
                      <a:pt x="11520" y="16200"/>
                    </a:lnTo>
                    <a:lnTo>
                      <a:pt x="11520" y="16326"/>
                    </a:lnTo>
                    <a:lnTo>
                      <a:pt x="11314" y="16326"/>
                    </a:lnTo>
                    <a:lnTo>
                      <a:pt x="11314" y="16451"/>
                    </a:lnTo>
                    <a:lnTo>
                      <a:pt x="11109" y="16514"/>
                    </a:lnTo>
                    <a:lnTo>
                      <a:pt x="11109" y="16451"/>
                    </a:lnTo>
                    <a:lnTo>
                      <a:pt x="11006" y="16451"/>
                    </a:lnTo>
                    <a:lnTo>
                      <a:pt x="11006" y="16326"/>
                    </a:lnTo>
                    <a:lnTo>
                      <a:pt x="10800" y="16326"/>
                    </a:lnTo>
                    <a:lnTo>
                      <a:pt x="10594" y="16451"/>
                    </a:lnTo>
                    <a:lnTo>
                      <a:pt x="10594" y="16514"/>
                    </a:lnTo>
                    <a:lnTo>
                      <a:pt x="10491" y="16514"/>
                    </a:lnTo>
                    <a:lnTo>
                      <a:pt x="10491" y="16640"/>
                    </a:lnTo>
                    <a:lnTo>
                      <a:pt x="9874" y="16640"/>
                    </a:lnTo>
                    <a:lnTo>
                      <a:pt x="9771" y="16765"/>
                    </a:lnTo>
                    <a:lnTo>
                      <a:pt x="9154" y="16765"/>
                    </a:lnTo>
                    <a:lnTo>
                      <a:pt x="9154" y="16828"/>
                    </a:lnTo>
                    <a:lnTo>
                      <a:pt x="9566" y="16828"/>
                    </a:lnTo>
                    <a:lnTo>
                      <a:pt x="9771" y="16953"/>
                    </a:lnTo>
                    <a:lnTo>
                      <a:pt x="9566" y="17079"/>
                    </a:lnTo>
                    <a:lnTo>
                      <a:pt x="9154" y="17079"/>
                    </a:lnTo>
                    <a:lnTo>
                      <a:pt x="9051" y="16953"/>
                    </a:lnTo>
                    <a:lnTo>
                      <a:pt x="9051" y="17079"/>
                    </a:lnTo>
                    <a:lnTo>
                      <a:pt x="9154" y="17079"/>
                    </a:lnTo>
                    <a:lnTo>
                      <a:pt x="9360" y="17205"/>
                    </a:lnTo>
                    <a:lnTo>
                      <a:pt x="9360" y="17267"/>
                    </a:lnTo>
                    <a:lnTo>
                      <a:pt x="9566" y="17267"/>
                    </a:lnTo>
                    <a:lnTo>
                      <a:pt x="9566" y="17393"/>
                    </a:lnTo>
                    <a:lnTo>
                      <a:pt x="9360" y="17519"/>
                    </a:lnTo>
                    <a:lnTo>
                      <a:pt x="9360" y="17644"/>
                    </a:lnTo>
                    <a:lnTo>
                      <a:pt x="9154" y="17644"/>
                    </a:lnTo>
                    <a:lnTo>
                      <a:pt x="9154" y="17707"/>
                    </a:lnTo>
                    <a:lnTo>
                      <a:pt x="9360" y="17707"/>
                    </a:lnTo>
                    <a:lnTo>
                      <a:pt x="9360" y="17833"/>
                    </a:lnTo>
                    <a:lnTo>
                      <a:pt x="9051" y="17833"/>
                    </a:lnTo>
                    <a:lnTo>
                      <a:pt x="9051" y="17958"/>
                    </a:lnTo>
                    <a:lnTo>
                      <a:pt x="9154" y="17958"/>
                    </a:lnTo>
                    <a:lnTo>
                      <a:pt x="9154" y="18147"/>
                    </a:lnTo>
                    <a:lnTo>
                      <a:pt x="9051" y="18147"/>
                    </a:lnTo>
                    <a:lnTo>
                      <a:pt x="9051" y="18272"/>
                    </a:lnTo>
                    <a:lnTo>
                      <a:pt x="9154" y="18398"/>
                    </a:lnTo>
                    <a:lnTo>
                      <a:pt x="9154" y="18523"/>
                    </a:lnTo>
                    <a:lnTo>
                      <a:pt x="9051" y="18586"/>
                    </a:lnTo>
                    <a:lnTo>
                      <a:pt x="8846" y="18586"/>
                    </a:lnTo>
                    <a:lnTo>
                      <a:pt x="8846" y="18837"/>
                    </a:lnTo>
                    <a:lnTo>
                      <a:pt x="9051" y="18963"/>
                    </a:lnTo>
                    <a:lnTo>
                      <a:pt x="9051" y="19026"/>
                    </a:lnTo>
                    <a:lnTo>
                      <a:pt x="8846" y="19026"/>
                    </a:lnTo>
                    <a:lnTo>
                      <a:pt x="8846" y="19465"/>
                    </a:lnTo>
                    <a:lnTo>
                      <a:pt x="8640" y="19591"/>
                    </a:lnTo>
                    <a:lnTo>
                      <a:pt x="8640" y="19716"/>
                    </a:lnTo>
                    <a:lnTo>
                      <a:pt x="8331" y="19905"/>
                    </a:lnTo>
                    <a:lnTo>
                      <a:pt x="8126" y="20156"/>
                    </a:lnTo>
                    <a:lnTo>
                      <a:pt x="8126" y="20281"/>
                    </a:lnTo>
                    <a:lnTo>
                      <a:pt x="7714" y="20470"/>
                    </a:lnTo>
                    <a:lnTo>
                      <a:pt x="7714" y="20344"/>
                    </a:lnTo>
                    <a:lnTo>
                      <a:pt x="7611" y="20344"/>
                    </a:lnTo>
                    <a:lnTo>
                      <a:pt x="7611" y="20281"/>
                    </a:lnTo>
                    <a:lnTo>
                      <a:pt x="6994" y="20281"/>
                    </a:lnTo>
                    <a:lnTo>
                      <a:pt x="6994" y="20344"/>
                    </a:lnTo>
                    <a:lnTo>
                      <a:pt x="6686" y="20344"/>
                    </a:lnTo>
                    <a:lnTo>
                      <a:pt x="6274" y="20470"/>
                    </a:lnTo>
                    <a:lnTo>
                      <a:pt x="6171" y="20470"/>
                    </a:lnTo>
                    <a:lnTo>
                      <a:pt x="6171" y="20344"/>
                    </a:lnTo>
                    <a:lnTo>
                      <a:pt x="5966" y="20344"/>
                    </a:lnTo>
                    <a:lnTo>
                      <a:pt x="5966" y="20470"/>
                    </a:lnTo>
                    <a:lnTo>
                      <a:pt x="5554" y="20470"/>
                    </a:lnTo>
                    <a:lnTo>
                      <a:pt x="5451" y="20595"/>
                    </a:lnTo>
                    <a:lnTo>
                      <a:pt x="5451" y="20721"/>
                    </a:lnTo>
                    <a:lnTo>
                      <a:pt x="5246" y="20721"/>
                    </a:lnTo>
                    <a:lnTo>
                      <a:pt x="5246" y="21035"/>
                    </a:lnTo>
                    <a:lnTo>
                      <a:pt x="5451" y="21160"/>
                    </a:lnTo>
                    <a:lnTo>
                      <a:pt x="5451" y="21223"/>
                    </a:lnTo>
                    <a:lnTo>
                      <a:pt x="5246" y="21223"/>
                    </a:lnTo>
                    <a:lnTo>
                      <a:pt x="5246" y="21474"/>
                    </a:lnTo>
                    <a:lnTo>
                      <a:pt x="4320" y="21474"/>
                    </a:lnTo>
                    <a:lnTo>
                      <a:pt x="4114" y="21600"/>
                    </a:lnTo>
                    <a:lnTo>
                      <a:pt x="3600" y="21600"/>
                    </a:lnTo>
                    <a:lnTo>
                      <a:pt x="3600" y="21474"/>
                    </a:lnTo>
                    <a:lnTo>
                      <a:pt x="2880" y="21474"/>
                    </a:lnTo>
                    <a:lnTo>
                      <a:pt x="2880" y="21349"/>
                    </a:lnTo>
                    <a:lnTo>
                      <a:pt x="3086" y="21349"/>
                    </a:lnTo>
                    <a:lnTo>
                      <a:pt x="3086" y="21160"/>
                    </a:lnTo>
                    <a:lnTo>
                      <a:pt x="3291" y="21035"/>
                    </a:lnTo>
                    <a:lnTo>
                      <a:pt x="3086" y="21035"/>
                    </a:lnTo>
                    <a:lnTo>
                      <a:pt x="3086" y="20909"/>
                    </a:lnTo>
                    <a:lnTo>
                      <a:pt x="2880" y="20909"/>
                    </a:lnTo>
                    <a:lnTo>
                      <a:pt x="2880" y="20721"/>
                    </a:lnTo>
                    <a:lnTo>
                      <a:pt x="2674" y="20721"/>
                    </a:lnTo>
                    <a:lnTo>
                      <a:pt x="2674" y="20595"/>
                    </a:lnTo>
                    <a:lnTo>
                      <a:pt x="2571" y="20595"/>
                    </a:lnTo>
                    <a:lnTo>
                      <a:pt x="2571" y="20281"/>
                    </a:lnTo>
                    <a:lnTo>
                      <a:pt x="2366" y="20281"/>
                    </a:lnTo>
                    <a:lnTo>
                      <a:pt x="2366" y="20156"/>
                    </a:lnTo>
                    <a:lnTo>
                      <a:pt x="2674" y="20156"/>
                    </a:lnTo>
                    <a:lnTo>
                      <a:pt x="2674" y="20030"/>
                    </a:lnTo>
                    <a:lnTo>
                      <a:pt x="2571" y="20030"/>
                    </a:lnTo>
                    <a:lnTo>
                      <a:pt x="2571" y="19905"/>
                    </a:lnTo>
                    <a:lnTo>
                      <a:pt x="2880" y="19905"/>
                    </a:lnTo>
                    <a:lnTo>
                      <a:pt x="2880" y="19716"/>
                    </a:lnTo>
                    <a:lnTo>
                      <a:pt x="2674" y="19716"/>
                    </a:lnTo>
                    <a:lnTo>
                      <a:pt x="2674" y="19591"/>
                    </a:lnTo>
                    <a:lnTo>
                      <a:pt x="2571" y="19591"/>
                    </a:lnTo>
                    <a:lnTo>
                      <a:pt x="2571" y="19465"/>
                    </a:lnTo>
                    <a:lnTo>
                      <a:pt x="2366" y="19465"/>
                    </a:lnTo>
                    <a:lnTo>
                      <a:pt x="2366" y="19402"/>
                    </a:lnTo>
                    <a:lnTo>
                      <a:pt x="2160" y="19277"/>
                    </a:lnTo>
                    <a:lnTo>
                      <a:pt x="1954" y="19277"/>
                    </a:lnTo>
                    <a:lnTo>
                      <a:pt x="1954" y="19026"/>
                    </a:lnTo>
                    <a:lnTo>
                      <a:pt x="1851" y="18963"/>
                    </a:lnTo>
                    <a:lnTo>
                      <a:pt x="1646" y="18963"/>
                    </a:lnTo>
                    <a:lnTo>
                      <a:pt x="1646" y="18712"/>
                    </a:lnTo>
                    <a:lnTo>
                      <a:pt x="1440" y="18712"/>
                    </a:lnTo>
                    <a:lnTo>
                      <a:pt x="1440" y="18586"/>
                    </a:lnTo>
                    <a:lnTo>
                      <a:pt x="1234" y="18586"/>
                    </a:lnTo>
                    <a:lnTo>
                      <a:pt x="1234" y="18272"/>
                    </a:lnTo>
                    <a:lnTo>
                      <a:pt x="1131" y="18147"/>
                    </a:lnTo>
                    <a:lnTo>
                      <a:pt x="1131" y="17519"/>
                    </a:lnTo>
                    <a:lnTo>
                      <a:pt x="1234" y="17393"/>
                    </a:lnTo>
                    <a:lnTo>
                      <a:pt x="1131" y="17393"/>
                    </a:lnTo>
                    <a:lnTo>
                      <a:pt x="1131" y="17519"/>
                    </a:lnTo>
                    <a:lnTo>
                      <a:pt x="617" y="17519"/>
                    </a:lnTo>
                    <a:lnTo>
                      <a:pt x="617" y="17393"/>
                    </a:lnTo>
                    <a:lnTo>
                      <a:pt x="720" y="17267"/>
                    </a:lnTo>
                    <a:lnTo>
                      <a:pt x="617" y="17267"/>
                    </a:lnTo>
                    <a:lnTo>
                      <a:pt x="617" y="17205"/>
                    </a:lnTo>
                    <a:lnTo>
                      <a:pt x="411" y="17205"/>
                    </a:lnTo>
                    <a:lnTo>
                      <a:pt x="206" y="17079"/>
                    </a:lnTo>
                    <a:lnTo>
                      <a:pt x="206" y="16640"/>
                    </a:lnTo>
                    <a:lnTo>
                      <a:pt x="0" y="16640"/>
                    </a:lnTo>
                    <a:lnTo>
                      <a:pt x="0" y="16074"/>
                    </a:lnTo>
                    <a:lnTo>
                      <a:pt x="206" y="16074"/>
                    </a:lnTo>
                    <a:lnTo>
                      <a:pt x="206" y="16012"/>
                    </a:lnTo>
                    <a:lnTo>
                      <a:pt x="411" y="16074"/>
                    </a:lnTo>
                    <a:lnTo>
                      <a:pt x="411" y="16200"/>
                    </a:lnTo>
                    <a:lnTo>
                      <a:pt x="617" y="16200"/>
                    </a:lnTo>
                    <a:lnTo>
                      <a:pt x="617" y="16326"/>
                    </a:lnTo>
                    <a:lnTo>
                      <a:pt x="720" y="16326"/>
                    </a:lnTo>
                    <a:lnTo>
                      <a:pt x="720" y="16451"/>
                    </a:lnTo>
                    <a:lnTo>
                      <a:pt x="926" y="16326"/>
                    </a:lnTo>
                    <a:lnTo>
                      <a:pt x="926" y="16200"/>
                    </a:lnTo>
                    <a:lnTo>
                      <a:pt x="1131" y="16200"/>
                    </a:lnTo>
                    <a:lnTo>
                      <a:pt x="1131" y="15886"/>
                    </a:lnTo>
                    <a:lnTo>
                      <a:pt x="1234" y="15886"/>
                    </a:lnTo>
                    <a:lnTo>
                      <a:pt x="1234" y="15635"/>
                    </a:lnTo>
                    <a:lnTo>
                      <a:pt x="1131" y="15635"/>
                    </a:lnTo>
                    <a:lnTo>
                      <a:pt x="1131" y="15447"/>
                    </a:lnTo>
                    <a:lnTo>
                      <a:pt x="926" y="15321"/>
                    </a:lnTo>
                    <a:lnTo>
                      <a:pt x="926" y="15195"/>
                    </a:lnTo>
                    <a:lnTo>
                      <a:pt x="1131" y="15133"/>
                    </a:lnTo>
                    <a:lnTo>
                      <a:pt x="1234" y="15133"/>
                    </a:lnTo>
                    <a:lnTo>
                      <a:pt x="1234" y="15007"/>
                    </a:lnTo>
                    <a:lnTo>
                      <a:pt x="1131" y="15007"/>
                    </a:lnTo>
                    <a:lnTo>
                      <a:pt x="1131" y="14881"/>
                    </a:lnTo>
                    <a:lnTo>
                      <a:pt x="1234" y="14756"/>
                    </a:lnTo>
                    <a:lnTo>
                      <a:pt x="1440" y="14881"/>
                    </a:lnTo>
                    <a:lnTo>
                      <a:pt x="1851" y="14881"/>
                    </a:lnTo>
                    <a:lnTo>
                      <a:pt x="1851" y="14756"/>
                    </a:lnTo>
                    <a:lnTo>
                      <a:pt x="1954" y="14756"/>
                    </a:lnTo>
                    <a:lnTo>
                      <a:pt x="2160" y="14693"/>
                    </a:lnTo>
                    <a:lnTo>
                      <a:pt x="2160" y="14442"/>
                    </a:lnTo>
                    <a:lnTo>
                      <a:pt x="2366" y="14253"/>
                    </a:lnTo>
                    <a:lnTo>
                      <a:pt x="2366" y="14002"/>
                    </a:lnTo>
                    <a:lnTo>
                      <a:pt x="2571" y="14002"/>
                    </a:lnTo>
                    <a:lnTo>
                      <a:pt x="2571" y="13688"/>
                    </a:lnTo>
                    <a:lnTo>
                      <a:pt x="2160" y="13688"/>
                    </a:lnTo>
                    <a:lnTo>
                      <a:pt x="2160" y="13563"/>
                    </a:lnTo>
                    <a:lnTo>
                      <a:pt x="1954" y="13437"/>
                    </a:lnTo>
                    <a:lnTo>
                      <a:pt x="1954" y="13374"/>
                    </a:lnTo>
                    <a:lnTo>
                      <a:pt x="1851" y="13249"/>
                    </a:lnTo>
                    <a:lnTo>
                      <a:pt x="1851" y="13123"/>
                    </a:lnTo>
                    <a:lnTo>
                      <a:pt x="2674" y="13123"/>
                    </a:lnTo>
                    <a:lnTo>
                      <a:pt x="2674" y="12935"/>
                    </a:lnTo>
                    <a:lnTo>
                      <a:pt x="2880" y="12935"/>
                    </a:lnTo>
                    <a:lnTo>
                      <a:pt x="2880" y="12558"/>
                    </a:lnTo>
                    <a:lnTo>
                      <a:pt x="2674" y="12558"/>
                    </a:lnTo>
                    <a:lnTo>
                      <a:pt x="2571" y="12495"/>
                    </a:lnTo>
                    <a:lnTo>
                      <a:pt x="2571" y="12370"/>
                    </a:lnTo>
                    <a:lnTo>
                      <a:pt x="2160" y="12119"/>
                    </a:lnTo>
                    <a:lnTo>
                      <a:pt x="1851" y="12119"/>
                    </a:lnTo>
                    <a:lnTo>
                      <a:pt x="1851" y="12056"/>
                    </a:lnTo>
                    <a:lnTo>
                      <a:pt x="1646" y="12056"/>
                    </a:lnTo>
                    <a:lnTo>
                      <a:pt x="1646" y="11930"/>
                    </a:lnTo>
                    <a:lnTo>
                      <a:pt x="1851" y="11930"/>
                    </a:lnTo>
                    <a:lnTo>
                      <a:pt x="1851" y="11679"/>
                    </a:lnTo>
                    <a:lnTo>
                      <a:pt x="1954" y="11679"/>
                    </a:lnTo>
                    <a:lnTo>
                      <a:pt x="1954" y="11051"/>
                    </a:lnTo>
                    <a:lnTo>
                      <a:pt x="1851" y="11051"/>
                    </a:lnTo>
                    <a:lnTo>
                      <a:pt x="1851" y="10800"/>
                    </a:lnTo>
                    <a:lnTo>
                      <a:pt x="1646" y="10800"/>
                    </a:lnTo>
                    <a:lnTo>
                      <a:pt x="1646" y="10737"/>
                    </a:lnTo>
                    <a:lnTo>
                      <a:pt x="1851" y="10486"/>
                    </a:lnTo>
                    <a:lnTo>
                      <a:pt x="1851" y="10172"/>
                    </a:lnTo>
                    <a:lnTo>
                      <a:pt x="1954" y="10172"/>
                    </a:lnTo>
                    <a:lnTo>
                      <a:pt x="1954" y="9984"/>
                    </a:lnTo>
                    <a:lnTo>
                      <a:pt x="1851" y="9984"/>
                    </a:lnTo>
                    <a:lnTo>
                      <a:pt x="1851" y="9858"/>
                    </a:lnTo>
                    <a:lnTo>
                      <a:pt x="1646" y="9858"/>
                    </a:lnTo>
                    <a:lnTo>
                      <a:pt x="1646" y="9733"/>
                    </a:lnTo>
                    <a:lnTo>
                      <a:pt x="1440" y="9733"/>
                    </a:lnTo>
                    <a:lnTo>
                      <a:pt x="1440" y="9419"/>
                    </a:lnTo>
                    <a:lnTo>
                      <a:pt x="1646" y="9419"/>
                    </a:lnTo>
                    <a:lnTo>
                      <a:pt x="1646" y="9293"/>
                    </a:lnTo>
                    <a:lnTo>
                      <a:pt x="1851" y="9293"/>
                    </a:lnTo>
                    <a:lnTo>
                      <a:pt x="1851" y="9167"/>
                    </a:lnTo>
                    <a:lnTo>
                      <a:pt x="1954" y="9167"/>
                    </a:lnTo>
                    <a:lnTo>
                      <a:pt x="1954" y="8979"/>
                    </a:lnTo>
                    <a:lnTo>
                      <a:pt x="2160" y="8979"/>
                    </a:lnTo>
                    <a:lnTo>
                      <a:pt x="2160" y="8665"/>
                    </a:lnTo>
                    <a:lnTo>
                      <a:pt x="2366" y="8665"/>
                    </a:lnTo>
                    <a:lnTo>
                      <a:pt x="2571" y="8540"/>
                    </a:lnTo>
                    <a:lnTo>
                      <a:pt x="2674" y="8540"/>
                    </a:lnTo>
                    <a:lnTo>
                      <a:pt x="2880" y="8414"/>
                    </a:lnTo>
                    <a:lnTo>
                      <a:pt x="2880" y="8288"/>
                    </a:lnTo>
                    <a:lnTo>
                      <a:pt x="3291" y="8288"/>
                    </a:lnTo>
                    <a:lnTo>
                      <a:pt x="3291" y="8226"/>
                    </a:lnTo>
                    <a:lnTo>
                      <a:pt x="3394" y="8226"/>
                    </a:lnTo>
                    <a:lnTo>
                      <a:pt x="3806" y="8414"/>
                    </a:lnTo>
                    <a:lnTo>
                      <a:pt x="4320" y="8414"/>
                    </a:lnTo>
                    <a:lnTo>
                      <a:pt x="4320" y="8540"/>
                    </a:lnTo>
                    <a:lnTo>
                      <a:pt x="4526" y="8540"/>
                    </a:lnTo>
                    <a:lnTo>
                      <a:pt x="4526" y="8414"/>
                    </a:lnTo>
                    <a:lnTo>
                      <a:pt x="4731" y="8414"/>
                    </a:lnTo>
                    <a:lnTo>
                      <a:pt x="4834" y="8288"/>
                    </a:lnTo>
                    <a:lnTo>
                      <a:pt x="4834" y="8226"/>
                    </a:lnTo>
                    <a:lnTo>
                      <a:pt x="5040" y="8226"/>
                    </a:lnTo>
                    <a:lnTo>
                      <a:pt x="5040" y="7786"/>
                    </a:lnTo>
                    <a:lnTo>
                      <a:pt x="4731" y="7786"/>
                    </a:lnTo>
                    <a:lnTo>
                      <a:pt x="4731" y="7660"/>
                    </a:lnTo>
                    <a:lnTo>
                      <a:pt x="4526" y="7660"/>
                    </a:lnTo>
                    <a:lnTo>
                      <a:pt x="4526" y="7221"/>
                    </a:lnTo>
                    <a:lnTo>
                      <a:pt x="4731" y="7221"/>
                    </a:lnTo>
                    <a:lnTo>
                      <a:pt x="4731" y="7095"/>
                    </a:lnTo>
                    <a:lnTo>
                      <a:pt x="4834" y="7095"/>
                    </a:lnTo>
                    <a:lnTo>
                      <a:pt x="4834" y="6970"/>
                    </a:lnTo>
                    <a:lnTo>
                      <a:pt x="5451" y="6656"/>
                    </a:lnTo>
                    <a:lnTo>
                      <a:pt x="5451" y="6530"/>
                    </a:lnTo>
                    <a:lnTo>
                      <a:pt x="5554" y="6467"/>
                    </a:lnTo>
                    <a:lnTo>
                      <a:pt x="5554" y="6091"/>
                    </a:lnTo>
                    <a:lnTo>
                      <a:pt x="5760" y="6091"/>
                    </a:lnTo>
                    <a:lnTo>
                      <a:pt x="5760" y="5023"/>
                    </a:lnTo>
                    <a:lnTo>
                      <a:pt x="5554" y="5023"/>
                    </a:lnTo>
                    <a:lnTo>
                      <a:pt x="5554" y="4898"/>
                    </a:lnTo>
                    <a:lnTo>
                      <a:pt x="6274" y="4898"/>
                    </a:lnTo>
                    <a:lnTo>
                      <a:pt x="6480" y="4772"/>
                    </a:lnTo>
                    <a:lnTo>
                      <a:pt x="6994" y="4772"/>
                    </a:lnTo>
                    <a:lnTo>
                      <a:pt x="6994" y="4709"/>
                    </a:lnTo>
                    <a:lnTo>
                      <a:pt x="7406" y="4709"/>
                    </a:lnTo>
                    <a:lnTo>
                      <a:pt x="7406" y="4584"/>
                    </a:lnTo>
                    <a:lnTo>
                      <a:pt x="7200" y="4584"/>
                    </a:lnTo>
                    <a:lnTo>
                      <a:pt x="7200" y="4458"/>
                    </a:lnTo>
                    <a:lnTo>
                      <a:pt x="6994" y="4458"/>
                    </a:lnTo>
                    <a:lnTo>
                      <a:pt x="6994" y="4395"/>
                    </a:lnTo>
                    <a:lnTo>
                      <a:pt x="7200" y="4270"/>
                    </a:lnTo>
                    <a:lnTo>
                      <a:pt x="7406" y="4270"/>
                    </a:lnTo>
                    <a:lnTo>
                      <a:pt x="7611" y="4144"/>
                    </a:lnTo>
                    <a:lnTo>
                      <a:pt x="7714" y="4144"/>
                    </a:lnTo>
                    <a:lnTo>
                      <a:pt x="7714" y="4019"/>
                    </a:lnTo>
                    <a:lnTo>
                      <a:pt x="7920" y="4019"/>
                    </a:lnTo>
                    <a:lnTo>
                      <a:pt x="8331" y="3830"/>
                    </a:lnTo>
                    <a:lnTo>
                      <a:pt x="8331" y="3579"/>
                    </a:lnTo>
                    <a:lnTo>
                      <a:pt x="8434" y="3579"/>
                    </a:lnTo>
                    <a:lnTo>
                      <a:pt x="8434" y="3516"/>
                    </a:lnTo>
                    <a:lnTo>
                      <a:pt x="8640" y="3516"/>
                    </a:lnTo>
                    <a:lnTo>
                      <a:pt x="8640" y="3265"/>
                    </a:lnTo>
                    <a:lnTo>
                      <a:pt x="8846" y="3265"/>
                    </a:lnTo>
                    <a:lnTo>
                      <a:pt x="8846" y="3077"/>
                    </a:lnTo>
                    <a:lnTo>
                      <a:pt x="8640" y="3077"/>
                    </a:lnTo>
                    <a:lnTo>
                      <a:pt x="8640" y="2951"/>
                    </a:lnTo>
                    <a:lnTo>
                      <a:pt x="8434" y="2951"/>
                    </a:lnTo>
                    <a:lnTo>
                      <a:pt x="8434" y="2826"/>
                    </a:lnTo>
                    <a:lnTo>
                      <a:pt x="8331" y="2826"/>
                    </a:lnTo>
                    <a:lnTo>
                      <a:pt x="8331" y="2700"/>
                    </a:lnTo>
                    <a:lnTo>
                      <a:pt x="8434" y="2637"/>
                    </a:lnTo>
                    <a:lnTo>
                      <a:pt x="9051" y="2637"/>
                    </a:lnTo>
                    <a:lnTo>
                      <a:pt x="9051" y="2512"/>
                    </a:lnTo>
                    <a:lnTo>
                      <a:pt x="9154" y="2386"/>
                    </a:lnTo>
                    <a:lnTo>
                      <a:pt x="9154" y="2072"/>
                    </a:lnTo>
                    <a:lnTo>
                      <a:pt x="9360" y="2072"/>
                    </a:lnTo>
                    <a:lnTo>
                      <a:pt x="9360" y="1947"/>
                    </a:lnTo>
                    <a:lnTo>
                      <a:pt x="9566" y="1947"/>
                    </a:lnTo>
                    <a:lnTo>
                      <a:pt x="9771" y="1821"/>
                    </a:lnTo>
                    <a:lnTo>
                      <a:pt x="10080" y="1821"/>
                    </a:lnTo>
                    <a:lnTo>
                      <a:pt x="10080" y="1758"/>
                    </a:lnTo>
                    <a:lnTo>
                      <a:pt x="10286" y="1758"/>
                    </a:lnTo>
                    <a:lnTo>
                      <a:pt x="10286" y="1633"/>
                    </a:lnTo>
                    <a:lnTo>
                      <a:pt x="10491" y="1633"/>
                    </a:lnTo>
                    <a:lnTo>
                      <a:pt x="10491" y="1758"/>
                    </a:lnTo>
                    <a:lnTo>
                      <a:pt x="10800" y="1758"/>
                    </a:lnTo>
                    <a:lnTo>
                      <a:pt x="10800" y="1821"/>
                    </a:lnTo>
                    <a:lnTo>
                      <a:pt x="11109" y="1821"/>
                    </a:lnTo>
                    <a:lnTo>
                      <a:pt x="11109" y="1947"/>
                    </a:lnTo>
                    <a:lnTo>
                      <a:pt x="11314" y="1821"/>
                    </a:lnTo>
                    <a:lnTo>
                      <a:pt x="11314" y="1758"/>
                    </a:lnTo>
                    <a:lnTo>
                      <a:pt x="11520" y="1758"/>
                    </a:lnTo>
                    <a:lnTo>
                      <a:pt x="11520" y="1633"/>
                    </a:lnTo>
                    <a:lnTo>
                      <a:pt x="11726" y="1381"/>
                    </a:lnTo>
                    <a:lnTo>
                      <a:pt x="11726" y="942"/>
                    </a:lnTo>
                    <a:lnTo>
                      <a:pt x="11520" y="942"/>
                    </a:lnTo>
                    <a:lnTo>
                      <a:pt x="11520" y="879"/>
                    </a:lnTo>
                    <a:lnTo>
                      <a:pt x="12034" y="879"/>
                    </a:lnTo>
                    <a:lnTo>
                      <a:pt x="12034" y="942"/>
                    </a:lnTo>
                    <a:lnTo>
                      <a:pt x="13269" y="942"/>
                    </a:lnTo>
                    <a:lnTo>
                      <a:pt x="13474" y="1067"/>
                    </a:lnTo>
                    <a:lnTo>
                      <a:pt x="13680" y="1067"/>
                    </a:lnTo>
                    <a:lnTo>
                      <a:pt x="13680" y="1193"/>
                    </a:lnTo>
                    <a:lnTo>
                      <a:pt x="14606" y="1193"/>
                    </a:lnTo>
                    <a:lnTo>
                      <a:pt x="14606" y="1319"/>
                    </a:lnTo>
                    <a:lnTo>
                      <a:pt x="14709" y="1319"/>
                    </a:lnTo>
                    <a:lnTo>
                      <a:pt x="14709" y="1067"/>
                    </a:lnTo>
                    <a:lnTo>
                      <a:pt x="14914" y="1067"/>
                    </a:lnTo>
                    <a:lnTo>
                      <a:pt x="14914" y="879"/>
                    </a:lnTo>
                    <a:lnTo>
                      <a:pt x="14606" y="879"/>
                    </a:lnTo>
                    <a:lnTo>
                      <a:pt x="14606" y="753"/>
                    </a:lnTo>
                    <a:lnTo>
                      <a:pt x="14709" y="753"/>
                    </a:lnTo>
                    <a:lnTo>
                      <a:pt x="15120" y="502"/>
                    </a:lnTo>
                    <a:lnTo>
                      <a:pt x="15120" y="63"/>
                    </a:lnTo>
                    <a:lnTo>
                      <a:pt x="14914" y="63"/>
                    </a:lnTo>
                    <a:lnTo>
                      <a:pt x="14709" y="0"/>
                    </a:lnTo>
                    <a:close/>
                    <a:moveTo>
                      <a:pt x="14709" y="0"/>
                    </a:moveTo>
                  </a:path>
                </a:pathLst>
              </a:custGeom>
              <a:solidFill>
                <a:srgbClr val="B2EAE7"/>
              </a:solidFill>
              <a:ln w="12700">
                <a:solidFill>
                  <a:srgbClr val="FFFFFF"/>
                </a:solidFill>
                <a:round/>
                <a:headEnd/>
                <a:tailEnd/>
              </a:ln>
            </p:spPr>
            <p:txBody>
              <a:bodyPr lIns="0" tIns="0" rIns="0" bIns="0"/>
              <a:lstStyle/>
              <a:p>
                <a:endParaRPr lang="en-US"/>
              </a:p>
            </p:txBody>
          </p:sp>
          <p:sp>
            <p:nvSpPr>
              <p:cNvPr id="100" name="Freeform 54"/>
              <p:cNvSpPr>
                <a:spLocks/>
              </p:cNvSpPr>
              <p:nvPr/>
            </p:nvSpPr>
            <p:spPr bwMode="auto">
              <a:xfrm>
                <a:off x="1170" y="4077"/>
                <a:ext cx="97" cy="79"/>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600"/>
                  <a:gd name="T73" fmla="*/ 0 h 21600"/>
                  <a:gd name="T74" fmla="*/ 21600 w 21600"/>
                  <a:gd name="T75" fmla="*/ 21600 h 2160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600" h="21600">
                    <a:moveTo>
                      <a:pt x="12706" y="0"/>
                    </a:moveTo>
                    <a:lnTo>
                      <a:pt x="15247" y="0"/>
                    </a:lnTo>
                    <a:lnTo>
                      <a:pt x="15247" y="7714"/>
                    </a:lnTo>
                    <a:lnTo>
                      <a:pt x="21600" y="7714"/>
                    </a:lnTo>
                    <a:lnTo>
                      <a:pt x="21600" y="10800"/>
                    </a:lnTo>
                    <a:lnTo>
                      <a:pt x="19059" y="13886"/>
                    </a:lnTo>
                    <a:lnTo>
                      <a:pt x="17788" y="13886"/>
                    </a:lnTo>
                    <a:lnTo>
                      <a:pt x="17788" y="18514"/>
                    </a:lnTo>
                    <a:lnTo>
                      <a:pt x="15247" y="18514"/>
                    </a:lnTo>
                    <a:lnTo>
                      <a:pt x="12706" y="21600"/>
                    </a:lnTo>
                    <a:lnTo>
                      <a:pt x="8894" y="21600"/>
                    </a:lnTo>
                    <a:lnTo>
                      <a:pt x="8894" y="18514"/>
                    </a:lnTo>
                    <a:lnTo>
                      <a:pt x="6353" y="18514"/>
                    </a:lnTo>
                    <a:lnTo>
                      <a:pt x="6353" y="15429"/>
                    </a:lnTo>
                    <a:lnTo>
                      <a:pt x="3812" y="15429"/>
                    </a:lnTo>
                    <a:lnTo>
                      <a:pt x="3812" y="13886"/>
                    </a:lnTo>
                    <a:lnTo>
                      <a:pt x="0" y="13886"/>
                    </a:lnTo>
                    <a:lnTo>
                      <a:pt x="0" y="10800"/>
                    </a:lnTo>
                    <a:lnTo>
                      <a:pt x="1271" y="7714"/>
                    </a:lnTo>
                    <a:lnTo>
                      <a:pt x="6353" y="4629"/>
                    </a:lnTo>
                    <a:lnTo>
                      <a:pt x="8894" y="3086"/>
                    </a:lnTo>
                    <a:lnTo>
                      <a:pt x="10165" y="3086"/>
                    </a:lnTo>
                    <a:lnTo>
                      <a:pt x="12706" y="0"/>
                    </a:lnTo>
                    <a:close/>
                    <a:moveTo>
                      <a:pt x="12706" y="0"/>
                    </a:moveTo>
                  </a:path>
                </a:pathLst>
              </a:custGeom>
              <a:solidFill>
                <a:srgbClr val="00BACF"/>
              </a:solidFill>
              <a:ln w="12700">
                <a:solidFill>
                  <a:srgbClr val="FFFFFF"/>
                </a:solidFill>
                <a:round/>
                <a:headEnd/>
                <a:tailEnd/>
              </a:ln>
            </p:spPr>
            <p:txBody>
              <a:bodyPr lIns="0" tIns="0" rIns="0" bIns="0"/>
              <a:lstStyle/>
              <a:p>
                <a:endParaRPr lang="en-US"/>
              </a:p>
            </p:txBody>
          </p:sp>
          <p:sp>
            <p:nvSpPr>
              <p:cNvPr id="101" name="Freeform 55"/>
              <p:cNvSpPr>
                <a:spLocks/>
              </p:cNvSpPr>
              <p:nvPr/>
            </p:nvSpPr>
            <p:spPr bwMode="auto">
              <a:xfrm>
                <a:off x="96" y="3667"/>
                <a:ext cx="1154" cy="83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w 21600"/>
                  <a:gd name="T117" fmla="*/ 0 h 216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1600"/>
                  <a:gd name="T178" fmla="*/ 0 h 21600"/>
                  <a:gd name="T179" fmla="*/ 21600 w 21600"/>
                  <a:gd name="T180" fmla="*/ 21600 h 216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1600" h="21600">
                    <a:moveTo>
                      <a:pt x="2234" y="0"/>
                    </a:moveTo>
                    <a:lnTo>
                      <a:pt x="2447" y="0"/>
                    </a:lnTo>
                    <a:lnTo>
                      <a:pt x="2447" y="294"/>
                    </a:lnTo>
                    <a:lnTo>
                      <a:pt x="2660" y="294"/>
                    </a:lnTo>
                    <a:lnTo>
                      <a:pt x="2767" y="0"/>
                    </a:lnTo>
                    <a:lnTo>
                      <a:pt x="3405" y="0"/>
                    </a:lnTo>
                    <a:lnTo>
                      <a:pt x="3405" y="294"/>
                    </a:lnTo>
                    <a:lnTo>
                      <a:pt x="3511" y="294"/>
                    </a:lnTo>
                    <a:lnTo>
                      <a:pt x="3511" y="588"/>
                    </a:lnTo>
                    <a:lnTo>
                      <a:pt x="3724" y="588"/>
                    </a:lnTo>
                    <a:lnTo>
                      <a:pt x="3724" y="882"/>
                    </a:lnTo>
                    <a:lnTo>
                      <a:pt x="4256" y="882"/>
                    </a:lnTo>
                    <a:lnTo>
                      <a:pt x="4256" y="588"/>
                    </a:lnTo>
                    <a:lnTo>
                      <a:pt x="5001" y="588"/>
                    </a:lnTo>
                    <a:lnTo>
                      <a:pt x="5001" y="294"/>
                    </a:lnTo>
                    <a:lnTo>
                      <a:pt x="6171" y="294"/>
                    </a:lnTo>
                    <a:lnTo>
                      <a:pt x="6171" y="588"/>
                    </a:lnTo>
                    <a:lnTo>
                      <a:pt x="7023" y="588"/>
                    </a:lnTo>
                    <a:lnTo>
                      <a:pt x="7235" y="882"/>
                    </a:lnTo>
                    <a:lnTo>
                      <a:pt x="7767" y="882"/>
                    </a:lnTo>
                    <a:lnTo>
                      <a:pt x="8193" y="1029"/>
                    </a:lnTo>
                    <a:lnTo>
                      <a:pt x="8512" y="1029"/>
                    </a:lnTo>
                    <a:lnTo>
                      <a:pt x="8512" y="882"/>
                    </a:lnTo>
                    <a:lnTo>
                      <a:pt x="9151" y="882"/>
                    </a:lnTo>
                    <a:lnTo>
                      <a:pt x="9257" y="588"/>
                    </a:lnTo>
                    <a:lnTo>
                      <a:pt x="10002" y="588"/>
                    </a:lnTo>
                    <a:lnTo>
                      <a:pt x="10002" y="882"/>
                    </a:lnTo>
                    <a:lnTo>
                      <a:pt x="10215" y="882"/>
                    </a:lnTo>
                    <a:lnTo>
                      <a:pt x="10428" y="1029"/>
                    </a:lnTo>
                    <a:lnTo>
                      <a:pt x="10747" y="1029"/>
                    </a:lnTo>
                    <a:lnTo>
                      <a:pt x="10960" y="882"/>
                    </a:lnTo>
                    <a:lnTo>
                      <a:pt x="11385" y="882"/>
                    </a:lnTo>
                    <a:lnTo>
                      <a:pt x="11385" y="1029"/>
                    </a:lnTo>
                    <a:lnTo>
                      <a:pt x="11492" y="1029"/>
                    </a:lnTo>
                    <a:lnTo>
                      <a:pt x="11704" y="1322"/>
                    </a:lnTo>
                    <a:lnTo>
                      <a:pt x="12130" y="1322"/>
                    </a:lnTo>
                    <a:lnTo>
                      <a:pt x="12236" y="1029"/>
                    </a:lnTo>
                    <a:lnTo>
                      <a:pt x="12981" y="1029"/>
                    </a:lnTo>
                    <a:lnTo>
                      <a:pt x="12981" y="1322"/>
                    </a:lnTo>
                    <a:lnTo>
                      <a:pt x="13194" y="1322"/>
                    </a:lnTo>
                    <a:lnTo>
                      <a:pt x="13194" y="1616"/>
                    </a:lnTo>
                    <a:lnTo>
                      <a:pt x="13407" y="1616"/>
                    </a:lnTo>
                    <a:lnTo>
                      <a:pt x="13407" y="1322"/>
                    </a:lnTo>
                    <a:lnTo>
                      <a:pt x="13620" y="1616"/>
                    </a:lnTo>
                    <a:lnTo>
                      <a:pt x="13620" y="2057"/>
                    </a:lnTo>
                    <a:lnTo>
                      <a:pt x="13726" y="1910"/>
                    </a:lnTo>
                    <a:lnTo>
                      <a:pt x="13726" y="2057"/>
                    </a:lnTo>
                    <a:lnTo>
                      <a:pt x="13939" y="2057"/>
                    </a:lnTo>
                    <a:lnTo>
                      <a:pt x="14152" y="2351"/>
                    </a:lnTo>
                    <a:lnTo>
                      <a:pt x="14684" y="2351"/>
                    </a:lnTo>
                    <a:lnTo>
                      <a:pt x="14684" y="2645"/>
                    </a:lnTo>
                    <a:lnTo>
                      <a:pt x="15109" y="2645"/>
                    </a:lnTo>
                    <a:lnTo>
                      <a:pt x="15109" y="2939"/>
                    </a:lnTo>
                    <a:lnTo>
                      <a:pt x="15216" y="2939"/>
                    </a:lnTo>
                    <a:lnTo>
                      <a:pt x="15216" y="2645"/>
                    </a:lnTo>
                    <a:lnTo>
                      <a:pt x="15429" y="2645"/>
                    </a:lnTo>
                    <a:lnTo>
                      <a:pt x="15429" y="2939"/>
                    </a:lnTo>
                    <a:lnTo>
                      <a:pt x="15641" y="2939"/>
                    </a:lnTo>
                    <a:lnTo>
                      <a:pt x="15641" y="3086"/>
                    </a:lnTo>
                    <a:lnTo>
                      <a:pt x="17131" y="3086"/>
                    </a:lnTo>
                    <a:lnTo>
                      <a:pt x="17131" y="2645"/>
                    </a:lnTo>
                    <a:lnTo>
                      <a:pt x="17450" y="2645"/>
                    </a:lnTo>
                    <a:lnTo>
                      <a:pt x="17450" y="2939"/>
                    </a:lnTo>
                    <a:lnTo>
                      <a:pt x="17876" y="2939"/>
                    </a:lnTo>
                    <a:lnTo>
                      <a:pt x="17876" y="3086"/>
                    </a:lnTo>
                    <a:lnTo>
                      <a:pt x="18195" y="3086"/>
                    </a:lnTo>
                    <a:lnTo>
                      <a:pt x="18408" y="3380"/>
                    </a:lnTo>
                    <a:lnTo>
                      <a:pt x="18408" y="3967"/>
                    </a:lnTo>
                    <a:lnTo>
                      <a:pt x="18727" y="3967"/>
                    </a:lnTo>
                    <a:lnTo>
                      <a:pt x="18727" y="3673"/>
                    </a:lnTo>
                    <a:lnTo>
                      <a:pt x="19153" y="3673"/>
                    </a:lnTo>
                    <a:lnTo>
                      <a:pt x="19153" y="3967"/>
                    </a:lnTo>
                    <a:lnTo>
                      <a:pt x="20110" y="3967"/>
                    </a:lnTo>
                    <a:lnTo>
                      <a:pt x="20110" y="4114"/>
                    </a:lnTo>
                    <a:lnTo>
                      <a:pt x="20642" y="4114"/>
                    </a:lnTo>
                    <a:lnTo>
                      <a:pt x="20642" y="3967"/>
                    </a:lnTo>
                    <a:lnTo>
                      <a:pt x="20962" y="3967"/>
                    </a:lnTo>
                    <a:lnTo>
                      <a:pt x="20962" y="3673"/>
                    </a:lnTo>
                    <a:lnTo>
                      <a:pt x="21174" y="3673"/>
                    </a:lnTo>
                    <a:lnTo>
                      <a:pt x="21174" y="3967"/>
                    </a:lnTo>
                    <a:lnTo>
                      <a:pt x="21600" y="3967"/>
                    </a:lnTo>
                    <a:lnTo>
                      <a:pt x="21600" y="4114"/>
                    </a:lnTo>
                    <a:lnTo>
                      <a:pt x="21387" y="4114"/>
                    </a:lnTo>
                    <a:lnTo>
                      <a:pt x="21387" y="4408"/>
                    </a:lnTo>
                    <a:lnTo>
                      <a:pt x="21174" y="4408"/>
                    </a:lnTo>
                    <a:lnTo>
                      <a:pt x="21174" y="4702"/>
                    </a:lnTo>
                    <a:lnTo>
                      <a:pt x="21387" y="4996"/>
                    </a:lnTo>
                    <a:lnTo>
                      <a:pt x="21387" y="5437"/>
                    </a:lnTo>
                    <a:lnTo>
                      <a:pt x="21174" y="5437"/>
                    </a:lnTo>
                    <a:lnTo>
                      <a:pt x="21174" y="5731"/>
                    </a:lnTo>
                    <a:lnTo>
                      <a:pt x="20962" y="5731"/>
                    </a:lnTo>
                    <a:lnTo>
                      <a:pt x="20962" y="6024"/>
                    </a:lnTo>
                    <a:lnTo>
                      <a:pt x="20430" y="6024"/>
                    </a:lnTo>
                    <a:lnTo>
                      <a:pt x="20430" y="6171"/>
                    </a:lnTo>
                    <a:lnTo>
                      <a:pt x="20217" y="6171"/>
                    </a:lnTo>
                    <a:lnTo>
                      <a:pt x="20110" y="6465"/>
                    </a:lnTo>
                    <a:lnTo>
                      <a:pt x="19898" y="6465"/>
                    </a:lnTo>
                    <a:lnTo>
                      <a:pt x="19685" y="6759"/>
                    </a:lnTo>
                    <a:lnTo>
                      <a:pt x="19472" y="6759"/>
                    </a:lnTo>
                    <a:lnTo>
                      <a:pt x="19472" y="7053"/>
                    </a:lnTo>
                    <a:lnTo>
                      <a:pt x="19366" y="7053"/>
                    </a:lnTo>
                    <a:lnTo>
                      <a:pt x="18940" y="7200"/>
                    </a:lnTo>
                    <a:lnTo>
                      <a:pt x="18621" y="7200"/>
                    </a:lnTo>
                    <a:lnTo>
                      <a:pt x="18621" y="7494"/>
                    </a:lnTo>
                    <a:lnTo>
                      <a:pt x="17876" y="7494"/>
                    </a:lnTo>
                    <a:lnTo>
                      <a:pt x="17663" y="7788"/>
                    </a:lnTo>
                    <a:lnTo>
                      <a:pt x="17450" y="7788"/>
                    </a:lnTo>
                    <a:lnTo>
                      <a:pt x="17450" y="8082"/>
                    </a:lnTo>
                    <a:lnTo>
                      <a:pt x="17237" y="8082"/>
                    </a:lnTo>
                    <a:lnTo>
                      <a:pt x="17131" y="8229"/>
                    </a:lnTo>
                    <a:lnTo>
                      <a:pt x="17131" y="8816"/>
                    </a:lnTo>
                    <a:lnTo>
                      <a:pt x="16918" y="8963"/>
                    </a:lnTo>
                    <a:lnTo>
                      <a:pt x="16705" y="9551"/>
                    </a:lnTo>
                    <a:lnTo>
                      <a:pt x="16493" y="9551"/>
                    </a:lnTo>
                    <a:lnTo>
                      <a:pt x="16493" y="9845"/>
                    </a:lnTo>
                    <a:lnTo>
                      <a:pt x="16386" y="9845"/>
                    </a:lnTo>
                    <a:lnTo>
                      <a:pt x="16386" y="9992"/>
                    </a:lnTo>
                    <a:lnTo>
                      <a:pt x="15429" y="11314"/>
                    </a:lnTo>
                    <a:lnTo>
                      <a:pt x="15429" y="12931"/>
                    </a:lnTo>
                    <a:lnTo>
                      <a:pt x="15641" y="12931"/>
                    </a:lnTo>
                    <a:lnTo>
                      <a:pt x="15641" y="13371"/>
                    </a:lnTo>
                    <a:lnTo>
                      <a:pt x="15748" y="13371"/>
                    </a:lnTo>
                    <a:lnTo>
                      <a:pt x="16173" y="13959"/>
                    </a:lnTo>
                    <a:lnTo>
                      <a:pt x="16386" y="13959"/>
                    </a:lnTo>
                    <a:lnTo>
                      <a:pt x="16386" y="14106"/>
                    </a:lnTo>
                    <a:lnTo>
                      <a:pt x="16173" y="14106"/>
                    </a:lnTo>
                    <a:lnTo>
                      <a:pt x="15748" y="14694"/>
                    </a:lnTo>
                    <a:lnTo>
                      <a:pt x="15641" y="14694"/>
                    </a:lnTo>
                    <a:lnTo>
                      <a:pt x="15429" y="14988"/>
                    </a:lnTo>
                    <a:lnTo>
                      <a:pt x="15216" y="14988"/>
                    </a:lnTo>
                    <a:lnTo>
                      <a:pt x="15216" y="15135"/>
                    </a:lnTo>
                    <a:lnTo>
                      <a:pt x="15109" y="15135"/>
                    </a:lnTo>
                    <a:lnTo>
                      <a:pt x="15109" y="15429"/>
                    </a:lnTo>
                    <a:lnTo>
                      <a:pt x="14897" y="15722"/>
                    </a:lnTo>
                    <a:lnTo>
                      <a:pt x="14897" y="16163"/>
                    </a:lnTo>
                    <a:lnTo>
                      <a:pt x="14684" y="16163"/>
                    </a:lnTo>
                    <a:lnTo>
                      <a:pt x="14684" y="16457"/>
                    </a:lnTo>
                    <a:lnTo>
                      <a:pt x="14471" y="16457"/>
                    </a:lnTo>
                    <a:lnTo>
                      <a:pt x="14471" y="17045"/>
                    </a:lnTo>
                    <a:lnTo>
                      <a:pt x="14684" y="17192"/>
                    </a:lnTo>
                    <a:lnTo>
                      <a:pt x="14471" y="17192"/>
                    </a:lnTo>
                    <a:lnTo>
                      <a:pt x="14471" y="17486"/>
                    </a:lnTo>
                    <a:lnTo>
                      <a:pt x="14365" y="17486"/>
                    </a:lnTo>
                    <a:lnTo>
                      <a:pt x="14365" y="17192"/>
                    </a:lnTo>
                    <a:lnTo>
                      <a:pt x="14152" y="17192"/>
                    </a:lnTo>
                    <a:lnTo>
                      <a:pt x="13939" y="17486"/>
                    </a:lnTo>
                    <a:lnTo>
                      <a:pt x="13407" y="17486"/>
                    </a:lnTo>
                    <a:lnTo>
                      <a:pt x="13407" y="17780"/>
                    </a:lnTo>
                    <a:lnTo>
                      <a:pt x="13194" y="17780"/>
                    </a:lnTo>
                    <a:lnTo>
                      <a:pt x="12981" y="18073"/>
                    </a:lnTo>
                    <a:lnTo>
                      <a:pt x="12981" y="18220"/>
                    </a:lnTo>
                    <a:lnTo>
                      <a:pt x="12875" y="18514"/>
                    </a:lnTo>
                    <a:lnTo>
                      <a:pt x="12875" y="18808"/>
                    </a:lnTo>
                    <a:lnTo>
                      <a:pt x="12662" y="18808"/>
                    </a:lnTo>
                    <a:lnTo>
                      <a:pt x="12662" y="19102"/>
                    </a:lnTo>
                    <a:lnTo>
                      <a:pt x="12449" y="19102"/>
                    </a:lnTo>
                    <a:lnTo>
                      <a:pt x="12449" y="19543"/>
                    </a:lnTo>
                    <a:lnTo>
                      <a:pt x="12130" y="19543"/>
                    </a:lnTo>
                    <a:lnTo>
                      <a:pt x="11917" y="19249"/>
                    </a:lnTo>
                    <a:lnTo>
                      <a:pt x="11704" y="19249"/>
                    </a:lnTo>
                    <a:lnTo>
                      <a:pt x="11704" y="19543"/>
                    </a:lnTo>
                    <a:lnTo>
                      <a:pt x="11492" y="19543"/>
                    </a:lnTo>
                    <a:lnTo>
                      <a:pt x="11385" y="19837"/>
                    </a:lnTo>
                    <a:lnTo>
                      <a:pt x="11172" y="19837"/>
                    </a:lnTo>
                    <a:lnTo>
                      <a:pt x="10960" y="19543"/>
                    </a:lnTo>
                    <a:lnTo>
                      <a:pt x="8406" y="19543"/>
                    </a:lnTo>
                    <a:lnTo>
                      <a:pt x="8406" y="19837"/>
                    </a:lnTo>
                    <a:lnTo>
                      <a:pt x="7980" y="19837"/>
                    </a:lnTo>
                    <a:lnTo>
                      <a:pt x="7980" y="20131"/>
                    </a:lnTo>
                    <a:lnTo>
                      <a:pt x="7767" y="20131"/>
                    </a:lnTo>
                    <a:lnTo>
                      <a:pt x="7767" y="20278"/>
                    </a:lnTo>
                    <a:lnTo>
                      <a:pt x="7448" y="20278"/>
                    </a:lnTo>
                    <a:lnTo>
                      <a:pt x="7448" y="20571"/>
                    </a:lnTo>
                    <a:lnTo>
                      <a:pt x="7023" y="20571"/>
                    </a:lnTo>
                    <a:lnTo>
                      <a:pt x="7023" y="20865"/>
                    </a:lnTo>
                    <a:lnTo>
                      <a:pt x="6916" y="20865"/>
                    </a:lnTo>
                    <a:lnTo>
                      <a:pt x="6916" y="21306"/>
                    </a:lnTo>
                    <a:lnTo>
                      <a:pt x="6491" y="21306"/>
                    </a:lnTo>
                    <a:lnTo>
                      <a:pt x="6491" y="21600"/>
                    </a:lnTo>
                    <a:lnTo>
                      <a:pt x="6171" y="21600"/>
                    </a:lnTo>
                    <a:lnTo>
                      <a:pt x="6171" y="21306"/>
                    </a:lnTo>
                    <a:lnTo>
                      <a:pt x="5746" y="21306"/>
                    </a:lnTo>
                    <a:lnTo>
                      <a:pt x="5746" y="21159"/>
                    </a:lnTo>
                    <a:lnTo>
                      <a:pt x="5427" y="20571"/>
                    </a:lnTo>
                    <a:lnTo>
                      <a:pt x="5427" y="20278"/>
                    </a:lnTo>
                    <a:lnTo>
                      <a:pt x="5214" y="20278"/>
                    </a:lnTo>
                    <a:lnTo>
                      <a:pt x="5214" y="20131"/>
                    </a:lnTo>
                    <a:lnTo>
                      <a:pt x="5001" y="20131"/>
                    </a:lnTo>
                    <a:lnTo>
                      <a:pt x="5001" y="19837"/>
                    </a:lnTo>
                    <a:lnTo>
                      <a:pt x="4895" y="19543"/>
                    </a:lnTo>
                    <a:lnTo>
                      <a:pt x="5001" y="19543"/>
                    </a:lnTo>
                    <a:lnTo>
                      <a:pt x="5001" y="19249"/>
                    </a:lnTo>
                    <a:lnTo>
                      <a:pt x="4895" y="19249"/>
                    </a:lnTo>
                    <a:lnTo>
                      <a:pt x="4895" y="19102"/>
                    </a:lnTo>
                    <a:lnTo>
                      <a:pt x="4682" y="19102"/>
                    </a:lnTo>
                    <a:lnTo>
                      <a:pt x="4469" y="18808"/>
                    </a:lnTo>
                    <a:lnTo>
                      <a:pt x="4469" y="18514"/>
                    </a:lnTo>
                    <a:lnTo>
                      <a:pt x="4150" y="18514"/>
                    </a:lnTo>
                    <a:lnTo>
                      <a:pt x="4150" y="18220"/>
                    </a:lnTo>
                    <a:lnTo>
                      <a:pt x="3192" y="18220"/>
                    </a:lnTo>
                    <a:lnTo>
                      <a:pt x="3192" y="17045"/>
                    </a:lnTo>
                    <a:lnTo>
                      <a:pt x="3511" y="16457"/>
                    </a:lnTo>
                    <a:lnTo>
                      <a:pt x="3511" y="16163"/>
                    </a:lnTo>
                    <a:lnTo>
                      <a:pt x="3724" y="16163"/>
                    </a:lnTo>
                    <a:lnTo>
                      <a:pt x="3937" y="16016"/>
                    </a:lnTo>
                    <a:lnTo>
                      <a:pt x="4150" y="16016"/>
                    </a:lnTo>
                    <a:lnTo>
                      <a:pt x="4150" y="15722"/>
                    </a:lnTo>
                    <a:lnTo>
                      <a:pt x="3724" y="15722"/>
                    </a:lnTo>
                    <a:lnTo>
                      <a:pt x="3724" y="15135"/>
                    </a:lnTo>
                    <a:lnTo>
                      <a:pt x="3511" y="14988"/>
                    </a:lnTo>
                    <a:lnTo>
                      <a:pt x="3511" y="14106"/>
                    </a:lnTo>
                    <a:lnTo>
                      <a:pt x="3724" y="13959"/>
                    </a:lnTo>
                    <a:lnTo>
                      <a:pt x="3937" y="13959"/>
                    </a:lnTo>
                    <a:lnTo>
                      <a:pt x="3937" y="13371"/>
                    </a:lnTo>
                    <a:lnTo>
                      <a:pt x="4150" y="13371"/>
                    </a:lnTo>
                    <a:lnTo>
                      <a:pt x="4150" y="13078"/>
                    </a:lnTo>
                    <a:lnTo>
                      <a:pt x="3937" y="13078"/>
                    </a:lnTo>
                    <a:lnTo>
                      <a:pt x="3724" y="12931"/>
                    </a:lnTo>
                    <a:lnTo>
                      <a:pt x="3511" y="12931"/>
                    </a:lnTo>
                    <a:lnTo>
                      <a:pt x="3511" y="12049"/>
                    </a:lnTo>
                    <a:lnTo>
                      <a:pt x="3405" y="12049"/>
                    </a:lnTo>
                    <a:lnTo>
                      <a:pt x="3405" y="11902"/>
                    </a:lnTo>
                    <a:lnTo>
                      <a:pt x="3192" y="11902"/>
                    </a:lnTo>
                    <a:lnTo>
                      <a:pt x="3192" y="11608"/>
                    </a:lnTo>
                    <a:lnTo>
                      <a:pt x="4150" y="11608"/>
                    </a:lnTo>
                    <a:lnTo>
                      <a:pt x="4150" y="9845"/>
                    </a:lnTo>
                    <a:lnTo>
                      <a:pt x="4256" y="9845"/>
                    </a:lnTo>
                    <a:lnTo>
                      <a:pt x="4256" y="8229"/>
                    </a:lnTo>
                    <a:lnTo>
                      <a:pt x="4150" y="8082"/>
                    </a:lnTo>
                    <a:lnTo>
                      <a:pt x="4150" y="7788"/>
                    </a:lnTo>
                    <a:lnTo>
                      <a:pt x="4256" y="7788"/>
                    </a:lnTo>
                    <a:lnTo>
                      <a:pt x="4256" y="7494"/>
                    </a:lnTo>
                    <a:lnTo>
                      <a:pt x="4469" y="7494"/>
                    </a:lnTo>
                    <a:lnTo>
                      <a:pt x="4469" y="7200"/>
                    </a:lnTo>
                    <a:lnTo>
                      <a:pt x="4895" y="7200"/>
                    </a:lnTo>
                    <a:lnTo>
                      <a:pt x="4895" y="7053"/>
                    </a:lnTo>
                    <a:lnTo>
                      <a:pt x="5001" y="7053"/>
                    </a:lnTo>
                    <a:lnTo>
                      <a:pt x="5001" y="6759"/>
                    </a:lnTo>
                    <a:lnTo>
                      <a:pt x="5214" y="6759"/>
                    </a:lnTo>
                    <a:lnTo>
                      <a:pt x="5214" y="6024"/>
                    </a:lnTo>
                    <a:lnTo>
                      <a:pt x="5001" y="6024"/>
                    </a:lnTo>
                    <a:lnTo>
                      <a:pt x="4895" y="5731"/>
                    </a:lnTo>
                    <a:lnTo>
                      <a:pt x="4895" y="6024"/>
                    </a:lnTo>
                    <a:lnTo>
                      <a:pt x="4682" y="6024"/>
                    </a:lnTo>
                    <a:lnTo>
                      <a:pt x="4682" y="5143"/>
                    </a:lnTo>
                    <a:lnTo>
                      <a:pt x="4150" y="5143"/>
                    </a:lnTo>
                    <a:lnTo>
                      <a:pt x="4150" y="4996"/>
                    </a:lnTo>
                    <a:lnTo>
                      <a:pt x="3937" y="4996"/>
                    </a:lnTo>
                    <a:lnTo>
                      <a:pt x="3937" y="5143"/>
                    </a:lnTo>
                    <a:lnTo>
                      <a:pt x="3724" y="5143"/>
                    </a:lnTo>
                    <a:lnTo>
                      <a:pt x="3511" y="5437"/>
                    </a:lnTo>
                    <a:lnTo>
                      <a:pt x="2660" y="5437"/>
                    </a:lnTo>
                    <a:lnTo>
                      <a:pt x="2660" y="5143"/>
                    </a:lnTo>
                    <a:lnTo>
                      <a:pt x="2447" y="5143"/>
                    </a:lnTo>
                    <a:lnTo>
                      <a:pt x="2447" y="5437"/>
                    </a:lnTo>
                    <a:lnTo>
                      <a:pt x="2234" y="5437"/>
                    </a:lnTo>
                    <a:lnTo>
                      <a:pt x="2022" y="5731"/>
                    </a:lnTo>
                    <a:lnTo>
                      <a:pt x="2022" y="4996"/>
                    </a:lnTo>
                    <a:lnTo>
                      <a:pt x="2234" y="4996"/>
                    </a:lnTo>
                    <a:lnTo>
                      <a:pt x="2234" y="4702"/>
                    </a:lnTo>
                    <a:lnTo>
                      <a:pt x="1277" y="4702"/>
                    </a:lnTo>
                    <a:lnTo>
                      <a:pt x="1277" y="4996"/>
                    </a:lnTo>
                    <a:lnTo>
                      <a:pt x="1170" y="4996"/>
                    </a:lnTo>
                    <a:lnTo>
                      <a:pt x="1170" y="5143"/>
                    </a:lnTo>
                    <a:lnTo>
                      <a:pt x="745" y="5143"/>
                    </a:lnTo>
                    <a:lnTo>
                      <a:pt x="745" y="4408"/>
                    </a:lnTo>
                    <a:lnTo>
                      <a:pt x="958" y="4408"/>
                    </a:lnTo>
                    <a:lnTo>
                      <a:pt x="958" y="4114"/>
                    </a:lnTo>
                    <a:lnTo>
                      <a:pt x="745" y="4114"/>
                    </a:lnTo>
                    <a:lnTo>
                      <a:pt x="958" y="3967"/>
                    </a:lnTo>
                    <a:lnTo>
                      <a:pt x="745" y="3967"/>
                    </a:lnTo>
                    <a:lnTo>
                      <a:pt x="745" y="3380"/>
                    </a:lnTo>
                    <a:lnTo>
                      <a:pt x="958" y="3380"/>
                    </a:lnTo>
                    <a:lnTo>
                      <a:pt x="958" y="3086"/>
                    </a:lnTo>
                    <a:lnTo>
                      <a:pt x="745" y="3086"/>
                    </a:lnTo>
                    <a:lnTo>
                      <a:pt x="745" y="3380"/>
                    </a:lnTo>
                    <a:lnTo>
                      <a:pt x="426" y="3380"/>
                    </a:lnTo>
                    <a:lnTo>
                      <a:pt x="532" y="3086"/>
                    </a:lnTo>
                    <a:lnTo>
                      <a:pt x="426" y="2939"/>
                    </a:lnTo>
                    <a:lnTo>
                      <a:pt x="426" y="2645"/>
                    </a:lnTo>
                    <a:lnTo>
                      <a:pt x="0" y="2645"/>
                    </a:lnTo>
                    <a:lnTo>
                      <a:pt x="0" y="2057"/>
                    </a:lnTo>
                    <a:lnTo>
                      <a:pt x="213" y="2057"/>
                    </a:lnTo>
                    <a:lnTo>
                      <a:pt x="213" y="1616"/>
                    </a:lnTo>
                    <a:lnTo>
                      <a:pt x="532" y="1616"/>
                    </a:lnTo>
                    <a:lnTo>
                      <a:pt x="532" y="1322"/>
                    </a:lnTo>
                    <a:lnTo>
                      <a:pt x="1277" y="1322"/>
                    </a:lnTo>
                    <a:lnTo>
                      <a:pt x="1277" y="1029"/>
                    </a:lnTo>
                    <a:lnTo>
                      <a:pt x="1915" y="1029"/>
                    </a:lnTo>
                    <a:lnTo>
                      <a:pt x="1915" y="882"/>
                    </a:lnTo>
                    <a:lnTo>
                      <a:pt x="1702" y="588"/>
                    </a:lnTo>
                    <a:lnTo>
                      <a:pt x="1915" y="588"/>
                    </a:lnTo>
                    <a:lnTo>
                      <a:pt x="1915" y="294"/>
                    </a:lnTo>
                    <a:lnTo>
                      <a:pt x="2022" y="294"/>
                    </a:lnTo>
                    <a:lnTo>
                      <a:pt x="2234" y="0"/>
                    </a:lnTo>
                    <a:close/>
                    <a:moveTo>
                      <a:pt x="2234" y="0"/>
                    </a:moveTo>
                  </a:path>
                </a:pathLst>
              </a:custGeom>
              <a:solidFill>
                <a:srgbClr val="00BACF"/>
              </a:solidFill>
              <a:ln w="12700">
                <a:solidFill>
                  <a:srgbClr val="FFFFFF"/>
                </a:solidFill>
                <a:round/>
                <a:headEnd/>
                <a:tailEnd/>
              </a:ln>
            </p:spPr>
            <p:txBody>
              <a:bodyPr lIns="0" tIns="0" rIns="0" bIns="0"/>
              <a:lstStyle/>
              <a:p>
                <a:endParaRPr lang="en-US"/>
              </a:p>
            </p:txBody>
          </p:sp>
          <p:sp>
            <p:nvSpPr>
              <p:cNvPr id="102" name="Freeform 56"/>
              <p:cNvSpPr>
                <a:spLocks/>
              </p:cNvSpPr>
              <p:nvPr/>
            </p:nvSpPr>
            <p:spPr bwMode="auto">
              <a:xfrm>
                <a:off x="2170" y="3315"/>
                <a:ext cx="267" cy="165"/>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1600"/>
                  <a:gd name="T112" fmla="*/ 0 h 21600"/>
                  <a:gd name="T113" fmla="*/ 21600 w 21600"/>
                  <a:gd name="T114" fmla="*/ 21600 h 2160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1600" h="21600">
                    <a:moveTo>
                      <a:pt x="19302" y="0"/>
                    </a:moveTo>
                    <a:lnTo>
                      <a:pt x="20221" y="0"/>
                    </a:lnTo>
                    <a:lnTo>
                      <a:pt x="20221" y="745"/>
                    </a:lnTo>
                    <a:lnTo>
                      <a:pt x="20681" y="745"/>
                    </a:lnTo>
                    <a:lnTo>
                      <a:pt x="20681" y="2234"/>
                    </a:lnTo>
                    <a:lnTo>
                      <a:pt x="21600" y="2234"/>
                    </a:lnTo>
                    <a:lnTo>
                      <a:pt x="21600" y="5214"/>
                    </a:lnTo>
                    <a:lnTo>
                      <a:pt x="20681" y="5214"/>
                    </a:lnTo>
                    <a:lnTo>
                      <a:pt x="20681" y="7448"/>
                    </a:lnTo>
                    <a:lnTo>
                      <a:pt x="19302" y="7448"/>
                    </a:lnTo>
                    <a:lnTo>
                      <a:pt x="19302" y="8938"/>
                    </a:lnTo>
                    <a:lnTo>
                      <a:pt x="17004" y="8938"/>
                    </a:lnTo>
                    <a:lnTo>
                      <a:pt x="17004" y="10428"/>
                    </a:lnTo>
                    <a:lnTo>
                      <a:pt x="16085" y="10428"/>
                    </a:lnTo>
                    <a:lnTo>
                      <a:pt x="16085" y="12662"/>
                    </a:lnTo>
                    <a:lnTo>
                      <a:pt x="17004" y="12662"/>
                    </a:lnTo>
                    <a:lnTo>
                      <a:pt x="17004" y="14152"/>
                    </a:lnTo>
                    <a:lnTo>
                      <a:pt x="16085" y="14152"/>
                    </a:lnTo>
                    <a:lnTo>
                      <a:pt x="16085" y="15641"/>
                    </a:lnTo>
                    <a:lnTo>
                      <a:pt x="14247" y="15641"/>
                    </a:lnTo>
                    <a:lnTo>
                      <a:pt x="14247" y="16386"/>
                    </a:lnTo>
                    <a:lnTo>
                      <a:pt x="13787" y="16386"/>
                    </a:lnTo>
                    <a:lnTo>
                      <a:pt x="13787" y="20110"/>
                    </a:lnTo>
                    <a:lnTo>
                      <a:pt x="12868" y="20110"/>
                    </a:lnTo>
                    <a:lnTo>
                      <a:pt x="12868" y="21600"/>
                    </a:lnTo>
                    <a:lnTo>
                      <a:pt x="11949" y="20110"/>
                    </a:lnTo>
                    <a:lnTo>
                      <a:pt x="9651" y="20110"/>
                    </a:lnTo>
                    <a:lnTo>
                      <a:pt x="9651" y="19366"/>
                    </a:lnTo>
                    <a:lnTo>
                      <a:pt x="8732" y="19366"/>
                    </a:lnTo>
                    <a:lnTo>
                      <a:pt x="8732" y="17876"/>
                    </a:lnTo>
                    <a:lnTo>
                      <a:pt x="7813" y="17876"/>
                    </a:lnTo>
                    <a:lnTo>
                      <a:pt x="7813" y="19366"/>
                    </a:lnTo>
                    <a:lnTo>
                      <a:pt x="7353" y="20110"/>
                    </a:lnTo>
                    <a:lnTo>
                      <a:pt x="4596" y="20110"/>
                    </a:lnTo>
                    <a:lnTo>
                      <a:pt x="4596" y="19366"/>
                    </a:lnTo>
                    <a:lnTo>
                      <a:pt x="4136" y="19366"/>
                    </a:lnTo>
                    <a:lnTo>
                      <a:pt x="4136" y="20110"/>
                    </a:lnTo>
                    <a:lnTo>
                      <a:pt x="1379" y="20110"/>
                    </a:lnTo>
                    <a:lnTo>
                      <a:pt x="1379" y="19366"/>
                    </a:lnTo>
                    <a:lnTo>
                      <a:pt x="3217" y="19366"/>
                    </a:lnTo>
                    <a:lnTo>
                      <a:pt x="3217" y="16386"/>
                    </a:lnTo>
                    <a:lnTo>
                      <a:pt x="2298" y="16386"/>
                    </a:lnTo>
                    <a:lnTo>
                      <a:pt x="1379" y="15641"/>
                    </a:lnTo>
                    <a:lnTo>
                      <a:pt x="919" y="15641"/>
                    </a:lnTo>
                    <a:lnTo>
                      <a:pt x="919" y="14152"/>
                    </a:lnTo>
                    <a:lnTo>
                      <a:pt x="1379" y="14152"/>
                    </a:lnTo>
                    <a:lnTo>
                      <a:pt x="1379" y="12662"/>
                    </a:lnTo>
                    <a:lnTo>
                      <a:pt x="919" y="12662"/>
                    </a:lnTo>
                    <a:lnTo>
                      <a:pt x="919" y="11172"/>
                    </a:lnTo>
                    <a:lnTo>
                      <a:pt x="1379" y="11172"/>
                    </a:lnTo>
                    <a:lnTo>
                      <a:pt x="1379" y="10428"/>
                    </a:lnTo>
                    <a:lnTo>
                      <a:pt x="919" y="10428"/>
                    </a:lnTo>
                    <a:lnTo>
                      <a:pt x="919" y="8938"/>
                    </a:lnTo>
                    <a:lnTo>
                      <a:pt x="0" y="8938"/>
                    </a:lnTo>
                    <a:lnTo>
                      <a:pt x="0" y="7448"/>
                    </a:lnTo>
                    <a:lnTo>
                      <a:pt x="1379" y="7448"/>
                    </a:lnTo>
                    <a:lnTo>
                      <a:pt x="1379" y="5959"/>
                    </a:lnTo>
                    <a:lnTo>
                      <a:pt x="5515" y="5959"/>
                    </a:lnTo>
                    <a:lnTo>
                      <a:pt x="5515" y="7448"/>
                    </a:lnTo>
                    <a:lnTo>
                      <a:pt x="6434" y="7448"/>
                    </a:lnTo>
                    <a:lnTo>
                      <a:pt x="6434" y="5959"/>
                    </a:lnTo>
                    <a:lnTo>
                      <a:pt x="7353" y="5959"/>
                    </a:lnTo>
                    <a:lnTo>
                      <a:pt x="7353" y="7448"/>
                    </a:lnTo>
                    <a:lnTo>
                      <a:pt x="8732" y="7448"/>
                    </a:lnTo>
                    <a:lnTo>
                      <a:pt x="8732" y="5959"/>
                    </a:lnTo>
                    <a:lnTo>
                      <a:pt x="9651" y="5959"/>
                    </a:lnTo>
                    <a:lnTo>
                      <a:pt x="10570" y="5214"/>
                    </a:lnTo>
                    <a:lnTo>
                      <a:pt x="10570" y="3724"/>
                    </a:lnTo>
                    <a:lnTo>
                      <a:pt x="16085" y="3724"/>
                    </a:lnTo>
                    <a:lnTo>
                      <a:pt x="16085" y="2234"/>
                    </a:lnTo>
                    <a:lnTo>
                      <a:pt x="18383" y="2234"/>
                    </a:lnTo>
                    <a:lnTo>
                      <a:pt x="19302" y="3724"/>
                    </a:lnTo>
                    <a:lnTo>
                      <a:pt x="19302" y="0"/>
                    </a:lnTo>
                    <a:close/>
                    <a:moveTo>
                      <a:pt x="19302" y="0"/>
                    </a:moveTo>
                  </a:path>
                </a:pathLst>
              </a:custGeom>
              <a:solidFill>
                <a:srgbClr val="B2EAE7"/>
              </a:solidFill>
              <a:ln w="12700">
                <a:solidFill>
                  <a:srgbClr val="FFFFFF"/>
                </a:solidFill>
                <a:round/>
                <a:headEnd/>
                <a:tailEnd/>
              </a:ln>
            </p:spPr>
            <p:txBody>
              <a:bodyPr lIns="0" tIns="0" rIns="0" bIns="0"/>
              <a:lstStyle/>
              <a:p>
                <a:endParaRPr lang="en-US"/>
              </a:p>
            </p:txBody>
          </p:sp>
          <p:sp>
            <p:nvSpPr>
              <p:cNvPr id="103" name="Freeform 57"/>
              <p:cNvSpPr>
                <a:spLocks/>
              </p:cNvSpPr>
              <p:nvPr/>
            </p:nvSpPr>
            <p:spPr bwMode="auto">
              <a:xfrm>
                <a:off x="2488" y="2997"/>
                <a:ext cx="506" cy="22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1600"/>
                  <a:gd name="T166" fmla="*/ 0 h 21600"/>
                  <a:gd name="T167" fmla="*/ 21600 w 21600"/>
                  <a:gd name="T168" fmla="*/ 21600 h 216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1600" h="21600">
                    <a:moveTo>
                      <a:pt x="9708" y="0"/>
                    </a:moveTo>
                    <a:lnTo>
                      <a:pt x="10193" y="0"/>
                    </a:lnTo>
                    <a:lnTo>
                      <a:pt x="10193" y="2700"/>
                    </a:lnTo>
                    <a:lnTo>
                      <a:pt x="10921" y="2700"/>
                    </a:lnTo>
                    <a:lnTo>
                      <a:pt x="10921" y="4320"/>
                    </a:lnTo>
                    <a:lnTo>
                      <a:pt x="12135" y="4320"/>
                    </a:lnTo>
                    <a:lnTo>
                      <a:pt x="12135" y="3780"/>
                    </a:lnTo>
                    <a:lnTo>
                      <a:pt x="12620" y="3780"/>
                    </a:lnTo>
                    <a:lnTo>
                      <a:pt x="13106" y="2700"/>
                    </a:lnTo>
                    <a:lnTo>
                      <a:pt x="15290" y="2700"/>
                    </a:lnTo>
                    <a:lnTo>
                      <a:pt x="15290" y="3780"/>
                    </a:lnTo>
                    <a:lnTo>
                      <a:pt x="16018" y="3780"/>
                    </a:lnTo>
                    <a:lnTo>
                      <a:pt x="16018" y="2700"/>
                    </a:lnTo>
                    <a:lnTo>
                      <a:pt x="16503" y="2700"/>
                    </a:lnTo>
                    <a:lnTo>
                      <a:pt x="16503" y="1620"/>
                    </a:lnTo>
                    <a:lnTo>
                      <a:pt x="17231" y="1620"/>
                    </a:lnTo>
                    <a:lnTo>
                      <a:pt x="17231" y="2700"/>
                    </a:lnTo>
                    <a:lnTo>
                      <a:pt x="17717" y="1620"/>
                    </a:lnTo>
                    <a:lnTo>
                      <a:pt x="18202" y="1620"/>
                    </a:lnTo>
                    <a:lnTo>
                      <a:pt x="18202" y="2700"/>
                    </a:lnTo>
                    <a:lnTo>
                      <a:pt x="19416" y="2700"/>
                    </a:lnTo>
                    <a:lnTo>
                      <a:pt x="19416" y="4320"/>
                    </a:lnTo>
                    <a:lnTo>
                      <a:pt x="20387" y="4320"/>
                    </a:lnTo>
                    <a:lnTo>
                      <a:pt x="20629" y="5400"/>
                    </a:lnTo>
                    <a:lnTo>
                      <a:pt x="21600" y="5400"/>
                    </a:lnTo>
                    <a:lnTo>
                      <a:pt x="21600" y="7560"/>
                    </a:lnTo>
                    <a:lnTo>
                      <a:pt x="21115" y="7560"/>
                    </a:lnTo>
                    <a:lnTo>
                      <a:pt x="21115" y="8100"/>
                    </a:lnTo>
                    <a:lnTo>
                      <a:pt x="20629" y="9180"/>
                    </a:lnTo>
                    <a:lnTo>
                      <a:pt x="20629" y="10260"/>
                    </a:lnTo>
                    <a:lnTo>
                      <a:pt x="20387" y="10260"/>
                    </a:lnTo>
                    <a:lnTo>
                      <a:pt x="20387" y="11880"/>
                    </a:lnTo>
                    <a:lnTo>
                      <a:pt x="19901" y="11880"/>
                    </a:lnTo>
                    <a:lnTo>
                      <a:pt x="19901" y="12960"/>
                    </a:lnTo>
                    <a:lnTo>
                      <a:pt x="19416" y="12960"/>
                    </a:lnTo>
                    <a:lnTo>
                      <a:pt x="19416" y="14040"/>
                    </a:lnTo>
                    <a:lnTo>
                      <a:pt x="18688" y="14040"/>
                    </a:lnTo>
                    <a:lnTo>
                      <a:pt x="18688" y="12960"/>
                    </a:lnTo>
                    <a:lnTo>
                      <a:pt x="18202" y="12960"/>
                    </a:lnTo>
                    <a:lnTo>
                      <a:pt x="17717" y="11880"/>
                    </a:lnTo>
                    <a:lnTo>
                      <a:pt x="16989" y="11880"/>
                    </a:lnTo>
                    <a:lnTo>
                      <a:pt x="16989" y="11340"/>
                    </a:lnTo>
                    <a:lnTo>
                      <a:pt x="14804" y="11340"/>
                    </a:lnTo>
                    <a:lnTo>
                      <a:pt x="14804" y="11880"/>
                    </a:lnTo>
                    <a:lnTo>
                      <a:pt x="14319" y="11880"/>
                    </a:lnTo>
                    <a:lnTo>
                      <a:pt x="13834" y="12960"/>
                    </a:lnTo>
                    <a:lnTo>
                      <a:pt x="13591" y="12960"/>
                    </a:lnTo>
                    <a:lnTo>
                      <a:pt x="13591" y="14040"/>
                    </a:lnTo>
                    <a:lnTo>
                      <a:pt x="13106" y="14040"/>
                    </a:lnTo>
                    <a:lnTo>
                      <a:pt x="13106" y="15120"/>
                    </a:lnTo>
                    <a:lnTo>
                      <a:pt x="12135" y="15120"/>
                    </a:lnTo>
                    <a:lnTo>
                      <a:pt x="12135" y="16740"/>
                    </a:lnTo>
                    <a:lnTo>
                      <a:pt x="11892" y="16740"/>
                    </a:lnTo>
                    <a:lnTo>
                      <a:pt x="11407" y="15660"/>
                    </a:lnTo>
                    <a:lnTo>
                      <a:pt x="10193" y="15660"/>
                    </a:lnTo>
                    <a:lnTo>
                      <a:pt x="10193" y="15120"/>
                    </a:lnTo>
                    <a:lnTo>
                      <a:pt x="9708" y="15120"/>
                    </a:lnTo>
                    <a:lnTo>
                      <a:pt x="9708" y="15660"/>
                    </a:lnTo>
                    <a:lnTo>
                      <a:pt x="8737" y="15660"/>
                    </a:lnTo>
                    <a:lnTo>
                      <a:pt x="8494" y="16740"/>
                    </a:lnTo>
                    <a:lnTo>
                      <a:pt x="8009" y="16740"/>
                    </a:lnTo>
                    <a:lnTo>
                      <a:pt x="8009" y="17820"/>
                    </a:lnTo>
                    <a:lnTo>
                      <a:pt x="7524" y="17820"/>
                    </a:lnTo>
                    <a:lnTo>
                      <a:pt x="7524" y="18900"/>
                    </a:lnTo>
                    <a:lnTo>
                      <a:pt x="7038" y="18900"/>
                    </a:lnTo>
                    <a:lnTo>
                      <a:pt x="7038" y="19440"/>
                    </a:lnTo>
                    <a:lnTo>
                      <a:pt x="7524" y="20520"/>
                    </a:lnTo>
                    <a:lnTo>
                      <a:pt x="4611" y="20520"/>
                    </a:lnTo>
                    <a:lnTo>
                      <a:pt x="4126" y="21600"/>
                    </a:lnTo>
                    <a:lnTo>
                      <a:pt x="3398" y="21600"/>
                    </a:lnTo>
                    <a:lnTo>
                      <a:pt x="3398" y="20520"/>
                    </a:lnTo>
                    <a:lnTo>
                      <a:pt x="2427" y="20520"/>
                    </a:lnTo>
                    <a:lnTo>
                      <a:pt x="2427" y="19440"/>
                    </a:lnTo>
                    <a:lnTo>
                      <a:pt x="2184" y="19440"/>
                    </a:lnTo>
                    <a:lnTo>
                      <a:pt x="2184" y="18900"/>
                    </a:lnTo>
                    <a:lnTo>
                      <a:pt x="728" y="18900"/>
                    </a:lnTo>
                    <a:lnTo>
                      <a:pt x="728" y="16740"/>
                    </a:lnTo>
                    <a:lnTo>
                      <a:pt x="485" y="16740"/>
                    </a:lnTo>
                    <a:lnTo>
                      <a:pt x="485" y="15660"/>
                    </a:lnTo>
                    <a:lnTo>
                      <a:pt x="0" y="15660"/>
                    </a:lnTo>
                    <a:lnTo>
                      <a:pt x="0" y="12960"/>
                    </a:lnTo>
                    <a:lnTo>
                      <a:pt x="485" y="12960"/>
                    </a:lnTo>
                    <a:lnTo>
                      <a:pt x="485" y="11880"/>
                    </a:lnTo>
                    <a:lnTo>
                      <a:pt x="0" y="11880"/>
                    </a:lnTo>
                    <a:lnTo>
                      <a:pt x="485" y="11340"/>
                    </a:lnTo>
                    <a:lnTo>
                      <a:pt x="485" y="10260"/>
                    </a:lnTo>
                    <a:lnTo>
                      <a:pt x="728" y="10260"/>
                    </a:lnTo>
                    <a:lnTo>
                      <a:pt x="728" y="9180"/>
                    </a:lnTo>
                    <a:lnTo>
                      <a:pt x="2912" y="9180"/>
                    </a:lnTo>
                    <a:lnTo>
                      <a:pt x="3398" y="8100"/>
                    </a:lnTo>
                    <a:lnTo>
                      <a:pt x="3398" y="7560"/>
                    </a:lnTo>
                    <a:lnTo>
                      <a:pt x="4126" y="7560"/>
                    </a:lnTo>
                    <a:lnTo>
                      <a:pt x="4126" y="6480"/>
                    </a:lnTo>
                    <a:lnTo>
                      <a:pt x="4611" y="6480"/>
                    </a:lnTo>
                    <a:lnTo>
                      <a:pt x="4611" y="4320"/>
                    </a:lnTo>
                    <a:lnTo>
                      <a:pt x="5097" y="4320"/>
                    </a:lnTo>
                    <a:lnTo>
                      <a:pt x="5097" y="3780"/>
                    </a:lnTo>
                    <a:lnTo>
                      <a:pt x="5825" y="3780"/>
                    </a:lnTo>
                    <a:lnTo>
                      <a:pt x="5825" y="2700"/>
                    </a:lnTo>
                    <a:lnTo>
                      <a:pt x="6310" y="2700"/>
                    </a:lnTo>
                    <a:lnTo>
                      <a:pt x="6310" y="1620"/>
                    </a:lnTo>
                    <a:lnTo>
                      <a:pt x="6796" y="540"/>
                    </a:lnTo>
                    <a:lnTo>
                      <a:pt x="7524" y="540"/>
                    </a:lnTo>
                    <a:lnTo>
                      <a:pt x="8009" y="1620"/>
                    </a:lnTo>
                    <a:lnTo>
                      <a:pt x="8009" y="2700"/>
                    </a:lnTo>
                    <a:lnTo>
                      <a:pt x="8737" y="2700"/>
                    </a:lnTo>
                    <a:lnTo>
                      <a:pt x="8737" y="1620"/>
                    </a:lnTo>
                    <a:lnTo>
                      <a:pt x="9222" y="540"/>
                    </a:lnTo>
                    <a:lnTo>
                      <a:pt x="9708" y="540"/>
                    </a:lnTo>
                    <a:lnTo>
                      <a:pt x="9708" y="0"/>
                    </a:lnTo>
                    <a:close/>
                    <a:moveTo>
                      <a:pt x="9708" y="0"/>
                    </a:moveTo>
                  </a:path>
                </a:pathLst>
              </a:custGeom>
              <a:solidFill>
                <a:srgbClr val="00BACF"/>
              </a:solidFill>
              <a:ln w="12700">
                <a:solidFill>
                  <a:srgbClr val="FFFFFF"/>
                </a:solidFill>
                <a:round/>
                <a:headEnd/>
                <a:tailEnd/>
              </a:ln>
            </p:spPr>
            <p:txBody>
              <a:bodyPr lIns="0" tIns="0" rIns="0" bIns="0"/>
              <a:lstStyle/>
              <a:p>
                <a:endParaRPr lang="en-US"/>
              </a:p>
            </p:txBody>
          </p:sp>
          <p:sp>
            <p:nvSpPr>
              <p:cNvPr id="104" name="AutoShape 58"/>
              <p:cNvSpPr>
                <a:spLocks/>
              </p:cNvSpPr>
              <p:nvPr/>
            </p:nvSpPr>
            <p:spPr bwMode="auto">
              <a:xfrm>
                <a:off x="2665" y="3395"/>
                <a:ext cx="380" cy="44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1600"/>
                  <a:gd name="T175" fmla="*/ 0 h 21600"/>
                  <a:gd name="T176" fmla="*/ 21600 w 21600"/>
                  <a:gd name="T177" fmla="*/ 21600 h 2160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1600" h="21600">
                    <a:moveTo>
                      <a:pt x="645" y="6646"/>
                    </a:moveTo>
                    <a:lnTo>
                      <a:pt x="1290" y="6646"/>
                    </a:lnTo>
                    <a:lnTo>
                      <a:pt x="1290" y="7200"/>
                    </a:lnTo>
                    <a:lnTo>
                      <a:pt x="645" y="7200"/>
                    </a:lnTo>
                    <a:lnTo>
                      <a:pt x="645" y="6646"/>
                    </a:lnTo>
                    <a:close/>
                    <a:moveTo>
                      <a:pt x="2901" y="0"/>
                    </a:moveTo>
                    <a:lnTo>
                      <a:pt x="3869" y="0"/>
                    </a:lnTo>
                    <a:lnTo>
                      <a:pt x="3869" y="277"/>
                    </a:lnTo>
                    <a:lnTo>
                      <a:pt x="4513" y="277"/>
                    </a:lnTo>
                    <a:lnTo>
                      <a:pt x="4513" y="0"/>
                    </a:lnTo>
                    <a:lnTo>
                      <a:pt x="5158" y="0"/>
                    </a:lnTo>
                    <a:lnTo>
                      <a:pt x="5158" y="277"/>
                    </a:lnTo>
                    <a:lnTo>
                      <a:pt x="5803" y="277"/>
                    </a:lnTo>
                    <a:lnTo>
                      <a:pt x="5803" y="0"/>
                    </a:lnTo>
                    <a:lnTo>
                      <a:pt x="6125" y="0"/>
                    </a:lnTo>
                    <a:lnTo>
                      <a:pt x="6125" y="277"/>
                    </a:lnTo>
                    <a:lnTo>
                      <a:pt x="6770" y="277"/>
                    </a:lnTo>
                    <a:lnTo>
                      <a:pt x="7415" y="831"/>
                    </a:lnTo>
                    <a:lnTo>
                      <a:pt x="7415" y="1385"/>
                    </a:lnTo>
                    <a:lnTo>
                      <a:pt x="8382" y="1385"/>
                    </a:lnTo>
                    <a:lnTo>
                      <a:pt x="8382" y="1938"/>
                    </a:lnTo>
                    <a:lnTo>
                      <a:pt x="9027" y="2215"/>
                    </a:lnTo>
                    <a:lnTo>
                      <a:pt x="9672" y="2215"/>
                    </a:lnTo>
                    <a:lnTo>
                      <a:pt x="9672" y="3600"/>
                    </a:lnTo>
                    <a:lnTo>
                      <a:pt x="10316" y="4154"/>
                    </a:lnTo>
                    <a:lnTo>
                      <a:pt x="10639" y="4154"/>
                    </a:lnTo>
                    <a:lnTo>
                      <a:pt x="10639" y="4708"/>
                    </a:lnTo>
                    <a:lnTo>
                      <a:pt x="11284" y="4708"/>
                    </a:lnTo>
                    <a:lnTo>
                      <a:pt x="11928" y="5262"/>
                    </a:lnTo>
                    <a:lnTo>
                      <a:pt x="12896" y="5262"/>
                    </a:lnTo>
                    <a:lnTo>
                      <a:pt x="12896" y="5538"/>
                    </a:lnTo>
                    <a:lnTo>
                      <a:pt x="13540" y="5538"/>
                    </a:lnTo>
                    <a:lnTo>
                      <a:pt x="12896" y="6092"/>
                    </a:lnTo>
                    <a:lnTo>
                      <a:pt x="12896" y="6646"/>
                    </a:lnTo>
                    <a:lnTo>
                      <a:pt x="13540" y="6646"/>
                    </a:lnTo>
                    <a:lnTo>
                      <a:pt x="13540" y="7200"/>
                    </a:lnTo>
                    <a:lnTo>
                      <a:pt x="12573" y="7200"/>
                    </a:lnTo>
                    <a:lnTo>
                      <a:pt x="12573" y="7477"/>
                    </a:lnTo>
                    <a:lnTo>
                      <a:pt x="13540" y="7477"/>
                    </a:lnTo>
                    <a:lnTo>
                      <a:pt x="13540" y="8031"/>
                    </a:lnTo>
                    <a:lnTo>
                      <a:pt x="15152" y="8031"/>
                    </a:lnTo>
                    <a:lnTo>
                      <a:pt x="15152" y="8585"/>
                    </a:lnTo>
                    <a:lnTo>
                      <a:pt x="15797" y="8585"/>
                    </a:lnTo>
                    <a:lnTo>
                      <a:pt x="15797" y="9138"/>
                    </a:lnTo>
                    <a:lnTo>
                      <a:pt x="16442" y="9138"/>
                    </a:lnTo>
                    <a:lnTo>
                      <a:pt x="16442" y="9415"/>
                    </a:lnTo>
                    <a:lnTo>
                      <a:pt x="17087" y="9415"/>
                    </a:lnTo>
                    <a:lnTo>
                      <a:pt x="17087" y="9138"/>
                    </a:lnTo>
                    <a:lnTo>
                      <a:pt x="17409" y="8585"/>
                    </a:lnTo>
                    <a:lnTo>
                      <a:pt x="18054" y="8585"/>
                    </a:lnTo>
                    <a:lnTo>
                      <a:pt x="18054" y="8031"/>
                    </a:lnTo>
                    <a:lnTo>
                      <a:pt x="18699" y="8031"/>
                    </a:lnTo>
                    <a:lnTo>
                      <a:pt x="18699" y="8585"/>
                    </a:lnTo>
                    <a:lnTo>
                      <a:pt x="19666" y="8585"/>
                    </a:lnTo>
                    <a:lnTo>
                      <a:pt x="19666" y="9138"/>
                    </a:lnTo>
                    <a:lnTo>
                      <a:pt x="18054" y="9138"/>
                    </a:lnTo>
                    <a:lnTo>
                      <a:pt x="18054" y="9415"/>
                    </a:lnTo>
                    <a:lnTo>
                      <a:pt x="18699" y="9415"/>
                    </a:lnTo>
                    <a:lnTo>
                      <a:pt x="18699" y="10523"/>
                    </a:lnTo>
                    <a:lnTo>
                      <a:pt x="19343" y="9969"/>
                    </a:lnTo>
                    <a:lnTo>
                      <a:pt x="19343" y="11908"/>
                    </a:lnTo>
                    <a:lnTo>
                      <a:pt x="18699" y="11908"/>
                    </a:lnTo>
                    <a:lnTo>
                      <a:pt x="18054" y="12462"/>
                    </a:lnTo>
                    <a:lnTo>
                      <a:pt x="18054" y="13846"/>
                    </a:lnTo>
                    <a:lnTo>
                      <a:pt x="18699" y="13846"/>
                    </a:lnTo>
                    <a:lnTo>
                      <a:pt x="18699" y="14954"/>
                    </a:lnTo>
                    <a:lnTo>
                      <a:pt x="19343" y="14954"/>
                    </a:lnTo>
                    <a:lnTo>
                      <a:pt x="19343" y="15231"/>
                    </a:lnTo>
                    <a:lnTo>
                      <a:pt x="20310" y="15231"/>
                    </a:lnTo>
                    <a:lnTo>
                      <a:pt x="20310" y="15785"/>
                    </a:lnTo>
                    <a:lnTo>
                      <a:pt x="20955" y="15785"/>
                    </a:lnTo>
                    <a:lnTo>
                      <a:pt x="20955" y="16338"/>
                    </a:lnTo>
                    <a:lnTo>
                      <a:pt x="21600" y="16338"/>
                    </a:lnTo>
                    <a:lnTo>
                      <a:pt x="21600" y="16892"/>
                    </a:lnTo>
                    <a:lnTo>
                      <a:pt x="20955" y="16892"/>
                    </a:lnTo>
                    <a:lnTo>
                      <a:pt x="20955" y="17169"/>
                    </a:lnTo>
                    <a:lnTo>
                      <a:pt x="19666" y="17169"/>
                    </a:lnTo>
                    <a:lnTo>
                      <a:pt x="19666" y="17723"/>
                    </a:lnTo>
                    <a:lnTo>
                      <a:pt x="18699" y="17723"/>
                    </a:lnTo>
                    <a:lnTo>
                      <a:pt x="18699" y="19108"/>
                    </a:lnTo>
                    <a:lnTo>
                      <a:pt x="18054" y="19108"/>
                    </a:lnTo>
                    <a:lnTo>
                      <a:pt x="18054" y="19662"/>
                    </a:lnTo>
                    <a:lnTo>
                      <a:pt x="18699" y="19662"/>
                    </a:lnTo>
                    <a:lnTo>
                      <a:pt x="19343" y="20215"/>
                    </a:lnTo>
                    <a:lnTo>
                      <a:pt x="18699" y="20215"/>
                    </a:lnTo>
                    <a:lnTo>
                      <a:pt x="18699" y="21046"/>
                    </a:lnTo>
                    <a:lnTo>
                      <a:pt x="14830" y="21046"/>
                    </a:lnTo>
                    <a:lnTo>
                      <a:pt x="14185" y="21600"/>
                    </a:lnTo>
                    <a:lnTo>
                      <a:pt x="14185" y="21046"/>
                    </a:lnTo>
                    <a:lnTo>
                      <a:pt x="13540" y="21046"/>
                    </a:lnTo>
                    <a:lnTo>
                      <a:pt x="13540" y="20769"/>
                    </a:lnTo>
                    <a:lnTo>
                      <a:pt x="14185" y="20769"/>
                    </a:lnTo>
                    <a:lnTo>
                      <a:pt x="14185" y="20215"/>
                    </a:lnTo>
                    <a:lnTo>
                      <a:pt x="14830" y="19662"/>
                    </a:lnTo>
                    <a:lnTo>
                      <a:pt x="14830" y="18831"/>
                    </a:lnTo>
                    <a:lnTo>
                      <a:pt x="14185" y="19108"/>
                    </a:lnTo>
                    <a:lnTo>
                      <a:pt x="14185" y="18831"/>
                    </a:lnTo>
                    <a:lnTo>
                      <a:pt x="12896" y="18831"/>
                    </a:lnTo>
                    <a:lnTo>
                      <a:pt x="12896" y="18277"/>
                    </a:lnTo>
                    <a:lnTo>
                      <a:pt x="12573" y="18277"/>
                    </a:lnTo>
                    <a:lnTo>
                      <a:pt x="12573" y="17723"/>
                    </a:lnTo>
                    <a:lnTo>
                      <a:pt x="11928" y="17723"/>
                    </a:lnTo>
                    <a:lnTo>
                      <a:pt x="11928" y="17169"/>
                    </a:lnTo>
                    <a:lnTo>
                      <a:pt x="11284" y="17169"/>
                    </a:lnTo>
                    <a:lnTo>
                      <a:pt x="11284" y="16892"/>
                    </a:lnTo>
                    <a:lnTo>
                      <a:pt x="10639" y="16892"/>
                    </a:lnTo>
                    <a:lnTo>
                      <a:pt x="10639" y="16338"/>
                    </a:lnTo>
                    <a:lnTo>
                      <a:pt x="10316" y="16338"/>
                    </a:lnTo>
                    <a:lnTo>
                      <a:pt x="10316" y="15785"/>
                    </a:lnTo>
                    <a:lnTo>
                      <a:pt x="9672" y="15785"/>
                    </a:lnTo>
                    <a:lnTo>
                      <a:pt x="9027" y="16338"/>
                    </a:lnTo>
                    <a:lnTo>
                      <a:pt x="9027" y="17169"/>
                    </a:lnTo>
                    <a:lnTo>
                      <a:pt x="8060" y="17169"/>
                    </a:lnTo>
                    <a:lnTo>
                      <a:pt x="8060" y="18277"/>
                    </a:lnTo>
                    <a:lnTo>
                      <a:pt x="7415" y="18277"/>
                    </a:lnTo>
                    <a:lnTo>
                      <a:pt x="7415" y="17723"/>
                    </a:lnTo>
                    <a:lnTo>
                      <a:pt x="6770" y="17169"/>
                    </a:lnTo>
                    <a:lnTo>
                      <a:pt x="6125" y="17169"/>
                    </a:lnTo>
                    <a:lnTo>
                      <a:pt x="5803" y="16892"/>
                    </a:lnTo>
                    <a:lnTo>
                      <a:pt x="4513" y="16892"/>
                    </a:lnTo>
                    <a:lnTo>
                      <a:pt x="4513" y="16338"/>
                    </a:lnTo>
                    <a:lnTo>
                      <a:pt x="3869" y="16338"/>
                    </a:lnTo>
                    <a:lnTo>
                      <a:pt x="3869" y="15785"/>
                    </a:lnTo>
                    <a:lnTo>
                      <a:pt x="3546" y="15231"/>
                    </a:lnTo>
                    <a:lnTo>
                      <a:pt x="2901" y="15231"/>
                    </a:lnTo>
                    <a:lnTo>
                      <a:pt x="2901" y="14954"/>
                    </a:lnTo>
                    <a:lnTo>
                      <a:pt x="2257" y="14954"/>
                    </a:lnTo>
                    <a:lnTo>
                      <a:pt x="1612" y="14400"/>
                    </a:lnTo>
                    <a:lnTo>
                      <a:pt x="2257" y="14400"/>
                    </a:lnTo>
                    <a:lnTo>
                      <a:pt x="2257" y="13846"/>
                    </a:lnTo>
                    <a:lnTo>
                      <a:pt x="3546" y="13846"/>
                    </a:lnTo>
                    <a:lnTo>
                      <a:pt x="3546" y="13015"/>
                    </a:lnTo>
                    <a:lnTo>
                      <a:pt x="2901" y="13015"/>
                    </a:lnTo>
                    <a:lnTo>
                      <a:pt x="2901" y="12462"/>
                    </a:lnTo>
                    <a:lnTo>
                      <a:pt x="2257" y="12462"/>
                    </a:lnTo>
                    <a:lnTo>
                      <a:pt x="2257" y="11908"/>
                    </a:lnTo>
                    <a:lnTo>
                      <a:pt x="3869" y="11908"/>
                    </a:lnTo>
                    <a:lnTo>
                      <a:pt x="3869" y="11354"/>
                    </a:lnTo>
                    <a:lnTo>
                      <a:pt x="3546" y="11354"/>
                    </a:lnTo>
                    <a:lnTo>
                      <a:pt x="3546" y="11077"/>
                    </a:lnTo>
                    <a:lnTo>
                      <a:pt x="2901" y="11077"/>
                    </a:lnTo>
                    <a:lnTo>
                      <a:pt x="2901" y="10523"/>
                    </a:lnTo>
                    <a:lnTo>
                      <a:pt x="2257" y="9969"/>
                    </a:lnTo>
                    <a:lnTo>
                      <a:pt x="2257" y="10523"/>
                    </a:lnTo>
                    <a:lnTo>
                      <a:pt x="1612" y="10523"/>
                    </a:lnTo>
                    <a:lnTo>
                      <a:pt x="1612" y="9969"/>
                    </a:lnTo>
                    <a:lnTo>
                      <a:pt x="1290" y="9969"/>
                    </a:lnTo>
                    <a:lnTo>
                      <a:pt x="1290" y="9415"/>
                    </a:lnTo>
                    <a:lnTo>
                      <a:pt x="1612" y="9415"/>
                    </a:lnTo>
                    <a:lnTo>
                      <a:pt x="1612" y="8031"/>
                    </a:lnTo>
                    <a:lnTo>
                      <a:pt x="2257" y="8031"/>
                    </a:lnTo>
                    <a:lnTo>
                      <a:pt x="2257" y="7200"/>
                    </a:lnTo>
                    <a:lnTo>
                      <a:pt x="2901" y="7200"/>
                    </a:lnTo>
                    <a:lnTo>
                      <a:pt x="2901" y="6646"/>
                    </a:lnTo>
                    <a:lnTo>
                      <a:pt x="2257" y="6646"/>
                    </a:lnTo>
                    <a:lnTo>
                      <a:pt x="2257" y="7200"/>
                    </a:lnTo>
                    <a:lnTo>
                      <a:pt x="1612" y="7200"/>
                    </a:lnTo>
                    <a:lnTo>
                      <a:pt x="1612" y="6646"/>
                    </a:lnTo>
                    <a:lnTo>
                      <a:pt x="1290" y="6646"/>
                    </a:lnTo>
                    <a:lnTo>
                      <a:pt x="1290" y="5262"/>
                    </a:lnTo>
                    <a:lnTo>
                      <a:pt x="2257" y="5262"/>
                    </a:lnTo>
                    <a:lnTo>
                      <a:pt x="2257" y="4708"/>
                    </a:lnTo>
                    <a:lnTo>
                      <a:pt x="1290" y="4708"/>
                    </a:lnTo>
                    <a:lnTo>
                      <a:pt x="645" y="4154"/>
                    </a:lnTo>
                    <a:lnTo>
                      <a:pt x="645" y="3600"/>
                    </a:lnTo>
                    <a:lnTo>
                      <a:pt x="1290" y="3600"/>
                    </a:lnTo>
                    <a:lnTo>
                      <a:pt x="1290" y="3323"/>
                    </a:lnTo>
                    <a:lnTo>
                      <a:pt x="0" y="3323"/>
                    </a:lnTo>
                    <a:lnTo>
                      <a:pt x="0" y="1385"/>
                    </a:lnTo>
                    <a:lnTo>
                      <a:pt x="645" y="1385"/>
                    </a:lnTo>
                    <a:lnTo>
                      <a:pt x="645" y="831"/>
                    </a:lnTo>
                    <a:lnTo>
                      <a:pt x="2257" y="831"/>
                    </a:lnTo>
                    <a:lnTo>
                      <a:pt x="2257" y="277"/>
                    </a:lnTo>
                    <a:lnTo>
                      <a:pt x="2901" y="277"/>
                    </a:lnTo>
                    <a:lnTo>
                      <a:pt x="2901" y="0"/>
                    </a:lnTo>
                    <a:close/>
                    <a:moveTo>
                      <a:pt x="2901" y="0"/>
                    </a:moveTo>
                  </a:path>
                </a:pathLst>
              </a:custGeom>
              <a:solidFill>
                <a:srgbClr val="B2EAE7"/>
              </a:solidFill>
              <a:ln w="12700">
                <a:solidFill>
                  <a:srgbClr val="FFFFFF"/>
                </a:solidFill>
                <a:round/>
                <a:headEnd/>
                <a:tailEnd/>
              </a:ln>
            </p:spPr>
            <p:txBody>
              <a:bodyPr lIns="0" tIns="0" rIns="0" bIns="0"/>
              <a:lstStyle/>
              <a:p>
                <a:endParaRPr lang="en-US"/>
              </a:p>
            </p:txBody>
          </p:sp>
          <p:sp>
            <p:nvSpPr>
              <p:cNvPr id="105" name="AutoShape 59"/>
              <p:cNvSpPr>
                <a:spLocks/>
              </p:cNvSpPr>
              <p:nvPr/>
            </p:nvSpPr>
            <p:spPr bwMode="auto">
              <a:xfrm>
                <a:off x="2733" y="2303"/>
                <a:ext cx="301" cy="114"/>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w 21600"/>
                  <a:gd name="T117" fmla="*/ 0 h 216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1600"/>
                  <a:gd name="T178" fmla="*/ 0 h 21600"/>
                  <a:gd name="T179" fmla="*/ 21600 w 21600"/>
                  <a:gd name="T180" fmla="*/ 21600 h 216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1600" h="21600">
                    <a:moveTo>
                      <a:pt x="815" y="16200"/>
                    </a:moveTo>
                    <a:lnTo>
                      <a:pt x="815" y="18360"/>
                    </a:lnTo>
                    <a:lnTo>
                      <a:pt x="0" y="18360"/>
                    </a:lnTo>
                    <a:lnTo>
                      <a:pt x="815" y="16200"/>
                    </a:lnTo>
                    <a:close/>
                    <a:moveTo>
                      <a:pt x="8151" y="0"/>
                    </a:moveTo>
                    <a:lnTo>
                      <a:pt x="8558" y="0"/>
                    </a:lnTo>
                    <a:lnTo>
                      <a:pt x="8558" y="1080"/>
                    </a:lnTo>
                    <a:lnTo>
                      <a:pt x="8151" y="1080"/>
                    </a:lnTo>
                    <a:lnTo>
                      <a:pt x="8151" y="3240"/>
                    </a:lnTo>
                    <a:lnTo>
                      <a:pt x="7336" y="3240"/>
                    </a:lnTo>
                    <a:lnTo>
                      <a:pt x="6521" y="5400"/>
                    </a:lnTo>
                    <a:lnTo>
                      <a:pt x="6521" y="7560"/>
                    </a:lnTo>
                    <a:lnTo>
                      <a:pt x="7336" y="7560"/>
                    </a:lnTo>
                    <a:lnTo>
                      <a:pt x="8151" y="8640"/>
                    </a:lnTo>
                    <a:lnTo>
                      <a:pt x="8558" y="8640"/>
                    </a:lnTo>
                    <a:lnTo>
                      <a:pt x="8558" y="7560"/>
                    </a:lnTo>
                    <a:lnTo>
                      <a:pt x="9374" y="7560"/>
                    </a:lnTo>
                    <a:lnTo>
                      <a:pt x="10189" y="5400"/>
                    </a:lnTo>
                    <a:lnTo>
                      <a:pt x="10189" y="1080"/>
                    </a:lnTo>
                    <a:lnTo>
                      <a:pt x="11004" y="1080"/>
                    </a:lnTo>
                    <a:lnTo>
                      <a:pt x="11004" y="0"/>
                    </a:lnTo>
                    <a:lnTo>
                      <a:pt x="11411" y="0"/>
                    </a:lnTo>
                    <a:lnTo>
                      <a:pt x="11411" y="1080"/>
                    </a:lnTo>
                    <a:lnTo>
                      <a:pt x="12226" y="1080"/>
                    </a:lnTo>
                    <a:lnTo>
                      <a:pt x="13042" y="3240"/>
                    </a:lnTo>
                    <a:lnTo>
                      <a:pt x="14264" y="3240"/>
                    </a:lnTo>
                    <a:lnTo>
                      <a:pt x="15079" y="5400"/>
                    </a:lnTo>
                    <a:lnTo>
                      <a:pt x="19970" y="5400"/>
                    </a:lnTo>
                    <a:lnTo>
                      <a:pt x="19970" y="8640"/>
                    </a:lnTo>
                    <a:lnTo>
                      <a:pt x="20785" y="8640"/>
                    </a:lnTo>
                    <a:lnTo>
                      <a:pt x="20785" y="10800"/>
                    </a:lnTo>
                    <a:lnTo>
                      <a:pt x="21600" y="10800"/>
                    </a:lnTo>
                    <a:lnTo>
                      <a:pt x="21600" y="12960"/>
                    </a:lnTo>
                    <a:lnTo>
                      <a:pt x="20785" y="12960"/>
                    </a:lnTo>
                    <a:lnTo>
                      <a:pt x="20785" y="16200"/>
                    </a:lnTo>
                    <a:lnTo>
                      <a:pt x="19970" y="16200"/>
                    </a:lnTo>
                    <a:lnTo>
                      <a:pt x="19970" y="18360"/>
                    </a:lnTo>
                    <a:lnTo>
                      <a:pt x="20785" y="18360"/>
                    </a:lnTo>
                    <a:lnTo>
                      <a:pt x="20785" y="21600"/>
                    </a:lnTo>
                    <a:lnTo>
                      <a:pt x="9374" y="21600"/>
                    </a:lnTo>
                    <a:lnTo>
                      <a:pt x="7336" y="20520"/>
                    </a:lnTo>
                    <a:lnTo>
                      <a:pt x="1630" y="20520"/>
                    </a:lnTo>
                    <a:lnTo>
                      <a:pt x="1630" y="18360"/>
                    </a:lnTo>
                    <a:lnTo>
                      <a:pt x="2853" y="16200"/>
                    </a:lnTo>
                    <a:lnTo>
                      <a:pt x="3668" y="16200"/>
                    </a:lnTo>
                    <a:lnTo>
                      <a:pt x="4483" y="15120"/>
                    </a:lnTo>
                    <a:lnTo>
                      <a:pt x="2853" y="15120"/>
                    </a:lnTo>
                    <a:lnTo>
                      <a:pt x="2853" y="12960"/>
                    </a:lnTo>
                    <a:lnTo>
                      <a:pt x="2445" y="12960"/>
                    </a:lnTo>
                    <a:lnTo>
                      <a:pt x="2445" y="15120"/>
                    </a:lnTo>
                    <a:lnTo>
                      <a:pt x="1630" y="15120"/>
                    </a:lnTo>
                    <a:lnTo>
                      <a:pt x="1630" y="10800"/>
                    </a:lnTo>
                    <a:lnTo>
                      <a:pt x="2445" y="10800"/>
                    </a:lnTo>
                    <a:lnTo>
                      <a:pt x="2445" y="7560"/>
                    </a:lnTo>
                    <a:lnTo>
                      <a:pt x="4483" y="7560"/>
                    </a:lnTo>
                    <a:lnTo>
                      <a:pt x="5298" y="5400"/>
                    </a:lnTo>
                    <a:lnTo>
                      <a:pt x="5706" y="5400"/>
                    </a:lnTo>
                    <a:lnTo>
                      <a:pt x="8151" y="0"/>
                    </a:lnTo>
                    <a:close/>
                    <a:moveTo>
                      <a:pt x="8151" y="0"/>
                    </a:moveTo>
                  </a:path>
                </a:pathLst>
              </a:custGeom>
              <a:solidFill>
                <a:srgbClr val="B2EAE7"/>
              </a:solidFill>
              <a:ln w="12700">
                <a:solidFill>
                  <a:srgbClr val="FFFFFF"/>
                </a:solidFill>
                <a:round/>
                <a:headEnd/>
                <a:tailEnd/>
              </a:ln>
            </p:spPr>
            <p:txBody>
              <a:bodyPr lIns="0" tIns="0" rIns="0" bIns="0"/>
              <a:lstStyle/>
              <a:p>
                <a:endParaRPr lang="en-US"/>
              </a:p>
            </p:txBody>
          </p:sp>
          <p:sp>
            <p:nvSpPr>
              <p:cNvPr id="106" name="Freeform 60"/>
              <p:cNvSpPr>
                <a:spLocks/>
              </p:cNvSpPr>
              <p:nvPr/>
            </p:nvSpPr>
            <p:spPr bwMode="auto">
              <a:xfrm>
                <a:off x="2795" y="3156"/>
                <a:ext cx="853" cy="52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1600"/>
                  <a:gd name="T172" fmla="*/ 0 h 21600"/>
                  <a:gd name="T173" fmla="*/ 21600 w 21600"/>
                  <a:gd name="T174" fmla="*/ 21600 h 2160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1600" h="21600">
                    <a:moveTo>
                      <a:pt x="14256" y="0"/>
                    </a:moveTo>
                    <a:lnTo>
                      <a:pt x="14544" y="0"/>
                    </a:lnTo>
                    <a:lnTo>
                      <a:pt x="14832" y="235"/>
                    </a:lnTo>
                    <a:lnTo>
                      <a:pt x="15264" y="235"/>
                    </a:lnTo>
                    <a:lnTo>
                      <a:pt x="15264" y="704"/>
                    </a:lnTo>
                    <a:lnTo>
                      <a:pt x="15840" y="704"/>
                    </a:lnTo>
                    <a:lnTo>
                      <a:pt x="15840" y="1878"/>
                    </a:lnTo>
                    <a:lnTo>
                      <a:pt x="16128" y="1878"/>
                    </a:lnTo>
                    <a:lnTo>
                      <a:pt x="16128" y="2817"/>
                    </a:lnTo>
                    <a:lnTo>
                      <a:pt x="16272" y="2817"/>
                    </a:lnTo>
                    <a:lnTo>
                      <a:pt x="16128" y="3287"/>
                    </a:lnTo>
                    <a:lnTo>
                      <a:pt x="16272" y="3287"/>
                    </a:lnTo>
                    <a:lnTo>
                      <a:pt x="16272" y="3522"/>
                    </a:lnTo>
                    <a:lnTo>
                      <a:pt x="16560" y="3522"/>
                    </a:lnTo>
                    <a:lnTo>
                      <a:pt x="16560" y="3991"/>
                    </a:lnTo>
                    <a:lnTo>
                      <a:pt x="16848" y="3991"/>
                    </a:lnTo>
                    <a:lnTo>
                      <a:pt x="16848" y="4930"/>
                    </a:lnTo>
                    <a:lnTo>
                      <a:pt x="17280" y="4930"/>
                    </a:lnTo>
                    <a:lnTo>
                      <a:pt x="17280" y="5635"/>
                    </a:lnTo>
                    <a:lnTo>
                      <a:pt x="17568" y="5635"/>
                    </a:lnTo>
                    <a:lnTo>
                      <a:pt x="17856" y="6104"/>
                    </a:lnTo>
                    <a:lnTo>
                      <a:pt x="17856" y="6574"/>
                    </a:lnTo>
                    <a:lnTo>
                      <a:pt x="18144" y="6574"/>
                    </a:lnTo>
                    <a:lnTo>
                      <a:pt x="18144" y="7278"/>
                    </a:lnTo>
                    <a:lnTo>
                      <a:pt x="18288" y="7278"/>
                    </a:lnTo>
                    <a:lnTo>
                      <a:pt x="18288" y="8922"/>
                    </a:lnTo>
                    <a:lnTo>
                      <a:pt x="18144" y="9391"/>
                    </a:lnTo>
                    <a:lnTo>
                      <a:pt x="18144" y="9861"/>
                    </a:lnTo>
                    <a:lnTo>
                      <a:pt x="17856" y="9861"/>
                    </a:lnTo>
                    <a:lnTo>
                      <a:pt x="17856" y="10096"/>
                    </a:lnTo>
                    <a:lnTo>
                      <a:pt x="18144" y="10096"/>
                    </a:lnTo>
                    <a:lnTo>
                      <a:pt x="17856" y="10565"/>
                    </a:lnTo>
                    <a:lnTo>
                      <a:pt x="17856" y="11504"/>
                    </a:lnTo>
                    <a:lnTo>
                      <a:pt x="18144" y="11504"/>
                    </a:lnTo>
                    <a:lnTo>
                      <a:pt x="18144" y="13383"/>
                    </a:lnTo>
                    <a:lnTo>
                      <a:pt x="18576" y="13383"/>
                    </a:lnTo>
                    <a:lnTo>
                      <a:pt x="18576" y="13852"/>
                    </a:lnTo>
                    <a:lnTo>
                      <a:pt x="18864" y="13852"/>
                    </a:lnTo>
                    <a:lnTo>
                      <a:pt x="18864" y="14322"/>
                    </a:lnTo>
                    <a:lnTo>
                      <a:pt x="19584" y="14322"/>
                    </a:lnTo>
                    <a:lnTo>
                      <a:pt x="19584" y="13852"/>
                    </a:lnTo>
                    <a:lnTo>
                      <a:pt x="19872" y="13852"/>
                    </a:lnTo>
                    <a:lnTo>
                      <a:pt x="19872" y="14322"/>
                    </a:lnTo>
                    <a:lnTo>
                      <a:pt x="20160" y="14322"/>
                    </a:lnTo>
                    <a:lnTo>
                      <a:pt x="20160" y="13852"/>
                    </a:lnTo>
                    <a:lnTo>
                      <a:pt x="20592" y="13852"/>
                    </a:lnTo>
                    <a:lnTo>
                      <a:pt x="20592" y="13383"/>
                    </a:lnTo>
                    <a:lnTo>
                      <a:pt x="21312" y="13383"/>
                    </a:lnTo>
                    <a:lnTo>
                      <a:pt x="21600" y="13852"/>
                    </a:lnTo>
                    <a:lnTo>
                      <a:pt x="21600" y="15965"/>
                    </a:lnTo>
                    <a:lnTo>
                      <a:pt x="21312" y="16200"/>
                    </a:lnTo>
                    <a:lnTo>
                      <a:pt x="20880" y="16200"/>
                    </a:lnTo>
                    <a:lnTo>
                      <a:pt x="20880" y="15965"/>
                    </a:lnTo>
                    <a:lnTo>
                      <a:pt x="20160" y="15965"/>
                    </a:lnTo>
                    <a:lnTo>
                      <a:pt x="20160" y="15496"/>
                    </a:lnTo>
                    <a:lnTo>
                      <a:pt x="20304" y="15496"/>
                    </a:lnTo>
                    <a:lnTo>
                      <a:pt x="20160" y="15026"/>
                    </a:lnTo>
                    <a:lnTo>
                      <a:pt x="20160" y="15496"/>
                    </a:lnTo>
                    <a:lnTo>
                      <a:pt x="19872" y="15965"/>
                    </a:lnTo>
                    <a:lnTo>
                      <a:pt x="19872" y="16200"/>
                    </a:lnTo>
                    <a:lnTo>
                      <a:pt x="19584" y="16200"/>
                    </a:lnTo>
                    <a:lnTo>
                      <a:pt x="19584" y="16670"/>
                    </a:lnTo>
                    <a:lnTo>
                      <a:pt x="20160" y="16670"/>
                    </a:lnTo>
                    <a:lnTo>
                      <a:pt x="20160" y="17139"/>
                    </a:lnTo>
                    <a:lnTo>
                      <a:pt x="19584" y="17139"/>
                    </a:lnTo>
                    <a:lnTo>
                      <a:pt x="19584" y="17609"/>
                    </a:lnTo>
                    <a:lnTo>
                      <a:pt x="19872" y="17139"/>
                    </a:lnTo>
                    <a:lnTo>
                      <a:pt x="19872" y="17609"/>
                    </a:lnTo>
                    <a:lnTo>
                      <a:pt x="19296" y="18313"/>
                    </a:lnTo>
                    <a:lnTo>
                      <a:pt x="19296" y="19252"/>
                    </a:lnTo>
                    <a:lnTo>
                      <a:pt x="19152" y="19252"/>
                    </a:lnTo>
                    <a:lnTo>
                      <a:pt x="19152" y="21130"/>
                    </a:lnTo>
                    <a:lnTo>
                      <a:pt x="18864" y="20896"/>
                    </a:lnTo>
                    <a:lnTo>
                      <a:pt x="18144" y="20896"/>
                    </a:lnTo>
                    <a:lnTo>
                      <a:pt x="18144" y="20426"/>
                    </a:lnTo>
                    <a:lnTo>
                      <a:pt x="17856" y="20426"/>
                    </a:lnTo>
                    <a:lnTo>
                      <a:pt x="17856" y="19957"/>
                    </a:lnTo>
                    <a:lnTo>
                      <a:pt x="17568" y="19957"/>
                    </a:lnTo>
                    <a:lnTo>
                      <a:pt x="17568" y="20426"/>
                    </a:lnTo>
                    <a:lnTo>
                      <a:pt x="17280" y="20426"/>
                    </a:lnTo>
                    <a:lnTo>
                      <a:pt x="17280" y="19957"/>
                    </a:lnTo>
                    <a:lnTo>
                      <a:pt x="16272" y="19957"/>
                    </a:lnTo>
                    <a:lnTo>
                      <a:pt x="16272" y="19487"/>
                    </a:lnTo>
                    <a:lnTo>
                      <a:pt x="14832" y="19487"/>
                    </a:lnTo>
                    <a:lnTo>
                      <a:pt x="14832" y="19957"/>
                    </a:lnTo>
                    <a:lnTo>
                      <a:pt x="13536" y="19957"/>
                    </a:lnTo>
                    <a:lnTo>
                      <a:pt x="13536" y="20426"/>
                    </a:lnTo>
                    <a:lnTo>
                      <a:pt x="13248" y="20426"/>
                    </a:lnTo>
                    <a:lnTo>
                      <a:pt x="12528" y="21600"/>
                    </a:lnTo>
                    <a:lnTo>
                      <a:pt x="10800" y="21600"/>
                    </a:lnTo>
                    <a:lnTo>
                      <a:pt x="10800" y="21130"/>
                    </a:lnTo>
                    <a:lnTo>
                      <a:pt x="10512" y="21130"/>
                    </a:lnTo>
                    <a:lnTo>
                      <a:pt x="10224" y="21600"/>
                    </a:lnTo>
                    <a:lnTo>
                      <a:pt x="9792" y="21600"/>
                    </a:lnTo>
                    <a:lnTo>
                      <a:pt x="9792" y="21130"/>
                    </a:lnTo>
                    <a:lnTo>
                      <a:pt x="9216" y="21130"/>
                    </a:lnTo>
                    <a:lnTo>
                      <a:pt x="9216" y="21600"/>
                    </a:lnTo>
                    <a:lnTo>
                      <a:pt x="8496" y="21600"/>
                    </a:lnTo>
                    <a:lnTo>
                      <a:pt x="8208" y="21130"/>
                    </a:lnTo>
                    <a:lnTo>
                      <a:pt x="7776" y="21130"/>
                    </a:lnTo>
                    <a:lnTo>
                      <a:pt x="7488" y="20896"/>
                    </a:lnTo>
                    <a:lnTo>
                      <a:pt x="7344" y="21130"/>
                    </a:lnTo>
                    <a:lnTo>
                      <a:pt x="7344" y="20896"/>
                    </a:lnTo>
                    <a:lnTo>
                      <a:pt x="5760" y="20896"/>
                    </a:lnTo>
                    <a:lnTo>
                      <a:pt x="5760" y="20426"/>
                    </a:lnTo>
                    <a:lnTo>
                      <a:pt x="6048" y="20426"/>
                    </a:lnTo>
                    <a:lnTo>
                      <a:pt x="6336" y="19957"/>
                    </a:lnTo>
                    <a:lnTo>
                      <a:pt x="6336" y="19487"/>
                    </a:lnTo>
                    <a:lnTo>
                      <a:pt x="6048" y="19487"/>
                    </a:lnTo>
                    <a:lnTo>
                      <a:pt x="6048" y="19252"/>
                    </a:lnTo>
                    <a:lnTo>
                      <a:pt x="5472" y="19252"/>
                    </a:lnTo>
                    <a:lnTo>
                      <a:pt x="5472" y="18783"/>
                    </a:lnTo>
                    <a:lnTo>
                      <a:pt x="5328" y="18783"/>
                    </a:lnTo>
                    <a:lnTo>
                      <a:pt x="5328" y="18313"/>
                    </a:lnTo>
                    <a:lnTo>
                      <a:pt x="5040" y="18313"/>
                    </a:lnTo>
                    <a:lnTo>
                      <a:pt x="5040" y="17843"/>
                    </a:lnTo>
                    <a:lnTo>
                      <a:pt x="4752" y="17843"/>
                    </a:lnTo>
                    <a:lnTo>
                      <a:pt x="4752" y="17609"/>
                    </a:lnTo>
                    <a:lnTo>
                      <a:pt x="5328" y="17609"/>
                    </a:lnTo>
                    <a:lnTo>
                      <a:pt x="5472" y="17843"/>
                    </a:lnTo>
                    <a:lnTo>
                      <a:pt x="5472" y="17139"/>
                    </a:lnTo>
                    <a:lnTo>
                      <a:pt x="5040" y="17139"/>
                    </a:lnTo>
                    <a:lnTo>
                      <a:pt x="5040" y="16670"/>
                    </a:lnTo>
                    <a:lnTo>
                      <a:pt x="4752" y="16670"/>
                    </a:lnTo>
                    <a:lnTo>
                      <a:pt x="4752" y="17139"/>
                    </a:lnTo>
                    <a:lnTo>
                      <a:pt x="4320" y="17139"/>
                    </a:lnTo>
                    <a:lnTo>
                      <a:pt x="4320" y="17843"/>
                    </a:lnTo>
                    <a:lnTo>
                      <a:pt x="4032" y="17843"/>
                    </a:lnTo>
                    <a:lnTo>
                      <a:pt x="4032" y="17609"/>
                    </a:lnTo>
                    <a:lnTo>
                      <a:pt x="3744" y="17609"/>
                    </a:lnTo>
                    <a:lnTo>
                      <a:pt x="3744" y="17139"/>
                    </a:lnTo>
                    <a:lnTo>
                      <a:pt x="3456" y="16670"/>
                    </a:lnTo>
                    <a:lnTo>
                      <a:pt x="2736" y="16670"/>
                    </a:lnTo>
                    <a:lnTo>
                      <a:pt x="2736" y="16200"/>
                    </a:lnTo>
                    <a:lnTo>
                      <a:pt x="2304" y="16200"/>
                    </a:lnTo>
                    <a:lnTo>
                      <a:pt x="2448" y="15965"/>
                    </a:lnTo>
                    <a:lnTo>
                      <a:pt x="3024" y="15965"/>
                    </a:lnTo>
                    <a:lnTo>
                      <a:pt x="3024" y="15496"/>
                    </a:lnTo>
                    <a:lnTo>
                      <a:pt x="2448" y="15496"/>
                    </a:lnTo>
                    <a:lnTo>
                      <a:pt x="2448" y="15026"/>
                    </a:lnTo>
                    <a:lnTo>
                      <a:pt x="2736" y="15026"/>
                    </a:lnTo>
                    <a:lnTo>
                      <a:pt x="2736" y="14557"/>
                    </a:lnTo>
                    <a:lnTo>
                      <a:pt x="2448" y="14557"/>
                    </a:lnTo>
                    <a:lnTo>
                      <a:pt x="2448" y="14322"/>
                    </a:lnTo>
                    <a:lnTo>
                      <a:pt x="2016" y="14322"/>
                    </a:lnTo>
                    <a:lnTo>
                      <a:pt x="2016" y="13852"/>
                    </a:lnTo>
                    <a:lnTo>
                      <a:pt x="1440" y="13852"/>
                    </a:lnTo>
                    <a:lnTo>
                      <a:pt x="1440" y="13383"/>
                    </a:lnTo>
                    <a:lnTo>
                      <a:pt x="1296" y="13383"/>
                    </a:lnTo>
                    <a:lnTo>
                      <a:pt x="1296" y="12913"/>
                    </a:lnTo>
                    <a:lnTo>
                      <a:pt x="1008" y="12913"/>
                    </a:lnTo>
                    <a:lnTo>
                      <a:pt x="1008" y="11739"/>
                    </a:lnTo>
                    <a:lnTo>
                      <a:pt x="720" y="11739"/>
                    </a:lnTo>
                    <a:lnTo>
                      <a:pt x="720" y="11504"/>
                    </a:lnTo>
                    <a:lnTo>
                      <a:pt x="432" y="11504"/>
                    </a:lnTo>
                    <a:lnTo>
                      <a:pt x="432" y="11035"/>
                    </a:lnTo>
                    <a:lnTo>
                      <a:pt x="288" y="11035"/>
                    </a:lnTo>
                    <a:lnTo>
                      <a:pt x="0" y="10565"/>
                    </a:lnTo>
                    <a:lnTo>
                      <a:pt x="0" y="10096"/>
                    </a:lnTo>
                    <a:lnTo>
                      <a:pt x="288" y="10096"/>
                    </a:lnTo>
                    <a:lnTo>
                      <a:pt x="288" y="9861"/>
                    </a:lnTo>
                    <a:lnTo>
                      <a:pt x="432" y="9861"/>
                    </a:lnTo>
                    <a:lnTo>
                      <a:pt x="432" y="10096"/>
                    </a:lnTo>
                    <a:lnTo>
                      <a:pt x="720" y="10096"/>
                    </a:lnTo>
                    <a:lnTo>
                      <a:pt x="720" y="9861"/>
                    </a:lnTo>
                    <a:lnTo>
                      <a:pt x="1008" y="9861"/>
                    </a:lnTo>
                    <a:lnTo>
                      <a:pt x="1008" y="9391"/>
                    </a:lnTo>
                    <a:lnTo>
                      <a:pt x="1296" y="9391"/>
                    </a:lnTo>
                    <a:lnTo>
                      <a:pt x="1296" y="9861"/>
                    </a:lnTo>
                    <a:lnTo>
                      <a:pt x="1728" y="9861"/>
                    </a:lnTo>
                    <a:lnTo>
                      <a:pt x="1728" y="9391"/>
                    </a:lnTo>
                    <a:lnTo>
                      <a:pt x="2016" y="9391"/>
                    </a:lnTo>
                    <a:lnTo>
                      <a:pt x="2016" y="8922"/>
                    </a:lnTo>
                    <a:lnTo>
                      <a:pt x="2304" y="8922"/>
                    </a:lnTo>
                    <a:lnTo>
                      <a:pt x="2304" y="8217"/>
                    </a:lnTo>
                    <a:lnTo>
                      <a:pt x="2448" y="8217"/>
                    </a:lnTo>
                    <a:lnTo>
                      <a:pt x="2736" y="7748"/>
                    </a:lnTo>
                    <a:lnTo>
                      <a:pt x="2736" y="6809"/>
                    </a:lnTo>
                    <a:lnTo>
                      <a:pt x="3024" y="6809"/>
                    </a:lnTo>
                    <a:lnTo>
                      <a:pt x="3024" y="6574"/>
                    </a:lnTo>
                    <a:lnTo>
                      <a:pt x="3312" y="6574"/>
                    </a:lnTo>
                    <a:lnTo>
                      <a:pt x="3312" y="6104"/>
                    </a:lnTo>
                    <a:lnTo>
                      <a:pt x="3024" y="6104"/>
                    </a:lnTo>
                    <a:lnTo>
                      <a:pt x="3312" y="5635"/>
                    </a:lnTo>
                    <a:lnTo>
                      <a:pt x="3456" y="5635"/>
                    </a:lnTo>
                    <a:lnTo>
                      <a:pt x="3456" y="4930"/>
                    </a:lnTo>
                    <a:lnTo>
                      <a:pt x="3744" y="4930"/>
                    </a:lnTo>
                    <a:lnTo>
                      <a:pt x="4032" y="4461"/>
                    </a:lnTo>
                    <a:lnTo>
                      <a:pt x="4032" y="3522"/>
                    </a:lnTo>
                    <a:lnTo>
                      <a:pt x="4320" y="3522"/>
                    </a:lnTo>
                    <a:lnTo>
                      <a:pt x="4320" y="3287"/>
                    </a:lnTo>
                    <a:lnTo>
                      <a:pt x="4752" y="3287"/>
                    </a:lnTo>
                    <a:lnTo>
                      <a:pt x="4752" y="2348"/>
                    </a:lnTo>
                    <a:lnTo>
                      <a:pt x="5472" y="2348"/>
                    </a:lnTo>
                    <a:lnTo>
                      <a:pt x="5472" y="1878"/>
                    </a:lnTo>
                    <a:lnTo>
                      <a:pt x="5760" y="1878"/>
                    </a:lnTo>
                    <a:lnTo>
                      <a:pt x="6048" y="1643"/>
                    </a:lnTo>
                    <a:lnTo>
                      <a:pt x="6336" y="1643"/>
                    </a:lnTo>
                    <a:lnTo>
                      <a:pt x="6336" y="1174"/>
                    </a:lnTo>
                    <a:lnTo>
                      <a:pt x="6480" y="1174"/>
                    </a:lnTo>
                    <a:lnTo>
                      <a:pt x="6480" y="704"/>
                    </a:lnTo>
                    <a:lnTo>
                      <a:pt x="7056" y="704"/>
                    </a:lnTo>
                    <a:lnTo>
                      <a:pt x="7056" y="1174"/>
                    </a:lnTo>
                    <a:lnTo>
                      <a:pt x="8208" y="1174"/>
                    </a:lnTo>
                    <a:lnTo>
                      <a:pt x="8208" y="1643"/>
                    </a:lnTo>
                    <a:lnTo>
                      <a:pt x="8784" y="1643"/>
                    </a:lnTo>
                    <a:lnTo>
                      <a:pt x="8784" y="1174"/>
                    </a:lnTo>
                    <a:lnTo>
                      <a:pt x="9216" y="1174"/>
                    </a:lnTo>
                    <a:lnTo>
                      <a:pt x="9504" y="1643"/>
                    </a:lnTo>
                    <a:lnTo>
                      <a:pt x="9792" y="1643"/>
                    </a:lnTo>
                    <a:lnTo>
                      <a:pt x="9792" y="1878"/>
                    </a:lnTo>
                    <a:lnTo>
                      <a:pt x="10080" y="1878"/>
                    </a:lnTo>
                    <a:lnTo>
                      <a:pt x="10080" y="2348"/>
                    </a:lnTo>
                    <a:lnTo>
                      <a:pt x="10512" y="2348"/>
                    </a:lnTo>
                    <a:lnTo>
                      <a:pt x="10512" y="2817"/>
                    </a:lnTo>
                    <a:lnTo>
                      <a:pt x="10800" y="2817"/>
                    </a:lnTo>
                    <a:lnTo>
                      <a:pt x="10800" y="2348"/>
                    </a:lnTo>
                    <a:lnTo>
                      <a:pt x="11088" y="1878"/>
                    </a:lnTo>
                    <a:lnTo>
                      <a:pt x="11232" y="1878"/>
                    </a:lnTo>
                    <a:lnTo>
                      <a:pt x="11232" y="1643"/>
                    </a:lnTo>
                    <a:lnTo>
                      <a:pt x="13104" y="1643"/>
                    </a:lnTo>
                    <a:lnTo>
                      <a:pt x="13248" y="1174"/>
                    </a:lnTo>
                    <a:lnTo>
                      <a:pt x="13824" y="1174"/>
                    </a:lnTo>
                    <a:lnTo>
                      <a:pt x="13824" y="704"/>
                    </a:lnTo>
                    <a:lnTo>
                      <a:pt x="14112" y="704"/>
                    </a:lnTo>
                    <a:lnTo>
                      <a:pt x="14112" y="235"/>
                    </a:lnTo>
                    <a:lnTo>
                      <a:pt x="14256" y="235"/>
                    </a:lnTo>
                    <a:lnTo>
                      <a:pt x="14256" y="0"/>
                    </a:lnTo>
                    <a:close/>
                    <a:moveTo>
                      <a:pt x="14256" y="0"/>
                    </a:moveTo>
                  </a:path>
                </a:pathLst>
              </a:custGeom>
              <a:solidFill>
                <a:srgbClr val="B2EAE7"/>
              </a:solidFill>
              <a:ln w="12700">
                <a:solidFill>
                  <a:srgbClr val="FFFFFF"/>
                </a:solidFill>
                <a:round/>
                <a:headEnd/>
                <a:tailEnd/>
              </a:ln>
            </p:spPr>
            <p:txBody>
              <a:bodyPr lIns="0" tIns="0" rIns="0" bIns="0"/>
              <a:lstStyle/>
              <a:p>
                <a:endParaRPr lang="en-US"/>
              </a:p>
            </p:txBody>
          </p:sp>
          <p:sp>
            <p:nvSpPr>
              <p:cNvPr id="107" name="Freeform 61"/>
              <p:cNvSpPr>
                <a:spLocks/>
              </p:cNvSpPr>
              <p:nvPr/>
            </p:nvSpPr>
            <p:spPr bwMode="auto">
              <a:xfrm>
                <a:off x="85" y="3849"/>
                <a:ext cx="290" cy="544"/>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w 21600"/>
                  <a:gd name="T117" fmla="*/ 0 h 21600"/>
                  <a:gd name="T118" fmla="*/ 0 w 21600"/>
                  <a:gd name="T119" fmla="*/ 0 h 21600"/>
                  <a:gd name="T120" fmla="*/ 0 w 21600"/>
                  <a:gd name="T121" fmla="*/ 0 h 21600"/>
                  <a:gd name="T122" fmla="*/ 0 w 21600"/>
                  <a:gd name="T123" fmla="*/ 0 h 216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1600"/>
                  <a:gd name="T187" fmla="*/ 0 h 21600"/>
                  <a:gd name="T188" fmla="*/ 21600 w 21600"/>
                  <a:gd name="T189" fmla="*/ 21600 h 2160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1600" h="21600">
                    <a:moveTo>
                      <a:pt x="6776" y="0"/>
                    </a:moveTo>
                    <a:lnTo>
                      <a:pt x="8894" y="0"/>
                    </a:lnTo>
                    <a:lnTo>
                      <a:pt x="8894" y="1125"/>
                    </a:lnTo>
                    <a:lnTo>
                      <a:pt x="8471" y="1125"/>
                    </a:lnTo>
                    <a:lnTo>
                      <a:pt x="8894" y="1575"/>
                    </a:lnTo>
                    <a:lnTo>
                      <a:pt x="9741" y="1575"/>
                    </a:lnTo>
                    <a:lnTo>
                      <a:pt x="9741" y="1125"/>
                    </a:lnTo>
                    <a:lnTo>
                      <a:pt x="10588" y="1125"/>
                    </a:lnTo>
                    <a:lnTo>
                      <a:pt x="10588" y="675"/>
                    </a:lnTo>
                    <a:lnTo>
                      <a:pt x="11435" y="675"/>
                    </a:lnTo>
                    <a:lnTo>
                      <a:pt x="11435" y="1125"/>
                    </a:lnTo>
                    <a:lnTo>
                      <a:pt x="15671" y="1125"/>
                    </a:lnTo>
                    <a:lnTo>
                      <a:pt x="15671" y="675"/>
                    </a:lnTo>
                    <a:lnTo>
                      <a:pt x="19482" y="675"/>
                    </a:lnTo>
                    <a:lnTo>
                      <a:pt x="19482" y="2025"/>
                    </a:lnTo>
                    <a:lnTo>
                      <a:pt x="21600" y="2025"/>
                    </a:lnTo>
                    <a:lnTo>
                      <a:pt x="21600" y="3150"/>
                    </a:lnTo>
                    <a:lnTo>
                      <a:pt x="20753" y="3150"/>
                    </a:lnTo>
                    <a:lnTo>
                      <a:pt x="20753" y="3600"/>
                    </a:lnTo>
                    <a:lnTo>
                      <a:pt x="20329" y="3600"/>
                    </a:lnTo>
                    <a:lnTo>
                      <a:pt x="20329" y="3825"/>
                    </a:lnTo>
                    <a:lnTo>
                      <a:pt x="18635" y="3825"/>
                    </a:lnTo>
                    <a:lnTo>
                      <a:pt x="18635" y="4275"/>
                    </a:lnTo>
                    <a:lnTo>
                      <a:pt x="17365" y="4275"/>
                    </a:lnTo>
                    <a:lnTo>
                      <a:pt x="17365" y="5175"/>
                    </a:lnTo>
                    <a:lnTo>
                      <a:pt x="17788" y="5400"/>
                    </a:lnTo>
                    <a:lnTo>
                      <a:pt x="17788" y="7875"/>
                    </a:lnTo>
                    <a:lnTo>
                      <a:pt x="17365" y="7875"/>
                    </a:lnTo>
                    <a:lnTo>
                      <a:pt x="17365" y="8100"/>
                    </a:lnTo>
                    <a:lnTo>
                      <a:pt x="16518" y="8100"/>
                    </a:lnTo>
                    <a:lnTo>
                      <a:pt x="16518" y="8550"/>
                    </a:lnTo>
                    <a:lnTo>
                      <a:pt x="17365" y="8550"/>
                    </a:lnTo>
                    <a:lnTo>
                      <a:pt x="17365" y="10125"/>
                    </a:lnTo>
                    <a:lnTo>
                      <a:pt x="16518" y="10125"/>
                    </a:lnTo>
                    <a:lnTo>
                      <a:pt x="16518" y="10575"/>
                    </a:lnTo>
                    <a:lnTo>
                      <a:pt x="15671" y="10575"/>
                    </a:lnTo>
                    <a:lnTo>
                      <a:pt x="15671" y="10125"/>
                    </a:lnTo>
                    <a:lnTo>
                      <a:pt x="14824" y="10125"/>
                    </a:lnTo>
                    <a:lnTo>
                      <a:pt x="14400" y="10575"/>
                    </a:lnTo>
                    <a:lnTo>
                      <a:pt x="13553" y="10575"/>
                    </a:lnTo>
                    <a:lnTo>
                      <a:pt x="13553" y="11025"/>
                    </a:lnTo>
                    <a:lnTo>
                      <a:pt x="14400" y="11250"/>
                    </a:lnTo>
                    <a:lnTo>
                      <a:pt x="14824" y="11250"/>
                    </a:lnTo>
                    <a:lnTo>
                      <a:pt x="14824" y="12600"/>
                    </a:lnTo>
                    <a:lnTo>
                      <a:pt x="15671" y="12600"/>
                    </a:lnTo>
                    <a:lnTo>
                      <a:pt x="15671" y="12825"/>
                    </a:lnTo>
                    <a:lnTo>
                      <a:pt x="17365" y="12825"/>
                    </a:lnTo>
                    <a:lnTo>
                      <a:pt x="17365" y="13275"/>
                    </a:lnTo>
                    <a:lnTo>
                      <a:pt x="16518" y="13275"/>
                    </a:lnTo>
                    <a:lnTo>
                      <a:pt x="16518" y="14175"/>
                    </a:lnTo>
                    <a:lnTo>
                      <a:pt x="14824" y="14175"/>
                    </a:lnTo>
                    <a:lnTo>
                      <a:pt x="14824" y="15975"/>
                    </a:lnTo>
                    <a:lnTo>
                      <a:pt x="15671" y="15975"/>
                    </a:lnTo>
                    <a:lnTo>
                      <a:pt x="15671" y="16875"/>
                    </a:lnTo>
                    <a:lnTo>
                      <a:pt x="17365" y="16875"/>
                    </a:lnTo>
                    <a:lnTo>
                      <a:pt x="16518" y="17325"/>
                    </a:lnTo>
                    <a:lnTo>
                      <a:pt x="15671" y="17325"/>
                    </a:lnTo>
                    <a:lnTo>
                      <a:pt x="15671" y="17550"/>
                    </a:lnTo>
                    <a:lnTo>
                      <a:pt x="14824" y="17550"/>
                    </a:lnTo>
                    <a:lnTo>
                      <a:pt x="14824" y="18000"/>
                    </a:lnTo>
                    <a:lnTo>
                      <a:pt x="14400" y="18000"/>
                    </a:lnTo>
                    <a:lnTo>
                      <a:pt x="14400" y="18450"/>
                    </a:lnTo>
                    <a:lnTo>
                      <a:pt x="13553" y="18450"/>
                    </a:lnTo>
                    <a:lnTo>
                      <a:pt x="13553" y="19125"/>
                    </a:lnTo>
                    <a:lnTo>
                      <a:pt x="12706" y="19125"/>
                    </a:lnTo>
                    <a:lnTo>
                      <a:pt x="12706" y="19575"/>
                    </a:lnTo>
                    <a:lnTo>
                      <a:pt x="13553" y="19575"/>
                    </a:lnTo>
                    <a:lnTo>
                      <a:pt x="13553" y="21150"/>
                    </a:lnTo>
                    <a:lnTo>
                      <a:pt x="11859" y="21150"/>
                    </a:lnTo>
                    <a:lnTo>
                      <a:pt x="11859" y="21600"/>
                    </a:lnTo>
                    <a:lnTo>
                      <a:pt x="8894" y="21600"/>
                    </a:lnTo>
                    <a:lnTo>
                      <a:pt x="8894" y="21150"/>
                    </a:lnTo>
                    <a:lnTo>
                      <a:pt x="4659" y="21150"/>
                    </a:lnTo>
                    <a:lnTo>
                      <a:pt x="4659" y="21600"/>
                    </a:lnTo>
                    <a:lnTo>
                      <a:pt x="2965" y="21600"/>
                    </a:lnTo>
                    <a:lnTo>
                      <a:pt x="3812" y="21150"/>
                    </a:lnTo>
                    <a:lnTo>
                      <a:pt x="3812" y="20025"/>
                    </a:lnTo>
                    <a:lnTo>
                      <a:pt x="4659" y="19575"/>
                    </a:lnTo>
                    <a:lnTo>
                      <a:pt x="4659" y="16425"/>
                    </a:lnTo>
                    <a:lnTo>
                      <a:pt x="3812" y="16425"/>
                    </a:lnTo>
                    <a:lnTo>
                      <a:pt x="3812" y="15750"/>
                    </a:lnTo>
                    <a:lnTo>
                      <a:pt x="5506" y="15750"/>
                    </a:lnTo>
                    <a:lnTo>
                      <a:pt x="5506" y="15300"/>
                    </a:lnTo>
                    <a:lnTo>
                      <a:pt x="2965" y="15300"/>
                    </a:lnTo>
                    <a:lnTo>
                      <a:pt x="2541" y="15750"/>
                    </a:lnTo>
                    <a:lnTo>
                      <a:pt x="1694" y="15750"/>
                    </a:lnTo>
                    <a:lnTo>
                      <a:pt x="1694" y="14850"/>
                    </a:lnTo>
                    <a:lnTo>
                      <a:pt x="2541" y="14850"/>
                    </a:lnTo>
                    <a:lnTo>
                      <a:pt x="2965" y="14400"/>
                    </a:lnTo>
                    <a:lnTo>
                      <a:pt x="2965" y="13725"/>
                    </a:lnTo>
                    <a:lnTo>
                      <a:pt x="2541" y="13725"/>
                    </a:lnTo>
                    <a:lnTo>
                      <a:pt x="2541" y="14400"/>
                    </a:lnTo>
                    <a:lnTo>
                      <a:pt x="1694" y="14400"/>
                    </a:lnTo>
                    <a:lnTo>
                      <a:pt x="1694" y="14850"/>
                    </a:lnTo>
                    <a:lnTo>
                      <a:pt x="847" y="14850"/>
                    </a:lnTo>
                    <a:lnTo>
                      <a:pt x="847" y="14400"/>
                    </a:lnTo>
                    <a:lnTo>
                      <a:pt x="0" y="14400"/>
                    </a:lnTo>
                    <a:lnTo>
                      <a:pt x="0" y="12825"/>
                    </a:lnTo>
                    <a:lnTo>
                      <a:pt x="847" y="12825"/>
                    </a:lnTo>
                    <a:lnTo>
                      <a:pt x="847" y="11700"/>
                    </a:lnTo>
                    <a:lnTo>
                      <a:pt x="1694" y="11700"/>
                    </a:lnTo>
                    <a:lnTo>
                      <a:pt x="1694" y="11250"/>
                    </a:lnTo>
                    <a:lnTo>
                      <a:pt x="2541" y="11250"/>
                    </a:lnTo>
                    <a:lnTo>
                      <a:pt x="2541" y="10125"/>
                    </a:lnTo>
                    <a:lnTo>
                      <a:pt x="2965" y="10125"/>
                    </a:lnTo>
                    <a:lnTo>
                      <a:pt x="2965" y="9450"/>
                    </a:lnTo>
                    <a:lnTo>
                      <a:pt x="3812" y="9000"/>
                    </a:lnTo>
                    <a:lnTo>
                      <a:pt x="3812" y="6975"/>
                    </a:lnTo>
                    <a:lnTo>
                      <a:pt x="4659" y="6975"/>
                    </a:lnTo>
                    <a:lnTo>
                      <a:pt x="4659" y="6300"/>
                    </a:lnTo>
                    <a:lnTo>
                      <a:pt x="5506" y="6300"/>
                    </a:lnTo>
                    <a:lnTo>
                      <a:pt x="5506" y="5850"/>
                    </a:lnTo>
                    <a:lnTo>
                      <a:pt x="4659" y="5850"/>
                    </a:lnTo>
                    <a:lnTo>
                      <a:pt x="5506" y="5400"/>
                    </a:lnTo>
                    <a:lnTo>
                      <a:pt x="5506" y="3825"/>
                    </a:lnTo>
                    <a:lnTo>
                      <a:pt x="4659" y="3600"/>
                    </a:lnTo>
                    <a:lnTo>
                      <a:pt x="4659" y="2025"/>
                    </a:lnTo>
                    <a:lnTo>
                      <a:pt x="3812" y="2025"/>
                    </a:lnTo>
                    <a:lnTo>
                      <a:pt x="3812" y="1125"/>
                    </a:lnTo>
                    <a:lnTo>
                      <a:pt x="4659" y="675"/>
                    </a:lnTo>
                    <a:lnTo>
                      <a:pt x="5506" y="675"/>
                    </a:lnTo>
                    <a:lnTo>
                      <a:pt x="5929" y="450"/>
                    </a:lnTo>
                    <a:lnTo>
                      <a:pt x="6776" y="450"/>
                    </a:lnTo>
                    <a:lnTo>
                      <a:pt x="6776" y="0"/>
                    </a:lnTo>
                    <a:close/>
                    <a:moveTo>
                      <a:pt x="6776" y="0"/>
                    </a:moveTo>
                  </a:path>
                </a:pathLst>
              </a:custGeom>
              <a:solidFill>
                <a:srgbClr val="B2EAE7"/>
              </a:solidFill>
              <a:ln w="12700">
                <a:solidFill>
                  <a:srgbClr val="FFFFFF"/>
                </a:solidFill>
                <a:round/>
                <a:headEnd/>
                <a:tailEnd/>
              </a:ln>
            </p:spPr>
            <p:txBody>
              <a:bodyPr lIns="0" tIns="0" rIns="0" bIns="0"/>
              <a:lstStyle/>
              <a:p>
                <a:endParaRPr lang="en-US"/>
              </a:p>
            </p:txBody>
          </p:sp>
          <p:sp>
            <p:nvSpPr>
              <p:cNvPr id="108" name="AutoShape 62"/>
              <p:cNvSpPr>
                <a:spLocks/>
              </p:cNvSpPr>
              <p:nvPr/>
            </p:nvSpPr>
            <p:spPr bwMode="auto">
              <a:xfrm>
                <a:off x="2235" y="2349"/>
                <a:ext cx="915" cy="71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w 21600"/>
                  <a:gd name="T117" fmla="*/ 0 h 21600"/>
                  <a:gd name="T118" fmla="*/ 0 w 21600"/>
                  <a:gd name="T119" fmla="*/ 0 h 21600"/>
                  <a:gd name="T120" fmla="*/ 0 w 21600"/>
                  <a:gd name="T121" fmla="*/ 0 h 21600"/>
                  <a:gd name="T122" fmla="*/ 0 w 21600"/>
                  <a:gd name="T123" fmla="*/ 0 h 21600"/>
                  <a:gd name="T124" fmla="*/ 0 w 21600"/>
                  <a:gd name="T125" fmla="*/ 0 h 2160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1600"/>
                  <a:gd name="T190" fmla="*/ 0 h 21600"/>
                  <a:gd name="T191" fmla="*/ 21600 w 21600"/>
                  <a:gd name="T192" fmla="*/ 21600 h 2160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1600" h="21600">
                    <a:moveTo>
                      <a:pt x="1610" y="14400"/>
                    </a:moveTo>
                    <a:lnTo>
                      <a:pt x="1878" y="14743"/>
                    </a:lnTo>
                    <a:lnTo>
                      <a:pt x="1878" y="15086"/>
                    </a:lnTo>
                    <a:lnTo>
                      <a:pt x="1476" y="15086"/>
                    </a:lnTo>
                    <a:lnTo>
                      <a:pt x="1476" y="14743"/>
                    </a:lnTo>
                    <a:lnTo>
                      <a:pt x="1610" y="14400"/>
                    </a:lnTo>
                    <a:close/>
                    <a:moveTo>
                      <a:pt x="11538" y="1543"/>
                    </a:moveTo>
                    <a:lnTo>
                      <a:pt x="11672" y="1543"/>
                    </a:lnTo>
                    <a:lnTo>
                      <a:pt x="11672" y="1886"/>
                    </a:lnTo>
                    <a:lnTo>
                      <a:pt x="11270" y="1886"/>
                    </a:lnTo>
                    <a:lnTo>
                      <a:pt x="11538" y="1543"/>
                    </a:lnTo>
                    <a:close/>
                    <a:moveTo>
                      <a:pt x="9123" y="343"/>
                    </a:moveTo>
                    <a:lnTo>
                      <a:pt x="9391" y="343"/>
                    </a:lnTo>
                    <a:lnTo>
                      <a:pt x="9660" y="686"/>
                    </a:lnTo>
                    <a:lnTo>
                      <a:pt x="9794" y="686"/>
                    </a:lnTo>
                    <a:lnTo>
                      <a:pt x="9794" y="1029"/>
                    </a:lnTo>
                    <a:lnTo>
                      <a:pt x="9660" y="1029"/>
                    </a:lnTo>
                    <a:lnTo>
                      <a:pt x="9123" y="343"/>
                    </a:lnTo>
                    <a:close/>
                    <a:moveTo>
                      <a:pt x="8452" y="0"/>
                    </a:moveTo>
                    <a:lnTo>
                      <a:pt x="8855" y="0"/>
                    </a:lnTo>
                    <a:lnTo>
                      <a:pt x="8855" y="343"/>
                    </a:lnTo>
                    <a:lnTo>
                      <a:pt x="9123" y="343"/>
                    </a:lnTo>
                    <a:lnTo>
                      <a:pt x="9123" y="1029"/>
                    </a:lnTo>
                    <a:lnTo>
                      <a:pt x="9391" y="1200"/>
                    </a:lnTo>
                    <a:lnTo>
                      <a:pt x="9391" y="1886"/>
                    </a:lnTo>
                    <a:lnTo>
                      <a:pt x="9794" y="1886"/>
                    </a:lnTo>
                    <a:lnTo>
                      <a:pt x="9794" y="2057"/>
                    </a:lnTo>
                    <a:lnTo>
                      <a:pt x="10330" y="2057"/>
                    </a:lnTo>
                    <a:lnTo>
                      <a:pt x="10599" y="1886"/>
                    </a:lnTo>
                    <a:lnTo>
                      <a:pt x="11001" y="1886"/>
                    </a:lnTo>
                    <a:lnTo>
                      <a:pt x="11001" y="2400"/>
                    </a:lnTo>
                    <a:lnTo>
                      <a:pt x="11270" y="2400"/>
                    </a:lnTo>
                    <a:lnTo>
                      <a:pt x="11538" y="2057"/>
                    </a:lnTo>
                    <a:lnTo>
                      <a:pt x="11672" y="2057"/>
                    </a:lnTo>
                    <a:lnTo>
                      <a:pt x="11672" y="1886"/>
                    </a:lnTo>
                    <a:lnTo>
                      <a:pt x="14087" y="1886"/>
                    </a:lnTo>
                    <a:lnTo>
                      <a:pt x="14758" y="2057"/>
                    </a:lnTo>
                    <a:lnTo>
                      <a:pt x="19051" y="2057"/>
                    </a:lnTo>
                    <a:lnTo>
                      <a:pt x="19051" y="2400"/>
                    </a:lnTo>
                    <a:lnTo>
                      <a:pt x="19453" y="2400"/>
                    </a:lnTo>
                    <a:lnTo>
                      <a:pt x="19722" y="2743"/>
                    </a:lnTo>
                    <a:lnTo>
                      <a:pt x="19722" y="3086"/>
                    </a:lnTo>
                    <a:lnTo>
                      <a:pt x="19990" y="3086"/>
                    </a:lnTo>
                    <a:lnTo>
                      <a:pt x="19990" y="3943"/>
                    </a:lnTo>
                    <a:lnTo>
                      <a:pt x="20124" y="4286"/>
                    </a:lnTo>
                    <a:lnTo>
                      <a:pt x="20124" y="5143"/>
                    </a:lnTo>
                    <a:lnTo>
                      <a:pt x="20393" y="5143"/>
                    </a:lnTo>
                    <a:lnTo>
                      <a:pt x="20393" y="5486"/>
                    </a:lnTo>
                    <a:lnTo>
                      <a:pt x="20661" y="5657"/>
                    </a:lnTo>
                    <a:lnTo>
                      <a:pt x="20661" y="6343"/>
                    </a:lnTo>
                    <a:lnTo>
                      <a:pt x="20795" y="6343"/>
                    </a:lnTo>
                    <a:lnTo>
                      <a:pt x="20795" y="8400"/>
                    </a:lnTo>
                    <a:lnTo>
                      <a:pt x="20661" y="8400"/>
                    </a:lnTo>
                    <a:lnTo>
                      <a:pt x="20393" y="8743"/>
                    </a:lnTo>
                    <a:lnTo>
                      <a:pt x="20124" y="8743"/>
                    </a:lnTo>
                    <a:lnTo>
                      <a:pt x="20124" y="9086"/>
                    </a:lnTo>
                    <a:lnTo>
                      <a:pt x="19990" y="9086"/>
                    </a:lnTo>
                    <a:lnTo>
                      <a:pt x="19990" y="9257"/>
                    </a:lnTo>
                    <a:lnTo>
                      <a:pt x="19722" y="9257"/>
                    </a:lnTo>
                    <a:lnTo>
                      <a:pt x="19453" y="9600"/>
                    </a:lnTo>
                    <a:lnTo>
                      <a:pt x="19185" y="9600"/>
                    </a:lnTo>
                    <a:lnTo>
                      <a:pt x="19185" y="9943"/>
                    </a:lnTo>
                    <a:lnTo>
                      <a:pt x="19722" y="9943"/>
                    </a:lnTo>
                    <a:lnTo>
                      <a:pt x="19722" y="10286"/>
                    </a:lnTo>
                    <a:lnTo>
                      <a:pt x="19990" y="10286"/>
                    </a:lnTo>
                    <a:lnTo>
                      <a:pt x="19990" y="10457"/>
                    </a:lnTo>
                    <a:lnTo>
                      <a:pt x="20393" y="10457"/>
                    </a:lnTo>
                    <a:lnTo>
                      <a:pt x="20393" y="11143"/>
                    </a:lnTo>
                    <a:lnTo>
                      <a:pt x="20124" y="11143"/>
                    </a:lnTo>
                    <a:lnTo>
                      <a:pt x="20124" y="12686"/>
                    </a:lnTo>
                    <a:lnTo>
                      <a:pt x="20393" y="12686"/>
                    </a:lnTo>
                    <a:lnTo>
                      <a:pt x="20393" y="13543"/>
                    </a:lnTo>
                    <a:lnTo>
                      <a:pt x="20661" y="13543"/>
                    </a:lnTo>
                    <a:lnTo>
                      <a:pt x="20795" y="13886"/>
                    </a:lnTo>
                    <a:lnTo>
                      <a:pt x="20795" y="14057"/>
                    </a:lnTo>
                    <a:lnTo>
                      <a:pt x="21063" y="14400"/>
                    </a:lnTo>
                    <a:lnTo>
                      <a:pt x="21063" y="14743"/>
                    </a:lnTo>
                    <a:lnTo>
                      <a:pt x="21332" y="14743"/>
                    </a:lnTo>
                    <a:lnTo>
                      <a:pt x="21332" y="15086"/>
                    </a:lnTo>
                    <a:lnTo>
                      <a:pt x="21600" y="15086"/>
                    </a:lnTo>
                    <a:lnTo>
                      <a:pt x="21600" y="15257"/>
                    </a:lnTo>
                    <a:lnTo>
                      <a:pt x="20795" y="15257"/>
                    </a:lnTo>
                    <a:lnTo>
                      <a:pt x="20795" y="15600"/>
                    </a:lnTo>
                    <a:lnTo>
                      <a:pt x="21063" y="15600"/>
                    </a:lnTo>
                    <a:lnTo>
                      <a:pt x="21063" y="15943"/>
                    </a:lnTo>
                    <a:lnTo>
                      <a:pt x="21332" y="15943"/>
                    </a:lnTo>
                    <a:lnTo>
                      <a:pt x="21332" y="16286"/>
                    </a:lnTo>
                    <a:lnTo>
                      <a:pt x="21063" y="16457"/>
                    </a:lnTo>
                    <a:lnTo>
                      <a:pt x="21063" y="16800"/>
                    </a:lnTo>
                    <a:lnTo>
                      <a:pt x="20393" y="16800"/>
                    </a:lnTo>
                    <a:lnTo>
                      <a:pt x="20393" y="17143"/>
                    </a:lnTo>
                    <a:lnTo>
                      <a:pt x="20124" y="17143"/>
                    </a:lnTo>
                    <a:lnTo>
                      <a:pt x="20124" y="17314"/>
                    </a:lnTo>
                    <a:lnTo>
                      <a:pt x="19722" y="17314"/>
                    </a:lnTo>
                    <a:lnTo>
                      <a:pt x="19722" y="17657"/>
                    </a:lnTo>
                    <a:lnTo>
                      <a:pt x="18514" y="19200"/>
                    </a:lnTo>
                    <a:lnTo>
                      <a:pt x="18246" y="19200"/>
                    </a:lnTo>
                    <a:lnTo>
                      <a:pt x="18246" y="19714"/>
                    </a:lnTo>
                    <a:lnTo>
                      <a:pt x="18112" y="20057"/>
                    </a:lnTo>
                    <a:lnTo>
                      <a:pt x="18246" y="20057"/>
                    </a:lnTo>
                    <a:lnTo>
                      <a:pt x="18246" y="20914"/>
                    </a:lnTo>
                    <a:lnTo>
                      <a:pt x="18514" y="21257"/>
                    </a:lnTo>
                    <a:lnTo>
                      <a:pt x="18783" y="21257"/>
                    </a:lnTo>
                    <a:lnTo>
                      <a:pt x="18783" y="21600"/>
                    </a:lnTo>
                    <a:lnTo>
                      <a:pt x="18112" y="21600"/>
                    </a:lnTo>
                    <a:lnTo>
                      <a:pt x="18112" y="21257"/>
                    </a:lnTo>
                    <a:lnTo>
                      <a:pt x="17307" y="21257"/>
                    </a:lnTo>
                    <a:lnTo>
                      <a:pt x="17173" y="20914"/>
                    </a:lnTo>
                    <a:lnTo>
                      <a:pt x="16904" y="20914"/>
                    </a:lnTo>
                    <a:lnTo>
                      <a:pt x="16636" y="20743"/>
                    </a:lnTo>
                    <a:lnTo>
                      <a:pt x="16636" y="20400"/>
                    </a:lnTo>
                    <a:lnTo>
                      <a:pt x="16234" y="20400"/>
                    </a:lnTo>
                    <a:lnTo>
                      <a:pt x="15965" y="20057"/>
                    </a:lnTo>
                    <a:lnTo>
                      <a:pt x="15026" y="20057"/>
                    </a:lnTo>
                    <a:lnTo>
                      <a:pt x="15026" y="20400"/>
                    </a:lnTo>
                    <a:lnTo>
                      <a:pt x="14758" y="20400"/>
                    </a:lnTo>
                    <a:lnTo>
                      <a:pt x="14489" y="20743"/>
                    </a:lnTo>
                    <a:lnTo>
                      <a:pt x="14355" y="20400"/>
                    </a:lnTo>
                    <a:lnTo>
                      <a:pt x="12880" y="20400"/>
                    </a:lnTo>
                    <a:lnTo>
                      <a:pt x="12477" y="20914"/>
                    </a:lnTo>
                    <a:lnTo>
                      <a:pt x="11940" y="20914"/>
                    </a:lnTo>
                    <a:lnTo>
                      <a:pt x="11940" y="20400"/>
                    </a:lnTo>
                    <a:lnTo>
                      <a:pt x="11538" y="20400"/>
                    </a:lnTo>
                    <a:lnTo>
                      <a:pt x="11538" y="19543"/>
                    </a:lnTo>
                    <a:lnTo>
                      <a:pt x="11001" y="19543"/>
                    </a:lnTo>
                    <a:lnTo>
                      <a:pt x="11001" y="19714"/>
                    </a:lnTo>
                    <a:lnTo>
                      <a:pt x="10733" y="20057"/>
                    </a:lnTo>
                    <a:lnTo>
                      <a:pt x="10599" y="20057"/>
                    </a:lnTo>
                    <a:lnTo>
                      <a:pt x="10599" y="20400"/>
                    </a:lnTo>
                    <a:lnTo>
                      <a:pt x="10330" y="20400"/>
                    </a:lnTo>
                    <a:lnTo>
                      <a:pt x="10330" y="19714"/>
                    </a:lnTo>
                    <a:lnTo>
                      <a:pt x="10062" y="19714"/>
                    </a:lnTo>
                    <a:lnTo>
                      <a:pt x="10062" y="19543"/>
                    </a:lnTo>
                    <a:lnTo>
                      <a:pt x="9794" y="19543"/>
                    </a:lnTo>
                    <a:lnTo>
                      <a:pt x="9794" y="19200"/>
                    </a:lnTo>
                    <a:lnTo>
                      <a:pt x="9660" y="19200"/>
                    </a:lnTo>
                    <a:lnTo>
                      <a:pt x="9391" y="18857"/>
                    </a:lnTo>
                    <a:lnTo>
                      <a:pt x="9391" y="18514"/>
                    </a:lnTo>
                    <a:lnTo>
                      <a:pt x="9123" y="18514"/>
                    </a:lnTo>
                    <a:lnTo>
                      <a:pt x="8855" y="18343"/>
                    </a:lnTo>
                    <a:lnTo>
                      <a:pt x="8720" y="18343"/>
                    </a:lnTo>
                    <a:lnTo>
                      <a:pt x="8452" y="18000"/>
                    </a:lnTo>
                    <a:lnTo>
                      <a:pt x="8452" y="17657"/>
                    </a:lnTo>
                    <a:lnTo>
                      <a:pt x="8184" y="17657"/>
                    </a:lnTo>
                    <a:lnTo>
                      <a:pt x="8184" y="18000"/>
                    </a:lnTo>
                    <a:lnTo>
                      <a:pt x="7916" y="18343"/>
                    </a:lnTo>
                    <a:lnTo>
                      <a:pt x="7781" y="18343"/>
                    </a:lnTo>
                    <a:lnTo>
                      <a:pt x="7781" y="17657"/>
                    </a:lnTo>
                    <a:lnTo>
                      <a:pt x="7245" y="17657"/>
                    </a:lnTo>
                    <a:lnTo>
                      <a:pt x="7245" y="17314"/>
                    </a:lnTo>
                    <a:lnTo>
                      <a:pt x="7781" y="17314"/>
                    </a:lnTo>
                    <a:lnTo>
                      <a:pt x="7781" y="16800"/>
                    </a:lnTo>
                    <a:lnTo>
                      <a:pt x="7513" y="16800"/>
                    </a:lnTo>
                    <a:lnTo>
                      <a:pt x="7513" y="17143"/>
                    </a:lnTo>
                    <a:lnTo>
                      <a:pt x="7111" y="17143"/>
                    </a:lnTo>
                    <a:lnTo>
                      <a:pt x="7111" y="16800"/>
                    </a:lnTo>
                    <a:lnTo>
                      <a:pt x="6171" y="16800"/>
                    </a:lnTo>
                    <a:lnTo>
                      <a:pt x="6171" y="16457"/>
                    </a:lnTo>
                    <a:lnTo>
                      <a:pt x="5903" y="16457"/>
                    </a:lnTo>
                    <a:lnTo>
                      <a:pt x="5903" y="16800"/>
                    </a:lnTo>
                    <a:lnTo>
                      <a:pt x="6171" y="16800"/>
                    </a:lnTo>
                    <a:lnTo>
                      <a:pt x="6171" y="17143"/>
                    </a:lnTo>
                    <a:lnTo>
                      <a:pt x="5903" y="17143"/>
                    </a:lnTo>
                    <a:lnTo>
                      <a:pt x="5903" y="17314"/>
                    </a:lnTo>
                    <a:lnTo>
                      <a:pt x="5635" y="17314"/>
                    </a:lnTo>
                    <a:lnTo>
                      <a:pt x="5635" y="17657"/>
                    </a:lnTo>
                    <a:lnTo>
                      <a:pt x="5232" y="17657"/>
                    </a:lnTo>
                    <a:lnTo>
                      <a:pt x="5232" y="17143"/>
                    </a:lnTo>
                    <a:lnTo>
                      <a:pt x="4696" y="17143"/>
                    </a:lnTo>
                    <a:lnTo>
                      <a:pt x="4696" y="16800"/>
                    </a:lnTo>
                    <a:lnTo>
                      <a:pt x="4427" y="16800"/>
                    </a:lnTo>
                    <a:lnTo>
                      <a:pt x="4427" y="16457"/>
                    </a:lnTo>
                    <a:lnTo>
                      <a:pt x="4696" y="16457"/>
                    </a:lnTo>
                    <a:lnTo>
                      <a:pt x="4696" y="16286"/>
                    </a:lnTo>
                    <a:lnTo>
                      <a:pt x="4964" y="16286"/>
                    </a:lnTo>
                    <a:lnTo>
                      <a:pt x="4964" y="15943"/>
                    </a:lnTo>
                    <a:lnTo>
                      <a:pt x="4696" y="15943"/>
                    </a:lnTo>
                    <a:lnTo>
                      <a:pt x="4696" y="15600"/>
                    </a:lnTo>
                    <a:lnTo>
                      <a:pt x="4427" y="15600"/>
                    </a:lnTo>
                    <a:lnTo>
                      <a:pt x="4293" y="15943"/>
                    </a:lnTo>
                    <a:lnTo>
                      <a:pt x="3757" y="15943"/>
                    </a:lnTo>
                    <a:lnTo>
                      <a:pt x="3757" y="15600"/>
                    </a:lnTo>
                    <a:lnTo>
                      <a:pt x="3086" y="15600"/>
                    </a:lnTo>
                    <a:lnTo>
                      <a:pt x="3086" y="15257"/>
                    </a:lnTo>
                    <a:lnTo>
                      <a:pt x="2549" y="15257"/>
                    </a:lnTo>
                    <a:lnTo>
                      <a:pt x="2549" y="15086"/>
                    </a:lnTo>
                    <a:lnTo>
                      <a:pt x="2415" y="15086"/>
                    </a:lnTo>
                    <a:lnTo>
                      <a:pt x="2415" y="14743"/>
                    </a:lnTo>
                    <a:lnTo>
                      <a:pt x="2147" y="14743"/>
                    </a:lnTo>
                    <a:lnTo>
                      <a:pt x="2147" y="14400"/>
                    </a:lnTo>
                    <a:lnTo>
                      <a:pt x="1610" y="14400"/>
                    </a:lnTo>
                    <a:lnTo>
                      <a:pt x="1610" y="14057"/>
                    </a:lnTo>
                    <a:lnTo>
                      <a:pt x="1878" y="14057"/>
                    </a:lnTo>
                    <a:lnTo>
                      <a:pt x="1878" y="13543"/>
                    </a:lnTo>
                    <a:lnTo>
                      <a:pt x="1610" y="13200"/>
                    </a:lnTo>
                    <a:lnTo>
                      <a:pt x="1610" y="12857"/>
                    </a:lnTo>
                    <a:lnTo>
                      <a:pt x="1476" y="12686"/>
                    </a:lnTo>
                    <a:lnTo>
                      <a:pt x="1207" y="12686"/>
                    </a:lnTo>
                    <a:lnTo>
                      <a:pt x="1207" y="11657"/>
                    </a:lnTo>
                    <a:lnTo>
                      <a:pt x="939" y="11657"/>
                    </a:lnTo>
                    <a:lnTo>
                      <a:pt x="939" y="11486"/>
                    </a:lnTo>
                    <a:lnTo>
                      <a:pt x="1207" y="11143"/>
                    </a:lnTo>
                    <a:lnTo>
                      <a:pt x="1207" y="9943"/>
                    </a:lnTo>
                    <a:lnTo>
                      <a:pt x="939" y="9943"/>
                    </a:lnTo>
                    <a:lnTo>
                      <a:pt x="939" y="9600"/>
                    </a:lnTo>
                    <a:lnTo>
                      <a:pt x="671" y="9600"/>
                    </a:lnTo>
                    <a:lnTo>
                      <a:pt x="671" y="9086"/>
                    </a:lnTo>
                    <a:lnTo>
                      <a:pt x="939" y="9086"/>
                    </a:lnTo>
                    <a:lnTo>
                      <a:pt x="939" y="8400"/>
                    </a:lnTo>
                    <a:lnTo>
                      <a:pt x="537" y="8400"/>
                    </a:lnTo>
                    <a:lnTo>
                      <a:pt x="537" y="8057"/>
                    </a:lnTo>
                    <a:lnTo>
                      <a:pt x="268" y="7886"/>
                    </a:lnTo>
                    <a:lnTo>
                      <a:pt x="0" y="7886"/>
                    </a:lnTo>
                    <a:lnTo>
                      <a:pt x="0" y="7200"/>
                    </a:lnTo>
                    <a:lnTo>
                      <a:pt x="268" y="7200"/>
                    </a:lnTo>
                    <a:lnTo>
                      <a:pt x="537" y="6857"/>
                    </a:lnTo>
                    <a:lnTo>
                      <a:pt x="537" y="6686"/>
                    </a:lnTo>
                    <a:lnTo>
                      <a:pt x="268" y="6686"/>
                    </a:lnTo>
                    <a:lnTo>
                      <a:pt x="537" y="6343"/>
                    </a:lnTo>
                    <a:lnTo>
                      <a:pt x="537" y="5486"/>
                    </a:lnTo>
                    <a:lnTo>
                      <a:pt x="268" y="5486"/>
                    </a:lnTo>
                    <a:lnTo>
                      <a:pt x="268" y="4457"/>
                    </a:lnTo>
                    <a:lnTo>
                      <a:pt x="671" y="4457"/>
                    </a:lnTo>
                    <a:lnTo>
                      <a:pt x="671" y="4800"/>
                    </a:lnTo>
                    <a:lnTo>
                      <a:pt x="939" y="4800"/>
                    </a:lnTo>
                    <a:lnTo>
                      <a:pt x="939" y="4286"/>
                    </a:lnTo>
                    <a:lnTo>
                      <a:pt x="671" y="3943"/>
                    </a:lnTo>
                    <a:lnTo>
                      <a:pt x="537" y="3943"/>
                    </a:lnTo>
                    <a:lnTo>
                      <a:pt x="268" y="4286"/>
                    </a:lnTo>
                    <a:lnTo>
                      <a:pt x="268" y="3943"/>
                    </a:lnTo>
                    <a:lnTo>
                      <a:pt x="0" y="3943"/>
                    </a:lnTo>
                    <a:lnTo>
                      <a:pt x="0" y="3600"/>
                    </a:lnTo>
                    <a:lnTo>
                      <a:pt x="537" y="3600"/>
                    </a:lnTo>
                    <a:lnTo>
                      <a:pt x="671" y="3257"/>
                    </a:lnTo>
                    <a:lnTo>
                      <a:pt x="939" y="3257"/>
                    </a:lnTo>
                    <a:lnTo>
                      <a:pt x="1610" y="3086"/>
                    </a:lnTo>
                    <a:lnTo>
                      <a:pt x="2147" y="2743"/>
                    </a:lnTo>
                    <a:lnTo>
                      <a:pt x="3354" y="2743"/>
                    </a:lnTo>
                    <a:lnTo>
                      <a:pt x="3757" y="2400"/>
                    </a:lnTo>
                    <a:lnTo>
                      <a:pt x="4293" y="2400"/>
                    </a:lnTo>
                    <a:lnTo>
                      <a:pt x="4696" y="1886"/>
                    </a:lnTo>
                    <a:lnTo>
                      <a:pt x="4696" y="1543"/>
                    </a:lnTo>
                    <a:lnTo>
                      <a:pt x="4964" y="1543"/>
                    </a:lnTo>
                    <a:lnTo>
                      <a:pt x="4964" y="1200"/>
                    </a:lnTo>
                    <a:lnTo>
                      <a:pt x="5635" y="1200"/>
                    </a:lnTo>
                    <a:lnTo>
                      <a:pt x="5903" y="1029"/>
                    </a:lnTo>
                    <a:lnTo>
                      <a:pt x="6574" y="1029"/>
                    </a:lnTo>
                    <a:lnTo>
                      <a:pt x="6842" y="686"/>
                    </a:lnTo>
                    <a:lnTo>
                      <a:pt x="7111" y="686"/>
                    </a:lnTo>
                    <a:lnTo>
                      <a:pt x="7111" y="343"/>
                    </a:lnTo>
                    <a:lnTo>
                      <a:pt x="8184" y="343"/>
                    </a:lnTo>
                    <a:lnTo>
                      <a:pt x="8452" y="0"/>
                    </a:lnTo>
                    <a:close/>
                    <a:moveTo>
                      <a:pt x="8452" y="0"/>
                    </a:moveTo>
                  </a:path>
                </a:pathLst>
              </a:custGeom>
              <a:solidFill>
                <a:srgbClr val="B2EAE7"/>
              </a:solidFill>
              <a:ln w="12700">
                <a:solidFill>
                  <a:srgbClr val="FFFFFF"/>
                </a:solidFill>
                <a:round/>
                <a:headEnd/>
                <a:tailEnd/>
              </a:ln>
            </p:spPr>
            <p:txBody>
              <a:bodyPr lIns="0" tIns="0" rIns="0" bIns="0"/>
              <a:lstStyle/>
              <a:p>
                <a:endParaRPr lang="en-US"/>
              </a:p>
            </p:txBody>
          </p:sp>
          <p:sp>
            <p:nvSpPr>
              <p:cNvPr id="109" name="AutoShape 63"/>
              <p:cNvSpPr>
                <a:spLocks/>
              </p:cNvSpPr>
              <p:nvPr/>
            </p:nvSpPr>
            <p:spPr bwMode="auto">
              <a:xfrm>
                <a:off x="2954" y="58"/>
                <a:ext cx="128" cy="6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1600"/>
                  <a:gd name="T76" fmla="*/ 0 h 21600"/>
                  <a:gd name="T77" fmla="*/ 21600 w 21600"/>
                  <a:gd name="T78" fmla="*/ 21600 h 2160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1600" h="21600">
                    <a:moveTo>
                      <a:pt x="17100" y="3927"/>
                    </a:moveTo>
                    <a:lnTo>
                      <a:pt x="18900" y="3927"/>
                    </a:lnTo>
                    <a:lnTo>
                      <a:pt x="18900" y="9818"/>
                    </a:lnTo>
                    <a:lnTo>
                      <a:pt x="15300" y="9818"/>
                    </a:lnTo>
                    <a:lnTo>
                      <a:pt x="15300" y="17673"/>
                    </a:lnTo>
                    <a:lnTo>
                      <a:pt x="6300" y="17673"/>
                    </a:lnTo>
                    <a:lnTo>
                      <a:pt x="4500" y="21600"/>
                    </a:lnTo>
                    <a:lnTo>
                      <a:pt x="1800" y="21600"/>
                    </a:lnTo>
                    <a:lnTo>
                      <a:pt x="1800" y="17673"/>
                    </a:lnTo>
                    <a:lnTo>
                      <a:pt x="0" y="13745"/>
                    </a:lnTo>
                    <a:lnTo>
                      <a:pt x="0" y="7855"/>
                    </a:lnTo>
                    <a:lnTo>
                      <a:pt x="1800" y="7855"/>
                    </a:lnTo>
                    <a:lnTo>
                      <a:pt x="1800" y="9818"/>
                    </a:lnTo>
                    <a:lnTo>
                      <a:pt x="2700" y="9818"/>
                    </a:lnTo>
                    <a:lnTo>
                      <a:pt x="2700" y="7855"/>
                    </a:lnTo>
                    <a:lnTo>
                      <a:pt x="4500" y="9818"/>
                    </a:lnTo>
                    <a:lnTo>
                      <a:pt x="4500" y="7855"/>
                    </a:lnTo>
                    <a:lnTo>
                      <a:pt x="15300" y="7855"/>
                    </a:lnTo>
                    <a:lnTo>
                      <a:pt x="17100" y="3927"/>
                    </a:lnTo>
                    <a:close/>
                    <a:moveTo>
                      <a:pt x="18900" y="0"/>
                    </a:moveTo>
                    <a:lnTo>
                      <a:pt x="21600" y="0"/>
                    </a:lnTo>
                    <a:lnTo>
                      <a:pt x="21600" y="3927"/>
                    </a:lnTo>
                    <a:lnTo>
                      <a:pt x="18900" y="3927"/>
                    </a:lnTo>
                    <a:lnTo>
                      <a:pt x="18900" y="0"/>
                    </a:lnTo>
                    <a:close/>
                    <a:moveTo>
                      <a:pt x="18900" y="0"/>
                    </a:moveTo>
                  </a:path>
                </a:pathLst>
              </a:custGeom>
              <a:solidFill>
                <a:srgbClr val="B2EAE7"/>
              </a:solidFill>
              <a:ln w="12700">
                <a:solidFill>
                  <a:srgbClr val="FFFFFF"/>
                </a:solidFill>
                <a:round/>
                <a:headEnd/>
                <a:tailEnd/>
              </a:ln>
            </p:spPr>
            <p:txBody>
              <a:bodyPr lIns="0" tIns="0" rIns="0" bIns="0"/>
              <a:lstStyle/>
              <a:p>
                <a:endParaRPr lang="en-US"/>
              </a:p>
            </p:txBody>
          </p:sp>
          <p:sp>
            <p:nvSpPr>
              <p:cNvPr id="110" name="Freeform 64"/>
              <p:cNvSpPr>
                <a:spLocks/>
              </p:cNvSpPr>
              <p:nvPr/>
            </p:nvSpPr>
            <p:spPr bwMode="auto">
              <a:xfrm>
                <a:off x="3034" y="87"/>
                <a:ext cx="68" cy="6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1600"/>
                  <a:gd name="T55" fmla="*/ 0 h 21600"/>
                  <a:gd name="T56" fmla="*/ 21600 w 21600"/>
                  <a:gd name="T57" fmla="*/ 21600 h 2160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1600" h="21600">
                    <a:moveTo>
                      <a:pt x="16200" y="0"/>
                    </a:moveTo>
                    <a:lnTo>
                      <a:pt x="18000" y="0"/>
                    </a:lnTo>
                    <a:lnTo>
                      <a:pt x="18000" y="3927"/>
                    </a:lnTo>
                    <a:lnTo>
                      <a:pt x="21600" y="3927"/>
                    </a:lnTo>
                    <a:lnTo>
                      <a:pt x="21600" y="11782"/>
                    </a:lnTo>
                    <a:lnTo>
                      <a:pt x="18000" y="11782"/>
                    </a:lnTo>
                    <a:lnTo>
                      <a:pt x="9000" y="21600"/>
                    </a:lnTo>
                    <a:lnTo>
                      <a:pt x="3600" y="21600"/>
                    </a:lnTo>
                    <a:lnTo>
                      <a:pt x="3600" y="17673"/>
                    </a:lnTo>
                    <a:lnTo>
                      <a:pt x="0" y="13745"/>
                    </a:lnTo>
                    <a:lnTo>
                      <a:pt x="0" y="11782"/>
                    </a:lnTo>
                    <a:lnTo>
                      <a:pt x="3600" y="13745"/>
                    </a:lnTo>
                    <a:lnTo>
                      <a:pt x="5400" y="11782"/>
                    </a:lnTo>
                    <a:lnTo>
                      <a:pt x="12600" y="11782"/>
                    </a:lnTo>
                    <a:lnTo>
                      <a:pt x="12600" y="7855"/>
                    </a:lnTo>
                    <a:lnTo>
                      <a:pt x="16200" y="7855"/>
                    </a:lnTo>
                    <a:lnTo>
                      <a:pt x="16200" y="0"/>
                    </a:lnTo>
                    <a:close/>
                    <a:moveTo>
                      <a:pt x="16200" y="0"/>
                    </a:moveTo>
                  </a:path>
                </a:pathLst>
              </a:custGeom>
              <a:solidFill>
                <a:srgbClr val="B2EAE7"/>
              </a:solidFill>
              <a:ln w="12700">
                <a:solidFill>
                  <a:srgbClr val="FFFFFF"/>
                </a:solidFill>
                <a:round/>
                <a:headEnd/>
                <a:tailEnd/>
              </a:ln>
            </p:spPr>
            <p:txBody>
              <a:bodyPr lIns="0" tIns="0" rIns="0" bIns="0"/>
              <a:lstStyle/>
              <a:p>
                <a:endParaRPr lang="en-US"/>
              </a:p>
            </p:txBody>
          </p:sp>
          <p:sp>
            <p:nvSpPr>
              <p:cNvPr id="111" name="Freeform 65"/>
              <p:cNvSpPr>
                <a:spLocks/>
              </p:cNvSpPr>
              <p:nvPr/>
            </p:nvSpPr>
            <p:spPr bwMode="auto">
              <a:xfrm>
                <a:off x="2727" y="149"/>
                <a:ext cx="32" cy="4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600"/>
                  <a:gd name="T40" fmla="*/ 0 h 21600"/>
                  <a:gd name="T41" fmla="*/ 21600 w 21600"/>
                  <a:gd name="T42" fmla="*/ 21600 h 2160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600" h="21600">
                    <a:moveTo>
                      <a:pt x="0" y="0"/>
                    </a:moveTo>
                    <a:lnTo>
                      <a:pt x="2700" y="0"/>
                    </a:lnTo>
                    <a:lnTo>
                      <a:pt x="8100" y="6171"/>
                    </a:lnTo>
                    <a:lnTo>
                      <a:pt x="18900" y="6171"/>
                    </a:lnTo>
                    <a:lnTo>
                      <a:pt x="18900" y="9257"/>
                    </a:lnTo>
                    <a:lnTo>
                      <a:pt x="21600" y="9257"/>
                    </a:lnTo>
                    <a:lnTo>
                      <a:pt x="21600" y="21600"/>
                    </a:lnTo>
                    <a:lnTo>
                      <a:pt x="8100" y="21600"/>
                    </a:lnTo>
                    <a:lnTo>
                      <a:pt x="8100" y="9257"/>
                    </a:lnTo>
                    <a:lnTo>
                      <a:pt x="2700" y="9257"/>
                    </a:lnTo>
                    <a:lnTo>
                      <a:pt x="0" y="6171"/>
                    </a:lnTo>
                    <a:lnTo>
                      <a:pt x="0" y="0"/>
                    </a:lnTo>
                    <a:close/>
                    <a:moveTo>
                      <a:pt x="0" y="0"/>
                    </a:moveTo>
                  </a:path>
                </a:pathLst>
              </a:custGeom>
              <a:solidFill>
                <a:srgbClr val="B2EAE7"/>
              </a:solidFill>
              <a:ln w="12700">
                <a:solidFill>
                  <a:srgbClr val="FFFFFF"/>
                </a:solidFill>
                <a:round/>
                <a:headEnd/>
                <a:tailEnd/>
              </a:ln>
            </p:spPr>
            <p:txBody>
              <a:bodyPr lIns="0" tIns="0" rIns="0" bIns="0"/>
              <a:lstStyle/>
              <a:p>
                <a:endParaRPr lang="en-US"/>
              </a:p>
            </p:txBody>
          </p:sp>
          <p:sp>
            <p:nvSpPr>
              <p:cNvPr id="112" name="Freeform 66"/>
              <p:cNvSpPr>
                <a:spLocks/>
              </p:cNvSpPr>
              <p:nvPr/>
            </p:nvSpPr>
            <p:spPr bwMode="auto">
              <a:xfrm>
                <a:off x="2585" y="178"/>
                <a:ext cx="148" cy="9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600"/>
                  <a:gd name="T109" fmla="*/ 0 h 21600"/>
                  <a:gd name="T110" fmla="*/ 21600 w 21600"/>
                  <a:gd name="T111" fmla="*/ 21600 h 2160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600" h="21600">
                    <a:moveTo>
                      <a:pt x="14954" y="0"/>
                    </a:moveTo>
                    <a:lnTo>
                      <a:pt x="19108" y="0"/>
                    </a:lnTo>
                    <a:lnTo>
                      <a:pt x="20769" y="2700"/>
                    </a:lnTo>
                    <a:lnTo>
                      <a:pt x="21600" y="2700"/>
                    </a:lnTo>
                    <a:lnTo>
                      <a:pt x="21600" y="6750"/>
                    </a:lnTo>
                    <a:lnTo>
                      <a:pt x="20769" y="6750"/>
                    </a:lnTo>
                    <a:lnTo>
                      <a:pt x="20769" y="9450"/>
                    </a:lnTo>
                    <a:lnTo>
                      <a:pt x="19108" y="12150"/>
                    </a:lnTo>
                    <a:lnTo>
                      <a:pt x="14954" y="12150"/>
                    </a:lnTo>
                    <a:lnTo>
                      <a:pt x="14954" y="9450"/>
                    </a:lnTo>
                    <a:lnTo>
                      <a:pt x="13292" y="9450"/>
                    </a:lnTo>
                    <a:lnTo>
                      <a:pt x="13292" y="12150"/>
                    </a:lnTo>
                    <a:lnTo>
                      <a:pt x="14954" y="12150"/>
                    </a:lnTo>
                    <a:lnTo>
                      <a:pt x="14954" y="14850"/>
                    </a:lnTo>
                    <a:lnTo>
                      <a:pt x="13292" y="14850"/>
                    </a:lnTo>
                    <a:lnTo>
                      <a:pt x="13292" y="16200"/>
                    </a:lnTo>
                    <a:lnTo>
                      <a:pt x="11631" y="16200"/>
                    </a:lnTo>
                    <a:lnTo>
                      <a:pt x="11631" y="18900"/>
                    </a:lnTo>
                    <a:lnTo>
                      <a:pt x="9969" y="18900"/>
                    </a:lnTo>
                    <a:lnTo>
                      <a:pt x="9969" y="21600"/>
                    </a:lnTo>
                    <a:lnTo>
                      <a:pt x="0" y="21600"/>
                    </a:lnTo>
                    <a:lnTo>
                      <a:pt x="0" y="18900"/>
                    </a:lnTo>
                    <a:lnTo>
                      <a:pt x="4154" y="18900"/>
                    </a:lnTo>
                    <a:lnTo>
                      <a:pt x="4154" y="16200"/>
                    </a:lnTo>
                    <a:lnTo>
                      <a:pt x="3323" y="16200"/>
                    </a:lnTo>
                    <a:lnTo>
                      <a:pt x="3323" y="14850"/>
                    </a:lnTo>
                    <a:lnTo>
                      <a:pt x="4154" y="14850"/>
                    </a:lnTo>
                    <a:lnTo>
                      <a:pt x="4154" y="12150"/>
                    </a:lnTo>
                    <a:lnTo>
                      <a:pt x="9969" y="12150"/>
                    </a:lnTo>
                    <a:lnTo>
                      <a:pt x="9969" y="6750"/>
                    </a:lnTo>
                    <a:lnTo>
                      <a:pt x="11631" y="6750"/>
                    </a:lnTo>
                    <a:lnTo>
                      <a:pt x="11631" y="5400"/>
                    </a:lnTo>
                    <a:lnTo>
                      <a:pt x="13292" y="2700"/>
                    </a:lnTo>
                    <a:lnTo>
                      <a:pt x="14954" y="2700"/>
                    </a:lnTo>
                    <a:lnTo>
                      <a:pt x="14954" y="0"/>
                    </a:lnTo>
                    <a:close/>
                    <a:moveTo>
                      <a:pt x="14954" y="0"/>
                    </a:moveTo>
                  </a:path>
                </a:pathLst>
              </a:custGeom>
              <a:solidFill>
                <a:srgbClr val="B2EAE7"/>
              </a:solidFill>
              <a:ln w="12700">
                <a:solidFill>
                  <a:srgbClr val="FFFFFF"/>
                </a:solidFill>
                <a:round/>
                <a:headEnd/>
                <a:tailEnd/>
              </a:ln>
            </p:spPr>
            <p:txBody>
              <a:bodyPr lIns="0" tIns="0" rIns="0" bIns="0"/>
              <a:lstStyle/>
              <a:p>
                <a:endParaRPr lang="en-US"/>
              </a:p>
            </p:txBody>
          </p:sp>
          <p:sp>
            <p:nvSpPr>
              <p:cNvPr id="113" name="AutoShape 67"/>
              <p:cNvSpPr>
                <a:spLocks/>
              </p:cNvSpPr>
              <p:nvPr/>
            </p:nvSpPr>
            <p:spPr bwMode="auto">
              <a:xfrm>
                <a:off x="2358" y="314"/>
                <a:ext cx="68" cy="6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600"/>
                  <a:gd name="T61" fmla="*/ 0 h 21600"/>
                  <a:gd name="T62" fmla="*/ 21600 w 21600"/>
                  <a:gd name="T63" fmla="*/ 21600 h 2160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600" h="21600">
                    <a:moveTo>
                      <a:pt x="0" y="17673"/>
                    </a:moveTo>
                    <a:lnTo>
                      <a:pt x="3600" y="17673"/>
                    </a:lnTo>
                    <a:lnTo>
                      <a:pt x="3600" y="21600"/>
                    </a:lnTo>
                    <a:lnTo>
                      <a:pt x="0" y="21600"/>
                    </a:lnTo>
                    <a:lnTo>
                      <a:pt x="0" y="17673"/>
                    </a:lnTo>
                    <a:close/>
                    <a:moveTo>
                      <a:pt x="16200" y="0"/>
                    </a:moveTo>
                    <a:lnTo>
                      <a:pt x="21600" y="0"/>
                    </a:lnTo>
                    <a:lnTo>
                      <a:pt x="16200" y="7855"/>
                    </a:lnTo>
                    <a:lnTo>
                      <a:pt x="16200" y="11782"/>
                    </a:lnTo>
                    <a:lnTo>
                      <a:pt x="12600" y="11782"/>
                    </a:lnTo>
                    <a:lnTo>
                      <a:pt x="9000" y="13745"/>
                    </a:lnTo>
                    <a:lnTo>
                      <a:pt x="7200" y="13745"/>
                    </a:lnTo>
                    <a:lnTo>
                      <a:pt x="7200" y="17673"/>
                    </a:lnTo>
                    <a:lnTo>
                      <a:pt x="3600" y="17673"/>
                    </a:lnTo>
                    <a:lnTo>
                      <a:pt x="3600" y="13745"/>
                    </a:lnTo>
                    <a:lnTo>
                      <a:pt x="0" y="13745"/>
                    </a:lnTo>
                    <a:lnTo>
                      <a:pt x="9000" y="3927"/>
                    </a:lnTo>
                    <a:lnTo>
                      <a:pt x="12600" y="3927"/>
                    </a:lnTo>
                    <a:lnTo>
                      <a:pt x="16200" y="0"/>
                    </a:lnTo>
                    <a:close/>
                    <a:moveTo>
                      <a:pt x="16200" y="0"/>
                    </a:moveTo>
                  </a:path>
                </a:pathLst>
              </a:custGeom>
              <a:solidFill>
                <a:srgbClr val="B2EAE7"/>
              </a:solidFill>
              <a:ln w="12700">
                <a:solidFill>
                  <a:srgbClr val="FFFFFF"/>
                </a:solidFill>
                <a:round/>
                <a:headEnd/>
                <a:tailEnd/>
              </a:ln>
            </p:spPr>
            <p:txBody>
              <a:bodyPr lIns="0" tIns="0" rIns="0" bIns="0"/>
              <a:lstStyle/>
              <a:p>
                <a:endParaRPr lang="en-US"/>
              </a:p>
            </p:txBody>
          </p:sp>
          <p:sp>
            <p:nvSpPr>
              <p:cNvPr id="114" name="Freeform 68"/>
              <p:cNvSpPr>
                <a:spLocks/>
              </p:cNvSpPr>
              <p:nvPr/>
            </p:nvSpPr>
            <p:spPr bwMode="auto">
              <a:xfrm>
                <a:off x="2331" y="354"/>
                <a:ext cx="130" cy="114"/>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1600"/>
                  <a:gd name="T106" fmla="*/ 0 h 21600"/>
                  <a:gd name="T107" fmla="*/ 21600 w 21600"/>
                  <a:gd name="T108" fmla="*/ 21600 h 2160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1600" h="21600">
                    <a:moveTo>
                      <a:pt x="9391" y="0"/>
                    </a:moveTo>
                    <a:lnTo>
                      <a:pt x="11270" y="0"/>
                    </a:lnTo>
                    <a:lnTo>
                      <a:pt x="11270" y="9720"/>
                    </a:lnTo>
                    <a:lnTo>
                      <a:pt x="9391" y="11880"/>
                    </a:lnTo>
                    <a:lnTo>
                      <a:pt x="9391" y="14040"/>
                    </a:lnTo>
                    <a:lnTo>
                      <a:pt x="11270" y="14040"/>
                    </a:lnTo>
                    <a:lnTo>
                      <a:pt x="11270" y="11880"/>
                    </a:lnTo>
                    <a:lnTo>
                      <a:pt x="13148" y="11880"/>
                    </a:lnTo>
                    <a:lnTo>
                      <a:pt x="13148" y="9720"/>
                    </a:lnTo>
                    <a:lnTo>
                      <a:pt x="15026" y="9720"/>
                    </a:lnTo>
                    <a:lnTo>
                      <a:pt x="15026" y="6480"/>
                    </a:lnTo>
                    <a:lnTo>
                      <a:pt x="15965" y="6480"/>
                    </a:lnTo>
                    <a:lnTo>
                      <a:pt x="15965" y="4320"/>
                    </a:lnTo>
                    <a:lnTo>
                      <a:pt x="21600" y="4320"/>
                    </a:lnTo>
                    <a:lnTo>
                      <a:pt x="21600" y="11880"/>
                    </a:lnTo>
                    <a:lnTo>
                      <a:pt x="19722" y="14040"/>
                    </a:lnTo>
                    <a:lnTo>
                      <a:pt x="15026" y="14040"/>
                    </a:lnTo>
                    <a:lnTo>
                      <a:pt x="11270" y="17280"/>
                    </a:lnTo>
                    <a:lnTo>
                      <a:pt x="9391" y="17280"/>
                    </a:lnTo>
                    <a:lnTo>
                      <a:pt x="9391" y="19440"/>
                    </a:lnTo>
                    <a:lnTo>
                      <a:pt x="8452" y="21600"/>
                    </a:lnTo>
                    <a:lnTo>
                      <a:pt x="4696" y="21600"/>
                    </a:lnTo>
                    <a:lnTo>
                      <a:pt x="4696" y="19440"/>
                    </a:lnTo>
                    <a:lnTo>
                      <a:pt x="0" y="19440"/>
                    </a:lnTo>
                    <a:lnTo>
                      <a:pt x="1878" y="17280"/>
                    </a:lnTo>
                    <a:lnTo>
                      <a:pt x="2817" y="17280"/>
                    </a:lnTo>
                    <a:lnTo>
                      <a:pt x="2817" y="11880"/>
                    </a:lnTo>
                    <a:lnTo>
                      <a:pt x="4696" y="11880"/>
                    </a:lnTo>
                    <a:lnTo>
                      <a:pt x="4696" y="7560"/>
                    </a:lnTo>
                    <a:lnTo>
                      <a:pt x="6574" y="7560"/>
                    </a:lnTo>
                    <a:lnTo>
                      <a:pt x="6574" y="6480"/>
                    </a:lnTo>
                    <a:lnTo>
                      <a:pt x="8452" y="6480"/>
                    </a:lnTo>
                    <a:lnTo>
                      <a:pt x="8452" y="2160"/>
                    </a:lnTo>
                    <a:lnTo>
                      <a:pt x="9391" y="0"/>
                    </a:lnTo>
                    <a:close/>
                    <a:moveTo>
                      <a:pt x="9391" y="0"/>
                    </a:moveTo>
                  </a:path>
                </a:pathLst>
              </a:custGeom>
              <a:solidFill>
                <a:srgbClr val="B2EAE7"/>
              </a:solidFill>
              <a:ln w="12700">
                <a:solidFill>
                  <a:srgbClr val="FFFFFF"/>
                </a:solidFill>
                <a:round/>
                <a:headEnd/>
                <a:tailEnd/>
              </a:ln>
            </p:spPr>
            <p:txBody>
              <a:bodyPr lIns="0" tIns="0" rIns="0" bIns="0"/>
              <a:lstStyle/>
              <a:p>
                <a:endParaRPr lang="en-US"/>
              </a:p>
            </p:txBody>
          </p:sp>
          <p:sp>
            <p:nvSpPr>
              <p:cNvPr id="115" name="Freeform 69"/>
              <p:cNvSpPr>
                <a:spLocks/>
              </p:cNvSpPr>
              <p:nvPr/>
            </p:nvSpPr>
            <p:spPr bwMode="auto">
              <a:xfrm>
                <a:off x="2261" y="354"/>
                <a:ext cx="97" cy="74"/>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1600"/>
                  <a:gd name="T85" fmla="*/ 0 h 21600"/>
                  <a:gd name="T86" fmla="*/ 21600 w 21600"/>
                  <a:gd name="T87" fmla="*/ 21600 h 2160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1600" h="21600">
                    <a:moveTo>
                      <a:pt x="12706" y="0"/>
                    </a:moveTo>
                    <a:lnTo>
                      <a:pt x="15247" y="0"/>
                    </a:lnTo>
                    <a:lnTo>
                      <a:pt x="15247" y="3323"/>
                    </a:lnTo>
                    <a:lnTo>
                      <a:pt x="17788" y="3323"/>
                    </a:lnTo>
                    <a:lnTo>
                      <a:pt x="17788" y="6646"/>
                    </a:lnTo>
                    <a:lnTo>
                      <a:pt x="19059" y="6646"/>
                    </a:lnTo>
                    <a:lnTo>
                      <a:pt x="21600" y="9969"/>
                    </a:lnTo>
                    <a:lnTo>
                      <a:pt x="21600" y="11631"/>
                    </a:lnTo>
                    <a:lnTo>
                      <a:pt x="19059" y="11631"/>
                    </a:lnTo>
                    <a:lnTo>
                      <a:pt x="19059" y="18277"/>
                    </a:lnTo>
                    <a:lnTo>
                      <a:pt x="15247" y="18277"/>
                    </a:lnTo>
                    <a:lnTo>
                      <a:pt x="12706" y="21600"/>
                    </a:lnTo>
                    <a:lnTo>
                      <a:pt x="10165" y="21600"/>
                    </a:lnTo>
                    <a:lnTo>
                      <a:pt x="10165" y="18277"/>
                    </a:lnTo>
                    <a:lnTo>
                      <a:pt x="12706" y="14954"/>
                    </a:lnTo>
                    <a:lnTo>
                      <a:pt x="3812" y="14954"/>
                    </a:lnTo>
                    <a:lnTo>
                      <a:pt x="3812" y="18277"/>
                    </a:lnTo>
                    <a:lnTo>
                      <a:pt x="1271" y="18277"/>
                    </a:lnTo>
                    <a:lnTo>
                      <a:pt x="0" y="14954"/>
                    </a:lnTo>
                    <a:lnTo>
                      <a:pt x="1271" y="14954"/>
                    </a:lnTo>
                    <a:lnTo>
                      <a:pt x="3812" y="11631"/>
                    </a:lnTo>
                    <a:lnTo>
                      <a:pt x="6353" y="11631"/>
                    </a:lnTo>
                    <a:lnTo>
                      <a:pt x="6353" y="9969"/>
                    </a:lnTo>
                    <a:lnTo>
                      <a:pt x="10165" y="9969"/>
                    </a:lnTo>
                    <a:lnTo>
                      <a:pt x="10165" y="6646"/>
                    </a:lnTo>
                    <a:lnTo>
                      <a:pt x="12706" y="6646"/>
                    </a:lnTo>
                    <a:lnTo>
                      <a:pt x="12706" y="0"/>
                    </a:lnTo>
                    <a:close/>
                    <a:moveTo>
                      <a:pt x="12706" y="0"/>
                    </a:moveTo>
                  </a:path>
                </a:pathLst>
              </a:custGeom>
              <a:solidFill>
                <a:srgbClr val="B2EAE7"/>
              </a:solidFill>
              <a:ln w="12700">
                <a:solidFill>
                  <a:srgbClr val="FFFFFF"/>
                </a:solidFill>
                <a:round/>
                <a:headEnd/>
                <a:tailEnd/>
              </a:ln>
            </p:spPr>
            <p:txBody>
              <a:bodyPr lIns="0" tIns="0" rIns="0" bIns="0"/>
              <a:lstStyle/>
              <a:p>
                <a:endParaRPr lang="en-US"/>
              </a:p>
            </p:txBody>
          </p:sp>
          <p:sp>
            <p:nvSpPr>
              <p:cNvPr id="116" name="Freeform 70"/>
              <p:cNvSpPr>
                <a:spLocks/>
              </p:cNvSpPr>
              <p:nvPr/>
            </p:nvSpPr>
            <p:spPr bwMode="auto">
              <a:xfrm>
                <a:off x="2250" y="434"/>
                <a:ext cx="79" cy="5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600"/>
                  <a:gd name="T52" fmla="*/ 0 h 21600"/>
                  <a:gd name="T53" fmla="*/ 21600 w 21600"/>
                  <a:gd name="T54" fmla="*/ 21600 h 2160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600" h="21600">
                    <a:moveTo>
                      <a:pt x="21600" y="0"/>
                    </a:moveTo>
                    <a:lnTo>
                      <a:pt x="21600" y="9600"/>
                    </a:lnTo>
                    <a:lnTo>
                      <a:pt x="15429" y="9600"/>
                    </a:lnTo>
                    <a:lnTo>
                      <a:pt x="15429" y="14400"/>
                    </a:lnTo>
                    <a:lnTo>
                      <a:pt x="10800" y="14400"/>
                    </a:lnTo>
                    <a:lnTo>
                      <a:pt x="10800" y="16800"/>
                    </a:lnTo>
                    <a:lnTo>
                      <a:pt x="4629" y="16800"/>
                    </a:lnTo>
                    <a:lnTo>
                      <a:pt x="3086" y="21600"/>
                    </a:lnTo>
                    <a:lnTo>
                      <a:pt x="0" y="21600"/>
                    </a:lnTo>
                    <a:lnTo>
                      <a:pt x="0" y="14400"/>
                    </a:lnTo>
                    <a:lnTo>
                      <a:pt x="3086" y="14400"/>
                    </a:lnTo>
                    <a:lnTo>
                      <a:pt x="4629" y="9600"/>
                    </a:lnTo>
                    <a:lnTo>
                      <a:pt x="10800" y="9600"/>
                    </a:lnTo>
                    <a:lnTo>
                      <a:pt x="10800" y="4800"/>
                    </a:lnTo>
                    <a:lnTo>
                      <a:pt x="18514" y="4800"/>
                    </a:lnTo>
                    <a:lnTo>
                      <a:pt x="21600" y="0"/>
                    </a:lnTo>
                    <a:close/>
                    <a:moveTo>
                      <a:pt x="21600" y="0"/>
                    </a:moveTo>
                  </a:path>
                </a:pathLst>
              </a:custGeom>
              <a:solidFill>
                <a:srgbClr val="B2EAE7"/>
              </a:solidFill>
              <a:ln w="12700">
                <a:solidFill>
                  <a:srgbClr val="FFFFFF"/>
                </a:solidFill>
                <a:round/>
                <a:headEnd/>
                <a:tailEnd/>
              </a:ln>
            </p:spPr>
            <p:txBody>
              <a:bodyPr lIns="0" tIns="0" rIns="0" bIns="0"/>
              <a:lstStyle/>
              <a:p>
                <a:endParaRPr lang="en-US"/>
              </a:p>
            </p:txBody>
          </p:sp>
          <p:sp>
            <p:nvSpPr>
              <p:cNvPr id="117" name="Freeform 71"/>
              <p:cNvSpPr>
                <a:spLocks/>
              </p:cNvSpPr>
              <p:nvPr/>
            </p:nvSpPr>
            <p:spPr bwMode="auto">
              <a:xfrm>
                <a:off x="2182" y="447"/>
                <a:ext cx="56" cy="4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600"/>
                  <a:gd name="T40" fmla="*/ 0 h 21600"/>
                  <a:gd name="T41" fmla="*/ 21600 w 21600"/>
                  <a:gd name="T42" fmla="*/ 21600 h 2160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600" h="21600">
                    <a:moveTo>
                      <a:pt x="15120" y="0"/>
                    </a:moveTo>
                    <a:lnTo>
                      <a:pt x="17280" y="6171"/>
                    </a:lnTo>
                    <a:lnTo>
                      <a:pt x="17280" y="9257"/>
                    </a:lnTo>
                    <a:lnTo>
                      <a:pt x="21600" y="9257"/>
                    </a:lnTo>
                    <a:lnTo>
                      <a:pt x="17280" y="15429"/>
                    </a:lnTo>
                    <a:lnTo>
                      <a:pt x="15120" y="15429"/>
                    </a:lnTo>
                    <a:lnTo>
                      <a:pt x="15120" y="21600"/>
                    </a:lnTo>
                    <a:lnTo>
                      <a:pt x="0" y="21600"/>
                    </a:lnTo>
                    <a:lnTo>
                      <a:pt x="0" y="15429"/>
                    </a:lnTo>
                    <a:lnTo>
                      <a:pt x="2160" y="9257"/>
                    </a:lnTo>
                    <a:lnTo>
                      <a:pt x="6480" y="9257"/>
                    </a:lnTo>
                    <a:lnTo>
                      <a:pt x="15120" y="0"/>
                    </a:lnTo>
                    <a:close/>
                    <a:moveTo>
                      <a:pt x="15120" y="0"/>
                    </a:moveTo>
                  </a:path>
                </a:pathLst>
              </a:custGeom>
              <a:solidFill>
                <a:srgbClr val="B2EAE7"/>
              </a:solidFill>
              <a:ln w="12700">
                <a:solidFill>
                  <a:srgbClr val="FFFFFF"/>
                </a:solidFill>
                <a:round/>
                <a:headEnd/>
                <a:tailEnd/>
              </a:ln>
            </p:spPr>
            <p:txBody>
              <a:bodyPr lIns="0" tIns="0" rIns="0" bIns="0"/>
              <a:lstStyle/>
              <a:p>
                <a:endParaRPr lang="en-US"/>
              </a:p>
            </p:txBody>
          </p:sp>
          <p:sp>
            <p:nvSpPr>
              <p:cNvPr id="118" name="AutoShape 72"/>
              <p:cNvSpPr>
                <a:spLocks/>
              </p:cNvSpPr>
              <p:nvPr/>
            </p:nvSpPr>
            <p:spPr bwMode="auto">
              <a:xfrm>
                <a:off x="2119" y="496"/>
                <a:ext cx="29" cy="5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600"/>
                  <a:gd name="T43" fmla="*/ 0 h 21600"/>
                  <a:gd name="T44" fmla="*/ 21600 w 21600"/>
                  <a:gd name="T45" fmla="*/ 21600 h 21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600" h="21600">
                    <a:moveTo>
                      <a:pt x="17280" y="4800"/>
                    </a:moveTo>
                    <a:lnTo>
                      <a:pt x="17280" y="7200"/>
                    </a:lnTo>
                    <a:lnTo>
                      <a:pt x="21600" y="7200"/>
                    </a:lnTo>
                    <a:lnTo>
                      <a:pt x="21600" y="12000"/>
                    </a:lnTo>
                    <a:lnTo>
                      <a:pt x="17280" y="12000"/>
                    </a:lnTo>
                    <a:lnTo>
                      <a:pt x="0" y="21600"/>
                    </a:lnTo>
                    <a:lnTo>
                      <a:pt x="0" y="12000"/>
                    </a:lnTo>
                    <a:lnTo>
                      <a:pt x="17280" y="4800"/>
                    </a:lnTo>
                    <a:close/>
                    <a:moveTo>
                      <a:pt x="17280" y="0"/>
                    </a:moveTo>
                    <a:lnTo>
                      <a:pt x="21600" y="0"/>
                    </a:lnTo>
                    <a:lnTo>
                      <a:pt x="21600" y="4800"/>
                    </a:lnTo>
                    <a:lnTo>
                      <a:pt x="17280" y="4800"/>
                    </a:lnTo>
                    <a:lnTo>
                      <a:pt x="17280" y="0"/>
                    </a:lnTo>
                    <a:close/>
                    <a:moveTo>
                      <a:pt x="17280" y="0"/>
                    </a:moveTo>
                  </a:path>
                </a:pathLst>
              </a:custGeom>
              <a:solidFill>
                <a:srgbClr val="B2EAE7"/>
              </a:solidFill>
              <a:ln w="12700">
                <a:solidFill>
                  <a:srgbClr val="FFFFFF"/>
                </a:solidFill>
                <a:round/>
                <a:headEnd/>
                <a:tailEnd/>
              </a:ln>
            </p:spPr>
            <p:txBody>
              <a:bodyPr lIns="0" tIns="0" rIns="0" bIns="0"/>
              <a:lstStyle/>
              <a:p>
                <a:endParaRPr lang="en-US"/>
              </a:p>
            </p:txBody>
          </p:sp>
          <p:sp>
            <p:nvSpPr>
              <p:cNvPr id="119" name="Freeform 73"/>
              <p:cNvSpPr>
                <a:spLocks/>
              </p:cNvSpPr>
              <p:nvPr/>
            </p:nvSpPr>
            <p:spPr bwMode="auto">
              <a:xfrm>
                <a:off x="1716" y="1172"/>
                <a:ext cx="68" cy="29"/>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600"/>
                  <a:gd name="T40" fmla="*/ 0 h 21600"/>
                  <a:gd name="T41" fmla="*/ 21600 w 21600"/>
                  <a:gd name="T42" fmla="*/ 21600 h 2160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600" h="21600">
                    <a:moveTo>
                      <a:pt x="9000" y="0"/>
                    </a:moveTo>
                    <a:lnTo>
                      <a:pt x="18000" y="0"/>
                    </a:lnTo>
                    <a:lnTo>
                      <a:pt x="21600" y="4320"/>
                    </a:lnTo>
                    <a:lnTo>
                      <a:pt x="18000" y="12960"/>
                    </a:lnTo>
                    <a:lnTo>
                      <a:pt x="9000" y="12960"/>
                    </a:lnTo>
                    <a:lnTo>
                      <a:pt x="9000" y="21600"/>
                    </a:lnTo>
                    <a:lnTo>
                      <a:pt x="0" y="21600"/>
                    </a:lnTo>
                    <a:lnTo>
                      <a:pt x="0" y="12960"/>
                    </a:lnTo>
                    <a:lnTo>
                      <a:pt x="1800" y="12960"/>
                    </a:lnTo>
                    <a:lnTo>
                      <a:pt x="5400" y="4320"/>
                    </a:lnTo>
                    <a:lnTo>
                      <a:pt x="9000" y="4320"/>
                    </a:lnTo>
                    <a:lnTo>
                      <a:pt x="9000" y="0"/>
                    </a:lnTo>
                    <a:close/>
                    <a:moveTo>
                      <a:pt x="9000" y="0"/>
                    </a:moveTo>
                  </a:path>
                </a:pathLst>
              </a:custGeom>
              <a:solidFill>
                <a:srgbClr val="B2EAE7"/>
              </a:solidFill>
              <a:ln w="12700">
                <a:solidFill>
                  <a:srgbClr val="FFFFFF"/>
                </a:solidFill>
                <a:round/>
                <a:headEnd/>
                <a:tailEnd/>
              </a:ln>
            </p:spPr>
            <p:txBody>
              <a:bodyPr lIns="0" tIns="0" rIns="0" bIns="0"/>
              <a:lstStyle/>
              <a:p>
                <a:endParaRPr lang="en-US"/>
              </a:p>
            </p:txBody>
          </p:sp>
          <p:sp>
            <p:nvSpPr>
              <p:cNvPr id="120" name="AutoShape 74"/>
              <p:cNvSpPr>
                <a:spLocks/>
              </p:cNvSpPr>
              <p:nvPr/>
            </p:nvSpPr>
            <p:spPr bwMode="auto">
              <a:xfrm>
                <a:off x="1397" y="0"/>
                <a:ext cx="2381" cy="194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w 21600"/>
                  <a:gd name="T117" fmla="*/ 0 h 21600"/>
                  <a:gd name="T118" fmla="*/ 0 w 21600"/>
                  <a:gd name="T119" fmla="*/ 0 h 21600"/>
                  <a:gd name="T120" fmla="*/ 0 w 21600"/>
                  <a:gd name="T121" fmla="*/ 0 h 21600"/>
                  <a:gd name="T122" fmla="*/ 0 w 21600"/>
                  <a:gd name="T123" fmla="*/ 0 h 216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1600"/>
                  <a:gd name="T187" fmla="*/ 0 h 21600"/>
                  <a:gd name="T188" fmla="*/ 21600 w 21600"/>
                  <a:gd name="T189" fmla="*/ 21600 h 2160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1600" h="21600">
                    <a:moveTo>
                      <a:pt x="464" y="19263"/>
                    </a:moveTo>
                    <a:lnTo>
                      <a:pt x="464" y="19389"/>
                    </a:lnTo>
                    <a:lnTo>
                      <a:pt x="516" y="19389"/>
                    </a:lnTo>
                    <a:lnTo>
                      <a:pt x="516" y="19263"/>
                    </a:lnTo>
                    <a:lnTo>
                      <a:pt x="464" y="19263"/>
                    </a:lnTo>
                    <a:close/>
                    <a:moveTo>
                      <a:pt x="4743" y="18695"/>
                    </a:moveTo>
                    <a:lnTo>
                      <a:pt x="4743" y="18821"/>
                    </a:lnTo>
                    <a:lnTo>
                      <a:pt x="4691" y="18821"/>
                    </a:lnTo>
                    <a:lnTo>
                      <a:pt x="4691" y="19074"/>
                    </a:lnTo>
                    <a:lnTo>
                      <a:pt x="4743" y="19074"/>
                    </a:lnTo>
                    <a:lnTo>
                      <a:pt x="4743" y="18821"/>
                    </a:lnTo>
                    <a:lnTo>
                      <a:pt x="4846" y="18821"/>
                    </a:lnTo>
                    <a:lnTo>
                      <a:pt x="4846" y="18695"/>
                    </a:lnTo>
                    <a:lnTo>
                      <a:pt x="4743" y="18695"/>
                    </a:lnTo>
                    <a:close/>
                    <a:moveTo>
                      <a:pt x="1340" y="18253"/>
                    </a:moveTo>
                    <a:lnTo>
                      <a:pt x="1340" y="18379"/>
                    </a:lnTo>
                    <a:lnTo>
                      <a:pt x="1443" y="18379"/>
                    </a:lnTo>
                    <a:lnTo>
                      <a:pt x="1443" y="18253"/>
                    </a:lnTo>
                    <a:lnTo>
                      <a:pt x="1340" y="18253"/>
                    </a:lnTo>
                    <a:close/>
                    <a:moveTo>
                      <a:pt x="1134" y="18063"/>
                    </a:moveTo>
                    <a:lnTo>
                      <a:pt x="1134" y="18189"/>
                    </a:lnTo>
                    <a:lnTo>
                      <a:pt x="1237" y="18189"/>
                    </a:lnTo>
                    <a:lnTo>
                      <a:pt x="1237" y="18063"/>
                    </a:lnTo>
                    <a:lnTo>
                      <a:pt x="1134" y="18063"/>
                    </a:lnTo>
                    <a:close/>
                    <a:moveTo>
                      <a:pt x="1340" y="17937"/>
                    </a:moveTo>
                    <a:lnTo>
                      <a:pt x="1340" y="18063"/>
                    </a:lnTo>
                    <a:lnTo>
                      <a:pt x="1495" y="18063"/>
                    </a:lnTo>
                    <a:lnTo>
                      <a:pt x="1495" y="17937"/>
                    </a:lnTo>
                    <a:lnTo>
                      <a:pt x="1340" y="17937"/>
                    </a:lnTo>
                    <a:close/>
                    <a:moveTo>
                      <a:pt x="1340" y="16863"/>
                    </a:moveTo>
                    <a:lnTo>
                      <a:pt x="1237" y="16926"/>
                    </a:lnTo>
                    <a:lnTo>
                      <a:pt x="1083" y="16926"/>
                    </a:lnTo>
                    <a:lnTo>
                      <a:pt x="1134" y="17053"/>
                    </a:lnTo>
                    <a:lnTo>
                      <a:pt x="1237" y="17053"/>
                    </a:lnTo>
                    <a:lnTo>
                      <a:pt x="1237" y="16926"/>
                    </a:lnTo>
                    <a:lnTo>
                      <a:pt x="1340" y="16926"/>
                    </a:lnTo>
                    <a:lnTo>
                      <a:pt x="1340" y="16863"/>
                    </a:lnTo>
                    <a:close/>
                    <a:moveTo>
                      <a:pt x="1959" y="16737"/>
                    </a:moveTo>
                    <a:lnTo>
                      <a:pt x="1959" y="16863"/>
                    </a:lnTo>
                    <a:lnTo>
                      <a:pt x="1495" y="16863"/>
                    </a:lnTo>
                    <a:lnTo>
                      <a:pt x="1598" y="16926"/>
                    </a:lnTo>
                    <a:lnTo>
                      <a:pt x="1701" y="16926"/>
                    </a:lnTo>
                    <a:lnTo>
                      <a:pt x="1701" y="17179"/>
                    </a:lnTo>
                    <a:lnTo>
                      <a:pt x="1804" y="17179"/>
                    </a:lnTo>
                    <a:lnTo>
                      <a:pt x="1804" y="16926"/>
                    </a:lnTo>
                    <a:lnTo>
                      <a:pt x="1959" y="16926"/>
                    </a:lnTo>
                    <a:lnTo>
                      <a:pt x="1959" y="16863"/>
                    </a:lnTo>
                    <a:lnTo>
                      <a:pt x="2062" y="16863"/>
                    </a:lnTo>
                    <a:lnTo>
                      <a:pt x="1959" y="16737"/>
                    </a:lnTo>
                    <a:close/>
                    <a:moveTo>
                      <a:pt x="1959" y="16484"/>
                    </a:moveTo>
                    <a:lnTo>
                      <a:pt x="1959" y="16611"/>
                    </a:lnTo>
                    <a:lnTo>
                      <a:pt x="2062" y="16611"/>
                    </a:lnTo>
                    <a:lnTo>
                      <a:pt x="2062" y="16484"/>
                    </a:lnTo>
                    <a:lnTo>
                      <a:pt x="1959" y="16484"/>
                    </a:lnTo>
                    <a:close/>
                    <a:moveTo>
                      <a:pt x="619" y="15726"/>
                    </a:moveTo>
                    <a:lnTo>
                      <a:pt x="722" y="15853"/>
                    </a:lnTo>
                    <a:lnTo>
                      <a:pt x="876" y="15853"/>
                    </a:lnTo>
                    <a:lnTo>
                      <a:pt x="876" y="15979"/>
                    </a:lnTo>
                    <a:lnTo>
                      <a:pt x="979" y="15853"/>
                    </a:lnTo>
                    <a:lnTo>
                      <a:pt x="1134" y="15853"/>
                    </a:lnTo>
                    <a:lnTo>
                      <a:pt x="1134" y="15726"/>
                    </a:lnTo>
                    <a:lnTo>
                      <a:pt x="619" y="15726"/>
                    </a:lnTo>
                    <a:close/>
                    <a:moveTo>
                      <a:pt x="0" y="15726"/>
                    </a:moveTo>
                    <a:lnTo>
                      <a:pt x="103" y="15726"/>
                    </a:lnTo>
                    <a:lnTo>
                      <a:pt x="155" y="15853"/>
                    </a:lnTo>
                    <a:lnTo>
                      <a:pt x="103" y="15853"/>
                    </a:lnTo>
                    <a:lnTo>
                      <a:pt x="103" y="15979"/>
                    </a:lnTo>
                    <a:lnTo>
                      <a:pt x="0" y="15853"/>
                    </a:lnTo>
                    <a:lnTo>
                      <a:pt x="0" y="15726"/>
                    </a:lnTo>
                    <a:close/>
                    <a:moveTo>
                      <a:pt x="1701" y="15284"/>
                    </a:moveTo>
                    <a:lnTo>
                      <a:pt x="1701" y="15411"/>
                    </a:lnTo>
                    <a:lnTo>
                      <a:pt x="1804" y="15411"/>
                    </a:lnTo>
                    <a:lnTo>
                      <a:pt x="1804" y="15284"/>
                    </a:lnTo>
                    <a:lnTo>
                      <a:pt x="1701" y="15284"/>
                    </a:lnTo>
                    <a:close/>
                    <a:moveTo>
                      <a:pt x="258" y="15158"/>
                    </a:moveTo>
                    <a:lnTo>
                      <a:pt x="361" y="15284"/>
                    </a:lnTo>
                    <a:lnTo>
                      <a:pt x="258" y="15284"/>
                    </a:lnTo>
                    <a:lnTo>
                      <a:pt x="258" y="15158"/>
                    </a:lnTo>
                    <a:close/>
                    <a:moveTo>
                      <a:pt x="1701" y="15095"/>
                    </a:moveTo>
                    <a:lnTo>
                      <a:pt x="1701" y="15158"/>
                    </a:lnTo>
                    <a:lnTo>
                      <a:pt x="1804" y="15158"/>
                    </a:lnTo>
                    <a:lnTo>
                      <a:pt x="1804" y="15095"/>
                    </a:lnTo>
                    <a:lnTo>
                      <a:pt x="1701" y="15095"/>
                    </a:lnTo>
                    <a:close/>
                    <a:moveTo>
                      <a:pt x="722" y="14968"/>
                    </a:moveTo>
                    <a:lnTo>
                      <a:pt x="979" y="14968"/>
                    </a:lnTo>
                    <a:lnTo>
                      <a:pt x="876" y="15095"/>
                    </a:lnTo>
                    <a:lnTo>
                      <a:pt x="773" y="15095"/>
                    </a:lnTo>
                    <a:lnTo>
                      <a:pt x="773" y="15158"/>
                    </a:lnTo>
                    <a:lnTo>
                      <a:pt x="619" y="15158"/>
                    </a:lnTo>
                    <a:lnTo>
                      <a:pt x="619" y="15095"/>
                    </a:lnTo>
                    <a:lnTo>
                      <a:pt x="722" y="15095"/>
                    </a:lnTo>
                    <a:lnTo>
                      <a:pt x="722" y="14968"/>
                    </a:lnTo>
                    <a:close/>
                    <a:moveTo>
                      <a:pt x="2320" y="14400"/>
                    </a:moveTo>
                    <a:lnTo>
                      <a:pt x="2423" y="14526"/>
                    </a:lnTo>
                    <a:lnTo>
                      <a:pt x="2423" y="14400"/>
                    </a:lnTo>
                    <a:lnTo>
                      <a:pt x="2320" y="14400"/>
                    </a:lnTo>
                    <a:close/>
                    <a:moveTo>
                      <a:pt x="4846" y="12568"/>
                    </a:moveTo>
                    <a:lnTo>
                      <a:pt x="4846" y="12632"/>
                    </a:lnTo>
                    <a:lnTo>
                      <a:pt x="4949" y="12632"/>
                    </a:lnTo>
                    <a:lnTo>
                      <a:pt x="4949" y="12568"/>
                    </a:lnTo>
                    <a:lnTo>
                      <a:pt x="4846" y="12568"/>
                    </a:lnTo>
                    <a:close/>
                    <a:moveTo>
                      <a:pt x="5413" y="10989"/>
                    </a:moveTo>
                    <a:lnTo>
                      <a:pt x="5464" y="10989"/>
                    </a:lnTo>
                    <a:lnTo>
                      <a:pt x="5464" y="11116"/>
                    </a:lnTo>
                    <a:lnTo>
                      <a:pt x="5310" y="11116"/>
                    </a:lnTo>
                    <a:lnTo>
                      <a:pt x="5413" y="10989"/>
                    </a:lnTo>
                    <a:close/>
                    <a:moveTo>
                      <a:pt x="6186" y="9916"/>
                    </a:moveTo>
                    <a:lnTo>
                      <a:pt x="6289" y="9979"/>
                    </a:lnTo>
                    <a:lnTo>
                      <a:pt x="6392" y="9979"/>
                    </a:lnTo>
                    <a:lnTo>
                      <a:pt x="6392" y="10105"/>
                    </a:lnTo>
                    <a:lnTo>
                      <a:pt x="6444" y="10105"/>
                    </a:lnTo>
                    <a:lnTo>
                      <a:pt x="6444" y="9979"/>
                    </a:lnTo>
                    <a:lnTo>
                      <a:pt x="6392" y="9979"/>
                    </a:lnTo>
                    <a:lnTo>
                      <a:pt x="6392" y="9916"/>
                    </a:lnTo>
                    <a:lnTo>
                      <a:pt x="6186" y="9916"/>
                    </a:lnTo>
                    <a:close/>
                    <a:moveTo>
                      <a:pt x="6753" y="8653"/>
                    </a:moveTo>
                    <a:lnTo>
                      <a:pt x="6805" y="8653"/>
                    </a:lnTo>
                    <a:lnTo>
                      <a:pt x="6753" y="8779"/>
                    </a:lnTo>
                    <a:lnTo>
                      <a:pt x="6753" y="8653"/>
                    </a:lnTo>
                    <a:close/>
                    <a:moveTo>
                      <a:pt x="7475" y="8589"/>
                    </a:moveTo>
                    <a:lnTo>
                      <a:pt x="7475" y="8653"/>
                    </a:lnTo>
                    <a:lnTo>
                      <a:pt x="7526" y="8653"/>
                    </a:lnTo>
                    <a:lnTo>
                      <a:pt x="7526" y="8589"/>
                    </a:lnTo>
                    <a:lnTo>
                      <a:pt x="7475" y="8589"/>
                    </a:lnTo>
                    <a:close/>
                    <a:moveTo>
                      <a:pt x="7166" y="8589"/>
                    </a:moveTo>
                    <a:lnTo>
                      <a:pt x="7166" y="8653"/>
                    </a:lnTo>
                    <a:lnTo>
                      <a:pt x="7114" y="8653"/>
                    </a:lnTo>
                    <a:lnTo>
                      <a:pt x="7166" y="8779"/>
                    </a:lnTo>
                    <a:lnTo>
                      <a:pt x="7372" y="8779"/>
                    </a:lnTo>
                    <a:lnTo>
                      <a:pt x="7372" y="8589"/>
                    </a:lnTo>
                    <a:lnTo>
                      <a:pt x="7166" y="8589"/>
                    </a:lnTo>
                    <a:close/>
                    <a:moveTo>
                      <a:pt x="8609" y="7011"/>
                    </a:moveTo>
                    <a:lnTo>
                      <a:pt x="8609" y="7137"/>
                    </a:lnTo>
                    <a:lnTo>
                      <a:pt x="8712" y="7137"/>
                    </a:lnTo>
                    <a:lnTo>
                      <a:pt x="8609" y="7011"/>
                    </a:lnTo>
                    <a:close/>
                    <a:moveTo>
                      <a:pt x="8815" y="5368"/>
                    </a:moveTo>
                    <a:lnTo>
                      <a:pt x="8918" y="5368"/>
                    </a:lnTo>
                    <a:lnTo>
                      <a:pt x="8918" y="5495"/>
                    </a:lnTo>
                    <a:lnTo>
                      <a:pt x="8815" y="5495"/>
                    </a:lnTo>
                    <a:lnTo>
                      <a:pt x="8815" y="5368"/>
                    </a:lnTo>
                    <a:close/>
                    <a:moveTo>
                      <a:pt x="8712" y="5368"/>
                    </a:moveTo>
                    <a:lnTo>
                      <a:pt x="8712" y="5495"/>
                    </a:lnTo>
                    <a:lnTo>
                      <a:pt x="8815" y="5495"/>
                    </a:lnTo>
                    <a:lnTo>
                      <a:pt x="8815" y="5621"/>
                    </a:lnTo>
                    <a:lnTo>
                      <a:pt x="8609" y="5621"/>
                    </a:lnTo>
                    <a:lnTo>
                      <a:pt x="8609" y="5495"/>
                    </a:lnTo>
                    <a:lnTo>
                      <a:pt x="8712" y="5368"/>
                    </a:lnTo>
                    <a:close/>
                    <a:moveTo>
                      <a:pt x="11857" y="3284"/>
                    </a:moveTo>
                    <a:lnTo>
                      <a:pt x="11857" y="3411"/>
                    </a:lnTo>
                    <a:lnTo>
                      <a:pt x="11960" y="3411"/>
                    </a:lnTo>
                    <a:lnTo>
                      <a:pt x="11960" y="3474"/>
                    </a:lnTo>
                    <a:lnTo>
                      <a:pt x="12063" y="3474"/>
                    </a:lnTo>
                    <a:lnTo>
                      <a:pt x="12063" y="3411"/>
                    </a:lnTo>
                    <a:lnTo>
                      <a:pt x="11960" y="3411"/>
                    </a:lnTo>
                    <a:lnTo>
                      <a:pt x="11960" y="3284"/>
                    </a:lnTo>
                    <a:lnTo>
                      <a:pt x="11857" y="3284"/>
                    </a:lnTo>
                    <a:close/>
                    <a:moveTo>
                      <a:pt x="17063" y="0"/>
                    </a:moveTo>
                    <a:lnTo>
                      <a:pt x="17270" y="0"/>
                    </a:lnTo>
                    <a:lnTo>
                      <a:pt x="17270" y="63"/>
                    </a:lnTo>
                    <a:lnTo>
                      <a:pt x="17424" y="63"/>
                    </a:lnTo>
                    <a:lnTo>
                      <a:pt x="17424" y="316"/>
                    </a:lnTo>
                    <a:lnTo>
                      <a:pt x="17270" y="316"/>
                    </a:lnTo>
                    <a:lnTo>
                      <a:pt x="17270" y="442"/>
                    </a:lnTo>
                    <a:lnTo>
                      <a:pt x="17167" y="442"/>
                    </a:lnTo>
                    <a:lnTo>
                      <a:pt x="17167" y="505"/>
                    </a:lnTo>
                    <a:lnTo>
                      <a:pt x="17373" y="505"/>
                    </a:lnTo>
                    <a:lnTo>
                      <a:pt x="17373" y="632"/>
                    </a:lnTo>
                    <a:lnTo>
                      <a:pt x="17270" y="632"/>
                    </a:lnTo>
                    <a:lnTo>
                      <a:pt x="17270" y="758"/>
                    </a:lnTo>
                    <a:lnTo>
                      <a:pt x="17167" y="758"/>
                    </a:lnTo>
                    <a:lnTo>
                      <a:pt x="17167" y="884"/>
                    </a:lnTo>
                    <a:lnTo>
                      <a:pt x="17012" y="884"/>
                    </a:lnTo>
                    <a:lnTo>
                      <a:pt x="17012" y="947"/>
                    </a:lnTo>
                    <a:lnTo>
                      <a:pt x="16909" y="947"/>
                    </a:lnTo>
                    <a:lnTo>
                      <a:pt x="16703" y="1200"/>
                    </a:lnTo>
                    <a:lnTo>
                      <a:pt x="16703" y="1389"/>
                    </a:lnTo>
                    <a:lnTo>
                      <a:pt x="16651" y="1389"/>
                    </a:lnTo>
                    <a:lnTo>
                      <a:pt x="16651" y="1642"/>
                    </a:lnTo>
                    <a:lnTo>
                      <a:pt x="16548" y="1768"/>
                    </a:lnTo>
                    <a:lnTo>
                      <a:pt x="16548" y="1958"/>
                    </a:lnTo>
                    <a:lnTo>
                      <a:pt x="16651" y="1958"/>
                    </a:lnTo>
                    <a:lnTo>
                      <a:pt x="16651" y="1832"/>
                    </a:lnTo>
                    <a:lnTo>
                      <a:pt x="16703" y="1832"/>
                    </a:lnTo>
                    <a:lnTo>
                      <a:pt x="16703" y="1958"/>
                    </a:lnTo>
                    <a:lnTo>
                      <a:pt x="16806" y="1958"/>
                    </a:lnTo>
                    <a:lnTo>
                      <a:pt x="16806" y="1832"/>
                    </a:lnTo>
                    <a:lnTo>
                      <a:pt x="16909" y="1768"/>
                    </a:lnTo>
                    <a:lnTo>
                      <a:pt x="17012" y="1768"/>
                    </a:lnTo>
                    <a:lnTo>
                      <a:pt x="17012" y="1516"/>
                    </a:lnTo>
                    <a:lnTo>
                      <a:pt x="16909" y="1516"/>
                    </a:lnTo>
                    <a:lnTo>
                      <a:pt x="17012" y="1389"/>
                    </a:lnTo>
                    <a:lnTo>
                      <a:pt x="17167" y="1326"/>
                    </a:lnTo>
                    <a:lnTo>
                      <a:pt x="17270" y="1200"/>
                    </a:lnTo>
                    <a:lnTo>
                      <a:pt x="17270" y="1074"/>
                    </a:lnTo>
                    <a:lnTo>
                      <a:pt x="17373" y="1074"/>
                    </a:lnTo>
                    <a:lnTo>
                      <a:pt x="17373" y="947"/>
                    </a:lnTo>
                    <a:lnTo>
                      <a:pt x="17424" y="947"/>
                    </a:lnTo>
                    <a:lnTo>
                      <a:pt x="17424" y="884"/>
                    </a:lnTo>
                    <a:lnTo>
                      <a:pt x="17527" y="884"/>
                    </a:lnTo>
                    <a:lnTo>
                      <a:pt x="17527" y="758"/>
                    </a:lnTo>
                    <a:lnTo>
                      <a:pt x="17631" y="758"/>
                    </a:lnTo>
                    <a:lnTo>
                      <a:pt x="17888" y="442"/>
                    </a:lnTo>
                    <a:lnTo>
                      <a:pt x="17991" y="442"/>
                    </a:lnTo>
                    <a:lnTo>
                      <a:pt x="17991" y="758"/>
                    </a:lnTo>
                    <a:lnTo>
                      <a:pt x="17888" y="884"/>
                    </a:lnTo>
                    <a:lnTo>
                      <a:pt x="17785" y="884"/>
                    </a:lnTo>
                    <a:lnTo>
                      <a:pt x="17785" y="1074"/>
                    </a:lnTo>
                    <a:lnTo>
                      <a:pt x="17888" y="1074"/>
                    </a:lnTo>
                    <a:lnTo>
                      <a:pt x="17888" y="1389"/>
                    </a:lnTo>
                    <a:lnTo>
                      <a:pt x="17991" y="1389"/>
                    </a:lnTo>
                    <a:lnTo>
                      <a:pt x="17991" y="1326"/>
                    </a:lnTo>
                    <a:lnTo>
                      <a:pt x="18095" y="1326"/>
                    </a:lnTo>
                    <a:lnTo>
                      <a:pt x="18095" y="1200"/>
                    </a:lnTo>
                    <a:lnTo>
                      <a:pt x="18249" y="1200"/>
                    </a:lnTo>
                    <a:lnTo>
                      <a:pt x="18249" y="1074"/>
                    </a:lnTo>
                    <a:lnTo>
                      <a:pt x="18352" y="1074"/>
                    </a:lnTo>
                    <a:lnTo>
                      <a:pt x="18352" y="884"/>
                    </a:lnTo>
                    <a:lnTo>
                      <a:pt x="18455" y="884"/>
                    </a:lnTo>
                    <a:lnTo>
                      <a:pt x="18507" y="758"/>
                    </a:lnTo>
                    <a:lnTo>
                      <a:pt x="18713" y="758"/>
                    </a:lnTo>
                    <a:lnTo>
                      <a:pt x="18713" y="632"/>
                    </a:lnTo>
                    <a:lnTo>
                      <a:pt x="18610" y="632"/>
                    </a:lnTo>
                    <a:lnTo>
                      <a:pt x="18610" y="505"/>
                    </a:lnTo>
                    <a:lnTo>
                      <a:pt x="18507" y="505"/>
                    </a:lnTo>
                    <a:lnTo>
                      <a:pt x="18507" y="442"/>
                    </a:lnTo>
                    <a:lnTo>
                      <a:pt x="18713" y="442"/>
                    </a:lnTo>
                    <a:lnTo>
                      <a:pt x="18713" y="316"/>
                    </a:lnTo>
                    <a:lnTo>
                      <a:pt x="18816" y="316"/>
                    </a:lnTo>
                    <a:lnTo>
                      <a:pt x="18816" y="63"/>
                    </a:lnTo>
                    <a:lnTo>
                      <a:pt x="18868" y="63"/>
                    </a:lnTo>
                    <a:lnTo>
                      <a:pt x="18971" y="189"/>
                    </a:lnTo>
                    <a:lnTo>
                      <a:pt x="19332" y="189"/>
                    </a:lnTo>
                    <a:lnTo>
                      <a:pt x="19332" y="316"/>
                    </a:lnTo>
                    <a:lnTo>
                      <a:pt x="19538" y="316"/>
                    </a:lnTo>
                    <a:lnTo>
                      <a:pt x="19538" y="505"/>
                    </a:lnTo>
                    <a:lnTo>
                      <a:pt x="19435" y="505"/>
                    </a:lnTo>
                    <a:lnTo>
                      <a:pt x="19229" y="758"/>
                    </a:lnTo>
                    <a:lnTo>
                      <a:pt x="18971" y="758"/>
                    </a:lnTo>
                    <a:lnTo>
                      <a:pt x="18971" y="884"/>
                    </a:lnTo>
                    <a:lnTo>
                      <a:pt x="19229" y="884"/>
                    </a:lnTo>
                    <a:lnTo>
                      <a:pt x="19229" y="758"/>
                    </a:lnTo>
                    <a:lnTo>
                      <a:pt x="19332" y="758"/>
                    </a:lnTo>
                    <a:lnTo>
                      <a:pt x="19332" y="947"/>
                    </a:lnTo>
                    <a:lnTo>
                      <a:pt x="19229" y="947"/>
                    </a:lnTo>
                    <a:lnTo>
                      <a:pt x="19229" y="1074"/>
                    </a:lnTo>
                    <a:lnTo>
                      <a:pt x="19177" y="1074"/>
                    </a:lnTo>
                    <a:lnTo>
                      <a:pt x="19074" y="1200"/>
                    </a:lnTo>
                    <a:lnTo>
                      <a:pt x="18971" y="1200"/>
                    </a:lnTo>
                    <a:lnTo>
                      <a:pt x="18971" y="1326"/>
                    </a:lnTo>
                    <a:lnTo>
                      <a:pt x="19074" y="1389"/>
                    </a:lnTo>
                    <a:lnTo>
                      <a:pt x="19074" y="1326"/>
                    </a:lnTo>
                    <a:lnTo>
                      <a:pt x="19332" y="1326"/>
                    </a:lnTo>
                    <a:lnTo>
                      <a:pt x="19332" y="1389"/>
                    </a:lnTo>
                    <a:lnTo>
                      <a:pt x="19229" y="1389"/>
                    </a:lnTo>
                    <a:lnTo>
                      <a:pt x="19229" y="1516"/>
                    </a:lnTo>
                    <a:lnTo>
                      <a:pt x="19332" y="1516"/>
                    </a:lnTo>
                    <a:lnTo>
                      <a:pt x="19332" y="1389"/>
                    </a:lnTo>
                    <a:lnTo>
                      <a:pt x="19435" y="1389"/>
                    </a:lnTo>
                    <a:lnTo>
                      <a:pt x="19435" y="1074"/>
                    </a:lnTo>
                    <a:lnTo>
                      <a:pt x="19589" y="884"/>
                    </a:lnTo>
                    <a:lnTo>
                      <a:pt x="19589" y="632"/>
                    </a:lnTo>
                    <a:lnTo>
                      <a:pt x="19693" y="632"/>
                    </a:lnTo>
                    <a:lnTo>
                      <a:pt x="19693" y="505"/>
                    </a:lnTo>
                    <a:lnTo>
                      <a:pt x="19899" y="505"/>
                    </a:lnTo>
                    <a:lnTo>
                      <a:pt x="19899" y="632"/>
                    </a:lnTo>
                    <a:lnTo>
                      <a:pt x="20053" y="632"/>
                    </a:lnTo>
                    <a:lnTo>
                      <a:pt x="20053" y="758"/>
                    </a:lnTo>
                    <a:lnTo>
                      <a:pt x="20157" y="758"/>
                    </a:lnTo>
                    <a:lnTo>
                      <a:pt x="20260" y="884"/>
                    </a:lnTo>
                    <a:lnTo>
                      <a:pt x="20517" y="884"/>
                    </a:lnTo>
                    <a:lnTo>
                      <a:pt x="20517" y="947"/>
                    </a:lnTo>
                    <a:lnTo>
                      <a:pt x="20569" y="947"/>
                    </a:lnTo>
                    <a:lnTo>
                      <a:pt x="20672" y="884"/>
                    </a:lnTo>
                    <a:lnTo>
                      <a:pt x="20878" y="884"/>
                    </a:lnTo>
                    <a:lnTo>
                      <a:pt x="20878" y="1200"/>
                    </a:lnTo>
                    <a:lnTo>
                      <a:pt x="21136" y="1200"/>
                    </a:lnTo>
                    <a:lnTo>
                      <a:pt x="21136" y="1326"/>
                    </a:lnTo>
                    <a:lnTo>
                      <a:pt x="21497" y="1326"/>
                    </a:lnTo>
                    <a:lnTo>
                      <a:pt x="21497" y="1389"/>
                    </a:lnTo>
                    <a:lnTo>
                      <a:pt x="21600" y="1389"/>
                    </a:lnTo>
                    <a:lnTo>
                      <a:pt x="21600" y="1642"/>
                    </a:lnTo>
                    <a:lnTo>
                      <a:pt x="21497" y="1642"/>
                    </a:lnTo>
                    <a:lnTo>
                      <a:pt x="21497" y="1768"/>
                    </a:lnTo>
                    <a:lnTo>
                      <a:pt x="21136" y="1768"/>
                    </a:lnTo>
                    <a:lnTo>
                      <a:pt x="21136" y="1832"/>
                    </a:lnTo>
                    <a:lnTo>
                      <a:pt x="20930" y="1832"/>
                    </a:lnTo>
                    <a:lnTo>
                      <a:pt x="20930" y="1958"/>
                    </a:lnTo>
                    <a:lnTo>
                      <a:pt x="20878" y="2084"/>
                    </a:lnTo>
                    <a:lnTo>
                      <a:pt x="20775" y="2084"/>
                    </a:lnTo>
                    <a:lnTo>
                      <a:pt x="20672" y="1958"/>
                    </a:lnTo>
                    <a:lnTo>
                      <a:pt x="19899" y="1958"/>
                    </a:lnTo>
                    <a:lnTo>
                      <a:pt x="19899" y="1832"/>
                    </a:lnTo>
                    <a:lnTo>
                      <a:pt x="19589" y="1832"/>
                    </a:lnTo>
                    <a:lnTo>
                      <a:pt x="19589" y="1958"/>
                    </a:lnTo>
                    <a:lnTo>
                      <a:pt x="19899" y="1958"/>
                    </a:lnTo>
                    <a:lnTo>
                      <a:pt x="19899" y="2084"/>
                    </a:lnTo>
                    <a:lnTo>
                      <a:pt x="20157" y="2084"/>
                    </a:lnTo>
                    <a:lnTo>
                      <a:pt x="20260" y="2211"/>
                    </a:lnTo>
                    <a:lnTo>
                      <a:pt x="20260" y="2400"/>
                    </a:lnTo>
                    <a:lnTo>
                      <a:pt x="20311" y="2400"/>
                    </a:lnTo>
                    <a:lnTo>
                      <a:pt x="20311" y="2526"/>
                    </a:lnTo>
                    <a:lnTo>
                      <a:pt x="20414" y="2526"/>
                    </a:lnTo>
                    <a:lnTo>
                      <a:pt x="20517" y="2653"/>
                    </a:lnTo>
                    <a:lnTo>
                      <a:pt x="20414" y="2653"/>
                    </a:lnTo>
                    <a:lnTo>
                      <a:pt x="20414" y="2716"/>
                    </a:lnTo>
                    <a:lnTo>
                      <a:pt x="20517" y="2716"/>
                    </a:lnTo>
                    <a:lnTo>
                      <a:pt x="20517" y="2653"/>
                    </a:lnTo>
                    <a:lnTo>
                      <a:pt x="20569" y="2653"/>
                    </a:lnTo>
                    <a:lnTo>
                      <a:pt x="20672" y="2526"/>
                    </a:lnTo>
                    <a:lnTo>
                      <a:pt x="20775" y="2526"/>
                    </a:lnTo>
                    <a:lnTo>
                      <a:pt x="20775" y="2400"/>
                    </a:lnTo>
                    <a:lnTo>
                      <a:pt x="20930" y="2400"/>
                    </a:lnTo>
                    <a:lnTo>
                      <a:pt x="20930" y="2526"/>
                    </a:lnTo>
                    <a:lnTo>
                      <a:pt x="21033" y="2526"/>
                    </a:lnTo>
                    <a:lnTo>
                      <a:pt x="21033" y="2653"/>
                    </a:lnTo>
                    <a:lnTo>
                      <a:pt x="21136" y="2526"/>
                    </a:lnTo>
                    <a:lnTo>
                      <a:pt x="21394" y="2526"/>
                    </a:lnTo>
                    <a:lnTo>
                      <a:pt x="21394" y="3032"/>
                    </a:lnTo>
                    <a:lnTo>
                      <a:pt x="21291" y="3032"/>
                    </a:lnTo>
                    <a:lnTo>
                      <a:pt x="21291" y="2968"/>
                    </a:lnTo>
                    <a:lnTo>
                      <a:pt x="21033" y="2968"/>
                    </a:lnTo>
                    <a:lnTo>
                      <a:pt x="20930" y="2842"/>
                    </a:lnTo>
                    <a:lnTo>
                      <a:pt x="20775" y="2842"/>
                    </a:lnTo>
                    <a:lnTo>
                      <a:pt x="20775" y="3158"/>
                    </a:lnTo>
                    <a:lnTo>
                      <a:pt x="20672" y="3158"/>
                    </a:lnTo>
                    <a:lnTo>
                      <a:pt x="20569" y="3284"/>
                    </a:lnTo>
                    <a:lnTo>
                      <a:pt x="20517" y="3284"/>
                    </a:lnTo>
                    <a:lnTo>
                      <a:pt x="20414" y="3411"/>
                    </a:lnTo>
                    <a:lnTo>
                      <a:pt x="20157" y="3411"/>
                    </a:lnTo>
                    <a:lnTo>
                      <a:pt x="20157" y="3600"/>
                    </a:lnTo>
                    <a:lnTo>
                      <a:pt x="20053" y="3600"/>
                    </a:lnTo>
                    <a:lnTo>
                      <a:pt x="20053" y="3853"/>
                    </a:lnTo>
                    <a:lnTo>
                      <a:pt x="19950" y="3853"/>
                    </a:lnTo>
                    <a:lnTo>
                      <a:pt x="19950" y="3916"/>
                    </a:lnTo>
                    <a:lnTo>
                      <a:pt x="19899" y="3916"/>
                    </a:lnTo>
                    <a:lnTo>
                      <a:pt x="19899" y="3474"/>
                    </a:lnTo>
                    <a:lnTo>
                      <a:pt x="19950" y="3474"/>
                    </a:lnTo>
                    <a:lnTo>
                      <a:pt x="19950" y="3411"/>
                    </a:lnTo>
                    <a:lnTo>
                      <a:pt x="20157" y="3158"/>
                    </a:lnTo>
                    <a:lnTo>
                      <a:pt x="20157" y="2968"/>
                    </a:lnTo>
                    <a:lnTo>
                      <a:pt x="20053" y="2968"/>
                    </a:lnTo>
                    <a:lnTo>
                      <a:pt x="20053" y="2842"/>
                    </a:lnTo>
                    <a:lnTo>
                      <a:pt x="19950" y="2842"/>
                    </a:lnTo>
                    <a:lnTo>
                      <a:pt x="19950" y="2716"/>
                    </a:lnTo>
                    <a:lnTo>
                      <a:pt x="19899" y="2716"/>
                    </a:lnTo>
                    <a:lnTo>
                      <a:pt x="19899" y="2653"/>
                    </a:lnTo>
                    <a:lnTo>
                      <a:pt x="19693" y="2653"/>
                    </a:lnTo>
                    <a:lnTo>
                      <a:pt x="19589" y="2526"/>
                    </a:lnTo>
                    <a:lnTo>
                      <a:pt x="19435" y="2526"/>
                    </a:lnTo>
                    <a:lnTo>
                      <a:pt x="19435" y="2400"/>
                    </a:lnTo>
                    <a:lnTo>
                      <a:pt x="19332" y="2400"/>
                    </a:lnTo>
                    <a:lnTo>
                      <a:pt x="19332" y="2274"/>
                    </a:lnTo>
                    <a:lnTo>
                      <a:pt x="19177" y="2274"/>
                    </a:lnTo>
                    <a:lnTo>
                      <a:pt x="19177" y="2211"/>
                    </a:lnTo>
                    <a:lnTo>
                      <a:pt x="18971" y="2211"/>
                    </a:lnTo>
                    <a:lnTo>
                      <a:pt x="18971" y="1958"/>
                    </a:lnTo>
                    <a:lnTo>
                      <a:pt x="18816" y="1958"/>
                    </a:lnTo>
                    <a:lnTo>
                      <a:pt x="18713" y="2084"/>
                    </a:lnTo>
                    <a:lnTo>
                      <a:pt x="18610" y="2084"/>
                    </a:lnTo>
                    <a:lnTo>
                      <a:pt x="18507" y="2211"/>
                    </a:lnTo>
                    <a:lnTo>
                      <a:pt x="18455" y="2211"/>
                    </a:lnTo>
                    <a:lnTo>
                      <a:pt x="18455" y="2274"/>
                    </a:lnTo>
                    <a:lnTo>
                      <a:pt x="17785" y="2274"/>
                    </a:lnTo>
                    <a:lnTo>
                      <a:pt x="17785" y="2400"/>
                    </a:lnTo>
                    <a:lnTo>
                      <a:pt x="17734" y="2400"/>
                    </a:lnTo>
                    <a:lnTo>
                      <a:pt x="17424" y="2716"/>
                    </a:lnTo>
                    <a:lnTo>
                      <a:pt x="17373" y="2716"/>
                    </a:lnTo>
                    <a:lnTo>
                      <a:pt x="17373" y="2968"/>
                    </a:lnTo>
                    <a:lnTo>
                      <a:pt x="17270" y="2968"/>
                    </a:lnTo>
                    <a:lnTo>
                      <a:pt x="17270" y="3411"/>
                    </a:lnTo>
                    <a:lnTo>
                      <a:pt x="17167" y="3411"/>
                    </a:lnTo>
                    <a:lnTo>
                      <a:pt x="17167" y="3726"/>
                    </a:lnTo>
                    <a:lnTo>
                      <a:pt x="17270" y="3853"/>
                    </a:lnTo>
                    <a:lnTo>
                      <a:pt x="17270" y="4042"/>
                    </a:lnTo>
                    <a:lnTo>
                      <a:pt x="17167" y="4042"/>
                    </a:lnTo>
                    <a:lnTo>
                      <a:pt x="17167" y="4168"/>
                    </a:lnTo>
                    <a:lnTo>
                      <a:pt x="16909" y="4168"/>
                    </a:lnTo>
                    <a:lnTo>
                      <a:pt x="16909" y="4295"/>
                    </a:lnTo>
                    <a:lnTo>
                      <a:pt x="16806" y="4295"/>
                    </a:lnTo>
                    <a:lnTo>
                      <a:pt x="16806" y="4358"/>
                    </a:lnTo>
                    <a:lnTo>
                      <a:pt x="16703" y="4358"/>
                    </a:lnTo>
                    <a:lnTo>
                      <a:pt x="16651" y="4484"/>
                    </a:lnTo>
                    <a:lnTo>
                      <a:pt x="16651" y="4737"/>
                    </a:lnTo>
                    <a:lnTo>
                      <a:pt x="16548" y="4737"/>
                    </a:lnTo>
                    <a:lnTo>
                      <a:pt x="16548" y="4800"/>
                    </a:lnTo>
                    <a:lnTo>
                      <a:pt x="16445" y="4800"/>
                    </a:lnTo>
                    <a:lnTo>
                      <a:pt x="16445" y="4737"/>
                    </a:lnTo>
                    <a:lnTo>
                      <a:pt x="16342" y="4737"/>
                    </a:lnTo>
                    <a:lnTo>
                      <a:pt x="16342" y="4611"/>
                    </a:lnTo>
                    <a:lnTo>
                      <a:pt x="16187" y="4611"/>
                    </a:lnTo>
                    <a:lnTo>
                      <a:pt x="16187" y="4484"/>
                    </a:lnTo>
                    <a:lnTo>
                      <a:pt x="15981" y="4484"/>
                    </a:lnTo>
                    <a:lnTo>
                      <a:pt x="15981" y="4358"/>
                    </a:lnTo>
                    <a:lnTo>
                      <a:pt x="15826" y="4358"/>
                    </a:lnTo>
                    <a:lnTo>
                      <a:pt x="15723" y="4295"/>
                    </a:lnTo>
                    <a:lnTo>
                      <a:pt x="15723" y="4168"/>
                    </a:lnTo>
                    <a:lnTo>
                      <a:pt x="15568" y="4168"/>
                    </a:lnTo>
                    <a:lnTo>
                      <a:pt x="15568" y="4358"/>
                    </a:lnTo>
                    <a:lnTo>
                      <a:pt x="15208" y="4358"/>
                    </a:lnTo>
                    <a:lnTo>
                      <a:pt x="15208" y="4484"/>
                    </a:lnTo>
                    <a:lnTo>
                      <a:pt x="14950" y="4484"/>
                    </a:lnTo>
                    <a:lnTo>
                      <a:pt x="14950" y="4358"/>
                    </a:lnTo>
                    <a:lnTo>
                      <a:pt x="14847" y="4358"/>
                    </a:lnTo>
                    <a:lnTo>
                      <a:pt x="14744" y="4484"/>
                    </a:lnTo>
                    <a:lnTo>
                      <a:pt x="14383" y="4484"/>
                    </a:lnTo>
                    <a:lnTo>
                      <a:pt x="14383" y="4295"/>
                    </a:lnTo>
                    <a:lnTo>
                      <a:pt x="14280" y="4168"/>
                    </a:lnTo>
                    <a:lnTo>
                      <a:pt x="14280" y="4042"/>
                    </a:lnTo>
                    <a:lnTo>
                      <a:pt x="14228" y="4042"/>
                    </a:lnTo>
                    <a:lnTo>
                      <a:pt x="14228" y="3916"/>
                    </a:lnTo>
                    <a:lnTo>
                      <a:pt x="14022" y="3916"/>
                    </a:lnTo>
                    <a:lnTo>
                      <a:pt x="14022" y="3726"/>
                    </a:lnTo>
                    <a:lnTo>
                      <a:pt x="13867" y="3726"/>
                    </a:lnTo>
                    <a:lnTo>
                      <a:pt x="13867" y="3474"/>
                    </a:lnTo>
                    <a:lnTo>
                      <a:pt x="13558" y="3474"/>
                    </a:lnTo>
                    <a:lnTo>
                      <a:pt x="13558" y="3411"/>
                    </a:lnTo>
                    <a:lnTo>
                      <a:pt x="13506" y="3411"/>
                    </a:lnTo>
                    <a:lnTo>
                      <a:pt x="13403" y="3474"/>
                    </a:lnTo>
                    <a:lnTo>
                      <a:pt x="13197" y="3474"/>
                    </a:lnTo>
                    <a:lnTo>
                      <a:pt x="13197" y="3600"/>
                    </a:lnTo>
                    <a:lnTo>
                      <a:pt x="13300" y="3600"/>
                    </a:lnTo>
                    <a:lnTo>
                      <a:pt x="13300" y="3853"/>
                    </a:lnTo>
                    <a:lnTo>
                      <a:pt x="13146" y="3853"/>
                    </a:lnTo>
                    <a:lnTo>
                      <a:pt x="13146" y="3726"/>
                    </a:lnTo>
                    <a:lnTo>
                      <a:pt x="12939" y="3726"/>
                    </a:lnTo>
                    <a:lnTo>
                      <a:pt x="12939" y="3853"/>
                    </a:lnTo>
                    <a:lnTo>
                      <a:pt x="12475" y="3853"/>
                    </a:lnTo>
                    <a:lnTo>
                      <a:pt x="12475" y="3916"/>
                    </a:lnTo>
                    <a:lnTo>
                      <a:pt x="12579" y="3916"/>
                    </a:lnTo>
                    <a:lnTo>
                      <a:pt x="12682" y="4042"/>
                    </a:lnTo>
                    <a:lnTo>
                      <a:pt x="12682" y="4358"/>
                    </a:lnTo>
                    <a:lnTo>
                      <a:pt x="12579" y="4484"/>
                    </a:lnTo>
                    <a:lnTo>
                      <a:pt x="12475" y="4484"/>
                    </a:lnTo>
                    <a:lnTo>
                      <a:pt x="12475" y="4611"/>
                    </a:lnTo>
                    <a:lnTo>
                      <a:pt x="12424" y="4611"/>
                    </a:lnTo>
                    <a:lnTo>
                      <a:pt x="12424" y="4737"/>
                    </a:lnTo>
                    <a:lnTo>
                      <a:pt x="12579" y="4737"/>
                    </a:lnTo>
                    <a:lnTo>
                      <a:pt x="12579" y="4926"/>
                    </a:lnTo>
                    <a:lnTo>
                      <a:pt x="12475" y="4926"/>
                    </a:lnTo>
                    <a:lnTo>
                      <a:pt x="12475" y="5179"/>
                    </a:lnTo>
                    <a:lnTo>
                      <a:pt x="12424" y="5179"/>
                    </a:lnTo>
                    <a:lnTo>
                      <a:pt x="12424" y="5053"/>
                    </a:lnTo>
                    <a:lnTo>
                      <a:pt x="12063" y="5053"/>
                    </a:lnTo>
                    <a:lnTo>
                      <a:pt x="11960" y="4926"/>
                    </a:lnTo>
                    <a:lnTo>
                      <a:pt x="11857" y="4926"/>
                    </a:lnTo>
                    <a:lnTo>
                      <a:pt x="11754" y="4800"/>
                    </a:lnTo>
                    <a:lnTo>
                      <a:pt x="11238" y="4800"/>
                    </a:lnTo>
                    <a:lnTo>
                      <a:pt x="11238" y="4737"/>
                    </a:lnTo>
                    <a:lnTo>
                      <a:pt x="10877" y="4737"/>
                    </a:lnTo>
                    <a:lnTo>
                      <a:pt x="10877" y="4800"/>
                    </a:lnTo>
                    <a:lnTo>
                      <a:pt x="10980" y="4800"/>
                    </a:lnTo>
                    <a:lnTo>
                      <a:pt x="10980" y="5242"/>
                    </a:lnTo>
                    <a:lnTo>
                      <a:pt x="10877" y="5495"/>
                    </a:lnTo>
                    <a:lnTo>
                      <a:pt x="10877" y="5621"/>
                    </a:lnTo>
                    <a:lnTo>
                      <a:pt x="10774" y="5621"/>
                    </a:lnTo>
                    <a:lnTo>
                      <a:pt x="10774" y="5684"/>
                    </a:lnTo>
                    <a:lnTo>
                      <a:pt x="10620" y="5684"/>
                    </a:lnTo>
                    <a:lnTo>
                      <a:pt x="10516" y="5621"/>
                    </a:lnTo>
                    <a:lnTo>
                      <a:pt x="10362" y="5621"/>
                    </a:lnTo>
                    <a:lnTo>
                      <a:pt x="10362" y="5495"/>
                    </a:lnTo>
                    <a:lnTo>
                      <a:pt x="10259" y="5495"/>
                    </a:lnTo>
                    <a:lnTo>
                      <a:pt x="10259" y="5621"/>
                    </a:lnTo>
                    <a:lnTo>
                      <a:pt x="10156" y="5621"/>
                    </a:lnTo>
                    <a:lnTo>
                      <a:pt x="10156" y="5684"/>
                    </a:lnTo>
                    <a:lnTo>
                      <a:pt x="9898" y="5684"/>
                    </a:lnTo>
                    <a:lnTo>
                      <a:pt x="9898" y="5811"/>
                    </a:lnTo>
                    <a:lnTo>
                      <a:pt x="9795" y="5811"/>
                    </a:lnTo>
                    <a:lnTo>
                      <a:pt x="9795" y="5937"/>
                    </a:lnTo>
                    <a:lnTo>
                      <a:pt x="9692" y="5937"/>
                    </a:lnTo>
                    <a:lnTo>
                      <a:pt x="9692" y="6253"/>
                    </a:lnTo>
                    <a:lnTo>
                      <a:pt x="9640" y="6379"/>
                    </a:lnTo>
                    <a:lnTo>
                      <a:pt x="9640" y="6505"/>
                    </a:lnTo>
                    <a:lnTo>
                      <a:pt x="9331" y="6505"/>
                    </a:lnTo>
                    <a:lnTo>
                      <a:pt x="9279" y="6568"/>
                    </a:lnTo>
                    <a:lnTo>
                      <a:pt x="9279" y="6695"/>
                    </a:lnTo>
                    <a:lnTo>
                      <a:pt x="9331" y="6695"/>
                    </a:lnTo>
                    <a:lnTo>
                      <a:pt x="9331" y="6821"/>
                    </a:lnTo>
                    <a:lnTo>
                      <a:pt x="9434" y="6947"/>
                    </a:lnTo>
                    <a:lnTo>
                      <a:pt x="9537" y="6947"/>
                    </a:lnTo>
                    <a:lnTo>
                      <a:pt x="9537" y="7137"/>
                    </a:lnTo>
                    <a:lnTo>
                      <a:pt x="9434" y="7137"/>
                    </a:lnTo>
                    <a:lnTo>
                      <a:pt x="9434" y="7389"/>
                    </a:lnTo>
                    <a:lnTo>
                      <a:pt x="9331" y="7389"/>
                    </a:lnTo>
                    <a:lnTo>
                      <a:pt x="9331" y="7453"/>
                    </a:lnTo>
                    <a:lnTo>
                      <a:pt x="9279" y="7453"/>
                    </a:lnTo>
                    <a:lnTo>
                      <a:pt x="9279" y="7705"/>
                    </a:lnTo>
                    <a:lnTo>
                      <a:pt x="9073" y="7895"/>
                    </a:lnTo>
                    <a:lnTo>
                      <a:pt x="8970" y="7895"/>
                    </a:lnTo>
                    <a:lnTo>
                      <a:pt x="8970" y="8021"/>
                    </a:lnTo>
                    <a:lnTo>
                      <a:pt x="8918" y="8021"/>
                    </a:lnTo>
                    <a:lnTo>
                      <a:pt x="8815" y="8147"/>
                    </a:lnTo>
                    <a:lnTo>
                      <a:pt x="8609" y="8147"/>
                    </a:lnTo>
                    <a:lnTo>
                      <a:pt x="8609" y="8337"/>
                    </a:lnTo>
                    <a:lnTo>
                      <a:pt x="8712" y="8337"/>
                    </a:lnTo>
                    <a:lnTo>
                      <a:pt x="8712" y="8589"/>
                    </a:lnTo>
                    <a:lnTo>
                      <a:pt x="8609" y="8589"/>
                    </a:lnTo>
                    <a:lnTo>
                      <a:pt x="8558" y="8653"/>
                    </a:lnTo>
                    <a:lnTo>
                      <a:pt x="8248" y="8653"/>
                    </a:lnTo>
                    <a:lnTo>
                      <a:pt x="8197" y="8779"/>
                    </a:lnTo>
                    <a:lnTo>
                      <a:pt x="7887" y="8779"/>
                    </a:lnTo>
                    <a:lnTo>
                      <a:pt x="7887" y="8905"/>
                    </a:lnTo>
                    <a:lnTo>
                      <a:pt x="7990" y="8905"/>
                    </a:lnTo>
                    <a:lnTo>
                      <a:pt x="7990" y="9916"/>
                    </a:lnTo>
                    <a:lnTo>
                      <a:pt x="7887" y="9979"/>
                    </a:lnTo>
                    <a:lnTo>
                      <a:pt x="7887" y="10358"/>
                    </a:lnTo>
                    <a:lnTo>
                      <a:pt x="7836" y="10421"/>
                    </a:lnTo>
                    <a:lnTo>
                      <a:pt x="7836" y="10547"/>
                    </a:lnTo>
                    <a:lnTo>
                      <a:pt x="7526" y="10863"/>
                    </a:lnTo>
                    <a:lnTo>
                      <a:pt x="7526" y="10989"/>
                    </a:lnTo>
                    <a:lnTo>
                      <a:pt x="7475" y="10989"/>
                    </a:lnTo>
                    <a:lnTo>
                      <a:pt x="7475" y="11116"/>
                    </a:lnTo>
                    <a:lnTo>
                      <a:pt x="7372" y="11116"/>
                    </a:lnTo>
                    <a:lnTo>
                      <a:pt x="7372" y="11558"/>
                    </a:lnTo>
                    <a:lnTo>
                      <a:pt x="7475" y="11558"/>
                    </a:lnTo>
                    <a:lnTo>
                      <a:pt x="7475" y="11684"/>
                    </a:lnTo>
                    <a:lnTo>
                      <a:pt x="7630" y="11684"/>
                    </a:lnTo>
                    <a:lnTo>
                      <a:pt x="7630" y="12126"/>
                    </a:lnTo>
                    <a:lnTo>
                      <a:pt x="7526" y="12126"/>
                    </a:lnTo>
                    <a:lnTo>
                      <a:pt x="7526" y="12189"/>
                    </a:lnTo>
                    <a:lnTo>
                      <a:pt x="7475" y="12316"/>
                    </a:lnTo>
                    <a:lnTo>
                      <a:pt x="7372" y="12316"/>
                    </a:lnTo>
                    <a:lnTo>
                      <a:pt x="7372" y="12442"/>
                    </a:lnTo>
                    <a:lnTo>
                      <a:pt x="7269" y="12442"/>
                    </a:lnTo>
                    <a:lnTo>
                      <a:pt x="7269" y="12316"/>
                    </a:lnTo>
                    <a:lnTo>
                      <a:pt x="7011" y="12316"/>
                    </a:lnTo>
                    <a:lnTo>
                      <a:pt x="7011" y="12189"/>
                    </a:lnTo>
                    <a:lnTo>
                      <a:pt x="6908" y="12189"/>
                    </a:lnTo>
                    <a:lnTo>
                      <a:pt x="6805" y="12126"/>
                    </a:lnTo>
                    <a:lnTo>
                      <a:pt x="6753" y="12126"/>
                    </a:lnTo>
                    <a:lnTo>
                      <a:pt x="6753" y="12189"/>
                    </a:lnTo>
                    <a:lnTo>
                      <a:pt x="6547" y="12189"/>
                    </a:lnTo>
                    <a:lnTo>
                      <a:pt x="6547" y="12316"/>
                    </a:lnTo>
                    <a:lnTo>
                      <a:pt x="6444" y="12316"/>
                    </a:lnTo>
                    <a:lnTo>
                      <a:pt x="6444" y="12442"/>
                    </a:lnTo>
                    <a:lnTo>
                      <a:pt x="6392" y="12442"/>
                    </a:lnTo>
                    <a:lnTo>
                      <a:pt x="6289" y="12568"/>
                    </a:lnTo>
                    <a:lnTo>
                      <a:pt x="6186" y="12568"/>
                    </a:lnTo>
                    <a:lnTo>
                      <a:pt x="6186" y="12884"/>
                    </a:lnTo>
                    <a:lnTo>
                      <a:pt x="6083" y="12884"/>
                    </a:lnTo>
                    <a:lnTo>
                      <a:pt x="6083" y="13011"/>
                    </a:lnTo>
                    <a:lnTo>
                      <a:pt x="6032" y="13074"/>
                    </a:lnTo>
                    <a:lnTo>
                      <a:pt x="6032" y="13200"/>
                    </a:lnTo>
                    <a:lnTo>
                      <a:pt x="5928" y="13200"/>
                    </a:lnTo>
                    <a:lnTo>
                      <a:pt x="5928" y="13326"/>
                    </a:lnTo>
                    <a:lnTo>
                      <a:pt x="5825" y="13326"/>
                    </a:lnTo>
                    <a:lnTo>
                      <a:pt x="5825" y="13453"/>
                    </a:lnTo>
                    <a:lnTo>
                      <a:pt x="5722" y="13453"/>
                    </a:lnTo>
                    <a:lnTo>
                      <a:pt x="5722" y="13516"/>
                    </a:lnTo>
                    <a:lnTo>
                      <a:pt x="5825" y="13516"/>
                    </a:lnTo>
                    <a:lnTo>
                      <a:pt x="5825" y="13642"/>
                    </a:lnTo>
                    <a:lnTo>
                      <a:pt x="5928" y="13642"/>
                    </a:lnTo>
                    <a:lnTo>
                      <a:pt x="5928" y="13768"/>
                    </a:lnTo>
                    <a:lnTo>
                      <a:pt x="6032" y="13768"/>
                    </a:lnTo>
                    <a:lnTo>
                      <a:pt x="6032" y="14337"/>
                    </a:lnTo>
                    <a:lnTo>
                      <a:pt x="5928" y="14400"/>
                    </a:lnTo>
                    <a:lnTo>
                      <a:pt x="5928" y="14716"/>
                    </a:lnTo>
                    <a:lnTo>
                      <a:pt x="6032" y="14716"/>
                    </a:lnTo>
                    <a:lnTo>
                      <a:pt x="6032" y="14968"/>
                    </a:lnTo>
                    <a:lnTo>
                      <a:pt x="6083" y="14968"/>
                    </a:lnTo>
                    <a:lnTo>
                      <a:pt x="6083" y="15600"/>
                    </a:lnTo>
                    <a:lnTo>
                      <a:pt x="6032" y="15600"/>
                    </a:lnTo>
                    <a:lnTo>
                      <a:pt x="6032" y="15853"/>
                    </a:lnTo>
                    <a:lnTo>
                      <a:pt x="5928" y="15853"/>
                    </a:lnTo>
                    <a:lnTo>
                      <a:pt x="5928" y="15979"/>
                    </a:lnTo>
                    <a:lnTo>
                      <a:pt x="6032" y="16042"/>
                    </a:lnTo>
                    <a:lnTo>
                      <a:pt x="6186" y="16042"/>
                    </a:lnTo>
                    <a:lnTo>
                      <a:pt x="6186" y="16168"/>
                    </a:lnTo>
                    <a:lnTo>
                      <a:pt x="6289" y="16168"/>
                    </a:lnTo>
                    <a:lnTo>
                      <a:pt x="6289" y="16295"/>
                    </a:lnTo>
                    <a:lnTo>
                      <a:pt x="6392" y="16421"/>
                    </a:lnTo>
                    <a:lnTo>
                      <a:pt x="6392" y="16484"/>
                    </a:lnTo>
                    <a:lnTo>
                      <a:pt x="6547" y="16484"/>
                    </a:lnTo>
                    <a:lnTo>
                      <a:pt x="6547" y="16737"/>
                    </a:lnTo>
                    <a:lnTo>
                      <a:pt x="6444" y="16863"/>
                    </a:lnTo>
                    <a:lnTo>
                      <a:pt x="6444" y="17053"/>
                    </a:lnTo>
                    <a:lnTo>
                      <a:pt x="6032" y="17053"/>
                    </a:lnTo>
                    <a:lnTo>
                      <a:pt x="6032" y="17179"/>
                    </a:lnTo>
                    <a:lnTo>
                      <a:pt x="6083" y="17305"/>
                    </a:lnTo>
                    <a:lnTo>
                      <a:pt x="6083" y="17368"/>
                    </a:lnTo>
                    <a:lnTo>
                      <a:pt x="6392" y="17747"/>
                    </a:lnTo>
                    <a:lnTo>
                      <a:pt x="6392" y="17937"/>
                    </a:lnTo>
                    <a:lnTo>
                      <a:pt x="6289" y="17937"/>
                    </a:lnTo>
                    <a:lnTo>
                      <a:pt x="6289" y="18189"/>
                    </a:lnTo>
                    <a:lnTo>
                      <a:pt x="6186" y="18379"/>
                    </a:lnTo>
                    <a:lnTo>
                      <a:pt x="6186" y="18632"/>
                    </a:lnTo>
                    <a:lnTo>
                      <a:pt x="6083" y="18695"/>
                    </a:lnTo>
                    <a:lnTo>
                      <a:pt x="5671" y="18695"/>
                    </a:lnTo>
                    <a:lnTo>
                      <a:pt x="5671" y="18947"/>
                    </a:lnTo>
                    <a:lnTo>
                      <a:pt x="5722" y="18947"/>
                    </a:lnTo>
                    <a:lnTo>
                      <a:pt x="5722" y="19074"/>
                    </a:lnTo>
                    <a:lnTo>
                      <a:pt x="5568" y="19074"/>
                    </a:lnTo>
                    <a:lnTo>
                      <a:pt x="5568" y="19389"/>
                    </a:lnTo>
                    <a:lnTo>
                      <a:pt x="5671" y="19389"/>
                    </a:lnTo>
                    <a:lnTo>
                      <a:pt x="5671" y="19705"/>
                    </a:lnTo>
                    <a:lnTo>
                      <a:pt x="5722" y="19705"/>
                    </a:lnTo>
                    <a:lnTo>
                      <a:pt x="5671" y="19832"/>
                    </a:lnTo>
                    <a:lnTo>
                      <a:pt x="5671" y="20021"/>
                    </a:lnTo>
                    <a:lnTo>
                      <a:pt x="5568" y="20021"/>
                    </a:lnTo>
                    <a:lnTo>
                      <a:pt x="5568" y="20274"/>
                    </a:lnTo>
                    <a:lnTo>
                      <a:pt x="5464" y="20400"/>
                    </a:lnTo>
                    <a:lnTo>
                      <a:pt x="5464" y="20274"/>
                    </a:lnTo>
                    <a:lnTo>
                      <a:pt x="5413" y="20274"/>
                    </a:lnTo>
                    <a:lnTo>
                      <a:pt x="5413" y="20147"/>
                    </a:lnTo>
                    <a:lnTo>
                      <a:pt x="5310" y="20147"/>
                    </a:lnTo>
                    <a:lnTo>
                      <a:pt x="5310" y="19958"/>
                    </a:lnTo>
                    <a:lnTo>
                      <a:pt x="4949" y="19958"/>
                    </a:lnTo>
                    <a:lnTo>
                      <a:pt x="4846" y="19832"/>
                    </a:lnTo>
                    <a:lnTo>
                      <a:pt x="4846" y="19705"/>
                    </a:lnTo>
                    <a:lnTo>
                      <a:pt x="4743" y="19705"/>
                    </a:lnTo>
                    <a:lnTo>
                      <a:pt x="4743" y="19263"/>
                    </a:lnTo>
                    <a:lnTo>
                      <a:pt x="4691" y="19137"/>
                    </a:lnTo>
                    <a:lnTo>
                      <a:pt x="4691" y="19263"/>
                    </a:lnTo>
                    <a:lnTo>
                      <a:pt x="4485" y="19263"/>
                    </a:lnTo>
                    <a:lnTo>
                      <a:pt x="4485" y="19389"/>
                    </a:lnTo>
                    <a:lnTo>
                      <a:pt x="4588" y="19516"/>
                    </a:lnTo>
                    <a:lnTo>
                      <a:pt x="4588" y="19832"/>
                    </a:lnTo>
                    <a:lnTo>
                      <a:pt x="4485" y="19832"/>
                    </a:lnTo>
                    <a:lnTo>
                      <a:pt x="4485" y="19958"/>
                    </a:lnTo>
                    <a:lnTo>
                      <a:pt x="4382" y="19958"/>
                    </a:lnTo>
                    <a:lnTo>
                      <a:pt x="4382" y="20021"/>
                    </a:lnTo>
                    <a:lnTo>
                      <a:pt x="3866" y="20021"/>
                    </a:lnTo>
                    <a:lnTo>
                      <a:pt x="3866" y="20274"/>
                    </a:lnTo>
                    <a:lnTo>
                      <a:pt x="3660" y="20274"/>
                    </a:lnTo>
                    <a:lnTo>
                      <a:pt x="3660" y="20463"/>
                    </a:lnTo>
                    <a:lnTo>
                      <a:pt x="3609" y="20463"/>
                    </a:lnTo>
                    <a:lnTo>
                      <a:pt x="3609" y="20589"/>
                    </a:lnTo>
                    <a:lnTo>
                      <a:pt x="3505" y="20589"/>
                    </a:lnTo>
                    <a:lnTo>
                      <a:pt x="3505" y="20716"/>
                    </a:lnTo>
                    <a:lnTo>
                      <a:pt x="3299" y="20716"/>
                    </a:lnTo>
                    <a:lnTo>
                      <a:pt x="3299" y="20905"/>
                    </a:lnTo>
                    <a:lnTo>
                      <a:pt x="3145" y="21032"/>
                    </a:lnTo>
                    <a:lnTo>
                      <a:pt x="2887" y="21347"/>
                    </a:lnTo>
                    <a:lnTo>
                      <a:pt x="2784" y="21347"/>
                    </a:lnTo>
                    <a:lnTo>
                      <a:pt x="2578" y="21474"/>
                    </a:lnTo>
                    <a:lnTo>
                      <a:pt x="2320" y="21474"/>
                    </a:lnTo>
                    <a:lnTo>
                      <a:pt x="2217" y="21600"/>
                    </a:lnTo>
                    <a:lnTo>
                      <a:pt x="1598" y="21600"/>
                    </a:lnTo>
                    <a:lnTo>
                      <a:pt x="1495" y="21474"/>
                    </a:lnTo>
                    <a:lnTo>
                      <a:pt x="1340" y="21474"/>
                    </a:lnTo>
                    <a:lnTo>
                      <a:pt x="1443" y="21347"/>
                    </a:lnTo>
                    <a:lnTo>
                      <a:pt x="1495" y="21347"/>
                    </a:lnTo>
                    <a:lnTo>
                      <a:pt x="1495" y="21221"/>
                    </a:lnTo>
                    <a:lnTo>
                      <a:pt x="1237" y="21221"/>
                    </a:lnTo>
                    <a:lnTo>
                      <a:pt x="1134" y="21158"/>
                    </a:lnTo>
                    <a:lnTo>
                      <a:pt x="876" y="21158"/>
                    </a:lnTo>
                    <a:lnTo>
                      <a:pt x="876" y="21032"/>
                    </a:lnTo>
                    <a:lnTo>
                      <a:pt x="773" y="20905"/>
                    </a:lnTo>
                    <a:lnTo>
                      <a:pt x="722" y="20905"/>
                    </a:lnTo>
                    <a:lnTo>
                      <a:pt x="619" y="20779"/>
                    </a:lnTo>
                    <a:lnTo>
                      <a:pt x="619" y="20716"/>
                    </a:lnTo>
                    <a:lnTo>
                      <a:pt x="516" y="20716"/>
                    </a:lnTo>
                    <a:lnTo>
                      <a:pt x="516" y="20274"/>
                    </a:lnTo>
                    <a:lnTo>
                      <a:pt x="876" y="20274"/>
                    </a:lnTo>
                    <a:lnTo>
                      <a:pt x="876" y="20400"/>
                    </a:lnTo>
                    <a:lnTo>
                      <a:pt x="1083" y="20400"/>
                    </a:lnTo>
                    <a:lnTo>
                      <a:pt x="1083" y="20147"/>
                    </a:lnTo>
                    <a:lnTo>
                      <a:pt x="773" y="20147"/>
                    </a:lnTo>
                    <a:lnTo>
                      <a:pt x="773" y="20021"/>
                    </a:lnTo>
                    <a:lnTo>
                      <a:pt x="876" y="19958"/>
                    </a:lnTo>
                    <a:lnTo>
                      <a:pt x="979" y="19958"/>
                    </a:lnTo>
                    <a:lnTo>
                      <a:pt x="979" y="19832"/>
                    </a:lnTo>
                    <a:lnTo>
                      <a:pt x="1083" y="19832"/>
                    </a:lnTo>
                    <a:lnTo>
                      <a:pt x="1083" y="19705"/>
                    </a:lnTo>
                    <a:lnTo>
                      <a:pt x="979" y="19705"/>
                    </a:lnTo>
                    <a:lnTo>
                      <a:pt x="979" y="19579"/>
                    </a:lnTo>
                    <a:lnTo>
                      <a:pt x="876" y="19579"/>
                    </a:lnTo>
                    <a:lnTo>
                      <a:pt x="876" y="19516"/>
                    </a:lnTo>
                    <a:lnTo>
                      <a:pt x="1134" y="19516"/>
                    </a:lnTo>
                    <a:lnTo>
                      <a:pt x="1134" y="19389"/>
                    </a:lnTo>
                    <a:lnTo>
                      <a:pt x="1237" y="19389"/>
                    </a:lnTo>
                    <a:lnTo>
                      <a:pt x="1237" y="19263"/>
                    </a:lnTo>
                    <a:lnTo>
                      <a:pt x="1134" y="19263"/>
                    </a:lnTo>
                    <a:lnTo>
                      <a:pt x="1134" y="19389"/>
                    </a:lnTo>
                    <a:lnTo>
                      <a:pt x="876" y="19389"/>
                    </a:lnTo>
                    <a:lnTo>
                      <a:pt x="876" y="19516"/>
                    </a:lnTo>
                    <a:lnTo>
                      <a:pt x="773" y="19516"/>
                    </a:lnTo>
                    <a:lnTo>
                      <a:pt x="773" y="19389"/>
                    </a:lnTo>
                    <a:lnTo>
                      <a:pt x="722" y="19389"/>
                    </a:lnTo>
                    <a:lnTo>
                      <a:pt x="722" y="19705"/>
                    </a:lnTo>
                    <a:lnTo>
                      <a:pt x="464" y="19705"/>
                    </a:lnTo>
                    <a:lnTo>
                      <a:pt x="464" y="19579"/>
                    </a:lnTo>
                    <a:lnTo>
                      <a:pt x="361" y="19579"/>
                    </a:lnTo>
                    <a:lnTo>
                      <a:pt x="361" y="19516"/>
                    </a:lnTo>
                    <a:lnTo>
                      <a:pt x="258" y="19516"/>
                    </a:lnTo>
                    <a:lnTo>
                      <a:pt x="258" y="19389"/>
                    </a:lnTo>
                    <a:lnTo>
                      <a:pt x="361" y="19389"/>
                    </a:lnTo>
                    <a:lnTo>
                      <a:pt x="258" y="19263"/>
                    </a:lnTo>
                    <a:lnTo>
                      <a:pt x="361" y="19137"/>
                    </a:lnTo>
                    <a:lnTo>
                      <a:pt x="464" y="19137"/>
                    </a:lnTo>
                    <a:lnTo>
                      <a:pt x="464" y="19074"/>
                    </a:lnTo>
                    <a:lnTo>
                      <a:pt x="516" y="19074"/>
                    </a:lnTo>
                    <a:lnTo>
                      <a:pt x="516" y="19137"/>
                    </a:lnTo>
                    <a:lnTo>
                      <a:pt x="773" y="19137"/>
                    </a:lnTo>
                    <a:lnTo>
                      <a:pt x="773" y="19074"/>
                    </a:lnTo>
                    <a:lnTo>
                      <a:pt x="876" y="19074"/>
                    </a:lnTo>
                    <a:lnTo>
                      <a:pt x="876" y="18947"/>
                    </a:lnTo>
                    <a:lnTo>
                      <a:pt x="619" y="18947"/>
                    </a:lnTo>
                    <a:lnTo>
                      <a:pt x="619" y="18821"/>
                    </a:lnTo>
                    <a:lnTo>
                      <a:pt x="722" y="18821"/>
                    </a:lnTo>
                    <a:lnTo>
                      <a:pt x="773" y="18695"/>
                    </a:lnTo>
                    <a:lnTo>
                      <a:pt x="876" y="18695"/>
                    </a:lnTo>
                    <a:lnTo>
                      <a:pt x="876" y="18632"/>
                    </a:lnTo>
                    <a:lnTo>
                      <a:pt x="979" y="18632"/>
                    </a:lnTo>
                    <a:lnTo>
                      <a:pt x="979" y="18253"/>
                    </a:lnTo>
                    <a:lnTo>
                      <a:pt x="773" y="18505"/>
                    </a:lnTo>
                    <a:lnTo>
                      <a:pt x="773" y="18632"/>
                    </a:lnTo>
                    <a:lnTo>
                      <a:pt x="722" y="18632"/>
                    </a:lnTo>
                    <a:lnTo>
                      <a:pt x="722" y="18379"/>
                    </a:lnTo>
                    <a:lnTo>
                      <a:pt x="516" y="18379"/>
                    </a:lnTo>
                    <a:lnTo>
                      <a:pt x="516" y="18253"/>
                    </a:lnTo>
                    <a:lnTo>
                      <a:pt x="464" y="18253"/>
                    </a:lnTo>
                    <a:lnTo>
                      <a:pt x="464" y="18379"/>
                    </a:lnTo>
                    <a:lnTo>
                      <a:pt x="361" y="18379"/>
                    </a:lnTo>
                    <a:lnTo>
                      <a:pt x="361" y="18189"/>
                    </a:lnTo>
                    <a:lnTo>
                      <a:pt x="258" y="18189"/>
                    </a:lnTo>
                    <a:lnTo>
                      <a:pt x="258" y="17811"/>
                    </a:lnTo>
                    <a:lnTo>
                      <a:pt x="361" y="17811"/>
                    </a:lnTo>
                    <a:lnTo>
                      <a:pt x="464" y="17937"/>
                    </a:lnTo>
                    <a:lnTo>
                      <a:pt x="619" y="17937"/>
                    </a:lnTo>
                    <a:lnTo>
                      <a:pt x="619" y="17747"/>
                    </a:lnTo>
                    <a:lnTo>
                      <a:pt x="722" y="17747"/>
                    </a:lnTo>
                    <a:lnTo>
                      <a:pt x="722" y="17495"/>
                    </a:lnTo>
                    <a:lnTo>
                      <a:pt x="619" y="17495"/>
                    </a:lnTo>
                    <a:lnTo>
                      <a:pt x="619" y="17621"/>
                    </a:lnTo>
                    <a:lnTo>
                      <a:pt x="464" y="17621"/>
                    </a:lnTo>
                    <a:lnTo>
                      <a:pt x="464" y="17747"/>
                    </a:lnTo>
                    <a:lnTo>
                      <a:pt x="361" y="17811"/>
                    </a:lnTo>
                    <a:lnTo>
                      <a:pt x="361" y="17747"/>
                    </a:lnTo>
                    <a:lnTo>
                      <a:pt x="258" y="17747"/>
                    </a:lnTo>
                    <a:lnTo>
                      <a:pt x="258" y="17621"/>
                    </a:lnTo>
                    <a:lnTo>
                      <a:pt x="361" y="17621"/>
                    </a:lnTo>
                    <a:lnTo>
                      <a:pt x="361" y="17368"/>
                    </a:lnTo>
                    <a:lnTo>
                      <a:pt x="258" y="17305"/>
                    </a:lnTo>
                    <a:lnTo>
                      <a:pt x="155" y="17368"/>
                    </a:lnTo>
                    <a:lnTo>
                      <a:pt x="103" y="17368"/>
                    </a:lnTo>
                    <a:lnTo>
                      <a:pt x="103" y="17179"/>
                    </a:lnTo>
                    <a:lnTo>
                      <a:pt x="258" y="17179"/>
                    </a:lnTo>
                    <a:lnTo>
                      <a:pt x="155" y="17053"/>
                    </a:lnTo>
                    <a:lnTo>
                      <a:pt x="155" y="16926"/>
                    </a:lnTo>
                    <a:lnTo>
                      <a:pt x="258" y="16926"/>
                    </a:lnTo>
                    <a:lnTo>
                      <a:pt x="258" y="16863"/>
                    </a:lnTo>
                    <a:lnTo>
                      <a:pt x="155" y="16863"/>
                    </a:lnTo>
                    <a:lnTo>
                      <a:pt x="103" y="16737"/>
                    </a:lnTo>
                    <a:lnTo>
                      <a:pt x="103" y="16611"/>
                    </a:lnTo>
                    <a:lnTo>
                      <a:pt x="155" y="16611"/>
                    </a:lnTo>
                    <a:lnTo>
                      <a:pt x="155" y="16421"/>
                    </a:lnTo>
                    <a:lnTo>
                      <a:pt x="361" y="16421"/>
                    </a:lnTo>
                    <a:lnTo>
                      <a:pt x="361" y="16168"/>
                    </a:lnTo>
                    <a:lnTo>
                      <a:pt x="155" y="16168"/>
                    </a:lnTo>
                    <a:lnTo>
                      <a:pt x="103" y="16042"/>
                    </a:lnTo>
                    <a:lnTo>
                      <a:pt x="103" y="15979"/>
                    </a:lnTo>
                    <a:lnTo>
                      <a:pt x="155" y="15979"/>
                    </a:lnTo>
                    <a:lnTo>
                      <a:pt x="155" y="15853"/>
                    </a:lnTo>
                    <a:lnTo>
                      <a:pt x="258" y="15853"/>
                    </a:lnTo>
                    <a:lnTo>
                      <a:pt x="361" y="15726"/>
                    </a:lnTo>
                    <a:lnTo>
                      <a:pt x="258" y="15600"/>
                    </a:lnTo>
                    <a:lnTo>
                      <a:pt x="361" y="15537"/>
                    </a:lnTo>
                    <a:lnTo>
                      <a:pt x="361" y="15411"/>
                    </a:lnTo>
                    <a:lnTo>
                      <a:pt x="464" y="15411"/>
                    </a:lnTo>
                    <a:lnTo>
                      <a:pt x="464" y="15284"/>
                    </a:lnTo>
                    <a:lnTo>
                      <a:pt x="516" y="15284"/>
                    </a:lnTo>
                    <a:lnTo>
                      <a:pt x="516" y="15158"/>
                    </a:lnTo>
                    <a:lnTo>
                      <a:pt x="619" y="15158"/>
                    </a:lnTo>
                    <a:lnTo>
                      <a:pt x="619" y="15284"/>
                    </a:lnTo>
                    <a:lnTo>
                      <a:pt x="773" y="15284"/>
                    </a:lnTo>
                    <a:lnTo>
                      <a:pt x="773" y="15411"/>
                    </a:lnTo>
                    <a:lnTo>
                      <a:pt x="876" y="15411"/>
                    </a:lnTo>
                    <a:lnTo>
                      <a:pt x="979" y="15284"/>
                    </a:lnTo>
                    <a:lnTo>
                      <a:pt x="876" y="15284"/>
                    </a:lnTo>
                    <a:lnTo>
                      <a:pt x="876" y="15158"/>
                    </a:lnTo>
                    <a:lnTo>
                      <a:pt x="979" y="15158"/>
                    </a:lnTo>
                    <a:lnTo>
                      <a:pt x="979" y="15095"/>
                    </a:lnTo>
                    <a:lnTo>
                      <a:pt x="1083" y="15095"/>
                    </a:lnTo>
                    <a:lnTo>
                      <a:pt x="1083" y="14968"/>
                    </a:lnTo>
                    <a:lnTo>
                      <a:pt x="1134" y="14968"/>
                    </a:lnTo>
                    <a:lnTo>
                      <a:pt x="1134" y="15095"/>
                    </a:lnTo>
                    <a:lnTo>
                      <a:pt x="1237" y="15095"/>
                    </a:lnTo>
                    <a:lnTo>
                      <a:pt x="1237" y="14968"/>
                    </a:lnTo>
                    <a:lnTo>
                      <a:pt x="1340" y="14968"/>
                    </a:lnTo>
                    <a:lnTo>
                      <a:pt x="1340" y="14842"/>
                    </a:lnTo>
                    <a:lnTo>
                      <a:pt x="1237" y="14842"/>
                    </a:lnTo>
                    <a:lnTo>
                      <a:pt x="1237" y="14716"/>
                    </a:lnTo>
                    <a:lnTo>
                      <a:pt x="1134" y="14716"/>
                    </a:lnTo>
                    <a:lnTo>
                      <a:pt x="1134" y="14653"/>
                    </a:lnTo>
                    <a:lnTo>
                      <a:pt x="2062" y="14653"/>
                    </a:lnTo>
                    <a:lnTo>
                      <a:pt x="2062" y="14716"/>
                    </a:lnTo>
                    <a:lnTo>
                      <a:pt x="2217" y="14716"/>
                    </a:lnTo>
                    <a:lnTo>
                      <a:pt x="2217" y="14653"/>
                    </a:lnTo>
                    <a:lnTo>
                      <a:pt x="2062" y="14653"/>
                    </a:lnTo>
                    <a:lnTo>
                      <a:pt x="2062" y="14526"/>
                    </a:lnTo>
                    <a:lnTo>
                      <a:pt x="2217" y="14526"/>
                    </a:lnTo>
                    <a:lnTo>
                      <a:pt x="2217" y="14400"/>
                    </a:lnTo>
                    <a:lnTo>
                      <a:pt x="1804" y="14400"/>
                    </a:lnTo>
                    <a:lnTo>
                      <a:pt x="1804" y="14211"/>
                    </a:lnTo>
                    <a:lnTo>
                      <a:pt x="1701" y="14211"/>
                    </a:lnTo>
                    <a:lnTo>
                      <a:pt x="1701" y="14084"/>
                    </a:lnTo>
                    <a:lnTo>
                      <a:pt x="1856" y="14084"/>
                    </a:lnTo>
                    <a:lnTo>
                      <a:pt x="1856" y="13958"/>
                    </a:lnTo>
                    <a:lnTo>
                      <a:pt x="2062" y="13958"/>
                    </a:lnTo>
                    <a:lnTo>
                      <a:pt x="2062" y="14084"/>
                    </a:lnTo>
                    <a:lnTo>
                      <a:pt x="2526" y="14084"/>
                    </a:lnTo>
                    <a:lnTo>
                      <a:pt x="2578" y="14211"/>
                    </a:lnTo>
                    <a:lnTo>
                      <a:pt x="2681" y="14211"/>
                    </a:lnTo>
                    <a:lnTo>
                      <a:pt x="2681" y="14337"/>
                    </a:lnTo>
                    <a:lnTo>
                      <a:pt x="2784" y="14337"/>
                    </a:lnTo>
                    <a:lnTo>
                      <a:pt x="2784" y="14211"/>
                    </a:lnTo>
                    <a:lnTo>
                      <a:pt x="2681" y="14211"/>
                    </a:lnTo>
                    <a:lnTo>
                      <a:pt x="2681" y="14084"/>
                    </a:lnTo>
                    <a:lnTo>
                      <a:pt x="2578" y="14084"/>
                    </a:lnTo>
                    <a:lnTo>
                      <a:pt x="2526" y="13958"/>
                    </a:lnTo>
                    <a:lnTo>
                      <a:pt x="2526" y="13895"/>
                    </a:lnTo>
                    <a:lnTo>
                      <a:pt x="2681" y="13895"/>
                    </a:lnTo>
                    <a:lnTo>
                      <a:pt x="2681" y="13958"/>
                    </a:lnTo>
                    <a:lnTo>
                      <a:pt x="2784" y="13958"/>
                    </a:lnTo>
                    <a:lnTo>
                      <a:pt x="2784" y="14084"/>
                    </a:lnTo>
                    <a:lnTo>
                      <a:pt x="2887" y="14084"/>
                    </a:lnTo>
                    <a:lnTo>
                      <a:pt x="2887" y="14211"/>
                    </a:lnTo>
                    <a:lnTo>
                      <a:pt x="3145" y="14211"/>
                    </a:lnTo>
                    <a:lnTo>
                      <a:pt x="3042" y="14084"/>
                    </a:lnTo>
                    <a:lnTo>
                      <a:pt x="3042" y="13958"/>
                    </a:lnTo>
                    <a:lnTo>
                      <a:pt x="2784" y="13958"/>
                    </a:lnTo>
                    <a:lnTo>
                      <a:pt x="2784" y="13895"/>
                    </a:lnTo>
                    <a:lnTo>
                      <a:pt x="2681" y="13895"/>
                    </a:lnTo>
                    <a:lnTo>
                      <a:pt x="2681" y="13768"/>
                    </a:lnTo>
                    <a:lnTo>
                      <a:pt x="3042" y="13768"/>
                    </a:lnTo>
                    <a:lnTo>
                      <a:pt x="3145" y="13642"/>
                    </a:lnTo>
                    <a:lnTo>
                      <a:pt x="3042" y="13642"/>
                    </a:lnTo>
                    <a:lnTo>
                      <a:pt x="3042" y="13516"/>
                    </a:lnTo>
                    <a:lnTo>
                      <a:pt x="2938" y="13516"/>
                    </a:lnTo>
                    <a:lnTo>
                      <a:pt x="3145" y="13326"/>
                    </a:lnTo>
                    <a:lnTo>
                      <a:pt x="3402" y="13326"/>
                    </a:lnTo>
                    <a:lnTo>
                      <a:pt x="3402" y="13453"/>
                    </a:lnTo>
                    <a:lnTo>
                      <a:pt x="3609" y="13453"/>
                    </a:lnTo>
                    <a:lnTo>
                      <a:pt x="3660" y="13326"/>
                    </a:lnTo>
                    <a:lnTo>
                      <a:pt x="3660" y="13200"/>
                    </a:lnTo>
                    <a:lnTo>
                      <a:pt x="3609" y="13200"/>
                    </a:lnTo>
                    <a:lnTo>
                      <a:pt x="3609" y="13074"/>
                    </a:lnTo>
                    <a:lnTo>
                      <a:pt x="3763" y="13074"/>
                    </a:lnTo>
                    <a:lnTo>
                      <a:pt x="3763" y="13011"/>
                    </a:lnTo>
                    <a:lnTo>
                      <a:pt x="4021" y="13011"/>
                    </a:lnTo>
                    <a:lnTo>
                      <a:pt x="4021" y="13074"/>
                    </a:lnTo>
                    <a:lnTo>
                      <a:pt x="4124" y="13200"/>
                    </a:lnTo>
                    <a:lnTo>
                      <a:pt x="4124" y="13453"/>
                    </a:lnTo>
                    <a:lnTo>
                      <a:pt x="4330" y="13453"/>
                    </a:lnTo>
                    <a:lnTo>
                      <a:pt x="4382" y="13326"/>
                    </a:lnTo>
                    <a:lnTo>
                      <a:pt x="4846" y="13326"/>
                    </a:lnTo>
                    <a:lnTo>
                      <a:pt x="4846" y="13074"/>
                    </a:lnTo>
                    <a:lnTo>
                      <a:pt x="4743" y="13074"/>
                    </a:lnTo>
                    <a:lnTo>
                      <a:pt x="4743" y="13011"/>
                    </a:lnTo>
                    <a:lnTo>
                      <a:pt x="4949" y="13011"/>
                    </a:lnTo>
                    <a:lnTo>
                      <a:pt x="4949" y="12884"/>
                    </a:lnTo>
                    <a:lnTo>
                      <a:pt x="5104" y="12884"/>
                    </a:lnTo>
                    <a:lnTo>
                      <a:pt x="5207" y="12758"/>
                    </a:lnTo>
                    <a:lnTo>
                      <a:pt x="5310" y="12758"/>
                    </a:lnTo>
                    <a:lnTo>
                      <a:pt x="5310" y="12632"/>
                    </a:lnTo>
                    <a:lnTo>
                      <a:pt x="5207" y="12632"/>
                    </a:lnTo>
                    <a:lnTo>
                      <a:pt x="5207" y="12442"/>
                    </a:lnTo>
                    <a:lnTo>
                      <a:pt x="5413" y="12442"/>
                    </a:lnTo>
                    <a:lnTo>
                      <a:pt x="5413" y="12316"/>
                    </a:lnTo>
                    <a:lnTo>
                      <a:pt x="5310" y="12316"/>
                    </a:lnTo>
                    <a:lnTo>
                      <a:pt x="5310" y="12189"/>
                    </a:lnTo>
                    <a:lnTo>
                      <a:pt x="5104" y="12442"/>
                    </a:lnTo>
                    <a:lnTo>
                      <a:pt x="5052" y="12442"/>
                    </a:lnTo>
                    <a:lnTo>
                      <a:pt x="5052" y="12758"/>
                    </a:lnTo>
                    <a:lnTo>
                      <a:pt x="4949" y="12758"/>
                    </a:lnTo>
                    <a:lnTo>
                      <a:pt x="4846" y="12884"/>
                    </a:lnTo>
                    <a:lnTo>
                      <a:pt x="4743" y="12884"/>
                    </a:lnTo>
                    <a:lnTo>
                      <a:pt x="4743" y="13011"/>
                    </a:lnTo>
                    <a:lnTo>
                      <a:pt x="4588" y="13011"/>
                    </a:lnTo>
                    <a:lnTo>
                      <a:pt x="4485" y="13074"/>
                    </a:lnTo>
                    <a:lnTo>
                      <a:pt x="4382" y="13074"/>
                    </a:lnTo>
                    <a:lnTo>
                      <a:pt x="4330" y="13200"/>
                    </a:lnTo>
                    <a:lnTo>
                      <a:pt x="4124" y="13200"/>
                    </a:lnTo>
                    <a:lnTo>
                      <a:pt x="4124" y="13074"/>
                    </a:lnTo>
                    <a:lnTo>
                      <a:pt x="4021" y="13011"/>
                    </a:lnTo>
                    <a:lnTo>
                      <a:pt x="4124" y="12884"/>
                    </a:lnTo>
                    <a:lnTo>
                      <a:pt x="3866" y="12884"/>
                    </a:lnTo>
                    <a:lnTo>
                      <a:pt x="4021" y="12632"/>
                    </a:lnTo>
                    <a:lnTo>
                      <a:pt x="4124" y="12632"/>
                    </a:lnTo>
                    <a:lnTo>
                      <a:pt x="4227" y="12568"/>
                    </a:lnTo>
                    <a:lnTo>
                      <a:pt x="4227" y="12316"/>
                    </a:lnTo>
                    <a:lnTo>
                      <a:pt x="4330" y="12316"/>
                    </a:lnTo>
                    <a:lnTo>
                      <a:pt x="4330" y="12189"/>
                    </a:lnTo>
                    <a:lnTo>
                      <a:pt x="4382" y="12189"/>
                    </a:lnTo>
                    <a:lnTo>
                      <a:pt x="4485" y="12126"/>
                    </a:lnTo>
                    <a:lnTo>
                      <a:pt x="4485" y="11874"/>
                    </a:lnTo>
                    <a:lnTo>
                      <a:pt x="4588" y="11874"/>
                    </a:lnTo>
                    <a:lnTo>
                      <a:pt x="4691" y="11747"/>
                    </a:lnTo>
                    <a:lnTo>
                      <a:pt x="4743" y="11747"/>
                    </a:lnTo>
                    <a:lnTo>
                      <a:pt x="4743" y="11684"/>
                    </a:lnTo>
                    <a:lnTo>
                      <a:pt x="4846" y="11684"/>
                    </a:lnTo>
                    <a:lnTo>
                      <a:pt x="4949" y="11558"/>
                    </a:lnTo>
                    <a:lnTo>
                      <a:pt x="5104" y="11558"/>
                    </a:lnTo>
                    <a:lnTo>
                      <a:pt x="5207" y="11684"/>
                    </a:lnTo>
                    <a:lnTo>
                      <a:pt x="5310" y="11684"/>
                    </a:lnTo>
                    <a:lnTo>
                      <a:pt x="5310" y="11747"/>
                    </a:lnTo>
                    <a:lnTo>
                      <a:pt x="5413" y="11747"/>
                    </a:lnTo>
                    <a:lnTo>
                      <a:pt x="5413" y="11558"/>
                    </a:lnTo>
                    <a:lnTo>
                      <a:pt x="5464" y="11558"/>
                    </a:lnTo>
                    <a:lnTo>
                      <a:pt x="5464" y="11305"/>
                    </a:lnTo>
                    <a:lnTo>
                      <a:pt x="5413" y="11305"/>
                    </a:lnTo>
                    <a:lnTo>
                      <a:pt x="5413" y="11242"/>
                    </a:lnTo>
                    <a:lnTo>
                      <a:pt x="5568" y="11242"/>
                    </a:lnTo>
                    <a:lnTo>
                      <a:pt x="5568" y="10989"/>
                    </a:lnTo>
                    <a:lnTo>
                      <a:pt x="5464" y="10989"/>
                    </a:lnTo>
                    <a:lnTo>
                      <a:pt x="5464" y="10863"/>
                    </a:lnTo>
                    <a:lnTo>
                      <a:pt x="5671" y="10800"/>
                    </a:lnTo>
                    <a:lnTo>
                      <a:pt x="5671" y="10674"/>
                    </a:lnTo>
                    <a:lnTo>
                      <a:pt x="5722" y="10674"/>
                    </a:lnTo>
                    <a:lnTo>
                      <a:pt x="5722" y="10547"/>
                    </a:lnTo>
                    <a:lnTo>
                      <a:pt x="5825" y="10547"/>
                    </a:lnTo>
                    <a:lnTo>
                      <a:pt x="5825" y="10421"/>
                    </a:lnTo>
                    <a:lnTo>
                      <a:pt x="6083" y="10421"/>
                    </a:lnTo>
                    <a:lnTo>
                      <a:pt x="6083" y="10674"/>
                    </a:lnTo>
                    <a:lnTo>
                      <a:pt x="6186" y="10674"/>
                    </a:lnTo>
                    <a:lnTo>
                      <a:pt x="6186" y="10547"/>
                    </a:lnTo>
                    <a:lnTo>
                      <a:pt x="6289" y="10547"/>
                    </a:lnTo>
                    <a:lnTo>
                      <a:pt x="6289" y="10421"/>
                    </a:lnTo>
                    <a:lnTo>
                      <a:pt x="6186" y="10547"/>
                    </a:lnTo>
                    <a:lnTo>
                      <a:pt x="6186" y="10232"/>
                    </a:lnTo>
                    <a:lnTo>
                      <a:pt x="6083" y="10232"/>
                    </a:lnTo>
                    <a:lnTo>
                      <a:pt x="6083" y="10358"/>
                    </a:lnTo>
                    <a:lnTo>
                      <a:pt x="5928" y="10358"/>
                    </a:lnTo>
                    <a:lnTo>
                      <a:pt x="6032" y="10232"/>
                    </a:lnTo>
                    <a:lnTo>
                      <a:pt x="6032" y="9979"/>
                    </a:lnTo>
                    <a:lnTo>
                      <a:pt x="6083" y="9979"/>
                    </a:lnTo>
                    <a:lnTo>
                      <a:pt x="6083" y="9789"/>
                    </a:lnTo>
                    <a:lnTo>
                      <a:pt x="6186" y="9789"/>
                    </a:lnTo>
                    <a:lnTo>
                      <a:pt x="6186" y="9663"/>
                    </a:lnTo>
                    <a:lnTo>
                      <a:pt x="6289" y="9663"/>
                    </a:lnTo>
                    <a:lnTo>
                      <a:pt x="6289" y="9537"/>
                    </a:lnTo>
                    <a:lnTo>
                      <a:pt x="6392" y="9537"/>
                    </a:lnTo>
                    <a:lnTo>
                      <a:pt x="6392" y="9347"/>
                    </a:lnTo>
                    <a:lnTo>
                      <a:pt x="6444" y="9347"/>
                    </a:lnTo>
                    <a:lnTo>
                      <a:pt x="6444" y="9221"/>
                    </a:lnTo>
                    <a:lnTo>
                      <a:pt x="6547" y="9221"/>
                    </a:lnTo>
                    <a:lnTo>
                      <a:pt x="6547" y="9095"/>
                    </a:lnTo>
                    <a:lnTo>
                      <a:pt x="6650" y="9095"/>
                    </a:lnTo>
                    <a:lnTo>
                      <a:pt x="6650" y="9221"/>
                    </a:lnTo>
                    <a:lnTo>
                      <a:pt x="6753" y="9221"/>
                    </a:lnTo>
                    <a:lnTo>
                      <a:pt x="6650" y="9095"/>
                    </a:lnTo>
                    <a:lnTo>
                      <a:pt x="6650" y="9032"/>
                    </a:lnTo>
                    <a:lnTo>
                      <a:pt x="6547" y="9032"/>
                    </a:lnTo>
                    <a:lnTo>
                      <a:pt x="6547" y="8779"/>
                    </a:lnTo>
                    <a:lnTo>
                      <a:pt x="6908" y="8779"/>
                    </a:lnTo>
                    <a:lnTo>
                      <a:pt x="7011" y="8653"/>
                    </a:lnTo>
                    <a:lnTo>
                      <a:pt x="6805" y="8653"/>
                    </a:lnTo>
                    <a:lnTo>
                      <a:pt x="6805" y="8589"/>
                    </a:lnTo>
                    <a:lnTo>
                      <a:pt x="6650" y="8589"/>
                    </a:lnTo>
                    <a:lnTo>
                      <a:pt x="6650" y="8274"/>
                    </a:lnTo>
                    <a:lnTo>
                      <a:pt x="7166" y="8274"/>
                    </a:lnTo>
                    <a:lnTo>
                      <a:pt x="7166" y="8147"/>
                    </a:lnTo>
                    <a:lnTo>
                      <a:pt x="7011" y="8147"/>
                    </a:lnTo>
                    <a:lnTo>
                      <a:pt x="7011" y="8021"/>
                    </a:lnTo>
                    <a:lnTo>
                      <a:pt x="7114" y="7895"/>
                    </a:lnTo>
                    <a:lnTo>
                      <a:pt x="7114" y="7832"/>
                    </a:lnTo>
                    <a:lnTo>
                      <a:pt x="7372" y="7832"/>
                    </a:lnTo>
                    <a:lnTo>
                      <a:pt x="7372" y="7705"/>
                    </a:lnTo>
                    <a:lnTo>
                      <a:pt x="7269" y="7705"/>
                    </a:lnTo>
                    <a:lnTo>
                      <a:pt x="7269" y="7579"/>
                    </a:lnTo>
                    <a:lnTo>
                      <a:pt x="7166" y="7579"/>
                    </a:lnTo>
                    <a:lnTo>
                      <a:pt x="7166" y="7453"/>
                    </a:lnTo>
                    <a:lnTo>
                      <a:pt x="7372" y="7453"/>
                    </a:lnTo>
                    <a:lnTo>
                      <a:pt x="7372" y="7389"/>
                    </a:lnTo>
                    <a:lnTo>
                      <a:pt x="7836" y="7389"/>
                    </a:lnTo>
                    <a:lnTo>
                      <a:pt x="7836" y="7263"/>
                    </a:lnTo>
                    <a:lnTo>
                      <a:pt x="7733" y="7263"/>
                    </a:lnTo>
                    <a:lnTo>
                      <a:pt x="7733" y="7137"/>
                    </a:lnTo>
                    <a:lnTo>
                      <a:pt x="7990" y="7137"/>
                    </a:lnTo>
                    <a:lnTo>
                      <a:pt x="7990" y="7011"/>
                    </a:lnTo>
                    <a:lnTo>
                      <a:pt x="8454" y="7011"/>
                    </a:lnTo>
                    <a:lnTo>
                      <a:pt x="8454" y="7137"/>
                    </a:lnTo>
                    <a:lnTo>
                      <a:pt x="8558" y="7137"/>
                    </a:lnTo>
                    <a:lnTo>
                      <a:pt x="8558" y="6947"/>
                    </a:lnTo>
                    <a:lnTo>
                      <a:pt x="7887" y="6947"/>
                    </a:lnTo>
                    <a:lnTo>
                      <a:pt x="7887" y="6821"/>
                    </a:lnTo>
                    <a:lnTo>
                      <a:pt x="7990" y="6821"/>
                    </a:lnTo>
                    <a:lnTo>
                      <a:pt x="7990" y="6695"/>
                    </a:lnTo>
                    <a:lnTo>
                      <a:pt x="8248" y="6695"/>
                    </a:lnTo>
                    <a:lnTo>
                      <a:pt x="8248" y="6568"/>
                    </a:lnTo>
                    <a:lnTo>
                      <a:pt x="8094" y="6568"/>
                    </a:lnTo>
                    <a:lnTo>
                      <a:pt x="8197" y="6505"/>
                    </a:lnTo>
                    <a:lnTo>
                      <a:pt x="8351" y="6505"/>
                    </a:lnTo>
                    <a:lnTo>
                      <a:pt x="8351" y="6568"/>
                    </a:lnTo>
                    <a:lnTo>
                      <a:pt x="8712" y="6568"/>
                    </a:lnTo>
                    <a:lnTo>
                      <a:pt x="8712" y="6695"/>
                    </a:lnTo>
                    <a:lnTo>
                      <a:pt x="8815" y="6695"/>
                    </a:lnTo>
                    <a:lnTo>
                      <a:pt x="8815" y="6568"/>
                    </a:lnTo>
                    <a:lnTo>
                      <a:pt x="8970" y="6568"/>
                    </a:lnTo>
                    <a:lnTo>
                      <a:pt x="8970" y="6505"/>
                    </a:lnTo>
                    <a:lnTo>
                      <a:pt x="8712" y="6505"/>
                    </a:lnTo>
                    <a:lnTo>
                      <a:pt x="8712" y="6379"/>
                    </a:lnTo>
                    <a:lnTo>
                      <a:pt x="8558" y="6379"/>
                    </a:lnTo>
                    <a:lnTo>
                      <a:pt x="8558" y="6253"/>
                    </a:lnTo>
                    <a:lnTo>
                      <a:pt x="8609" y="6253"/>
                    </a:lnTo>
                    <a:lnTo>
                      <a:pt x="8712" y="6126"/>
                    </a:lnTo>
                    <a:lnTo>
                      <a:pt x="8815" y="6126"/>
                    </a:lnTo>
                    <a:lnTo>
                      <a:pt x="8815" y="6063"/>
                    </a:lnTo>
                    <a:lnTo>
                      <a:pt x="8712" y="6063"/>
                    </a:lnTo>
                    <a:lnTo>
                      <a:pt x="8712" y="5937"/>
                    </a:lnTo>
                    <a:lnTo>
                      <a:pt x="8609" y="5937"/>
                    </a:lnTo>
                    <a:lnTo>
                      <a:pt x="8609" y="6063"/>
                    </a:lnTo>
                    <a:lnTo>
                      <a:pt x="8454" y="6063"/>
                    </a:lnTo>
                    <a:lnTo>
                      <a:pt x="8454" y="6126"/>
                    </a:lnTo>
                    <a:lnTo>
                      <a:pt x="8248" y="6126"/>
                    </a:lnTo>
                    <a:lnTo>
                      <a:pt x="8248" y="6253"/>
                    </a:lnTo>
                    <a:lnTo>
                      <a:pt x="8197" y="6253"/>
                    </a:lnTo>
                    <a:lnTo>
                      <a:pt x="8197" y="5937"/>
                    </a:lnTo>
                    <a:lnTo>
                      <a:pt x="8248" y="5937"/>
                    </a:lnTo>
                    <a:lnTo>
                      <a:pt x="8351" y="5811"/>
                    </a:lnTo>
                    <a:lnTo>
                      <a:pt x="8454" y="5811"/>
                    </a:lnTo>
                    <a:lnTo>
                      <a:pt x="8454" y="5937"/>
                    </a:lnTo>
                    <a:lnTo>
                      <a:pt x="8558" y="5937"/>
                    </a:lnTo>
                    <a:lnTo>
                      <a:pt x="8609" y="5811"/>
                    </a:lnTo>
                    <a:lnTo>
                      <a:pt x="8918" y="5811"/>
                    </a:lnTo>
                    <a:lnTo>
                      <a:pt x="8918" y="5684"/>
                    </a:lnTo>
                    <a:lnTo>
                      <a:pt x="8970" y="5684"/>
                    </a:lnTo>
                    <a:lnTo>
                      <a:pt x="8970" y="5621"/>
                    </a:lnTo>
                    <a:lnTo>
                      <a:pt x="8815" y="5621"/>
                    </a:lnTo>
                    <a:lnTo>
                      <a:pt x="8970" y="5368"/>
                    </a:lnTo>
                    <a:lnTo>
                      <a:pt x="9073" y="5368"/>
                    </a:lnTo>
                    <a:lnTo>
                      <a:pt x="9073" y="5242"/>
                    </a:lnTo>
                    <a:lnTo>
                      <a:pt x="9176" y="5242"/>
                    </a:lnTo>
                    <a:lnTo>
                      <a:pt x="9176" y="5368"/>
                    </a:lnTo>
                    <a:lnTo>
                      <a:pt x="9279" y="5368"/>
                    </a:lnTo>
                    <a:lnTo>
                      <a:pt x="9279" y="5621"/>
                    </a:lnTo>
                    <a:lnTo>
                      <a:pt x="9331" y="5621"/>
                    </a:lnTo>
                    <a:lnTo>
                      <a:pt x="9331" y="5811"/>
                    </a:lnTo>
                    <a:lnTo>
                      <a:pt x="9537" y="5811"/>
                    </a:lnTo>
                    <a:lnTo>
                      <a:pt x="9537" y="5621"/>
                    </a:lnTo>
                    <a:lnTo>
                      <a:pt x="9640" y="5621"/>
                    </a:lnTo>
                    <a:lnTo>
                      <a:pt x="9640" y="5495"/>
                    </a:lnTo>
                    <a:lnTo>
                      <a:pt x="9537" y="5495"/>
                    </a:lnTo>
                    <a:lnTo>
                      <a:pt x="9640" y="5368"/>
                    </a:lnTo>
                    <a:lnTo>
                      <a:pt x="9692" y="5368"/>
                    </a:lnTo>
                    <a:lnTo>
                      <a:pt x="9692" y="5242"/>
                    </a:lnTo>
                    <a:lnTo>
                      <a:pt x="9795" y="5179"/>
                    </a:lnTo>
                    <a:lnTo>
                      <a:pt x="9898" y="5179"/>
                    </a:lnTo>
                    <a:lnTo>
                      <a:pt x="9898" y="5053"/>
                    </a:lnTo>
                    <a:lnTo>
                      <a:pt x="10053" y="5053"/>
                    </a:lnTo>
                    <a:lnTo>
                      <a:pt x="10053" y="5179"/>
                    </a:lnTo>
                    <a:lnTo>
                      <a:pt x="10156" y="5179"/>
                    </a:lnTo>
                    <a:lnTo>
                      <a:pt x="10156" y="5242"/>
                    </a:lnTo>
                    <a:lnTo>
                      <a:pt x="10259" y="5242"/>
                    </a:lnTo>
                    <a:lnTo>
                      <a:pt x="10362" y="5179"/>
                    </a:lnTo>
                    <a:lnTo>
                      <a:pt x="10413" y="5179"/>
                    </a:lnTo>
                    <a:lnTo>
                      <a:pt x="10413" y="5053"/>
                    </a:lnTo>
                    <a:lnTo>
                      <a:pt x="10620" y="5053"/>
                    </a:lnTo>
                    <a:lnTo>
                      <a:pt x="10620" y="4926"/>
                    </a:lnTo>
                    <a:lnTo>
                      <a:pt x="10516" y="4926"/>
                    </a:lnTo>
                    <a:lnTo>
                      <a:pt x="10413" y="4800"/>
                    </a:lnTo>
                    <a:lnTo>
                      <a:pt x="10259" y="4800"/>
                    </a:lnTo>
                    <a:lnTo>
                      <a:pt x="10156" y="4926"/>
                    </a:lnTo>
                    <a:lnTo>
                      <a:pt x="9640" y="4926"/>
                    </a:lnTo>
                    <a:lnTo>
                      <a:pt x="9640" y="4737"/>
                    </a:lnTo>
                    <a:lnTo>
                      <a:pt x="9692" y="4737"/>
                    </a:lnTo>
                    <a:lnTo>
                      <a:pt x="9795" y="4611"/>
                    </a:lnTo>
                    <a:lnTo>
                      <a:pt x="9898" y="4611"/>
                    </a:lnTo>
                    <a:lnTo>
                      <a:pt x="9898" y="4484"/>
                    </a:lnTo>
                    <a:lnTo>
                      <a:pt x="10053" y="4484"/>
                    </a:lnTo>
                    <a:lnTo>
                      <a:pt x="10156" y="4358"/>
                    </a:lnTo>
                    <a:lnTo>
                      <a:pt x="10259" y="4358"/>
                    </a:lnTo>
                    <a:lnTo>
                      <a:pt x="10259" y="4484"/>
                    </a:lnTo>
                    <a:lnTo>
                      <a:pt x="10413" y="4484"/>
                    </a:lnTo>
                    <a:lnTo>
                      <a:pt x="10413" y="4358"/>
                    </a:lnTo>
                    <a:lnTo>
                      <a:pt x="10516" y="4358"/>
                    </a:lnTo>
                    <a:lnTo>
                      <a:pt x="10516" y="4168"/>
                    </a:lnTo>
                    <a:lnTo>
                      <a:pt x="10620" y="4168"/>
                    </a:lnTo>
                    <a:lnTo>
                      <a:pt x="10620" y="4042"/>
                    </a:lnTo>
                    <a:lnTo>
                      <a:pt x="10516" y="3916"/>
                    </a:lnTo>
                    <a:lnTo>
                      <a:pt x="10516" y="3726"/>
                    </a:lnTo>
                    <a:lnTo>
                      <a:pt x="10362" y="3726"/>
                    </a:lnTo>
                    <a:lnTo>
                      <a:pt x="10362" y="3853"/>
                    </a:lnTo>
                    <a:lnTo>
                      <a:pt x="10156" y="3853"/>
                    </a:lnTo>
                    <a:lnTo>
                      <a:pt x="10156" y="3916"/>
                    </a:lnTo>
                    <a:lnTo>
                      <a:pt x="10053" y="3916"/>
                    </a:lnTo>
                    <a:lnTo>
                      <a:pt x="10053" y="3853"/>
                    </a:lnTo>
                    <a:lnTo>
                      <a:pt x="9898" y="3853"/>
                    </a:lnTo>
                    <a:lnTo>
                      <a:pt x="9898" y="3726"/>
                    </a:lnTo>
                    <a:lnTo>
                      <a:pt x="10001" y="3600"/>
                    </a:lnTo>
                    <a:lnTo>
                      <a:pt x="10001" y="3411"/>
                    </a:lnTo>
                    <a:lnTo>
                      <a:pt x="9898" y="3411"/>
                    </a:lnTo>
                    <a:lnTo>
                      <a:pt x="9898" y="3284"/>
                    </a:lnTo>
                    <a:lnTo>
                      <a:pt x="10001" y="3284"/>
                    </a:lnTo>
                    <a:lnTo>
                      <a:pt x="10053" y="3158"/>
                    </a:lnTo>
                    <a:lnTo>
                      <a:pt x="10156" y="3158"/>
                    </a:lnTo>
                    <a:lnTo>
                      <a:pt x="10156" y="3284"/>
                    </a:lnTo>
                    <a:lnTo>
                      <a:pt x="10259" y="3284"/>
                    </a:lnTo>
                    <a:lnTo>
                      <a:pt x="10259" y="3158"/>
                    </a:lnTo>
                    <a:lnTo>
                      <a:pt x="10156" y="3158"/>
                    </a:lnTo>
                    <a:lnTo>
                      <a:pt x="10156" y="3032"/>
                    </a:lnTo>
                    <a:lnTo>
                      <a:pt x="10516" y="3032"/>
                    </a:lnTo>
                    <a:lnTo>
                      <a:pt x="10413" y="2968"/>
                    </a:lnTo>
                    <a:lnTo>
                      <a:pt x="10516" y="2968"/>
                    </a:lnTo>
                    <a:lnTo>
                      <a:pt x="10516" y="2842"/>
                    </a:lnTo>
                    <a:lnTo>
                      <a:pt x="10620" y="2842"/>
                    </a:lnTo>
                    <a:lnTo>
                      <a:pt x="10620" y="2968"/>
                    </a:lnTo>
                    <a:lnTo>
                      <a:pt x="10774" y="2968"/>
                    </a:lnTo>
                    <a:lnTo>
                      <a:pt x="10774" y="3032"/>
                    </a:lnTo>
                    <a:lnTo>
                      <a:pt x="10877" y="3032"/>
                    </a:lnTo>
                    <a:lnTo>
                      <a:pt x="10877" y="3284"/>
                    </a:lnTo>
                    <a:lnTo>
                      <a:pt x="10980" y="3158"/>
                    </a:lnTo>
                    <a:lnTo>
                      <a:pt x="10980" y="3032"/>
                    </a:lnTo>
                    <a:lnTo>
                      <a:pt x="11135" y="3032"/>
                    </a:lnTo>
                    <a:lnTo>
                      <a:pt x="11135" y="3411"/>
                    </a:lnTo>
                    <a:lnTo>
                      <a:pt x="11496" y="3411"/>
                    </a:lnTo>
                    <a:lnTo>
                      <a:pt x="11496" y="3284"/>
                    </a:lnTo>
                    <a:lnTo>
                      <a:pt x="11393" y="3284"/>
                    </a:lnTo>
                    <a:lnTo>
                      <a:pt x="11341" y="3158"/>
                    </a:lnTo>
                    <a:lnTo>
                      <a:pt x="11341" y="3032"/>
                    </a:lnTo>
                    <a:lnTo>
                      <a:pt x="11599" y="3032"/>
                    </a:lnTo>
                    <a:lnTo>
                      <a:pt x="11599" y="3158"/>
                    </a:lnTo>
                    <a:lnTo>
                      <a:pt x="11702" y="3158"/>
                    </a:lnTo>
                    <a:lnTo>
                      <a:pt x="11702" y="3032"/>
                    </a:lnTo>
                    <a:lnTo>
                      <a:pt x="11754" y="3032"/>
                    </a:lnTo>
                    <a:lnTo>
                      <a:pt x="11754" y="2968"/>
                    </a:lnTo>
                    <a:lnTo>
                      <a:pt x="11702" y="2968"/>
                    </a:lnTo>
                    <a:lnTo>
                      <a:pt x="11702" y="2842"/>
                    </a:lnTo>
                    <a:lnTo>
                      <a:pt x="11599" y="2842"/>
                    </a:lnTo>
                    <a:lnTo>
                      <a:pt x="11599" y="2716"/>
                    </a:lnTo>
                    <a:lnTo>
                      <a:pt x="11702" y="2716"/>
                    </a:lnTo>
                    <a:lnTo>
                      <a:pt x="11702" y="2653"/>
                    </a:lnTo>
                    <a:lnTo>
                      <a:pt x="11754" y="2653"/>
                    </a:lnTo>
                    <a:lnTo>
                      <a:pt x="11857" y="2526"/>
                    </a:lnTo>
                    <a:lnTo>
                      <a:pt x="12218" y="2526"/>
                    </a:lnTo>
                    <a:lnTo>
                      <a:pt x="12218" y="3032"/>
                    </a:lnTo>
                    <a:lnTo>
                      <a:pt x="12115" y="3032"/>
                    </a:lnTo>
                    <a:lnTo>
                      <a:pt x="12115" y="3158"/>
                    </a:lnTo>
                    <a:lnTo>
                      <a:pt x="12218" y="3158"/>
                    </a:lnTo>
                    <a:lnTo>
                      <a:pt x="12218" y="3032"/>
                    </a:lnTo>
                    <a:lnTo>
                      <a:pt x="12321" y="3032"/>
                    </a:lnTo>
                    <a:lnTo>
                      <a:pt x="12321" y="2968"/>
                    </a:lnTo>
                    <a:lnTo>
                      <a:pt x="12475" y="2968"/>
                    </a:lnTo>
                    <a:lnTo>
                      <a:pt x="12475" y="2842"/>
                    </a:lnTo>
                    <a:lnTo>
                      <a:pt x="12321" y="2842"/>
                    </a:lnTo>
                    <a:lnTo>
                      <a:pt x="12321" y="2653"/>
                    </a:lnTo>
                    <a:lnTo>
                      <a:pt x="12424" y="2526"/>
                    </a:lnTo>
                    <a:lnTo>
                      <a:pt x="12424" y="2400"/>
                    </a:lnTo>
                    <a:lnTo>
                      <a:pt x="12475" y="2400"/>
                    </a:lnTo>
                    <a:lnTo>
                      <a:pt x="12475" y="2274"/>
                    </a:lnTo>
                    <a:lnTo>
                      <a:pt x="12579" y="2274"/>
                    </a:lnTo>
                    <a:lnTo>
                      <a:pt x="12682" y="2211"/>
                    </a:lnTo>
                    <a:lnTo>
                      <a:pt x="12785" y="2211"/>
                    </a:lnTo>
                    <a:lnTo>
                      <a:pt x="12785" y="2274"/>
                    </a:lnTo>
                    <a:lnTo>
                      <a:pt x="12836" y="2274"/>
                    </a:lnTo>
                    <a:lnTo>
                      <a:pt x="12836" y="2526"/>
                    </a:lnTo>
                    <a:lnTo>
                      <a:pt x="12785" y="2526"/>
                    </a:lnTo>
                    <a:lnTo>
                      <a:pt x="12785" y="2842"/>
                    </a:lnTo>
                    <a:lnTo>
                      <a:pt x="12682" y="2968"/>
                    </a:lnTo>
                    <a:lnTo>
                      <a:pt x="12682" y="3158"/>
                    </a:lnTo>
                    <a:lnTo>
                      <a:pt x="12579" y="3284"/>
                    </a:lnTo>
                    <a:lnTo>
                      <a:pt x="12682" y="3284"/>
                    </a:lnTo>
                    <a:lnTo>
                      <a:pt x="12682" y="3158"/>
                    </a:lnTo>
                    <a:lnTo>
                      <a:pt x="12785" y="3158"/>
                    </a:lnTo>
                    <a:lnTo>
                      <a:pt x="12785" y="2968"/>
                    </a:lnTo>
                    <a:lnTo>
                      <a:pt x="12836" y="2968"/>
                    </a:lnTo>
                    <a:lnTo>
                      <a:pt x="12836" y="2842"/>
                    </a:lnTo>
                    <a:lnTo>
                      <a:pt x="12939" y="2842"/>
                    </a:lnTo>
                    <a:lnTo>
                      <a:pt x="12836" y="2716"/>
                    </a:lnTo>
                    <a:lnTo>
                      <a:pt x="12836" y="2526"/>
                    </a:lnTo>
                    <a:lnTo>
                      <a:pt x="12939" y="2526"/>
                    </a:lnTo>
                    <a:lnTo>
                      <a:pt x="12939" y="2400"/>
                    </a:lnTo>
                    <a:lnTo>
                      <a:pt x="13146" y="2400"/>
                    </a:lnTo>
                    <a:lnTo>
                      <a:pt x="13197" y="2274"/>
                    </a:lnTo>
                    <a:lnTo>
                      <a:pt x="13300" y="2274"/>
                    </a:lnTo>
                    <a:lnTo>
                      <a:pt x="13300" y="2526"/>
                    </a:lnTo>
                    <a:lnTo>
                      <a:pt x="13403" y="2526"/>
                    </a:lnTo>
                    <a:lnTo>
                      <a:pt x="13506" y="2400"/>
                    </a:lnTo>
                    <a:lnTo>
                      <a:pt x="13506" y="2274"/>
                    </a:lnTo>
                    <a:lnTo>
                      <a:pt x="13764" y="2274"/>
                    </a:lnTo>
                    <a:lnTo>
                      <a:pt x="13764" y="2400"/>
                    </a:lnTo>
                    <a:lnTo>
                      <a:pt x="13919" y="2400"/>
                    </a:lnTo>
                    <a:lnTo>
                      <a:pt x="14022" y="2526"/>
                    </a:lnTo>
                    <a:lnTo>
                      <a:pt x="14125" y="2526"/>
                    </a:lnTo>
                    <a:lnTo>
                      <a:pt x="14125" y="2400"/>
                    </a:lnTo>
                    <a:lnTo>
                      <a:pt x="14022" y="2400"/>
                    </a:lnTo>
                    <a:lnTo>
                      <a:pt x="14022" y="2274"/>
                    </a:lnTo>
                    <a:lnTo>
                      <a:pt x="14125" y="2274"/>
                    </a:lnTo>
                    <a:lnTo>
                      <a:pt x="14125" y="2084"/>
                    </a:lnTo>
                    <a:lnTo>
                      <a:pt x="14228" y="2084"/>
                    </a:lnTo>
                    <a:lnTo>
                      <a:pt x="14228" y="1958"/>
                    </a:lnTo>
                    <a:lnTo>
                      <a:pt x="14022" y="1958"/>
                    </a:lnTo>
                    <a:lnTo>
                      <a:pt x="14022" y="2084"/>
                    </a:lnTo>
                    <a:lnTo>
                      <a:pt x="13867" y="2084"/>
                    </a:lnTo>
                    <a:lnTo>
                      <a:pt x="13867" y="1958"/>
                    </a:lnTo>
                    <a:lnTo>
                      <a:pt x="13661" y="1958"/>
                    </a:lnTo>
                    <a:lnTo>
                      <a:pt x="13661" y="1832"/>
                    </a:lnTo>
                    <a:lnTo>
                      <a:pt x="13558" y="1832"/>
                    </a:lnTo>
                    <a:lnTo>
                      <a:pt x="13506" y="1768"/>
                    </a:lnTo>
                    <a:lnTo>
                      <a:pt x="13764" y="1768"/>
                    </a:lnTo>
                    <a:lnTo>
                      <a:pt x="13867" y="1832"/>
                    </a:lnTo>
                    <a:lnTo>
                      <a:pt x="14280" y="1832"/>
                    </a:lnTo>
                    <a:lnTo>
                      <a:pt x="14280" y="1958"/>
                    </a:lnTo>
                    <a:lnTo>
                      <a:pt x="14486" y="1958"/>
                    </a:lnTo>
                    <a:lnTo>
                      <a:pt x="14486" y="1832"/>
                    </a:lnTo>
                    <a:lnTo>
                      <a:pt x="14383" y="1832"/>
                    </a:lnTo>
                    <a:lnTo>
                      <a:pt x="14383" y="1642"/>
                    </a:lnTo>
                    <a:lnTo>
                      <a:pt x="14486" y="1642"/>
                    </a:lnTo>
                    <a:lnTo>
                      <a:pt x="14486" y="1768"/>
                    </a:lnTo>
                    <a:lnTo>
                      <a:pt x="14589" y="1768"/>
                    </a:lnTo>
                    <a:lnTo>
                      <a:pt x="14589" y="1642"/>
                    </a:lnTo>
                    <a:lnTo>
                      <a:pt x="14486" y="1642"/>
                    </a:lnTo>
                    <a:lnTo>
                      <a:pt x="14486" y="1516"/>
                    </a:lnTo>
                    <a:lnTo>
                      <a:pt x="14847" y="1516"/>
                    </a:lnTo>
                    <a:lnTo>
                      <a:pt x="14847" y="1768"/>
                    </a:lnTo>
                    <a:lnTo>
                      <a:pt x="14950" y="1768"/>
                    </a:lnTo>
                    <a:lnTo>
                      <a:pt x="14950" y="1832"/>
                    </a:lnTo>
                    <a:lnTo>
                      <a:pt x="14847" y="1832"/>
                    </a:lnTo>
                    <a:lnTo>
                      <a:pt x="14847" y="1958"/>
                    </a:lnTo>
                    <a:lnTo>
                      <a:pt x="14950" y="1958"/>
                    </a:lnTo>
                    <a:lnTo>
                      <a:pt x="14950" y="2084"/>
                    </a:lnTo>
                    <a:lnTo>
                      <a:pt x="15001" y="2084"/>
                    </a:lnTo>
                    <a:lnTo>
                      <a:pt x="15001" y="2274"/>
                    </a:lnTo>
                    <a:lnTo>
                      <a:pt x="15105" y="2274"/>
                    </a:lnTo>
                    <a:lnTo>
                      <a:pt x="15208" y="2211"/>
                    </a:lnTo>
                    <a:lnTo>
                      <a:pt x="15362" y="2211"/>
                    </a:lnTo>
                    <a:lnTo>
                      <a:pt x="15362" y="2084"/>
                    </a:lnTo>
                    <a:lnTo>
                      <a:pt x="15105" y="2084"/>
                    </a:lnTo>
                    <a:lnTo>
                      <a:pt x="15105" y="1958"/>
                    </a:lnTo>
                    <a:lnTo>
                      <a:pt x="15208" y="1958"/>
                    </a:lnTo>
                    <a:lnTo>
                      <a:pt x="15208" y="1832"/>
                    </a:lnTo>
                    <a:lnTo>
                      <a:pt x="15105" y="1768"/>
                    </a:lnTo>
                    <a:lnTo>
                      <a:pt x="15208" y="1642"/>
                    </a:lnTo>
                    <a:lnTo>
                      <a:pt x="15311" y="1642"/>
                    </a:lnTo>
                    <a:lnTo>
                      <a:pt x="15311" y="1516"/>
                    </a:lnTo>
                    <a:lnTo>
                      <a:pt x="15362" y="1389"/>
                    </a:lnTo>
                    <a:lnTo>
                      <a:pt x="15568" y="1389"/>
                    </a:lnTo>
                    <a:lnTo>
                      <a:pt x="15568" y="1326"/>
                    </a:lnTo>
                    <a:lnTo>
                      <a:pt x="15620" y="1326"/>
                    </a:lnTo>
                    <a:lnTo>
                      <a:pt x="15723" y="1200"/>
                    </a:lnTo>
                    <a:lnTo>
                      <a:pt x="15929" y="1200"/>
                    </a:lnTo>
                    <a:lnTo>
                      <a:pt x="15929" y="1074"/>
                    </a:lnTo>
                    <a:lnTo>
                      <a:pt x="15981" y="1074"/>
                    </a:lnTo>
                    <a:lnTo>
                      <a:pt x="15981" y="947"/>
                    </a:lnTo>
                    <a:lnTo>
                      <a:pt x="16084" y="947"/>
                    </a:lnTo>
                    <a:lnTo>
                      <a:pt x="16084" y="884"/>
                    </a:lnTo>
                    <a:lnTo>
                      <a:pt x="16187" y="884"/>
                    </a:lnTo>
                    <a:lnTo>
                      <a:pt x="16084" y="758"/>
                    </a:lnTo>
                    <a:lnTo>
                      <a:pt x="15981" y="758"/>
                    </a:lnTo>
                    <a:lnTo>
                      <a:pt x="15981" y="505"/>
                    </a:lnTo>
                    <a:lnTo>
                      <a:pt x="16084" y="505"/>
                    </a:lnTo>
                    <a:lnTo>
                      <a:pt x="16084" y="632"/>
                    </a:lnTo>
                    <a:lnTo>
                      <a:pt x="16187" y="632"/>
                    </a:lnTo>
                    <a:lnTo>
                      <a:pt x="16187" y="316"/>
                    </a:lnTo>
                    <a:lnTo>
                      <a:pt x="16445" y="316"/>
                    </a:lnTo>
                    <a:lnTo>
                      <a:pt x="16445" y="442"/>
                    </a:lnTo>
                    <a:lnTo>
                      <a:pt x="16548" y="442"/>
                    </a:lnTo>
                    <a:lnTo>
                      <a:pt x="16548" y="316"/>
                    </a:lnTo>
                    <a:lnTo>
                      <a:pt x="16651" y="316"/>
                    </a:lnTo>
                    <a:lnTo>
                      <a:pt x="16651" y="442"/>
                    </a:lnTo>
                    <a:lnTo>
                      <a:pt x="16909" y="442"/>
                    </a:lnTo>
                    <a:lnTo>
                      <a:pt x="16909" y="505"/>
                    </a:lnTo>
                    <a:lnTo>
                      <a:pt x="17012" y="505"/>
                    </a:lnTo>
                    <a:lnTo>
                      <a:pt x="17012" y="442"/>
                    </a:lnTo>
                    <a:lnTo>
                      <a:pt x="16909" y="316"/>
                    </a:lnTo>
                    <a:lnTo>
                      <a:pt x="16909" y="189"/>
                    </a:lnTo>
                    <a:lnTo>
                      <a:pt x="17063" y="189"/>
                    </a:lnTo>
                    <a:lnTo>
                      <a:pt x="17063" y="0"/>
                    </a:lnTo>
                    <a:close/>
                    <a:moveTo>
                      <a:pt x="17063" y="0"/>
                    </a:moveTo>
                  </a:path>
                </a:pathLst>
              </a:custGeom>
              <a:solidFill>
                <a:srgbClr val="B2EAE7"/>
              </a:solidFill>
              <a:ln w="12700">
                <a:solidFill>
                  <a:srgbClr val="FFFFFF"/>
                </a:solidFill>
                <a:round/>
                <a:headEnd/>
                <a:tailEnd/>
              </a:ln>
            </p:spPr>
            <p:txBody>
              <a:bodyPr lIns="0" tIns="0" rIns="0" bIns="0"/>
              <a:lstStyle/>
              <a:p>
                <a:endParaRPr lang="en-US"/>
              </a:p>
            </p:txBody>
          </p:sp>
          <p:sp>
            <p:nvSpPr>
              <p:cNvPr id="121" name="Freeform 75"/>
              <p:cNvSpPr>
                <a:spLocks/>
              </p:cNvSpPr>
              <p:nvPr/>
            </p:nvSpPr>
            <p:spPr bwMode="auto">
              <a:xfrm>
                <a:off x="1250" y="2781"/>
                <a:ext cx="79" cy="34"/>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1600"/>
                  <a:gd name="T55" fmla="*/ 0 h 21600"/>
                  <a:gd name="T56" fmla="*/ 21600 w 21600"/>
                  <a:gd name="T57" fmla="*/ 21600 h 2160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1600" h="21600">
                    <a:moveTo>
                      <a:pt x="1543" y="0"/>
                    </a:moveTo>
                    <a:lnTo>
                      <a:pt x="4629" y="0"/>
                    </a:lnTo>
                    <a:lnTo>
                      <a:pt x="4629" y="7200"/>
                    </a:lnTo>
                    <a:lnTo>
                      <a:pt x="7714" y="7200"/>
                    </a:lnTo>
                    <a:lnTo>
                      <a:pt x="7714" y="0"/>
                    </a:lnTo>
                    <a:lnTo>
                      <a:pt x="10800" y="0"/>
                    </a:lnTo>
                    <a:lnTo>
                      <a:pt x="12343" y="7200"/>
                    </a:lnTo>
                    <a:lnTo>
                      <a:pt x="21600" y="7200"/>
                    </a:lnTo>
                    <a:lnTo>
                      <a:pt x="21600" y="14400"/>
                    </a:lnTo>
                    <a:lnTo>
                      <a:pt x="18514" y="14400"/>
                    </a:lnTo>
                    <a:lnTo>
                      <a:pt x="15429" y="21600"/>
                    </a:lnTo>
                    <a:lnTo>
                      <a:pt x="12343" y="21600"/>
                    </a:lnTo>
                    <a:lnTo>
                      <a:pt x="12343" y="14400"/>
                    </a:lnTo>
                    <a:lnTo>
                      <a:pt x="0" y="14400"/>
                    </a:lnTo>
                    <a:lnTo>
                      <a:pt x="0" y="7200"/>
                    </a:lnTo>
                    <a:lnTo>
                      <a:pt x="1543" y="7200"/>
                    </a:lnTo>
                    <a:lnTo>
                      <a:pt x="1543" y="0"/>
                    </a:lnTo>
                    <a:close/>
                    <a:moveTo>
                      <a:pt x="1543" y="0"/>
                    </a:moveTo>
                  </a:path>
                </a:pathLst>
              </a:custGeom>
              <a:solidFill>
                <a:srgbClr val="B2EAE7"/>
              </a:solidFill>
              <a:ln w="12700">
                <a:solidFill>
                  <a:srgbClr val="FFFFFF"/>
                </a:solidFill>
                <a:round/>
                <a:headEnd/>
                <a:tailEnd/>
              </a:ln>
            </p:spPr>
            <p:txBody>
              <a:bodyPr lIns="0" tIns="0" rIns="0" bIns="0"/>
              <a:lstStyle/>
              <a:p>
                <a:endParaRPr lang="en-US"/>
              </a:p>
            </p:txBody>
          </p:sp>
          <p:sp>
            <p:nvSpPr>
              <p:cNvPr id="122" name="AutoShape 76"/>
              <p:cNvSpPr>
                <a:spLocks/>
              </p:cNvSpPr>
              <p:nvPr/>
            </p:nvSpPr>
            <p:spPr bwMode="auto">
              <a:xfrm>
                <a:off x="1255" y="2531"/>
                <a:ext cx="347" cy="324"/>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1600"/>
                  <a:gd name="T157" fmla="*/ 0 h 21600"/>
                  <a:gd name="T158" fmla="*/ 21600 w 21600"/>
                  <a:gd name="T159" fmla="*/ 21600 h 216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1600" h="21600">
                    <a:moveTo>
                      <a:pt x="3187" y="14400"/>
                    </a:moveTo>
                    <a:lnTo>
                      <a:pt x="3895" y="14400"/>
                    </a:lnTo>
                    <a:lnTo>
                      <a:pt x="3895" y="15158"/>
                    </a:lnTo>
                    <a:lnTo>
                      <a:pt x="3187" y="15158"/>
                    </a:lnTo>
                    <a:lnTo>
                      <a:pt x="3187" y="14400"/>
                    </a:lnTo>
                    <a:close/>
                    <a:moveTo>
                      <a:pt x="2125" y="13642"/>
                    </a:moveTo>
                    <a:lnTo>
                      <a:pt x="3187" y="13642"/>
                    </a:lnTo>
                    <a:lnTo>
                      <a:pt x="3187" y="14400"/>
                    </a:lnTo>
                    <a:lnTo>
                      <a:pt x="2125" y="14400"/>
                    </a:lnTo>
                    <a:lnTo>
                      <a:pt x="2125" y="13642"/>
                    </a:lnTo>
                    <a:close/>
                    <a:moveTo>
                      <a:pt x="10623" y="9095"/>
                    </a:moveTo>
                    <a:lnTo>
                      <a:pt x="10623" y="9853"/>
                    </a:lnTo>
                    <a:lnTo>
                      <a:pt x="12393" y="9853"/>
                    </a:lnTo>
                    <a:lnTo>
                      <a:pt x="12393" y="9095"/>
                    </a:lnTo>
                    <a:lnTo>
                      <a:pt x="11331" y="9095"/>
                    </a:lnTo>
                    <a:lnTo>
                      <a:pt x="11331" y="9853"/>
                    </a:lnTo>
                    <a:lnTo>
                      <a:pt x="10623" y="9095"/>
                    </a:lnTo>
                    <a:close/>
                    <a:moveTo>
                      <a:pt x="16289" y="0"/>
                    </a:moveTo>
                    <a:lnTo>
                      <a:pt x="19121" y="0"/>
                    </a:lnTo>
                    <a:lnTo>
                      <a:pt x="19121" y="379"/>
                    </a:lnTo>
                    <a:lnTo>
                      <a:pt x="20538" y="379"/>
                    </a:lnTo>
                    <a:lnTo>
                      <a:pt x="20538" y="1137"/>
                    </a:lnTo>
                    <a:lnTo>
                      <a:pt x="21246" y="1137"/>
                    </a:lnTo>
                    <a:lnTo>
                      <a:pt x="21246" y="1895"/>
                    </a:lnTo>
                    <a:lnTo>
                      <a:pt x="21600" y="1895"/>
                    </a:lnTo>
                    <a:lnTo>
                      <a:pt x="21246" y="2653"/>
                    </a:lnTo>
                    <a:lnTo>
                      <a:pt x="21600" y="3032"/>
                    </a:lnTo>
                    <a:lnTo>
                      <a:pt x="21600" y="3789"/>
                    </a:lnTo>
                    <a:lnTo>
                      <a:pt x="21246" y="3789"/>
                    </a:lnTo>
                    <a:lnTo>
                      <a:pt x="21246" y="5305"/>
                    </a:lnTo>
                    <a:lnTo>
                      <a:pt x="20538" y="5305"/>
                    </a:lnTo>
                    <a:lnTo>
                      <a:pt x="20538" y="6442"/>
                    </a:lnTo>
                    <a:lnTo>
                      <a:pt x="18767" y="6442"/>
                    </a:lnTo>
                    <a:lnTo>
                      <a:pt x="18767" y="7200"/>
                    </a:lnTo>
                    <a:lnTo>
                      <a:pt x="19121" y="7200"/>
                    </a:lnTo>
                    <a:lnTo>
                      <a:pt x="18767" y="7958"/>
                    </a:lnTo>
                    <a:lnTo>
                      <a:pt x="18767" y="8337"/>
                    </a:lnTo>
                    <a:lnTo>
                      <a:pt x="20538" y="8337"/>
                    </a:lnTo>
                    <a:lnTo>
                      <a:pt x="20538" y="9853"/>
                    </a:lnTo>
                    <a:lnTo>
                      <a:pt x="19830" y="9853"/>
                    </a:lnTo>
                    <a:lnTo>
                      <a:pt x="19830" y="10989"/>
                    </a:lnTo>
                    <a:lnTo>
                      <a:pt x="18767" y="10989"/>
                    </a:lnTo>
                    <a:lnTo>
                      <a:pt x="18767" y="11747"/>
                    </a:lnTo>
                    <a:lnTo>
                      <a:pt x="19121" y="11747"/>
                    </a:lnTo>
                    <a:lnTo>
                      <a:pt x="19121" y="12505"/>
                    </a:lnTo>
                    <a:lnTo>
                      <a:pt x="18767" y="12505"/>
                    </a:lnTo>
                    <a:lnTo>
                      <a:pt x="18767" y="13263"/>
                    </a:lnTo>
                    <a:lnTo>
                      <a:pt x="18059" y="12505"/>
                    </a:lnTo>
                    <a:lnTo>
                      <a:pt x="17351" y="13263"/>
                    </a:lnTo>
                    <a:lnTo>
                      <a:pt x="14164" y="13263"/>
                    </a:lnTo>
                    <a:lnTo>
                      <a:pt x="14164" y="13642"/>
                    </a:lnTo>
                    <a:lnTo>
                      <a:pt x="14872" y="13642"/>
                    </a:lnTo>
                    <a:lnTo>
                      <a:pt x="14872" y="15158"/>
                    </a:lnTo>
                    <a:lnTo>
                      <a:pt x="15580" y="15158"/>
                    </a:lnTo>
                    <a:lnTo>
                      <a:pt x="15580" y="15916"/>
                    </a:lnTo>
                    <a:lnTo>
                      <a:pt x="16289" y="15916"/>
                    </a:lnTo>
                    <a:lnTo>
                      <a:pt x="16289" y="17053"/>
                    </a:lnTo>
                    <a:lnTo>
                      <a:pt x="15580" y="17053"/>
                    </a:lnTo>
                    <a:lnTo>
                      <a:pt x="15580" y="17811"/>
                    </a:lnTo>
                    <a:lnTo>
                      <a:pt x="14872" y="17811"/>
                    </a:lnTo>
                    <a:lnTo>
                      <a:pt x="14872" y="18568"/>
                    </a:lnTo>
                    <a:lnTo>
                      <a:pt x="15580" y="18568"/>
                    </a:lnTo>
                    <a:lnTo>
                      <a:pt x="15580" y="18947"/>
                    </a:lnTo>
                    <a:lnTo>
                      <a:pt x="14872" y="18947"/>
                    </a:lnTo>
                    <a:lnTo>
                      <a:pt x="14872" y="19705"/>
                    </a:lnTo>
                    <a:lnTo>
                      <a:pt x="14164" y="18947"/>
                    </a:lnTo>
                    <a:lnTo>
                      <a:pt x="14164" y="20463"/>
                    </a:lnTo>
                    <a:lnTo>
                      <a:pt x="14872" y="20463"/>
                    </a:lnTo>
                    <a:lnTo>
                      <a:pt x="14872" y="21600"/>
                    </a:lnTo>
                    <a:lnTo>
                      <a:pt x="13102" y="21600"/>
                    </a:lnTo>
                    <a:lnTo>
                      <a:pt x="13102" y="20463"/>
                    </a:lnTo>
                    <a:lnTo>
                      <a:pt x="13810" y="20463"/>
                    </a:lnTo>
                    <a:lnTo>
                      <a:pt x="13810" y="18568"/>
                    </a:lnTo>
                    <a:lnTo>
                      <a:pt x="12393" y="18568"/>
                    </a:lnTo>
                    <a:lnTo>
                      <a:pt x="12393" y="17811"/>
                    </a:lnTo>
                    <a:lnTo>
                      <a:pt x="10623" y="17811"/>
                    </a:lnTo>
                    <a:lnTo>
                      <a:pt x="10623" y="17053"/>
                    </a:lnTo>
                    <a:lnTo>
                      <a:pt x="9915" y="17053"/>
                    </a:lnTo>
                    <a:lnTo>
                      <a:pt x="9915" y="16295"/>
                    </a:lnTo>
                    <a:lnTo>
                      <a:pt x="8144" y="16295"/>
                    </a:lnTo>
                    <a:lnTo>
                      <a:pt x="8144" y="15916"/>
                    </a:lnTo>
                    <a:lnTo>
                      <a:pt x="7436" y="15916"/>
                    </a:lnTo>
                    <a:lnTo>
                      <a:pt x="7436" y="16295"/>
                    </a:lnTo>
                    <a:lnTo>
                      <a:pt x="7082" y="16295"/>
                    </a:lnTo>
                    <a:lnTo>
                      <a:pt x="7082" y="15916"/>
                    </a:lnTo>
                    <a:lnTo>
                      <a:pt x="6374" y="15916"/>
                    </a:lnTo>
                    <a:lnTo>
                      <a:pt x="5666" y="16295"/>
                    </a:lnTo>
                    <a:lnTo>
                      <a:pt x="5666" y="17053"/>
                    </a:lnTo>
                    <a:lnTo>
                      <a:pt x="4603" y="17053"/>
                    </a:lnTo>
                    <a:lnTo>
                      <a:pt x="3895" y="16295"/>
                    </a:lnTo>
                    <a:lnTo>
                      <a:pt x="708" y="16295"/>
                    </a:lnTo>
                    <a:lnTo>
                      <a:pt x="708" y="15916"/>
                    </a:lnTo>
                    <a:lnTo>
                      <a:pt x="0" y="15916"/>
                    </a:lnTo>
                    <a:lnTo>
                      <a:pt x="708" y="15158"/>
                    </a:lnTo>
                    <a:lnTo>
                      <a:pt x="3187" y="15158"/>
                    </a:lnTo>
                    <a:lnTo>
                      <a:pt x="3187" y="15916"/>
                    </a:lnTo>
                    <a:lnTo>
                      <a:pt x="4603" y="15916"/>
                    </a:lnTo>
                    <a:lnTo>
                      <a:pt x="4603" y="16295"/>
                    </a:lnTo>
                    <a:lnTo>
                      <a:pt x="4957" y="16295"/>
                    </a:lnTo>
                    <a:lnTo>
                      <a:pt x="4957" y="15916"/>
                    </a:lnTo>
                    <a:lnTo>
                      <a:pt x="4603" y="15916"/>
                    </a:lnTo>
                    <a:lnTo>
                      <a:pt x="4603" y="15158"/>
                    </a:lnTo>
                    <a:lnTo>
                      <a:pt x="4957" y="15158"/>
                    </a:lnTo>
                    <a:lnTo>
                      <a:pt x="4957" y="14400"/>
                    </a:lnTo>
                    <a:lnTo>
                      <a:pt x="5666" y="14400"/>
                    </a:lnTo>
                    <a:lnTo>
                      <a:pt x="5666" y="13642"/>
                    </a:lnTo>
                    <a:lnTo>
                      <a:pt x="4603" y="13642"/>
                    </a:lnTo>
                    <a:lnTo>
                      <a:pt x="4603" y="13263"/>
                    </a:lnTo>
                    <a:lnTo>
                      <a:pt x="3895" y="13263"/>
                    </a:lnTo>
                    <a:lnTo>
                      <a:pt x="3895" y="11747"/>
                    </a:lnTo>
                    <a:lnTo>
                      <a:pt x="4603" y="11747"/>
                    </a:lnTo>
                    <a:lnTo>
                      <a:pt x="4603" y="10989"/>
                    </a:lnTo>
                    <a:lnTo>
                      <a:pt x="4957" y="10989"/>
                    </a:lnTo>
                    <a:lnTo>
                      <a:pt x="4957" y="10611"/>
                    </a:lnTo>
                    <a:lnTo>
                      <a:pt x="5666" y="10611"/>
                    </a:lnTo>
                    <a:lnTo>
                      <a:pt x="5666" y="9853"/>
                    </a:lnTo>
                    <a:lnTo>
                      <a:pt x="6374" y="8337"/>
                    </a:lnTo>
                    <a:lnTo>
                      <a:pt x="7082" y="7958"/>
                    </a:lnTo>
                    <a:lnTo>
                      <a:pt x="7082" y="5305"/>
                    </a:lnTo>
                    <a:lnTo>
                      <a:pt x="7436" y="5305"/>
                    </a:lnTo>
                    <a:lnTo>
                      <a:pt x="7436" y="4547"/>
                    </a:lnTo>
                    <a:lnTo>
                      <a:pt x="8852" y="4547"/>
                    </a:lnTo>
                    <a:lnTo>
                      <a:pt x="9561" y="3789"/>
                    </a:lnTo>
                    <a:lnTo>
                      <a:pt x="9561" y="4547"/>
                    </a:lnTo>
                    <a:lnTo>
                      <a:pt x="9915" y="4547"/>
                    </a:lnTo>
                    <a:lnTo>
                      <a:pt x="9915" y="5684"/>
                    </a:lnTo>
                    <a:lnTo>
                      <a:pt x="10623" y="5684"/>
                    </a:lnTo>
                    <a:lnTo>
                      <a:pt x="9561" y="7200"/>
                    </a:lnTo>
                    <a:lnTo>
                      <a:pt x="9915" y="7200"/>
                    </a:lnTo>
                    <a:lnTo>
                      <a:pt x="9915" y="8337"/>
                    </a:lnTo>
                    <a:lnTo>
                      <a:pt x="9561" y="8337"/>
                    </a:lnTo>
                    <a:lnTo>
                      <a:pt x="9561" y="9095"/>
                    </a:lnTo>
                    <a:lnTo>
                      <a:pt x="9915" y="9095"/>
                    </a:lnTo>
                    <a:lnTo>
                      <a:pt x="9915" y="8337"/>
                    </a:lnTo>
                    <a:lnTo>
                      <a:pt x="10623" y="8337"/>
                    </a:lnTo>
                    <a:lnTo>
                      <a:pt x="10623" y="7958"/>
                    </a:lnTo>
                    <a:lnTo>
                      <a:pt x="12039" y="7958"/>
                    </a:lnTo>
                    <a:lnTo>
                      <a:pt x="12039" y="7200"/>
                    </a:lnTo>
                    <a:lnTo>
                      <a:pt x="13810" y="7200"/>
                    </a:lnTo>
                    <a:lnTo>
                      <a:pt x="13810" y="6442"/>
                    </a:lnTo>
                    <a:lnTo>
                      <a:pt x="12393" y="6442"/>
                    </a:lnTo>
                    <a:lnTo>
                      <a:pt x="12393" y="5305"/>
                    </a:lnTo>
                    <a:lnTo>
                      <a:pt x="12039" y="5305"/>
                    </a:lnTo>
                    <a:lnTo>
                      <a:pt x="12039" y="4547"/>
                    </a:lnTo>
                    <a:lnTo>
                      <a:pt x="11331" y="3789"/>
                    </a:lnTo>
                    <a:lnTo>
                      <a:pt x="9915" y="3789"/>
                    </a:lnTo>
                    <a:lnTo>
                      <a:pt x="10623" y="3032"/>
                    </a:lnTo>
                    <a:lnTo>
                      <a:pt x="10623" y="2653"/>
                    </a:lnTo>
                    <a:lnTo>
                      <a:pt x="11331" y="2653"/>
                    </a:lnTo>
                    <a:lnTo>
                      <a:pt x="12039" y="1895"/>
                    </a:lnTo>
                    <a:lnTo>
                      <a:pt x="12039" y="1137"/>
                    </a:lnTo>
                    <a:lnTo>
                      <a:pt x="13102" y="1137"/>
                    </a:lnTo>
                    <a:lnTo>
                      <a:pt x="13102" y="379"/>
                    </a:lnTo>
                    <a:lnTo>
                      <a:pt x="16289" y="379"/>
                    </a:lnTo>
                    <a:lnTo>
                      <a:pt x="16289" y="0"/>
                    </a:lnTo>
                    <a:close/>
                    <a:moveTo>
                      <a:pt x="16289" y="0"/>
                    </a:moveTo>
                  </a:path>
                </a:pathLst>
              </a:custGeom>
              <a:solidFill>
                <a:srgbClr val="B2EAE7"/>
              </a:solidFill>
              <a:ln w="12700">
                <a:solidFill>
                  <a:srgbClr val="FFFFFF"/>
                </a:solidFill>
                <a:round/>
                <a:headEnd/>
                <a:tailEnd/>
              </a:ln>
            </p:spPr>
            <p:txBody>
              <a:bodyPr lIns="0" tIns="0" rIns="0" bIns="0"/>
              <a:lstStyle/>
              <a:p>
                <a:endParaRPr lang="en-US"/>
              </a:p>
            </p:txBody>
          </p:sp>
          <p:sp>
            <p:nvSpPr>
              <p:cNvPr id="123" name="AutoShape 77"/>
              <p:cNvSpPr>
                <a:spLocks/>
              </p:cNvSpPr>
              <p:nvPr/>
            </p:nvSpPr>
            <p:spPr bwMode="auto">
              <a:xfrm>
                <a:off x="2625" y="3690"/>
                <a:ext cx="170" cy="18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00"/>
                  <a:gd name="T103" fmla="*/ 0 h 21600"/>
                  <a:gd name="T104" fmla="*/ 21600 w 21600"/>
                  <a:gd name="T105" fmla="*/ 21600 h 2160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00" h="21600">
                    <a:moveTo>
                      <a:pt x="10080" y="20291"/>
                    </a:moveTo>
                    <a:lnTo>
                      <a:pt x="11520" y="21600"/>
                    </a:lnTo>
                    <a:lnTo>
                      <a:pt x="10080" y="21600"/>
                    </a:lnTo>
                    <a:lnTo>
                      <a:pt x="10080" y="20291"/>
                    </a:lnTo>
                    <a:close/>
                    <a:moveTo>
                      <a:pt x="6480" y="0"/>
                    </a:moveTo>
                    <a:lnTo>
                      <a:pt x="8640" y="0"/>
                    </a:lnTo>
                    <a:lnTo>
                      <a:pt x="10080" y="1309"/>
                    </a:lnTo>
                    <a:lnTo>
                      <a:pt x="11520" y="1309"/>
                    </a:lnTo>
                    <a:lnTo>
                      <a:pt x="11520" y="1964"/>
                    </a:lnTo>
                    <a:lnTo>
                      <a:pt x="12960" y="1964"/>
                    </a:lnTo>
                    <a:lnTo>
                      <a:pt x="12960" y="3273"/>
                    </a:lnTo>
                    <a:lnTo>
                      <a:pt x="13680" y="3273"/>
                    </a:lnTo>
                    <a:lnTo>
                      <a:pt x="13680" y="4582"/>
                    </a:lnTo>
                    <a:lnTo>
                      <a:pt x="15120" y="4582"/>
                    </a:lnTo>
                    <a:lnTo>
                      <a:pt x="15120" y="5891"/>
                    </a:lnTo>
                    <a:lnTo>
                      <a:pt x="18000" y="5891"/>
                    </a:lnTo>
                    <a:lnTo>
                      <a:pt x="18000" y="6545"/>
                    </a:lnTo>
                    <a:lnTo>
                      <a:pt x="20160" y="6545"/>
                    </a:lnTo>
                    <a:lnTo>
                      <a:pt x="20160" y="7855"/>
                    </a:lnTo>
                    <a:lnTo>
                      <a:pt x="21600" y="7855"/>
                    </a:lnTo>
                    <a:lnTo>
                      <a:pt x="21600" y="9164"/>
                    </a:lnTo>
                    <a:lnTo>
                      <a:pt x="20160" y="9164"/>
                    </a:lnTo>
                    <a:lnTo>
                      <a:pt x="20160" y="10473"/>
                    </a:lnTo>
                    <a:lnTo>
                      <a:pt x="18720" y="10473"/>
                    </a:lnTo>
                    <a:lnTo>
                      <a:pt x="18720" y="9164"/>
                    </a:lnTo>
                    <a:lnTo>
                      <a:pt x="18000" y="9164"/>
                    </a:lnTo>
                    <a:lnTo>
                      <a:pt x="18000" y="13745"/>
                    </a:lnTo>
                    <a:lnTo>
                      <a:pt x="15120" y="13745"/>
                    </a:lnTo>
                    <a:lnTo>
                      <a:pt x="15120" y="11127"/>
                    </a:lnTo>
                    <a:lnTo>
                      <a:pt x="13680" y="11127"/>
                    </a:lnTo>
                    <a:lnTo>
                      <a:pt x="13680" y="13745"/>
                    </a:lnTo>
                    <a:lnTo>
                      <a:pt x="12960" y="13745"/>
                    </a:lnTo>
                    <a:lnTo>
                      <a:pt x="12960" y="15055"/>
                    </a:lnTo>
                    <a:lnTo>
                      <a:pt x="11520" y="15055"/>
                    </a:lnTo>
                    <a:lnTo>
                      <a:pt x="11520" y="15709"/>
                    </a:lnTo>
                    <a:lnTo>
                      <a:pt x="10080" y="17018"/>
                    </a:lnTo>
                    <a:lnTo>
                      <a:pt x="10080" y="18327"/>
                    </a:lnTo>
                    <a:lnTo>
                      <a:pt x="11520" y="18327"/>
                    </a:lnTo>
                    <a:lnTo>
                      <a:pt x="11520" y="20291"/>
                    </a:lnTo>
                    <a:lnTo>
                      <a:pt x="7920" y="20291"/>
                    </a:lnTo>
                    <a:lnTo>
                      <a:pt x="7920" y="18327"/>
                    </a:lnTo>
                    <a:lnTo>
                      <a:pt x="6480" y="18327"/>
                    </a:lnTo>
                    <a:lnTo>
                      <a:pt x="5040" y="17018"/>
                    </a:lnTo>
                    <a:lnTo>
                      <a:pt x="3600" y="17018"/>
                    </a:lnTo>
                    <a:lnTo>
                      <a:pt x="3600" y="15709"/>
                    </a:lnTo>
                    <a:lnTo>
                      <a:pt x="2880" y="15709"/>
                    </a:lnTo>
                    <a:lnTo>
                      <a:pt x="2880" y="15055"/>
                    </a:lnTo>
                    <a:lnTo>
                      <a:pt x="3600" y="15055"/>
                    </a:lnTo>
                    <a:lnTo>
                      <a:pt x="3600" y="13745"/>
                    </a:lnTo>
                    <a:lnTo>
                      <a:pt x="1440" y="13745"/>
                    </a:lnTo>
                    <a:lnTo>
                      <a:pt x="1440" y="11127"/>
                    </a:lnTo>
                    <a:lnTo>
                      <a:pt x="2880" y="11127"/>
                    </a:lnTo>
                    <a:lnTo>
                      <a:pt x="2880" y="10473"/>
                    </a:lnTo>
                    <a:lnTo>
                      <a:pt x="1440" y="10473"/>
                    </a:lnTo>
                    <a:lnTo>
                      <a:pt x="1440" y="7855"/>
                    </a:lnTo>
                    <a:lnTo>
                      <a:pt x="0" y="7855"/>
                    </a:lnTo>
                    <a:lnTo>
                      <a:pt x="0" y="5891"/>
                    </a:lnTo>
                    <a:lnTo>
                      <a:pt x="2880" y="5891"/>
                    </a:lnTo>
                    <a:lnTo>
                      <a:pt x="2880" y="3273"/>
                    </a:lnTo>
                    <a:lnTo>
                      <a:pt x="3600" y="3273"/>
                    </a:lnTo>
                    <a:lnTo>
                      <a:pt x="3600" y="1964"/>
                    </a:lnTo>
                    <a:lnTo>
                      <a:pt x="6480" y="1964"/>
                    </a:lnTo>
                    <a:lnTo>
                      <a:pt x="6480" y="3273"/>
                    </a:lnTo>
                    <a:lnTo>
                      <a:pt x="7920" y="3273"/>
                    </a:lnTo>
                    <a:lnTo>
                      <a:pt x="7920" y="1309"/>
                    </a:lnTo>
                    <a:lnTo>
                      <a:pt x="6480" y="1309"/>
                    </a:lnTo>
                    <a:lnTo>
                      <a:pt x="6480" y="0"/>
                    </a:lnTo>
                    <a:close/>
                    <a:moveTo>
                      <a:pt x="6480" y="0"/>
                    </a:moveTo>
                  </a:path>
                </a:pathLst>
              </a:custGeom>
              <a:solidFill>
                <a:srgbClr val="B2EAE7"/>
              </a:solidFill>
              <a:ln w="12700">
                <a:solidFill>
                  <a:srgbClr val="FFFFFF"/>
                </a:solidFill>
                <a:round/>
                <a:headEnd/>
                <a:tailEnd/>
              </a:ln>
            </p:spPr>
            <p:txBody>
              <a:bodyPr lIns="0" tIns="0" rIns="0" bIns="0"/>
              <a:lstStyle/>
              <a:p>
                <a:endParaRPr lang="en-US"/>
              </a:p>
            </p:txBody>
          </p:sp>
          <p:sp>
            <p:nvSpPr>
              <p:cNvPr id="124" name="AutoShape 78"/>
              <p:cNvSpPr>
                <a:spLocks/>
              </p:cNvSpPr>
              <p:nvPr/>
            </p:nvSpPr>
            <p:spPr bwMode="auto">
              <a:xfrm>
                <a:off x="3369" y="3133"/>
                <a:ext cx="320" cy="347"/>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1600"/>
                  <a:gd name="T172" fmla="*/ 0 h 21600"/>
                  <a:gd name="T173" fmla="*/ 21600 w 21600"/>
                  <a:gd name="T174" fmla="*/ 21600 h 2160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1600" h="21600">
                    <a:moveTo>
                      <a:pt x="0" y="708"/>
                    </a:moveTo>
                    <a:lnTo>
                      <a:pt x="771" y="708"/>
                    </a:lnTo>
                    <a:lnTo>
                      <a:pt x="771" y="1416"/>
                    </a:lnTo>
                    <a:lnTo>
                      <a:pt x="0" y="1416"/>
                    </a:lnTo>
                    <a:lnTo>
                      <a:pt x="0" y="708"/>
                    </a:lnTo>
                    <a:close/>
                    <a:moveTo>
                      <a:pt x="3471" y="0"/>
                    </a:moveTo>
                    <a:lnTo>
                      <a:pt x="4243" y="0"/>
                    </a:lnTo>
                    <a:lnTo>
                      <a:pt x="4243" y="708"/>
                    </a:lnTo>
                    <a:lnTo>
                      <a:pt x="4629" y="708"/>
                    </a:lnTo>
                    <a:lnTo>
                      <a:pt x="4629" y="0"/>
                    </a:lnTo>
                    <a:lnTo>
                      <a:pt x="6943" y="0"/>
                    </a:lnTo>
                    <a:lnTo>
                      <a:pt x="6943" y="708"/>
                    </a:lnTo>
                    <a:lnTo>
                      <a:pt x="8871" y="708"/>
                    </a:lnTo>
                    <a:lnTo>
                      <a:pt x="8871" y="1416"/>
                    </a:lnTo>
                    <a:lnTo>
                      <a:pt x="10029" y="1416"/>
                    </a:lnTo>
                    <a:lnTo>
                      <a:pt x="10029" y="1770"/>
                    </a:lnTo>
                    <a:lnTo>
                      <a:pt x="10800" y="1770"/>
                    </a:lnTo>
                    <a:lnTo>
                      <a:pt x="10800" y="2479"/>
                    </a:lnTo>
                    <a:lnTo>
                      <a:pt x="11571" y="2479"/>
                    </a:lnTo>
                    <a:lnTo>
                      <a:pt x="11571" y="1770"/>
                    </a:lnTo>
                    <a:lnTo>
                      <a:pt x="12343" y="1770"/>
                    </a:lnTo>
                    <a:lnTo>
                      <a:pt x="12343" y="2479"/>
                    </a:lnTo>
                    <a:lnTo>
                      <a:pt x="13500" y="2479"/>
                    </a:lnTo>
                    <a:lnTo>
                      <a:pt x="13500" y="3187"/>
                    </a:lnTo>
                    <a:lnTo>
                      <a:pt x="14271" y="3187"/>
                    </a:lnTo>
                    <a:lnTo>
                      <a:pt x="14271" y="3895"/>
                    </a:lnTo>
                    <a:lnTo>
                      <a:pt x="15043" y="3895"/>
                    </a:lnTo>
                    <a:lnTo>
                      <a:pt x="15043" y="3187"/>
                    </a:lnTo>
                    <a:lnTo>
                      <a:pt x="15429" y="3187"/>
                    </a:lnTo>
                    <a:lnTo>
                      <a:pt x="16200" y="3895"/>
                    </a:lnTo>
                    <a:lnTo>
                      <a:pt x="16200" y="6374"/>
                    </a:lnTo>
                    <a:lnTo>
                      <a:pt x="15429" y="6374"/>
                    </a:lnTo>
                    <a:lnTo>
                      <a:pt x="15429" y="7436"/>
                    </a:lnTo>
                    <a:lnTo>
                      <a:pt x="16971" y="7436"/>
                    </a:lnTo>
                    <a:lnTo>
                      <a:pt x="16971" y="8144"/>
                    </a:lnTo>
                    <a:lnTo>
                      <a:pt x="18129" y="8144"/>
                    </a:lnTo>
                    <a:lnTo>
                      <a:pt x="18129" y="9915"/>
                    </a:lnTo>
                    <a:lnTo>
                      <a:pt x="18900" y="9915"/>
                    </a:lnTo>
                    <a:lnTo>
                      <a:pt x="18900" y="11331"/>
                    </a:lnTo>
                    <a:lnTo>
                      <a:pt x="20057" y="11331"/>
                    </a:lnTo>
                    <a:lnTo>
                      <a:pt x="20057" y="11685"/>
                    </a:lnTo>
                    <a:lnTo>
                      <a:pt x="20829" y="11685"/>
                    </a:lnTo>
                    <a:lnTo>
                      <a:pt x="20829" y="14164"/>
                    </a:lnTo>
                    <a:lnTo>
                      <a:pt x="21600" y="14164"/>
                    </a:lnTo>
                    <a:lnTo>
                      <a:pt x="21600" y="14872"/>
                    </a:lnTo>
                    <a:lnTo>
                      <a:pt x="20057" y="14872"/>
                    </a:lnTo>
                    <a:lnTo>
                      <a:pt x="20057" y="14164"/>
                    </a:lnTo>
                    <a:lnTo>
                      <a:pt x="19671" y="14872"/>
                    </a:lnTo>
                    <a:lnTo>
                      <a:pt x="18129" y="14872"/>
                    </a:lnTo>
                    <a:lnTo>
                      <a:pt x="18129" y="14164"/>
                    </a:lnTo>
                    <a:lnTo>
                      <a:pt x="16971" y="14164"/>
                    </a:lnTo>
                    <a:lnTo>
                      <a:pt x="16971" y="14872"/>
                    </a:lnTo>
                    <a:lnTo>
                      <a:pt x="16200" y="14872"/>
                    </a:lnTo>
                    <a:lnTo>
                      <a:pt x="16200" y="13810"/>
                    </a:lnTo>
                    <a:lnTo>
                      <a:pt x="15429" y="13810"/>
                    </a:lnTo>
                    <a:lnTo>
                      <a:pt x="15043" y="14164"/>
                    </a:lnTo>
                    <a:lnTo>
                      <a:pt x="14271" y="14164"/>
                    </a:lnTo>
                    <a:lnTo>
                      <a:pt x="14271" y="14872"/>
                    </a:lnTo>
                    <a:lnTo>
                      <a:pt x="15043" y="14872"/>
                    </a:lnTo>
                    <a:lnTo>
                      <a:pt x="15043" y="15580"/>
                    </a:lnTo>
                    <a:lnTo>
                      <a:pt x="14271" y="15580"/>
                    </a:lnTo>
                    <a:lnTo>
                      <a:pt x="14271" y="16289"/>
                    </a:lnTo>
                    <a:lnTo>
                      <a:pt x="15043" y="16289"/>
                    </a:lnTo>
                    <a:lnTo>
                      <a:pt x="15043" y="16643"/>
                    </a:lnTo>
                    <a:lnTo>
                      <a:pt x="14271" y="16643"/>
                    </a:lnTo>
                    <a:lnTo>
                      <a:pt x="14271" y="18059"/>
                    </a:lnTo>
                    <a:lnTo>
                      <a:pt x="13500" y="18059"/>
                    </a:lnTo>
                    <a:lnTo>
                      <a:pt x="13500" y="18767"/>
                    </a:lnTo>
                    <a:lnTo>
                      <a:pt x="12729" y="18767"/>
                    </a:lnTo>
                    <a:lnTo>
                      <a:pt x="12729" y="19121"/>
                    </a:lnTo>
                    <a:lnTo>
                      <a:pt x="12343" y="19121"/>
                    </a:lnTo>
                    <a:lnTo>
                      <a:pt x="12343" y="19830"/>
                    </a:lnTo>
                    <a:lnTo>
                      <a:pt x="11571" y="19830"/>
                    </a:lnTo>
                    <a:lnTo>
                      <a:pt x="11571" y="20538"/>
                    </a:lnTo>
                    <a:lnTo>
                      <a:pt x="10800" y="20538"/>
                    </a:lnTo>
                    <a:lnTo>
                      <a:pt x="10029" y="20892"/>
                    </a:lnTo>
                    <a:lnTo>
                      <a:pt x="10029" y="21600"/>
                    </a:lnTo>
                    <a:lnTo>
                      <a:pt x="9643" y="21600"/>
                    </a:lnTo>
                    <a:lnTo>
                      <a:pt x="9643" y="18059"/>
                    </a:lnTo>
                    <a:lnTo>
                      <a:pt x="8871" y="18059"/>
                    </a:lnTo>
                    <a:lnTo>
                      <a:pt x="8871" y="17351"/>
                    </a:lnTo>
                    <a:lnTo>
                      <a:pt x="9643" y="17351"/>
                    </a:lnTo>
                    <a:lnTo>
                      <a:pt x="9643" y="15580"/>
                    </a:lnTo>
                    <a:lnTo>
                      <a:pt x="10029" y="15580"/>
                    </a:lnTo>
                    <a:lnTo>
                      <a:pt x="10029" y="12393"/>
                    </a:lnTo>
                    <a:lnTo>
                      <a:pt x="9643" y="12393"/>
                    </a:lnTo>
                    <a:lnTo>
                      <a:pt x="9643" y="11331"/>
                    </a:lnTo>
                    <a:lnTo>
                      <a:pt x="8871" y="10623"/>
                    </a:lnTo>
                    <a:lnTo>
                      <a:pt x="8871" y="9915"/>
                    </a:lnTo>
                    <a:lnTo>
                      <a:pt x="8100" y="9915"/>
                    </a:lnTo>
                    <a:lnTo>
                      <a:pt x="8100" y="9207"/>
                    </a:lnTo>
                    <a:lnTo>
                      <a:pt x="7329" y="9207"/>
                    </a:lnTo>
                    <a:lnTo>
                      <a:pt x="7329" y="8852"/>
                    </a:lnTo>
                    <a:lnTo>
                      <a:pt x="6943" y="8852"/>
                    </a:lnTo>
                    <a:lnTo>
                      <a:pt x="6943" y="8144"/>
                    </a:lnTo>
                    <a:lnTo>
                      <a:pt x="6171" y="8144"/>
                    </a:lnTo>
                    <a:lnTo>
                      <a:pt x="6171" y="7436"/>
                    </a:lnTo>
                    <a:lnTo>
                      <a:pt x="5400" y="7436"/>
                    </a:lnTo>
                    <a:lnTo>
                      <a:pt x="5400" y="6728"/>
                    </a:lnTo>
                    <a:lnTo>
                      <a:pt x="4629" y="6728"/>
                    </a:lnTo>
                    <a:lnTo>
                      <a:pt x="4629" y="5666"/>
                    </a:lnTo>
                    <a:lnTo>
                      <a:pt x="4243" y="5666"/>
                    </a:lnTo>
                    <a:lnTo>
                      <a:pt x="4243" y="3895"/>
                    </a:lnTo>
                    <a:lnTo>
                      <a:pt x="3471" y="3895"/>
                    </a:lnTo>
                    <a:lnTo>
                      <a:pt x="3471" y="2479"/>
                    </a:lnTo>
                    <a:lnTo>
                      <a:pt x="2700" y="2479"/>
                    </a:lnTo>
                    <a:lnTo>
                      <a:pt x="2700" y="1770"/>
                    </a:lnTo>
                    <a:lnTo>
                      <a:pt x="1543" y="1770"/>
                    </a:lnTo>
                    <a:lnTo>
                      <a:pt x="1543" y="1416"/>
                    </a:lnTo>
                    <a:lnTo>
                      <a:pt x="771" y="1416"/>
                    </a:lnTo>
                    <a:lnTo>
                      <a:pt x="1543" y="708"/>
                    </a:lnTo>
                    <a:lnTo>
                      <a:pt x="3471" y="708"/>
                    </a:lnTo>
                    <a:lnTo>
                      <a:pt x="3471" y="0"/>
                    </a:lnTo>
                    <a:close/>
                    <a:moveTo>
                      <a:pt x="3471" y="0"/>
                    </a:moveTo>
                  </a:path>
                </a:pathLst>
              </a:custGeom>
              <a:solidFill>
                <a:srgbClr val="B2EAE7"/>
              </a:solidFill>
              <a:ln w="12700">
                <a:solidFill>
                  <a:srgbClr val="FFFFFF"/>
                </a:solidFill>
                <a:round/>
                <a:headEnd/>
                <a:tailEnd/>
              </a:ln>
            </p:spPr>
            <p:txBody>
              <a:bodyPr lIns="0" tIns="0" rIns="0" bIns="0"/>
              <a:lstStyle/>
              <a:p>
                <a:endParaRPr lang="en-US"/>
              </a:p>
            </p:txBody>
          </p:sp>
          <p:sp>
            <p:nvSpPr>
              <p:cNvPr id="125" name="Freeform 79"/>
              <p:cNvSpPr>
                <a:spLocks/>
              </p:cNvSpPr>
              <p:nvPr/>
            </p:nvSpPr>
            <p:spPr bwMode="auto">
              <a:xfrm>
                <a:off x="2812" y="3826"/>
                <a:ext cx="233" cy="16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w 21600"/>
                  <a:gd name="T117" fmla="*/ 0 h 21600"/>
                  <a:gd name="T118" fmla="*/ 0 w 21600"/>
                  <a:gd name="T119" fmla="*/ 0 h 21600"/>
                  <a:gd name="T120" fmla="*/ 0 w 21600"/>
                  <a:gd name="T121" fmla="*/ 0 h 21600"/>
                  <a:gd name="T122" fmla="*/ 0 w 21600"/>
                  <a:gd name="T123" fmla="*/ 0 h 216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1600"/>
                  <a:gd name="T187" fmla="*/ 0 h 21600"/>
                  <a:gd name="T188" fmla="*/ 21600 w 21600"/>
                  <a:gd name="T189" fmla="*/ 21600 h 2160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1600" h="21600">
                    <a:moveTo>
                      <a:pt x="10537" y="0"/>
                    </a:moveTo>
                    <a:lnTo>
                      <a:pt x="15805" y="0"/>
                    </a:lnTo>
                    <a:lnTo>
                      <a:pt x="15805" y="1543"/>
                    </a:lnTo>
                    <a:lnTo>
                      <a:pt x="16859" y="1543"/>
                    </a:lnTo>
                    <a:lnTo>
                      <a:pt x="16859" y="3086"/>
                    </a:lnTo>
                    <a:lnTo>
                      <a:pt x="17912" y="3086"/>
                    </a:lnTo>
                    <a:lnTo>
                      <a:pt x="18439" y="4629"/>
                    </a:lnTo>
                    <a:lnTo>
                      <a:pt x="20546" y="4629"/>
                    </a:lnTo>
                    <a:lnTo>
                      <a:pt x="20546" y="8486"/>
                    </a:lnTo>
                    <a:lnTo>
                      <a:pt x="21600" y="8486"/>
                    </a:lnTo>
                    <a:lnTo>
                      <a:pt x="21600" y="10029"/>
                    </a:lnTo>
                    <a:lnTo>
                      <a:pt x="20546" y="10029"/>
                    </a:lnTo>
                    <a:lnTo>
                      <a:pt x="20546" y="12343"/>
                    </a:lnTo>
                    <a:lnTo>
                      <a:pt x="21600" y="12343"/>
                    </a:lnTo>
                    <a:lnTo>
                      <a:pt x="21600" y="13886"/>
                    </a:lnTo>
                    <a:lnTo>
                      <a:pt x="19493" y="13886"/>
                    </a:lnTo>
                    <a:lnTo>
                      <a:pt x="19493" y="16200"/>
                    </a:lnTo>
                    <a:lnTo>
                      <a:pt x="17912" y="16200"/>
                    </a:lnTo>
                    <a:lnTo>
                      <a:pt x="17912" y="17743"/>
                    </a:lnTo>
                    <a:lnTo>
                      <a:pt x="16859" y="16200"/>
                    </a:lnTo>
                    <a:lnTo>
                      <a:pt x="13171" y="16200"/>
                    </a:lnTo>
                    <a:lnTo>
                      <a:pt x="12117" y="17743"/>
                    </a:lnTo>
                    <a:lnTo>
                      <a:pt x="12117" y="19286"/>
                    </a:lnTo>
                    <a:lnTo>
                      <a:pt x="11063" y="19286"/>
                    </a:lnTo>
                    <a:lnTo>
                      <a:pt x="11063" y="20829"/>
                    </a:lnTo>
                    <a:lnTo>
                      <a:pt x="9483" y="20829"/>
                    </a:lnTo>
                    <a:lnTo>
                      <a:pt x="9483" y="21600"/>
                    </a:lnTo>
                    <a:lnTo>
                      <a:pt x="8429" y="21600"/>
                    </a:lnTo>
                    <a:lnTo>
                      <a:pt x="8429" y="20829"/>
                    </a:lnTo>
                    <a:lnTo>
                      <a:pt x="7376" y="20829"/>
                    </a:lnTo>
                    <a:lnTo>
                      <a:pt x="7376" y="21600"/>
                    </a:lnTo>
                    <a:lnTo>
                      <a:pt x="3688" y="21600"/>
                    </a:lnTo>
                    <a:lnTo>
                      <a:pt x="3688" y="20829"/>
                    </a:lnTo>
                    <a:lnTo>
                      <a:pt x="2107" y="20829"/>
                    </a:lnTo>
                    <a:lnTo>
                      <a:pt x="2107" y="19286"/>
                    </a:lnTo>
                    <a:lnTo>
                      <a:pt x="1054" y="19286"/>
                    </a:lnTo>
                    <a:lnTo>
                      <a:pt x="1054" y="17743"/>
                    </a:lnTo>
                    <a:lnTo>
                      <a:pt x="0" y="17743"/>
                    </a:lnTo>
                    <a:lnTo>
                      <a:pt x="0" y="13886"/>
                    </a:lnTo>
                    <a:lnTo>
                      <a:pt x="1054" y="13886"/>
                    </a:lnTo>
                    <a:lnTo>
                      <a:pt x="1054" y="12343"/>
                    </a:lnTo>
                    <a:lnTo>
                      <a:pt x="0" y="12343"/>
                    </a:lnTo>
                    <a:lnTo>
                      <a:pt x="0" y="10800"/>
                    </a:lnTo>
                    <a:lnTo>
                      <a:pt x="1054" y="10800"/>
                    </a:lnTo>
                    <a:lnTo>
                      <a:pt x="1054" y="10029"/>
                    </a:lnTo>
                    <a:lnTo>
                      <a:pt x="0" y="10029"/>
                    </a:lnTo>
                    <a:lnTo>
                      <a:pt x="0" y="8486"/>
                    </a:lnTo>
                    <a:lnTo>
                      <a:pt x="1054" y="8486"/>
                    </a:lnTo>
                    <a:lnTo>
                      <a:pt x="1054" y="6943"/>
                    </a:lnTo>
                    <a:lnTo>
                      <a:pt x="2107" y="6943"/>
                    </a:lnTo>
                    <a:lnTo>
                      <a:pt x="2107" y="4629"/>
                    </a:lnTo>
                    <a:lnTo>
                      <a:pt x="3161" y="4629"/>
                    </a:lnTo>
                    <a:lnTo>
                      <a:pt x="3161" y="3086"/>
                    </a:lnTo>
                    <a:lnTo>
                      <a:pt x="3688" y="3086"/>
                    </a:lnTo>
                    <a:lnTo>
                      <a:pt x="3688" y="1543"/>
                    </a:lnTo>
                    <a:lnTo>
                      <a:pt x="5795" y="1543"/>
                    </a:lnTo>
                    <a:lnTo>
                      <a:pt x="5795" y="3086"/>
                    </a:lnTo>
                    <a:lnTo>
                      <a:pt x="6849" y="3086"/>
                    </a:lnTo>
                    <a:lnTo>
                      <a:pt x="6849" y="1543"/>
                    </a:lnTo>
                    <a:lnTo>
                      <a:pt x="10537" y="1543"/>
                    </a:lnTo>
                    <a:lnTo>
                      <a:pt x="10537" y="0"/>
                    </a:lnTo>
                    <a:close/>
                    <a:moveTo>
                      <a:pt x="10537" y="0"/>
                    </a:moveTo>
                  </a:path>
                </a:pathLst>
              </a:custGeom>
              <a:solidFill>
                <a:srgbClr val="B2EAE7"/>
              </a:solidFill>
              <a:ln w="12700">
                <a:solidFill>
                  <a:srgbClr val="FFFFFF"/>
                </a:solidFill>
                <a:round/>
                <a:headEnd/>
                <a:tailEnd/>
              </a:ln>
            </p:spPr>
            <p:txBody>
              <a:bodyPr lIns="0" tIns="0" rIns="0" bIns="0"/>
              <a:lstStyle/>
              <a:p>
                <a:endParaRPr lang="en-US"/>
              </a:p>
            </p:txBody>
          </p:sp>
          <p:sp>
            <p:nvSpPr>
              <p:cNvPr id="126" name="Freeform 80"/>
              <p:cNvSpPr>
                <a:spLocks/>
              </p:cNvSpPr>
              <p:nvPr/>
            </p:nvSpPr>
            <p:spPr bwMode="auto">
              <a:xfrm>
                <a:off x="1477" y="2923"/>
                <a:ext cx="57" cy="79"/>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600"/>
                  <a:gd name="T61" fmla="*/ 0 h 21600"/>
                  <a:gd name="T62" fmla="*/ 21600 w 21600"/>
                  <a:gd name="T63" fmla="*/ 21600 h 2160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600" h="21600">
                    <a:moveTo>
                      <a:pt x="6480" y="0"/>
                    </a:moveTo>
                    <a:lnTo>
                      <a:pt x="6480" y="3086"/>
                    </a:lnTo>
                    <a:lnTo>
                      <a:pt x="10800" y="3086"/>
                    </a:lnTo>
                    <a:lnTo>
                      <a:pt x="10800" y="9257"/>
                    </a:lnTo>
                    <a:lnTo>
                      <a:pt x="15120" y="9257"/>
                    </a:lnTo>
                    <a:lnTo>
                      <a:pt x="15120" y="10800"/>
                    </a:lnTo>
                    <a:lnTo>
                      <a:pt x="17280" y="10800"/>
                    </a:lnTo>
                    <a:lnTo>
                      <a:pt x="17280" y="13886"/>
                    </a:lnTo>
                    <a:lnTo>
                      <a:pt x="21600" y="13886"/>
                    </a:lnTo>
                    <a:lnTo>
                      <a:pt x="21600" y="20057"/>
                    </a:lnTo>
                    <a:lnTo>
                      <a:pt x="17280" y="20057"/>
                    </a:lnTo>
                    <a:lnTo>
                      <a:pt x="17280" y="21600"/>
                    </a:lnTo>
                    <a:lnTo>
                      <a:pt x="2160" y="21600"/>
                    </a:lnTo>
                    <a:lnTo>
                      <a:pt x="2160" y="13886"/>
                    </a:lnTo>
                    <a:lnTo>
                      <a:pt x="0" y="13886"/>
                    </a:lnTo>
                    <a:lnTo>
                      <a:pt x="0" y="9257"/>
                    </a:lnTo>
                    <a:lnTo>
                      <a:pt x="2160" y="6171"/>
                    </a:lnTo>
                    <a:lnTo>
                      <a:pt x="2160" y="3086"/>
                    </a:lnTo>
                    <a:lnTo>
                      <a:pt x="6480" y="0"/>
                    </a:lnTo>
                    <a:close/>
                    <a:moveTo>
                      <a:pt x="6480" y="0"/>
                    </a:moveTo>
                  </a:path>
                </a:pathLst>
              </a:custGeom>
              <a:solidFill>
                <a:srgbClr val="B2EAE7"/>
              </a:solidFill>
              <a:ln w="12700">
                <a:solidFill>
                  <a:srgbClr val="FFFFFF"/>
                </a:solidFill>
                <a:round/>
                <a:headEnd/>
                <a:tailEnd/>
              </a:ln>
            </p:spPr>
            <p:txBody>
              <a:bodyPr lIns="0" tIns="0" rIns="0" bIns="0"/>
              <a:lstStyle/>
              <a:p>
                <a:endParaRPr lang="en-US"/>
              </a:p>
            </p:txBody>
          </p:sp>
          <p:sp>
            <p:nvSpPr>
              <p:cNvPr id="127" name="AutoShape 81"/>
              <p:cNvSpPr>
                <a:spLocks/>
              </p:cNvSpPr>
              <p:nvPr/>
            </p:nvSpPr>
            <p:spPr bwMode="auto">
              <a:xfrm>
                <a:off x="2852" y="2150"/>
                <a:ext cx="529" cy="33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1600"/>
                  <a:gd name="T175" fmla="*/ 0 h 21600"/>
                  <a:gd name="T176" fmla="*/ 21600 w 21600"/>
                  <a:gd name="T177" fmla="*/ 21600 h 2160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1600" h="21600">
                    <a:moveTo>
                      <a:pt x="465" y="8566"/>
                    </a:moveTo>
                    <a:lnTo>
                      <a:pt x="465" y="9310"/>
                    </a:lnTo>
                    <a:lnTo>
                      <a:pt x="0" y="10055"/>
                    </a:lnTo>
                    <a:lnTo>
                      <a:pt x="465" y="8566"/>
                    </a:lnTo>
                    <a:close/>
                    <a:moveTo>
                      <a:pt x="4181" y="0"/>
                    </a:moveTo>
                    <a:lnTo>
                      <a:pt x="5342" y="0"/>
                    </a:lnTo>
                    <a:lnTo>
                      <a:pt x="5806" y="745"/>
                    </a:lnTo>
                    <a:lnTo>
                      <a:pt x="6968" y="745"/>
                    </a:lnTo>
                    <a:lnTo>
                      <a:pt x="6968" y="0"/>
                    </a:lnTo>
                    <a:lnTo>
                      <a:pt x="7432" y="0"/>
                    </a:lnTo>
                    <a:lnTo>
                      <a:pt x="7432" y="745"/>
                    </a:lnTo>
                    <a:lnTo>
                      <a:pt x="7897" y="745"/>
                    </a:lnTo>
                    <a:lnTo>
                      <a:pt x="7897" y="1490"/>
                    </a:lnTo>
                    <a:lnTo>
                      <a:pt x="8129" y="1490"/>
                    </a:lnTo>
                    <a:lnTo>
                      <a:pt x="8129" y="745"/>
                    </a:lnTo>
                    <a:lnTo>
                      <a:pt x="11381" y="745"/>
                    </a:lnTo>
                    <a:lnTo>
                      <a:pt x="11381" y="1490"/>
                    </a:lnTo>
                    <a:lnTo>
                      <a:pt x="13006" y="1490"/>
                    </a:lnTo>
                    <a:lnTo>
                      <a:pt x="13006" y="2234"/>
                    </a:lnTo>
                    <a:lnTo>
                      <a:pt x="13471" y="2234"/>
                    </a:lnTo>
                    <a:lnTo>
                      <a:pt x="13471" y="745"/>
                    </a:lnTo>
                    <a:lnTo>
                      <a:pt x="14168" y="745"/>
                    </a:lnTo>
                    <a:lnTo>
                      <a:pt x="14168" y="0"/>
                    </a:lnTo>
                    <a:lnTo>
                      <a:pt x="15097" y="0"/>
                    </a:lnTo>
                    <a:lnTo>
                      <a:pt x="15097" y="1490"/>
                    </a:lnTo>
                    <a:lnTo>
                      <a:pt x="15561" y="1490"/>
                    </a:lnTo>
                    <a:lnTo>
                      <a:pt x="15561" y="2234"/>
                    </a:lnTo>
                    <a:lnTo>
                      <a:pt x="17419" y="2234"/>
                    </a:lnTo>
                    <a:lnTo>
                      <a:pt x="17419" y="2607"/>
                    </a:lnTo>
                    <a:lnTo>
                      <a:pt x="17884" y="3352"/>
                    </a:lnTo>
                    <a:lnTo>
                      <a:pt x="18348" y="3352"/>
                    </a:lnTo>
                    <a:lnTo>
                      <a:pt x="18348" y="4097"/>
                    </a:lnTo>
                    <a:lnTo>
                      <a:pt x="18813" y="4097"/>
                    </a:lnTo>
                    <a:lnTo>
                      <a:pt x="19045" y="4841"/>
                    </a:lnTo>
                    <a:lnTo>
                      <a:pt x="19510" y="4841"/>
                    </a:lnTo>
                    <a:lnTo>
                      <a:pt x="19510" y="5214"/>
                    </a:lnTo>
                    <a:lnTo>
                      <a:pt x="19974" y="5214"/>
                    </a:lnTo>
                    <a:lnTo>
                      <a:pt x="20439" y="5959"/>
                    </a:lnTo>
                    <a:lnTo>
                      <a:pt x="20439" y="6703"/>
                    </a:lnTo>
                    <a:lnTo>
                      <a:pt x="21135" y="6703"/>
                    </a:lnTo>
                    <a:lnTo>
                      <a:pt x="21135" y="7821"/>
                    </a:lnTo>
                    <a:lnTo>
                      <a:pt x="20671" y="7821"/>
                    </a:lnTo>
                    <a:lnTo>
                      <a:pt x="20671" y="10055"/>
                    </a:lnTo>
                    <a:lnTo>
                      <a:pt x="21600" y="10055"/>
                    </a:lnTo>
                    <a:lnTo>
                      <a:pt x="21600" y="10428"/>
                    </a:lnTo>
                    <a:lnTo>
                      <a:pt x="20671" y="10428"/>
                    </a:lnTo>
                    <a:lnTo>
                      <a:pt x="20671" y="11172"/>
                    </a:lnTo>
                    <a:lnTo>
                      <a:pt x="20439" y="11172"/>
                    </a:lnTo>
                    <a:lnTo>
                      <a:pt x="20439" y="11917"/>
                    </a:lnTo>
                    <a:lnTo>
                      <a:pt x="19510" y="11917"/>
                    </a:lnTo>
                    <a:lnTo>
                      <a:pt x="19510" y="12662"/>
                    </a:lnTo>
                    <a:lnTo>
                      <a:pt x="18813" y="12662"/>
                    </a:lnTo>
                    <a:lnTo>
                      <a:pt x="18348" y="13034"/>
                    </a:lnTo>
                    <a:lnTo>
                      <a:pt x="17884" y="13034"/>
                    </a:lnTo>
                    <a:lnTo>
                      <a:pt x="17884" y="15641"/>
                    </a:lnTo>
                    <a:lnTo>
                      <a:pt x="17419" y="15641"/>
                    </a:lnTo>
                    <a:lnTo>
                      <a:pt x="17419" y="17503"/>
                    </a:lnTo>
                    <a:lnTo>
                      <a:pt x="17187" y="17503"/>
                    </a:lnTo>
                    <a:lnTo>
                      <a:pt x="17419" y="18248"/>
                    </a:lnTo>
                    <a:lnTo>
                      <a:pt x="17884" y="18248"/>
                    </a:lnTo>
                    <a:lnTo>
                      <a:pt x="17884" y="18993"/>
                    </a:lnTo>
                    <a:lnTo>
                      <a:pt x="17419" y="18993"/>
                    </a:lnTo>
                    <a:lnTo>
                      <a:pt x="17419" y="19738"/>
                    </a:lnTo>
                    <a:lnTo>
                      <a:pt x="17187" y="18993"/>
                    </a:lnTo>
                    <a:lnTo>
                      <a:pt x="17187" y="18248"/>
                    </a:lnTo>
                    <a:lnTo>
                      <a:pt x="16258" y="18248"/>
                    </a:lnTo>
                    <a:lnTo>
                      <a:pt x="15794" y="18993"/>
                    </a:lnTo>
                    <a:lnTo>
                      <a:pt x="14632" y="18993"/>
                    </a:lnTo>
                    <a:lnTo>
                      <a:pt x="14632" y="20110"/>
                    </a:lnTo>
                    <a:lnTo>
                      <a:pt x="14168" y="20855"/>
                    </a:lnTo>
                    <a:lnTo>
                      <a:pt x="13471" y="20855"/>
                    </a:lnTo>
                    <a:lnTo>
                      <a:pt x="13006" y="21600"/>
                    </a:lnTo>
                    <a:lnTo>
                      <a:pt x="12542" y="21600"/>
                    </a:lnTo>
                    <a:lnTo>
                      <a:pt x="12310" y="20855"/>
                    </a:lnTo>
                    <a:lnTo>
                      <a:pt x="10219" y="20855"/>
                    </a:lnTo>
                    <a:lnTo>
                      <a:pt x="9523" y="20110"/>
                    </a:lnTo>
                    <a:lnTo>
                      <a:pt x="9523" y="19738"/>
                    </a:lnTo>
                    <a:lnTo>
                      <a:pt x="9058" y="18993"/>
                    </a:lnTo>
                    <a:lnTo>
                      <a:pt x="9058" y="18248"/>
                    </a:lnTo>
                    <a:lnTo>
                      <a:pt x="7897" y="18248"/>
                    </a:lnTo>
                    <a:lnTo>
                      <a:pt x="7897" y="17503"/>
                    </a:lnTo>
                    <a:lnTo>
                      <a:pt x="7432" y="17131"/>
                    </a:lnTo>
                    <a:lnTo>
                      <a:pt x="6968" y="17131"/>
                    </a:lnTo>
                    <a:lnTo>
                      <a:pt x="6968" y="14524"/>
                    </a:lnTo>
                    <a:lnTo>
                      <a:pt x="7432" y="14524"/>
                    </a:lnTo>
                    <a:lnTo>
                      <a:pt x="7432" y="13779"/>
                    </a:lnTo>
                    <a:lnTo>
                      <a:pt x="6968" y="13779"/>
                    </a:lnTo>
                    <a:lnTo>
                      <a:pt x="6968" y="13034"/>
                    </a:lnTo>
                    <a:lnTo>
                      <a:pt x="6503" y="12662"/>
                    </a:lnTo>
                    <a:lnTo>
                      <a:pt x="6503" y="11917"/>
                    </a:lnTo>
                    <a:lnTo>
                      <a:pt x="5342" y="11917"/>
                    </a:lnTo>
                    <a:lnTo>
                      <a:pt x="4877" y="11172"/>
                    </a:lnTo>
                    <a:lnTo>
                      <a:pt x="4645" y="11172"/>
                    </a:lnTo>
                    <a:lnTo>
                      <a:pt x="4645" y="11917"/>
                    </a:lnTo>
                    <a:lnTo>
                      <a:pt x="3716" y="11917"/>
                    </a:lnTo>
                    <a:lnTo>
                      <a:pt x="3252" y="11172"/>
                    </a:lnTo>
                    <a:lnTo>
                      <a:pt x="2555" y="11172"/>
                    </a:lnTo>
                    <a:lnTo>
                      <a:pt x="2555" y="10428"/>
                    </a:lnTo>
                    <a:lnTo>
                      <a:pt x="1626" y="10428"/>
                    </a:lnTo>
                    <a:lnTo>
                      <a:pt x="1626" y="10055"/>
                    </a:lnTo>
                    <a:lnTo>
                      <a:pt x="1394" y="10055"/>
                    </a:lnTo>
                    <a:lnTo>
                      <a:pt x="1394" y="8566"/>
                    </a:lnTo>
                    <a:lnTo>
                      <a:pt x="929" y="7821"/>
                    </a:lnTo>
                    <a:lnTo>
                      <a:pt x="929" y="8566"/>
                    </a:lnTo>
                    <a:lnTo>
                      <a:pt x="465" y="8566"/>
                    </a:lnTo>
                    <a:lnTo>
                      <a:pt x="465" y="3352"/>
                    </a:lnTo>
                    <a:lnTo>
                      <a:pt x="929" y="3352"/>
                    </a:lnTo>
                    <a:lnTo>
                      <a:pt x="929" y="2607"/>
                    </a:lnTo>
                    <a:lnTo>
                      <a:pt x="1394" y="2607"/>
                    </a:lnTo>
                    <a:lnTo>
                      <a:pt x="1394" y="2234"/>
                    </a:lnTo>
                    <a:lnTo>
                      <a:pt x="1626" y="2234"/>
                    </a:lnTo>
                    <a:lnTo>
                      <a:pt x="2090" y="1490"/>
                    </a:lnTo>
                    <a:lnTo>
                      <a:pt x="2555" y="1490"/>
                    </a:lnTo>
                    <a:lnTo>
                      <a:pt x="3019" y="745"/>
                    </a:lnTo>
                    <a:lnTo>
                      <a:pt x="3716" y="745"/>
                    </a:lnTo>
                    <a:lnTo>
                      <a:pt x="4181" y="0"/>
                    </a:lnTo>
                    <a:close/>
                    <a:moveTo>
                      <a:pt x="4181" y="0"/>
                    </a:moveTo>
                  </a:path>
                </a:pathLst>
              </a:custGeom>
              <a:solidFill>
                <a:srgbClr val="B2EAE7"/>
              </a:solidFill>
              <a:ln w="12700">
                <a:solidFill>
                  <a:srgbClr val="FFFFFF"/>
                </a:solidFill>
                <a:round/>
                <a:headEnd/>
                <a:tailEnd/>
              </a:ln>
            </p:spPr>
            <p:txBody>
              <a:bodyPr lIns="0" tIns="0" rIns="0" bIns="0"/>
              <a:lstStyle/>
              <a:p>
                <a:endParaRPr lang="en-US"/>
              </a:p>
            </p:txBody>
          </p:sp>
          <p:sp>
            <p:nvSpPr>
              <p:cNvPr id="128" name="Freeform 82"/>
              <p:cNvSpPr>
                <a:spLocks/>
              </p:cNvSpPr>
              <p:nvPr/>
            </p:nvSpPr>
            <p:spPr bwMode="auto">
              <a:xfrm>
                <a:off x="2864" y="1945"/>
                <a:ext cx="647" cy="307"/>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1600"/>
                  <a:gd name="T136" fmla="*/ 0 h 21600"/>
                  <a:gd name="T137" fmla="*/ 21600 w 21600"/>
                  <a:gd name="T138" fmla="*/ 21600 h 2160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1600" h="21600">
                    <a:moveTo>
                      <a:pt x="11558" y="0"/>
                    </a:moveTo>
                    <a:lnTo>
                      <a:pt x="13642" y="0"/>
                    </a:lnTo>
                    <a:lnTo>
                      <a:pt x="14211" y="1200"/>
                    </a:lnTo>
                    <a:lnTo>
                      <a:pt x="15158" y="1200"/>
                    </a:lnTo>
                    <a:lnTo>
                      <a:pt x="15158" y="2000"/>
                    </a:lnTo>
                    <a:lnTo>
                      <a:pt x="15537" y="2800"/>
                    </a:lnTo>
                    <a:lnTo>
                      <a:pt x="15537" y="3200"/>
                    </a:lnTo>
                    <a:lnTo>
                      <a:pt x="15916" y="3200"/>
                    </a:lnTo>
                    <a:lnTo>
                      <a:pt x="16295" y="4000"/>
                    </a:lnTo>
                    <a:lnTo>
                      <a:pt x="16484" y="4000"/>
                    </a:lnTo>
                    <a:lnTo>
                      <a:pt x="16484" y="4800"/>
                    </a:lnTo>
                    <a:lnTo>
                      <a:pt x="16863" y="4800"/>
                    </a:lnTo>
                    <a:lnTo>
                      <a:pt x="17242" y="4000"/>
                    </a:lnTo>
                    <a:lnTo>
                      <a:pt x="17621" y="4000"/>
                    </a:lnTo>
                    <a:lnTo>
                      <a:pt x="17621" y="3200"/>
                    </a:lnTo>
                    <a:lnTo>
                      <a:pt x="17811" y="3200"/>
                    </a:lnTo>
                    <a:lnTo>
                      <a:pt x="17811" y="4000"/>
                    </a:lnTo>
                    <a:lnTo>
                      <a:pt x="18947" y="4000"/>
                    </a:lnTo>
                    <a:lnTo>
                      <a:pt x="18947" y="4800"/>
                    </a:lnTo>
                    <a:lnTo>
                      <a:pt x="19137" y="4800"/>
                    </a:lnTo>
                    <a:lnTo>
                      <a:pt x="19137" y="5600"/>
                    </a:lnTo>
                    <a:lnTo>
                      <a:pt x="19895" y="5600"/>
                    </a:lnTo>
                    <a:lnTo>
                      <a:pt x="19895" y="6000"/>
                    </a:lnTo>
                    <a:lnTo>
                      <a:pt x="20274" y="6800"/>
                    </a:lnTo>
                    <a:lnTo>
                      <a:pt x="20463" y="6800"/>
                    </a:lnTo>
                    <a:lnTo>
                      <a:pt x="20463" y="7600"/>
                    </a:lnTo>
                    <a:lnTo>
                      <a:pt x="20274" y="7600"/>
                    </a:lnTo>
                    <a:lnTo>
                      <a:pt x="20274" y="10400"/>
                    </a:lnTo>
                    <a:lnTo>
                      <a:pt x="19895" y="11200"/>
                    </a:lnTo>
                    <a:lnTo>
                      <a:pt x="20842" y="11200"/>
                    </a:lnTo>
                    <a:lnTo>
                      <a:pt x="20842" y="11600"/>
                    </a:lnTo>
                    <a:lnTo>
                      <a:pt x="21221" y="11600"/>
                    </a:lnTo>
                    <a:lnTo>
                      <a:pt x="21221" y="12400"/>
                    </a:lnTo>
                    <a:lnTo>
                      <a:pt x="20842" y="12400"/>
                    </a:lnTo>
                    <a:lnTo>
                      <a:pt x="20842" y="13200"/>
                    </a:lnTo>
                    <a:lnTo>
                      <a:pt x="21221" y="13200"/>
                    </a:lnTo>
                    <a:lnTo>
                      <a:pt x="21221" y="14000"/>
                    </a:lnTo>
                    <a:lnTo>
                      <a:pt x="21600" y="14000"/>
                    </a:lnTo>
                    <a:lnTo>
                      <a:pt x="21600" y="17200"/>
                    </a:lnTo>
                    <a:lnTo>
                      <a:pt x="20842" y="17200"/>
                    </a:lnTo>
                    <a:lnTo>
                      <a:pt x="20842" y="18000"/>
                    </a:lnTo>
                    <a:lnTo>
                      <a:pt x="20463" y="18000"/>
                    </a:lnTo>
                    <a:lnTo>
                      <a:pt x="20463" y="18800"/>
                    </a:lnTo>
                    <a:lnTo>
                      <a:pt x="20274" y="18800"/>
                    </a:lnTo>
                    <a:lnTo>
                      <a:pt x="19895" y="19600"/>
                    </a:lnTo>
                    <a:lnTo>
                      <a:pt x="19895" y="20000"/>
                    </a:lnTo>
                    <a:lnTo>
                      <a:pt x="17811" y="20000"/>
                    </a:lnTo>
                    <a:lnTo>
                      <a:pt x="17811" y="20800"/>
                    </a:lnTo>
                    <a:lnTo>
                      <a:pt x="17242" y="20800"/>
                    </a:lnTo>
                    <a:lnTo>
                      <a:pt x="17242" y="21600"/>
                    </a:lnTo>
                    <a:lnTo>
                      <a:pt x="16295" y="21600"/>
                    </a:lnTo>
                    <a:lnTo>
                      <a:pt x="16295" y="20800"/>
                    </a:lnTo>
                    <a:lnTo>
                      <a:pt x="15916" y="20000"/>
                    </a:lnTo>
                    <a:lnTo>
                      <a:pt x="15537" y="20000"/>
                    </a:lnTo>
                    <a:lnTo>
                      <a:pt x="15537" y="19600"/>
                    </a:lnTo>
                    <a:lnTo>
                      <a:pt x="15158" y="18800"/>
                    </a:lnTo>
                    <a:lnTo>
                      <a:pt x="14589" y="18800"/>
                    </a:lnTo>
                    <a:lnTo>
                      <a:pt x="14589" y="18000"/>
                    </a:lnTo>
                    <a:lnTo>
                      <a:pt x="14211" y="18000"/>
                    </a:lnTo>
                    <a:lnTo>
                      <a:pt x="13832" y="17200"/>
                    </a:lnTo>
                    <a:lnTo>
                      <a:pt x="13832" y="16800"/>
                    </a:lnTo>
                    <a:lnTo>
                      <a:pt x="12316" y="16800"/>
                    </a:lnTo>
                    <a:lnTo>
                      <a:pt x="12316" y="16000"/>
                    </a:lnTo>
                    <a:lnTo>
                      <a:pt x="11937" y="16000"/>
                    </a:lnTo>
                    <a:lnTo>
                      <a:pt x="11937" y="14400"/>
                    </a:lnTo>
                    <a:lnTo>
                      <a:pt x="11558" y="14400"/>
                    </a:lnTo>
                    <a:lnTo>
                      <a:pt x="11558" y="14000"/>
                    </a:lnTo>
                    <a:lnTo>
                      <a:pt x="11179" y="14000"/>
                    </a:lnTo>
                    <a:lnTo>
                      <a:pt x="11179" y="15200"/>
                    </a:lnTo>
                    <a:lnTo>
                      <a:pt x="10611" y="15200"/>
                    </a:lnTo>
                    <a:lnTo>
                      <a:pt x="10611" y="16000"/>
                    </a:lnTo>
                    <a:lnTo>
                      <a:pt x="8905" y="16000"/>
                    </a:lnTo>
                    <a:lnTo>
                      <a:pt x="8905" y="15200"/>
                    </a:lnTo>
                    <a:lnTo>
                      <a:pt x="5684" y="15200"/>
                    </a:lnTo>
                    <a:lnTo>
                      <a:pt x="5684" y="14400"/>
                    </a:lnTo>
                    <a:lnTo>
                      <a:pt x="5305" y="14400"/>
                    </a:lnTo>
                    <a:lnTo>
                      <a:pt x="5305" y="15200"/>
                    </a:lnTo>
                    <a:lnTo>
                      <a:pt x="4737" y="15200"/>
                    </a:lnTo>
                    <a:lnTo>
                      <a:pt x="4737" y="14400"/>
                    </a:lnTo>
                    <a:lnTo>
                      <a:pt x="4358" y="14400"/>
                    </a:lnTo>
                    <a:lnTo>
                      <a:pt x="4358" y="15200"/>
                    </a:lnTo>
                    <a:lnTo>
                      <a:pt x="3979" y="14400"/>
                    </a:lnTo>
                    <a:lnTo>
                      <a:pt x="2653" y="14400"/>
                    </a:lnTo>
                    <a:lnTo>
                      <a:pt x="2653" y="15200"/>
                    </a:lnTo>
                    <a:lnTo>
                      <a:pt x="2084" y="15200"/>
                    </a:lnTo>
                    <a:lnTo>
                      <a:pt x="1705" y="16000"/>
                    </a:lnTo>
                    <a:lnTo>
                      <a:pt x="947" y="16000"/>
                    </a:lnTo>
                    <a:lnTo>
                      <a:pt x="947" y="16800"/>
                    </a:lnTo>
                    <a:lnTo>
                      <a:pt x="758" y="16800"/>
                    </a:lnTo>
                    <a:lnTo>
                      <a:pt x="758" y="17200"/>
                    </a:lnTo>
                    <a:lnTo>
                      <a:pt x="379" y="17200"/>
                    </a:lnTo>
                    <a:lnTo>
                      <a:pt x="0" y="18000"/>
                    </a:lnTo>
                    <a:lnTo>
                      <a:pt x="0" y="11600"/>
                    </a:lnTo>
                    <a:lnTo>
                      <a:pt x="379" y="10400"/>
                    </a:lnTo>
                    <a:lnTo>
                      <a:pt x="947" y="8800"/>
                    </a:lnTo>
                    <a:lnTo>
                      <a:pt x="947" y="6000"/>
                    </a:lnTo>
                    <a:lnTo>
                      <a:pt x="1326" y="6000"/>
                    </a:lnTo>
                    <a:lnTo>
                      <a:pt x="1326" y="5600"/>
                    </a:lnTo>
                    <a:lnTo>
                      <a:pt x="1705" y="5600"/>
                    </a:lnTo>
                    <a:lnTo>
                      <a:pt x="1705" y="4800"/>
                    </a:lnTo>
                    <a:lnTo>
                      <a:pt x="2084" y="4000"/>
                    </a:lnTo>
                    <a:lnTo>
                      <a:pt x="2274" y="4000"/>
                    </a:lnTo>
                    <a:lnTo>
                      <a:pt x="2274" y="3200"/>
                    </a:lnTo>
                    <a:lnTo>
                      <a:pt x="3600" y="3200"/>
                    </a:lnTo>
                    <a:lnTo>
                      <a:pt x="3979" y="2800"/>
                    </a:lnTo>
                    <a:lnTo>
                      <a:pt x="4737" y="2800"/>
                    </a:lnTo>
                    <a:lnTo>
                      <a:pt x="4926" y="3200"/>
                    </a:lnTo>
                    <a:lnTo>
                      <a:pt x="4926" y="4000"/>
                    </a:lnTo>
                    <a:lnTo>
                      <a:pt x="5305" y="4000"/>
                    </a:lnTo>
                    <a:lnTo>
                      <a:pt x="5684" y="4800"/>
                    </a:lnTo>
                    <a:lnTo>
                      <a:pt x="5684" y="5600"/>
                    </a:lnTo>
                    <a:lnTo>
                      <a:pt x="6063" y="5600"/>
                    </a:lnTo>
                    <a:lnTo>
                      <a:pt x="6632" y="6800"/>
                    </a:lnTo>
                    <a:lnTo>
                      <a:pt x="6632" y="8400"/>
                    </a:lnTo>
                    <a:lnTo>
                      <a:pt x="7011" y="8400"/>
                    </a:lnTo>
                    <a:lnTo>
                      <a:pt x="7011" y="8800"/>
                    </a:lnTo>
                    <a:lnTo>
                      <a:pt x="7389" y="8800"/>
                    </a:lnTo>
                    <a:lnTo>
                      <a:pt x="7579" y="9600"/>
                    </a:lnTo>
                    <a:lnTo>
                      <a:pt x="8337" y="9600"/>
                    </a:lnTo>
                    <a:lnTo>
                      <a:pt x="8905" y="8800"/>
                    </a:lnTo>
                    <a:lnTo>
                      <a:pt x="9284" y="8800"/>
                    </a:lnTo>
                    <a:lnTo>
                      <a:pt x="9284" y="8400"/>
                    </a:lnTo>
                    <a:lnTo>
                      <a:pt x="9663" y="8400"/>
                    </a:lnTo>
                    <a:lnTo>
                      <a:pt x="9663" y="7600"/>
                    </a:lnTo>
                    <a:lnTo>
                      <a:pt x="9853" y="7600"/>
                    </a:lnTo>
                    <a:lnTo>
                      <a:pt x="9853" y="6800"/>
                    </a:lnTo>
                    <a:lnTo>
                      <a:pt x="10232" y="6000"/>
                    </a:lnTo>
                    <a:lnTo>
                      <a:pt x="10232" y="5600"/>
                    </a:lnTo>
                    <a:lnTo>
                      <a:pt x="9853" y="4800"/>
                    </a:lnTo>
                    <a:lnTo>
                      <a:pt x="9853" y="1200"/>
                    </a:lnTo>
                    <a:lnTo>
                      <a:pt x="10232" y="1200"/>
                    </a:lnTo>
                    <a:lnTo>
                      <a:pt x="10611" y="400"/>
                    </a:lnTo>
                    <a:lnTo>
                      <a:pt x="11558" y="400"/>
                    </a:lnTo>
                    <a:lnTo>
                      <a:pt x="11558" y="0"/>
                    </a:lnTo>
                    <a:close/>
                    <a:moveTo>
                      <a:pt x="11558" y="0"/>
                    </a:moveTo>
                  </a:path>
                </a:pathLst>
              </a:custGeom>
              <a:solidFill>
                <a:srgbClr val="B2EAE7"/>
              </a:solidFill>
              <a:ln w="12700">
                <a:solidFill>
                  <a:srgbClr val="FFFFFF"/>
                </a:solidFill>
                <a:round/>
                <a:headEnd/>
                <a:tailEnd/>
              </a:ln>
            </p:spPr>
            <p:txBody>
              <a:bodyPr lIns="0" tIns="0" rIns="0" bIns="0"/>
              <a:lstStyle/>
              <a:p>
                <a:endParaRPr lang="en-US"/>
              </a:p>
            </p:txBody>
          </p:sp>
          <p:sp>
            <p:nvSpPr>
              <p:cNvPr id="129" name="AutoShape 83"/>
              <p:cNvSpPr>
                <a:spLocks/>
              </p:cNvSpPr>
              <p:nvPr/>
            </p:nvSpPr>
            <p:spPr bwMode="auto">
              <a:xfrm>
                <a:off x="2767" y="3718"/>
                <a:ext cx="159" cy="16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w 21600"/>
                  <a:gd name="T117" fmla="*/ 0 h 216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1600"/>
                  <a:gd name="T178" fmla="*/ 0 h 21600"/>
                  <a:gd name="T179" fmla="*/ 21600 w 21600"/>
                  <a:gd name="T180" fmla="*/ 21600 h 216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1600" h="21600">
                    <a:moveTo>
                      <a:pt x="0" y="6943"/>
                    </a:moveTo>
                    <a:lnTo>
                      <a:pt x="771" y="6943"/>
                    </a:lnTo>
                    <a:lnTo>
                      <a:pt x="771" y="8486"/>
                    </a:lnTo>
                    <a:lnTo>
                      <a:pt x="0" y="8486"/>
                    </a:lnTo>
                    <a:lnTo>
                      <a:pt x="0" y="6943"/>
                    </a:lnTo>
                    <a:close/>
                    <a:moveTo>
                      <a:pt x="9257" y="0"/>
                    </a:moveTo>
                    <a:lnTo>
                      <a:pt x="10800" y="0"/>
                    </a:lnTo>
                    <a:lnTo>
                      <a:pt x="10800" y="3086"/>
                    </a:lnTo>
                    <a:lnTo>
                      <a:pt x="13114" y="3086"/>
                    </a:lnTo>
                    <a:lnTo>
                      <a:pt x="13114" y="3857"/>
                    </a:lnTo>
                    <a:lnTo>
                      <a:pt x="14657" y="3857"/>
                    </a:lnTo>
                    <a:lnTo>
                      <a:pt x="14657" y="5400"/>
                    </a:lnTo>
                    <a:lnTo>
                      <a:pt x="16200" y="5400"/>
                    </a:lnTo>
                    <a:lnTo>
                      <a:pt x="16200" y="6943"/>
                    </a:lnTo>
                    <a:lnTo>
                      <a:pt x="16971" y="6943"/>
                    </a:lnTo>
                    <a:lnTo>
                      <a:pt x="16971" y="8486"/>
                    </a:lnTo>
                    <a:lnTo>
                      <a:pt x="20057" y="8486"/>
                    </a:lnTo>
                    <a:lnTo>
                      <a:pt x="20057" y="9257"/>
                    </a:lnTo>
                    <a:lnTo>
                      <a:pt x="21600" y="9257"/>
                    </a:lnTo>
                    <a:lnTo>
                      <a:pt x="21600" y="10800"/>
                    </a:lnTo>
                    <a:lnTo>
                      <a:pt x="20057" y="10800"/>
                    </a:lnTo>
                    <a:lnTo>
                      <a:pt x="20057" y="13886"/>
                    </a:lnTo>
                    <a:lnTo>
                      <a:pt x="18514" y="13886"/>
                    </a:lnTo>
                    <a:lnTo>
                      <a:pt x="18514" y="14657"/>
                    </a:lnTo>
                    <a:lnTo>
                      <a:pt x="16971" y="14657"/>
                    </a:lnTo>
                    <a:lnTo>
                      <a:pt x="16971" y="16200"/>
                    </a:lnTo>
                    <a:lnTo>
                      <a:pt x="16200" y="16200"/>
                    </a:lnTo>
                    <a:lnTo>
                      <a:pt x="16200" y="17743"/>
                    </a:lnTo>
                    <a:lnTo>
                      <a:pt x="14657" y="17743"/>
                    </a:lnTo>
                    <a:lnTo>
                      <a:pt x="14657" y="16200"/>
                    </a:lnTo>
                    <a:lnTo>
                      <a:pt x="11571" y="16200"/>
                    </a:lnTo>
                    <a:lnTo>
                      <a:pt x="11571" y="17743"/>
                    </a:lnTo>
                    <a:lnTo>
                      <a:pt x="10800" y="17743"/>
                    </a:lnTo>
                    <a:lnTo>
                      <a:pt x="9257" y="19286"/>
                    </a:lnTo>
                    <a:lnTo>
                      <a:pt x="9257" y="21600"/>
                    </a:lnTo>
                    <a:lnTo>
                      <a:pt x="7714" y="21600"/>
                    </a:lnTo>
                    <a:lnTo>
                      <a:pt x="7714" y="17743"/>
                    </a:lnTo>
                    <a:lnTo>
                      <a:pt x="6171" y="16200"/>
                    </a:lnTo>
                    <a:lnTo>
                      <a:pt x="6171" y="14657"/>
                    </a:lnTo>
                    <a:lnTo>
                      <a:pt x="5400" y="14657"/>
                    </a:lnTo>
                    <a:lnTo>
                      <a:pt x="3857" y="13886"/>
                    </a:lnTo>
                    <a:lnTo>
                      <a:pt x="2314" y="13886"/>
                    </a:lnTo>
                    <a:lnTo>
                      <a:pt x="2314" y="12343"/>
                    </a:lnTo>
                    <a:lnTo>
                      <a:pt x="771" y="12343"/>
                    </a:lnTo>
                    <a:lnTo>
                      <a:pt x="771" y="10800"/>
                    </a:lnTo>
                    <a:lnTo>
                      <a:pt x="0" y="9257"/>
                    </a:lnTo>
                    <a:lnTo>
                      <a:pt x="771" y="9257"/>
                    </a:lnTo>
                    <a:lnTo>
                      <a:pt x="771" y="8486"/>
                    </a:lnTo>
                    <a:lnTo>
                      <a:pt x="2314" y="8486"/>
                    </a:lnTo>
                    <a:lnTo>
                      <a:pt x="2314" y="6943"/>
                    </a:lnTo>
                    <a:lnTo>
                      <a:pt x="5400" y="6943"/>
                    </a:lnTo>
                    <a:lnTo>
                      <a:pt x="6171" y="5400"/>
                    </a:lnTo>
                    <a:lnTo>
                      <a:pt x="5400" y="5400"/>
                    </a:lnTo>
                    <a:lnTo>
                      <a:pt x="5400" y="3857"/>
                    </a:lnTo>
                    <a:lnTo>
                      <a:pt x="7714" y="3857"/>
                    </a:lnTo>
                    <a:lnTo>
                      <a:pt x="7714" y="1543"/>
                    </a:lnTo>
                    <a:lnTo>
                      <a:pt x="9257" y="1543"/>
                    </a:lnTo>
                    <a:lnTo>
                      <a:pt x="9257" y="0"/>
                    </a:lnTo>
                    <a:close/>
                    <a:moveTo>
                      <a:pt x="9257" y="0"/>
                    </a:moveTo>
                  </a:path>
                </a:pathLst>
              </a:custGeom>
              <a:solidFill>
                <a:srgbClr val="B2EAE7"/>
              </a:solidFill>
              <a:ln w="12700">
                <a:solidFill>
                  <a:srgbClr val="FFFFFF"/>
                </a:solidFill>
                <a:round/>
                <a:headEnd/>
                <a:tailEnd/>
              </a:ln>
            </p:spPr>
            <p:txBody>
              <a:bodyPr lIns="0" tIns="0" rIns="0" bIns="0"/>
              <a:lstStyle/>
              <a:p>
                <a:endParaRPr lang="en-US"/>
              </a:p>
            </p:txBody>
          </p:sp>
          <p:sp>
            <p:nvSpPr>
              <p:cNvPr id="130" name="Freeform 84"/>
              <p:cNvSpPr>
                <a:spLocks/>
              </p:cNvSpPr>
              <p:nvPr/>
            </p:nvSpPr>
            <p:spPr bwMode="auto">
              <a:xfrm>
                <a:off x="1682" y="3946"/>
                <a:ext cx="159" cy="25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1600"/>
                  <a:gd name="T124" fmla="*/ 0 h 21600"/>
                  <a:gd name="T125" fmla="*/ 21600 w 21600"/>
                  <a:gd name="T126" fmla="*/ 21600 h 2160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1600" h="21600">
                    <a:moveTo>
                      <a:pt x="13886" y="0"/>
                    </a:moveTo>
                    <a:lnTo>
                      <a:pt x="16200" y="0"/>
                    </a:lnTo>
                    <a:lnTo>
                      <a:pt x="16200" y="982"/>
                    </a:lnTo>
                    <a:lnTo>
                      <a:pt x="17743" y="982"/>
                    </a:lnTo>
                    <a:lnTo>
                      <a:pt x="17743" y="2945"/>
                    </a:lnTo>
                    <a:lnTo>
                      <a:pt x="19286" y="2945"/>
                    </a:lnTo>
                    <a:lnTo>
                      <a:pt x="20829" y="3436"/>
                    </a:lnTo>
                    <a:lnTo>
                      <a:pt x="20829" y="5400"/>
                    </a:lnTo>
                    <a:lnTo>
                      <a:pt x="21600" y="5400"/>
                    </a:lnTo>
                    <a:lnTo>
                      <a:pt x="21600" y="8836"/>
                    </a:lnTo>
                    <a:lnTo>
                      <a:pt x="20829" y="8836"/>
                    </a:lnTo>
                    <a:lnTo>
                      <a:pt x="20829" y="13745"/>
                    </a:lnTo>
                    <a:lnTo>
                      <a:pt x="19286" y="13745"/>
                    </a:lnTo>
                    <a:lnTo>
                      <a:pt x="19286" y="17182"/>
                    </a:lnTo>
                    <a:lnTo>
                      <a:pt x="17743" y="17182"/>
                    </a:lnTo>
                    <a:lnTo>
                      <a:pt x="17743" y="19636"/>
                    </a:lnTo>
                    <a:lnTo>
                      <a:pt x="16200" y="19145"/>
                    </a:lnTo>
                    <a:lnTo>
                      <a:pt x="10800" y="19145"/>
                    </a:lnTo>
                    <a:lnTo>
                      <a:pt x="10800" y="20618"/>
                    </a:lnTo>
                    <a:lnTo>
                      <a:pt x="10029" y="21600"/>
                    </a:lnTo>
                    <a:lnTo>
                      <a:pt x="6943" y="21600"/>
                    </a:lnTo>
                    <a:lnTo>
                      <a:pt x="6943" y="20618"/>
                    </a:lnTo>
                    <a:lnTo>
                      <a:pt x="5400" y="20618"/>
                    </a:lnTo>
                    <a:lnTo>
                      <a:pt x="5400" y="19636"/>
                    </a:lnTo>
                    <a:lnTo>
                      <a:pt x="4629" y="19636"/>
                    </a:lnTo>
                    <a:lnTo>
                      <a:pt x="4629" y="15709"/>
                    </a:lnTo>
                    <a:lnTo>
                      <a:pt x="5400" y="13745"/>
                    </a:lnTo>
                    <a:lnTo>
                      <a:pt x="5400" y="12764"/>
                    </a:lnTo>
                    <a:lnTo>
                      <a:pt x="4629" y="12764"/>
                    </a:lnTo>
                    <a:lnTo>
                      <a:pt x="4629" y="6873"/>
                    </a:lnTo>
                    <a:lnTo>
                      <a:pt x="3086" y="5891"/>
                    </a:lnTo>
                    <a:lnTo>
                      <a:pt x="0" y="5891"/>
                    </a:lnTo>
                    <a:lnTo>
                      <a:pt x="0" y="5400"/>
                    </a:lnTo>
                    <a:lnTo>
                      <a:pt x="1543" y="4418"/>
                    </a:lnTo>
                    <a:lnTo>
                      <a:pt x="1543" y="2945"/>
                    </a:lnTo>
                    <a:lnTo>
                      <a:pt x="3086" y="2945"/>
                    </a:lnTo>
                    <a:lnTo>
                      <a:pt x="3086" y="3436"/>
                    </a:lnTo>
                    <a:lnTo>
                      <a:pt x="6943" y="3436"/>
                    </a:lnTo>
                    <a:lnTo>
                      <a:pt x="10800" y="982"/>
                    </a:lnTo>
                    <a:lnTo>
                      <a:pt x="13886" y="0"/>
                    </a:lnTo>
                    <a:close/>
                    <a:moveTo>
                      <a:pt x="13886" y="0"/>
                    </a:moveTo>
                  </a:path>
                </a:pathLst>
              </a:custGeom>
              <a:solidFill>
                <a:srgbClr val="B2EAE7"/>
              </a:solidFill>
              <a:ln w="12700">
                <a:solidFill>
                  <a:srgbClr val="FFFFFF"/>
                </a:solidFill>
                <a:round/>
                <a:headEnd/>
                <a:tailEnd/>
              </a:ln>
            </p:spPr>
            <p:txBody>
              <a:bodyPr lIns="0" tIns="0" rIns="0" bIns="0"/>
              <a:lstStyle/>
              <a:p>
                <a:endParaRPr lang="en-US"/>
              </a:p>
            </p:txBody>
          </p:sp>
          <p:sp>
            <p:nvSpPr>
              <p:cNvPr id="131" name="Freeform 85"/>
              <p:cNvSpPr>
                <a:spLocks/>
              </p:cNvSpPr>
              <p:nvPr/>
            </p:nvSpPr>
            <p:spPr bwMode="auto">
              <a:xfrm>
                <a:off x="2079" y="4264"/>
                <a:ext cx="290" cy="17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1600"/>
                  <a:gd name="T97" fmla="*/ 0 h 21600"/>
                  <a:gd name="T98" fmla="*/ 21600 w 21600"/>
                  <a:gd name="T99" fmla="*/ 21600 h 2160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1600" h="21600">
                    <a:moveTo>
                      <a:pt x="5082" y="0"/>
                    </a:moveTo>
                    <a:lnTo>
                      <a:pt x="5929" y="0"/>
                    </a:lnTo>
                    <a:lnTo>
                      <a:pt x="6776" y="1440"/>
                    </a:lnTo>
                    <a:lnTo>
                      <a:pt x="8047" y="1440"/>
                    </a:lnTo>
                    <a:lnTo>
                      <a:pt x="8894" y="2880"/>
                    </a:lnTo>
                    <a:lnTo>
                      <a:pt x="11859" y="2880"/>
                    </a:lnTo>
                    <a:lnTo>
                      <a:pt x="11859" y="3600"/>
                    </a:lnTo>
                    <a:lnTo>
                      <a:pt x="13553" y="3600"/>
                    </a:lnTo>
                    <a:lnTo>
                      <a:pt x="13553" y="2880"/>
                    </a:lnTo>
                    <a:lnTo>
                      <a:pt x="14824" y="2880"/>
                    </a:lnTo>
                    <a:lnTo>
                      <a:pt x="14824" y="1440"/>
                    </a:lnTo>
                    <a:lnTo>
                      <a:pt x="15671" y="1440"/>
                    </a:lnTo>
                    <a:lnTo>
                      <a:pt x="16518" y="2880"/>
                    </a:lnTo>
                    <a:lnTo>
                      <a:pt x="16941" y="2880"/>
                    </a:lnTo>
                    <a:lnTo>
                      <a:pt x="16941" y="1440"/>
                    </a:lnTo>
                    <a:lnTo>
                      <a:pt x="19906" y="1440"/>
                    </a:lnTo>
                    <a:lnTo>
                      <a:pt x="19906" y="0"/>
                    </a:lnTo>
                    <a:lnTo>
                      <a:pt x="21600" y="0"/>
                    </a:lnTo>
                    <a:lnTo>
                      <a:pt x="20753" y="1440"/>
                    </a:lnTo>
                    <a:lnTo>
                      <a:pt x="20753" y="2880"/>
                    </a:lnTo>
                    <a:lnTo>
                      <a:pt x="19482" y="5040"/>
                    </a:lnTo>
                    <a:lnTo>
                      <a:pt x="19482" y="6480"/>
                    </a:lnTo>
                    <a:lnTo>
                      <a:pt x="18635" y="7920"/>
                    </a:lnTo>
                    <a:lnTo>
                      <a:pt x="18635" y="10080"/>
                    </a:lnTo>
                    <a:lnTo>
                      <a:pt x="17788" y="10080"/>
                    </a:lnTo>
                    <a:lnTo>
                      <a:pt x="17788" y="12960"/>
                    </a:lnTo>
                    <a:lnTo>
                      <a:pt x="18635" y="12960"/>
                    </a:lnTo>
                    <a:lnTo>
                      <a:pt x="18635" y="13680"/>
                    </a:lnTo>
                    <a:lnTo>
                      <a:pt x="19482" y="15120"/>
                    </a:lnTo>
                    <a:lnTo>
                      <a:pt x="19482" y="16560"/>
                    </a:lnTo>
                    <a:lnTo>
                      <a:pt x="18635" y="16560"/>
                    </a:lnTo>
                    <a:lnTo>
                      <a:pt x="18635" y="21600"/>
                    </a:lnTo>
                    <a:lnTo>
                      <a:pt x="17788" y="21600"/>
                    </a:lnTo>
                    <a:lnTo>
                      <a:pt x="16941" y="20160"/>
                    </a:lnTo>
                    <a:lnTo>
                      <a:pt x="13976" y="20160"/>
                    </a:lnTo>
                    <a:lnTo>
                      <a:pt x="13976" y="18720"/>
                    </a:lnTo>
                    <a:lnTo>
                      <a:pt x="13553" y="18720"/>
                    </a:lnTo>
                    <a:lnTo>
                      <a:pt x="13553" y="18000"/>
                    </a:lnTo>
                    <a:lnTo>
                      <a:pt x="11859" y="15120"/>
                    </a:lnTo>
                    <a:lnTo>
                      <a:pt x="9741" y="15120"/>
                    </a:lnTo>
                    <a:lnTo>
                      <a:pt x="9741" y="13680"/>
                    </a:lnTo>
                    <a:lnTo>
                      <a:pt x="8047" y="13680"/>
                    </a:lnTo>
                    <a:lnTo>
                      <a:pt x="8047" y="12960"/>
                    </a:lnTo>
                    <a:lnTo>
                      <a:pt x="7624" y="12960"/>
                    </a:lnTo>
                    <a:lnTo>
                      <a:pt x="6776" y="11520"/>
                    </a:lnTo>
                    <a:lnTo>
                      <a:pt x="5082" y="11520"/>
                    </a:lnTo>
                    <a:lnTo>
                      <a:pt x="5082" y="10080"/>
                    </a:lnTo>
                    <a:lnTo>
                      <a:pt x="3812" y="10080"/>
                    </a:lnTo>
                    <a:lnTo>
                      <a:pt x="3812" y="8640"/>
                    </a:lnTo>
                    <a:lnTo>
                      <a:pt x="2118" y="8640"/>
                    </a:lnTo>
                    <a:lnTo>
                      <a:pt x="1694" y="10080"/>
                    </a:lnTo>
                    <a:lnTo>
                      <a:pt x="1694" y="8640"/>
                    </a:lnTo>
                    <a:lnTo>
                      <a:pt x="847" y="8640"/>
                    </a:lnTo>
                    <a:lnTo>
                      <a:pt x="847" y="6480"/>
                    </a:lnTo>
                    <a:lnTo>
                      <a:pt x="0" y="6480"/>
                    </a:lnTo>
                    <a:lnTo>
                      <a:pt x="0" y="5040"/>
                    </a:lnTo>
                    <a:lnTo>
                      <a:pt x="1694" y="2880"/>
                    </a:lnTo>
                    <a:lnTo>
                      <a:pt x="1694" y="1440"/>
                    </a:lnTo>
                    <a:lnTo>
                      <a:pt x="2118" y="1440"/>
                    </a:lnTo>
                    <a:lnTo>
                      <a:pt x="2965" y="2880"/>
                    </a:lnTo>
                    <a:lnTo>
                      <a:pt x="4659" y="2880"/>
                    </a:lnTo>
                    <a:lnTo>
                      <a:pt x="4659" y="1440"/>
                    </a:lnTo>
                    <a:lnTo>
                      <a:pt x="5082" y="1440"/>
                    </a:lnTo>
                    <a:lnTo>
                      <a:pt x="5082" y="0"/>
                    </a:lnTo>
                    <a:close/>
                    <a:moveTo>
                      <a:pt x="5082" y="0"/>
                    </a:moveTo>
                  </a:path>
                </a:pathLst>
              </a:custGeom>
              <a:solidFill>
                <a:srgbClr val="B2EAE7"/>
              </a:solidFill>
              <a:ln w="12700">
                <a:solidFill>
                  <a:srgbClr val="FFFFFF"/>
                </a:solidFill>
                <a:round/>
                <a:headEnd/>
                <a:tailEnd/>
              </a:ln>
            </p:spPr>
            <p:txBody>
              <a:bodyPr lIns="0" tIns="0" rIns="0" bIns="0"/>
              <a:lstStyle/>
              <a:p>
                <a:endParaRPr lang="en-US"/>
              </a:p>
            </p:txBody>
          </p:sp>
          <p:sp>
            <p:nvSpPr>
              <p:cNvPr id="132" name="AutoShape 86"/>
              <p:cNvSpPr>
                <a:spLocks/>
              </p:cNvSpPr>
              <p:nvPr/>
            </p:nvSpPr>
            <p:spPr bwMode="auto">
              <a:xfrm>
                <a:off x="1545" y="3292"/>
                <a:ext cx="1087" cy="101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w 21600"/>
                  <a:gd name="T117" fmla="*/ 0 h 216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1600"/>
                  <a:gd name="T178" fmla="*/ 0 h 21600"/>
                  <a:gd name="T179" fmla="*/ 21600 w 21600"/>
                  <a:gd name="T180" fmla="*/ 21600 h 216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1600" h="21600">
                    <a:moveTo>
                      <a:pt x="13950" y="15290"/>
                    </a:moveTo>
                    <a:lnTo>
                      <a:pt x="14175" y="15290"/>
                    </a:lnTo>
                    <a:lnTo>
                      <a:pt x="13950" y="15411"/>
                    </a:lnTo>
                    <a:lnTo>
                      <a:pt x="13950" y="15290"/>
                    </a:lnTo>
                    <a:close/>
                    <a:moveTo>
                      <a:pt x="12712" y="3155"/>
                    </a:moveTo>
                    <a:lnTo>
                      <a:pt x="13162" y="3155"/>
                    </a:lnTo>
                    <a:lnTo>
                      <a:pt x="13162" y="3640"/>
                    </a:lnTo>
                    <a:lnTo>
                      <a:pt x="12712" y="3640"/>
                    </a:lnTo>
                    <a:lnTo>
                      <a:pt x="12712" y="3155"/>
                    </a:lnTo>
                    <a:close/>
                    <a:moveTo>
                      <a:pt x="9000" y="0"/>
                    </a:moveTo>
                    <a:lnTo>
                      <a:pt x="9450" y="0"/>
                    </a:lnTo>
                    <a:lnTo>
                      <a:pt x="9450" y="243"/>
                    </a:lnTo>
                    <a:lnTo>
                      <a:pt x="9562" y="243"/>
                    </a:lnTo>
                    <a:lnTo>
                      <a:pt x="9562" y="0"/>
                    </a:lnTo>
                    <a:lnTo>
                      <a:pt x="10013" y="0"/>
                    </a:lnTo>
                    <a:lnTo>
                      <a:pt x="10013" y="243"/>
                    </a:lnTo>
                    <a:lnTo>
                      <a:pt x="10238" y="243"/>
                    </a:lnTo>
                    <a:lnTo>
                      <a:pt x="10238" y="485"/>
                    </a:lnTo>
                    <a:lnTo>
                      <a:pt x="10013" y="485"/>
                    </a:lnTo>
                    <a:lnTo>
                      <a:pt x="10238" y="607"/>
                    </a:lnTo>
                    <a:lnTo>
                      <a:pt x="10350" y="607"/>
                    </a:lnTo>
                    <a:lnTo>
                      <a:pt x="10350" y="849"/>
                    </a:lnTo>
                    <a:lnTo>
                      <a:pt x="10800" y="849"/>
                    </a:lnTo>
                    <a:lnTo>
                      <a:pt x="10800" y="1092"/>
                    </a:lnTo>
                    <a:lnTo>
                      <a:pt x="11813" y="1092"/>
                    </a:lnTo>
                    <a:lnTo>
                      <a:pt x="11925" y="1335"/>
                    </a:lnTo>
                    <a:lnTo>
                      <a:pt x="12937" y="1335"/>
                    </a:lnTo>
                    <a:lnTo>
                      <a:pt x="12937" y="1456"/>
                    </a:lnTo>
                    <a:lnTo>
                      <a:pt x="12600" y="1456"/>
                    </a:lnTo>
                    <a:lnTo>
                      <a:pt x="12600" y="1699"/>
                    </a:lnTo>
                    <a:lnTo>
                      <a:pt x="12375" y="1699"/>
                    </a:lnTo>
                    <a:lnTo>
                      <a:pt x="12375" y="1942"/>
                    </a:lnTo>
                    <a:lnTo>
                      <a:pt x="12600" y="1942"/>
                    </a:lnTo>
                    <a:lnTo>
                      <a:pt x="12600" y="2184"/>
                    </a:lnTo>
                    <a:lnTo>
                      <a:pt x="12712" y="2184"/>
                    </a:lnTo>
                    <a:lnTo>
                      <a:pt x="12600" y="2306"/>
                    </a:lnTo>
                    <a:lnTo>
                      <a:pt x="12600" y="2548"/>
                    </a:lnTo>
                    <a:lnTo>
                      <a:pt x="12712" y="2548"/>
                    </a:lnTo>
                    <a:lnTo>
                      <a:pt x="12712" y="2791"/>
                    </a:lnTo>
                    <a:lnTo>
                      <a:pt x="12600" y="2791"/>
                    </a:lnTo>
                    <a:lnTo>
                      <a:pt x="12600" y="3034"/>
                    </a:lnTo>
                    <a:lnTo>
                      <a:pt x="12712" y="3034"/>
                    </a:lnTo>
                    <a:lnTo>
                      <a:pt x="12712" y="3155"/>
                    </a:lnTo>
                    <a:lnTo>
                      <a:pt x="11813" y="3155"/>
                    </a:lnTo>
                    <a:lnTo>
                      <a:pt x="11813" y="3640"/>
                    </a:lnTo>
                    <a:lnTo>
                      <a:pt x="11138" y="3640"/>
                    </a:lnTo>
                    <a:lnTo>
                      <a:pt x="11025" y="3762"/>
                    </a:lnTo>
                    <a:lnTo>
                      <a:pt x="10800" y="3762"/>
                    </a:lnTo>
                    <a:lnTo>
                      <a:pt x="10575" y="4004"/>
                    </a:lnTo>
                    <a:lnTo>
                      <a:pt x="10575" y="3762"/>
                    </a:lnTo>
                    <a:lnTo>
                      <a:pt x="10350" y="3762"/>
                    </a:lnTo>
                    <a:lnTo>
                      <a:pt x="10238" y="4004"/>
                    </a:lnTo>
                    <a:lnTo>
                      <a:pt x="10238" y="4247"/>
                    </a:lnTo>
                    <a:lnTo>
                      <a:pt x="10013" y="4247"/>
                    </a:lnTo>
                    <a:lnTo>
                      <a:pt x="10013" y="4490"/>
                    </a:lnTo>
                    <a:lnTo>
                      <a:pt x="10238" y="4490"/>
                    </a:lnTo>
                    <a:lnTo>
                      <a:pt x="10350" y="4611"/>
                    </a:lnTo>
                    <a:lnTo>
                      <a:pt x="10350" y="4854"/>
                    </a:lnTo>
                    <a:lnTo>
                      <a:pt x="10575" y="4854"/>
                    </a:lnTo>
                    <a:lnTo>
                      <a:pt x="10575" y="5461"/>
                    </a:lnTo>
                    <a:lnTo>
                      <a:pt x="10238" y="5461"/>
                    </a:lnTo>
                    <a:lnTo>
                      <a:pt x="10238" y="5703"/>
                    </a:lnTo>
                    <a:lnTo>
                      <a:pt x="10350" y="5946"/>
                    </a:lnTo>
                    <a:lnTo>
                      <a:pt x="10350" y="6796"/>
                    </a:lnTo>
                    <a:lnTo>
                      <a:pt x="10575" y="6796"/>
                    </a:lnTo>
                    <a:lnTo>
                      <a:pt x="10575" y="7038"/>
                    </a:lnTo>
                    <a:lnTo>
                      <a:pt x="10800" y="7038"/>
                    </a:lnTo>
                    <a:lnTo>
                      <a:pt x="10800" y="7160"/>
                    </a:lnTo>
                    <a:lnTo>
                      <a:pt x="11025" y="7160"/>
                    </a:lnTo>
                    <a:lnTo>
                      <a:pt x="11025" y="7402"/>
                    </a:lnTo>
                    <a:lnTo>
                      <a:pt x="11362" y="7402"/>
                    </a:lnTo>
                    <a:lnTo>
                      <a:pt x="11362" y="7888"/>
                    </a:lnTo>
                    <a:lnTo>
                      <a:pt x="11813" y="7888"/>
                    </a:lnTo>
                    <a:lnTo>
                      <a:pt x="11925" y="8009"/>
                    </a:lnTo>
                    <a:lnTo>
                      <a:pt x="12150" y="8009"/>
                    </a:lnTo>
                    <a:lnTo>
                      <a:pt x="12150" y="8252"/>
                    </a:lnTo>
                    <a:lnTo>
                      <a:pt x="12375" y="8494"/>
                    </a:lnTo>
                    <a:lnTo>
                      <a:pt x="12712" y="8494"/>
                    </a:lnTo>
                    <a:lnTo>
                      <a:pt x="12712" y="8858"/>
                    </a:lnTo>
                    <a:lnTo>
                      <a:pt x="12937" y="8858"/>
                    </a:lnTo>
                    <a:lnTo>
                      <a:pt x="12937" y="9101"/>
                    </a:lnTo>
                    <a:lnTo>
                      <a:pt x="13162" y="9101"/>
                    </a:lnTo>
                    <a:lnTo>
                      <a:pt x="13162" y="9951"/>
                    </a:lnTo>
                    <a:lnTo>
                      <a:pt x="13387" y="9951"/>
                    </a:lnTo>
                    <a:lnTo>
                      <a:pt x="13387" y="10436"/>
                    </a:lnTo>
                    <a:lnTo>
                      <a:pt x="13500" y="10436"/>
                    </a:lnTo>
                    <a:lnTo>
                      <a:pt x="13500" y="10557"/>
                    </a:lnTo>
                    <a:lnTo>
                      <a:pt x="13725" y="10557"/>
                    </a:lnTo>
                    <a:lnTo>
                      <a:pt x="13725" y="11043"/>
                    </a:lnTo>
                    <a:lnTo>
                      <a:pt x="13950" y="11043"/>
                    </a:lnTo>
                    <a:lnTo>
                      <a:pt x="13950" y="11285"/>
                    </a:lnTo>
                    <a:lnTo>
                      <a:pt x="14175" y="11285"/>
                    </a:lnTo>
                    <a:lnTo>
                      <a:pt x="14288" y="11407"/>
                    </a:lnTo>
                    <a:lnTo>
                      <a:pt x="14288" y="11649"/>
                    </a:lnTo>
                    <a:lnTo>
                      <a:pt x="14512" y="11649"/>
                    </a:lnTo>
                    <a:lnTo>
                      <a:pt x="14962" y="12135"/>
                    </a:lnTo>
                    <a:lnTo>
                      <a:pt x="15075" y="12135"/>
                    </a:lnTo>
                    <a:lnTo>
                      <a:pt x="15525" y="12256"/>
                    </a:lnTo>
                    <a:lnTo>
                      <a:pt x="15862" y="12256"/>
                    </a:lnTo>
                    <a:lnTo>
                      <a:pt x="16087" y="12135"/>
                    </a:lnTo>
                    <a:lnTo>
                      <a:pt x="16313" y="12135"/>
                    </a:lnTo>
                    <a:lnTo>
                      <a:pt x="16538" y="12256"/>
                    </a:lnTo>
                    <a:lnTo>
                      <a:pt x="16650" y="12135"/>
                    </a:lnTo>
                    <a:lnTo>
                      <a:pt x="17100" y="12135"/>
                    </a:lnTo>
                    <a:lnTo>
                      <a:pt x="17325" y="12256"/>
                    </a:lnTo>
                    <a:lnTo>
                      <a:pt x="17325" y="12742"/>
                    </a:lnTo>
                    <a:lnTo>
                      <a:pt x="17100" y="12984"/>
                    </a:lnTo>
                    <a:lnTo>
                      <a:pt x="16875" y="12984"/>
                    </a:lnTo>
                    <a:lnTo>
                      <a:pt x="17325" y="13348"/>
                    </a:lnTo>
                    <a:lnTo>
                      <a:pt x="17325" y="13591"/>
                    </a:lnTo>
                    <a:lnTo>
                      <a:pt x="17438" y="13591"/>
                    </a:lnTo>
                    <a:lnTo>
                      <a:pt x="17662" y="13834"/>
                    </a:lnTo>
                    <a:lnTo>
                      <a:pt x="17888" y="13834"/>
                    </a:lnTo>
                    <a:lnTo>
                      <a:pt x="18113" y="13955"/>
                    </a:lnTo>
                    <a:lnTo>
                      <a:pt x="18225" y="13955"/>
                    </a:lnTo>
                    <a:lnTo>
                      <a:pt x="18225" y="14198"/>
                    </a:lnTo>
                    <a:lnTo>
                      <a:pt x="18900" y="14198"/>
                    </a:lnTo>
                    <a:lnTo>
                      <a:pt x="18900" y="14440"/>
                    </a:lnTo>
                    <a:lnTo>
                      <a:pt x="19013" y="14440"/>
                    </a:lnTo>
                    <a:lnTo>
                      <a:pt x="19013" y="14683"/>
                    </a:lnTo>
                    <a:lnTo>
                      <a:pt x="19688" y="14683"/>
                    </a:lnTo>
                    <a:lnTo>
                      <a:pt x="19688" y="14804"/>
                    </a:lnTo>
                    <a:lnTo>
                      <a:pt x="19800" y="14804"/>
                    </a:lnTo>
                    <a:lnTo>
                      <a:pt x="20250" y="15290"/>
                    </a:lnTo>
                    <a:lnTo>
                      <a:pt x="20588" y="15290"/>
                    </a:lnTo>
                    <a:lnTo>
                      <a:pt x="20588" y="15411"/>
                    </a:lnTo>
                    <a:lnTo>
                      <a:pt x="20812" y="15411"/>
                    </a:lnTo>
                    <a:lnTo>
                      <a:pt x="20812" y="15654"/>
                    </a:lnTo>
                    <a:lnTo>
                      <a:pt x="21038" y="15654"/>
                    </a:lnTo>
                    <a:lnTo>
                      <a:pt x="21375" y="16139"/>
                    </a:lnTo>
                    <a:lnTo>
                      <a:pt x="21375" y="16261"/>
                    </a:lnTo>
                    <a:lnTo>
                      <a:pt x="21600" y="16261"/>
                    </a:lnTo>
                    <a:lnTo>
                      <a:pt x="21600" y="16746"/>
                    </a:lnTo>
                    <a:lnTo>
                      <a:pt x="21375" y="16746"/>
                    </a:lnTo>
                    <a:lnTo>
                      <a:pt x="21375" y="17110"/>
                    </a:lnTo>
                    <a:lnTo>
                      <a:pt x="21038" y="17110"/>
                    </a:lnTo>
                    <a:lnTo>
                      <a:pt x="20250" y="16261"/>
                    </a:lnTo>
                    <a:lnTo>
                      <a:pt x="20250" y="16139"/>
                    </a:lnTo>
                    <a:lnTo>
                      <a:pt x="20025" y="16139"/>
                    </a:lnTo>
                    <a:lnTo>
                      <a:pt x="19800" y="15897"/>
                    </a:lnTo>
                    <a:lnTo>
                      <a:pt x="19238" y="15897"/>
                    </a:lnTo>
                    <a:lnTo>
                      <a:pt x="19238" y="15411"/>
                    </a:lnTo>
                    <a:lnTo>
                      <a:pt x="19013" y="15411"/>
                    </a:lnTo>
                    <a:lnTo>
                      <a:pt x="18900" y="15654"/>
                    </a:lnTo>
                    <a:lnTo>
                      <a:pt x="18675" y="15654"/>
                    </a:lnTo>
                    <a:lnTo>
                      <a:pt x="18675" y="15897"/>
                    </a:lnTo>
                    <a:lnTo>
                      <a:pt x="18450" y="15897"/>
                    </a:lnTo>
                    <a:lnTo>
                      <a:pt x="18450" y="16139"/>
                    </a:lnTo>
                    <a:lnTo>
                      <a:pt x="18225" y="16261"/>
                    </a:lnTo>
                    <a:lnTo>
                      <a:pt x="18225" y="16746"/>
                    </a:lnTo>
                    <a:lnTo>
                      <a:pt x="18113" y="16989"/>
                    </a:lnTo>
                    <a:lnTo>
                      <a:pt x="18113" y="17596"/>
                    </a:lnTo>
                    <a:lnTo>
                      <a:pt x="18450" y="17596"/>
                    </a:lnTo>
                    <a:lnTo>
                      <a:pt x="18675" y="17838"/>
                    </a:lnTo>
                    <a:lnTo>
                      <a:pt x="18900" y="17838"/>
                    </a:lnTo>
                    <a:lnTo>
                      <a:pt x="18900" y="17960"/>
                    </a:lnTo>
                    <a:lnTo>
                      <a:pt x="19013" y="18202"/>
                    </a:lnTo>
                    <a:lnTo>
                      <a:pt x="19013" y="18445"/>
                    </a:lnTo>
                    <a:lnTo>
                      <a:pt x="19238" y="18688"/>
                    </a:lnTo>
                    <a:lnTo>
                      <a:pt x="19013" y="19052"/>
                    </a:lnTo>
                    <a:lnTo>
                      <a:pt x="19013" y="19294"/>
                    </a:lnTo>
                    <a:lnTo>
                      <a:pt x="18225" y="19294"/>
                    </a:lnTo>
                    <a:lnTo>
                      <a:pt x="18225" y="19537"/>
                    </a:lnTo>
                    <a:lnTo>
                      <a:pt x="18113" y="19537"/>
                    </a:lnTo>
                    <a:lnTo>
                      <a:pt x="18113" y="20387"/>
                    </a:lnTo>
                    <a:lnTo>
                      <a:pt x="17888" y="20508"/>
                    </a:lnTo>
                    <a:lnTo>
                      <a:pt x="17888" y="20751"/>
                    </a:lnTo>
                    <a:lnTo>
                      <a:pt x="17662" y="20751"/>
                    </a:lnTo>
                    <a:lnTo>
                      <a:pt x="17662" y="20993"/>
                    </a:lnTo>
                    <a:lnTo>
                      <a:pt x="17438" y="20993"/>
                    </a:lnTo>
                    <a:lnTo>
                      <a:pt x="17438" y="21236"/>
                    </a:lnTo>
                    <a:lnTo>
                      <a:pt x="17100" y="21600"/>
                    </a:lnTo>
                    <a:lnTo>
                      <a:pt x="16650" y="21600"/>
                    </a:lnTo>
                    <a:lnTo>
                      <a:pt x="16650" y="21357"/>
                    </a:lnTo>
                    <a:lnTo>
                      <a:pt x="16313" y="21357"/>
                    </a:lnTo>
                    <a:lnTo>
                      <a:pt x="16313" y="21236"/>
                    </a:lnTo>
                    <a:lnTo>
                      <a:pt x="16538" y="20751"/>
                    </a:lnTo>
                    <a:lnTo>
                      <a:pt x="16538" y="20508"/>
                    </a:lnTo>
                    <a:lnTo>
                      <a:pt x="16650" y="20508"/>
                    </a:lnTo>
                    <a:lnTo>
                      <a:pt x="16650" y="20387"/>
                    </a:lnTo>
                    <a:lnTo>
                      <a:pt x="16875" y="20144"/>
                    </a:lnTo>
                    <a:lnTo>
                      <a:pt x="16875" y="19901"/>
                    </a:lnTo>
                    <a:lnTo>
                      <a:pt x="16650" y="19901"/>
                    </a:lnTo>
                    <a:lnTo>
                      <a:pt x="16650" y="19658"/>
                    </a:lnTo>
                    <a:lnTo>
                      <a:pt x="17100" y="19658"/>
                    </a:lnTo>
                    <a:lnTo>
                      <a:pt x="17100" y="19537"/>
                    </a:lnTo>
                    <a:lnTo>
                      <a:pt x="17438" y="19537"/>
                    </a:lnTo>
                    <a:lnTo>
                      <a:pt x="17438" y="19294"/>
                    </a:lnTo>
                    <a:lnTo>
                      <a:pt x="17325" y="19052"/>
                    </a:lnTo>
                    <a:lnTo>
                      <a:pt x="17325" y="18809"/>
                    </a:lnTo>
                    <a:lnTo>
                      <a:pt x="17100" y="18809"/>
                    </a:lnTo>
                    <a:lnTo>
                      <a:pt x="17100" y="18688"/>
                    </a:lnTo>
                    <a:lnTo>
                      <a:pt x="16875" y="18445"/>
                    </a:lnTo>
                    <a:lnTo>
                      <a:pt x="16875" y="17960"/>
                    </a:lnTo>
                    <a:lnTo>
                      <a:pt x="16650" y="17838"/>
                    </a:lnTo>
                    <a:lnTo>
                      <a:pt x="16650" y="17110"/>
                    </a:lnTo>
                    <a:lnTo>
                      <a:pt x="16538" y="16989"/>
                    </a:lnTo>
                    <a:lnTo>
                      <a:pt x="16538" y="16746"/>
                    </a:lnTo>
                    <a:lnTo>
                      <a:pt x="15750" y="16746"/>
                    </a:lnTo>
                    <a:lnTo>
                      <a:pt x="15525" y="16503"/>
                    </a:lnTo>
                    <a:lnTo>
                      <a:pt x="15300" y="16503"/>
                    </a:lnTo>
                    <a:lnTo>
                      <a:pt x="15300" y="16261"/>
                    </a:lnTo>
                    <a:lnTo>
                      <a:pt x="15075" y="16261"/>
                    </a:lnTo>
                    <a:lnTo>
                      <a:pt x="15075" y="15411"/>
                    </a:lnTo>
                    <a:lnTo>
                      <a:pt x="14962" y="15411"/>
                    </a:lnTo>
                    <a:lnTo>
                      <a:pt x="14962" y="15290"/>
                    </a:lnTo>
                    <a:lnTo>
                      <a:pt x="14175" y="15290"/>
                    </a:lnTo>
                    <a:lnTo>
                      <a:pt x="14175" y="14804"/>
                    </a:lnTo>
                    <a:lnTo>
                      <a:pt x="13725" y="14804"/>
                    </a:lnTo>
                    <a:lnTo>
                      <a:pt x="13500" y="14683"/>
                    </a:lnTo>
                    <a:lnTo>
                      <a:pt x="13387" y="14683"/>
                    </a:lnTo>
                    <a:lnTo>
                      <a:pt x="13387" y="14440"/>
                    </a:lnTo>
                    <a:lnTo>
                      <a:pt x="13162" y="14440"/>
                    </a:lnTo>
                    <a:lnTo>
                      <a:pt x="13162" y="14198"/>
                    </a:lnTo>
                    <a:lnTo>
                      <a:pt x="12937" y="14198"/>
                    </a:lnTo>
                    <a:lnTo>
                      <a:pt x="12937" y="13955"/>
                    </a:lnTo>
                    <a:lnTo>
                      <a:pt x="12712" y="13834"/>
                    </a:lnTo>
                    <a:lnTo>
                      <a:pt x="12600" y="13834"/>
                    </a:lnTo>
                    <a:lnTo>
                      <a:pt x="12600" y="13955"/>
                    </a:lnTo>
                    <a:lnTo>
                      <a:pt x="11588" y="13955"/>
                    </a:lnTo>
                    <a:lnTo>
                      <a:pt x="11588" y="13834"/>
                    </a:lnTo>
                    <a:lnTo>
                      <a:pt x="11362" y="13834"/>
                    </a:lnTo>
                    <a:lnTo>
                      <a:pt x="11362" y="13591"/>
                    </a:lnTo>
                    <a:lnTo>
                      <a:pt x="11138" y="13591"/>
                    </a:lnTo>
                    <a:lnTo>
                      <a:pt x="11138" y="13348"/>
                    </a:lnTo>
                    <a:lnTo>
                      <a:pt x="10800" y="13348"/>
                    </a:lnTo>
                    <a:lnTo>
                      <a:pt x="10800" y="13106"/>
                    </a:lnTo>
                    <a:lnTo>
                      <a:pt x="10575" y="12984"/>
                    </a:lnTo>
                    <a:lnTo>
                      <a:pt x="10350" y="12984"/>
                    </a:lnTo>
                    <a:lnTo>
                      <a:pt x="10350" y="12742"/>
                    </a:lnTo>
                    <a:lnTo>
                      <a:pt x="10238" y="12742"/>
                    </a:lnTo>
                    <a:lnTo>
                      <a:pt x="10238" y="12499"/>
                    </a:lnTo>
                    <a:lnTo>
                      <a:pt x="10013" y="12499"/>
                    </a:lnTo>
                    <a:lnTo>
                      <a:pt x="10013" y="12256"/>
                    </a:lnTo>
                    <a:lnTo>
                      <a:pt x="9788" y="12256"/>
                    </a:lnTo>
                    <a:lnTo>
                      <a:pt x="9225" y="11649"/>
                    </a:lnTo>
                    <a:lnTo>
                      <a:pt x="9000" y="11649"/>
                    </a:lnTo>
                    <a:lnTo>
                      <a:pt x="9000" y="11407"/>
                    </a:lnTo>
                    <a:lnTo>
                      <a:pt x="8887" y="11407"/>
                    </a:lnTo>
                    <a:lnTo>
                      <a:pt x="8887" y="11285"/>
                    </a:lnTo>
                    <a:lnTo>
                      <a:pt x="8212" y="11285"/>
                    </a:lnTo>
                    <a:lnTo>
                      <a:pt x="8212" y="10800"/>
                    </a:lnTo>
                    <a:lnTo>
                      <a:pt x="8100" y="10800"/>
                    </a:lnTo>
                    <a:lnTo>
                      <a:pt x="8100" y="10557"/>
                    </a:lnTo>
                    <a:lnTo>
                      <a:pt x="7875" y="10557"/>
                    </a:lnTo>
                    <a:lnTo>
                      <a:pt x="7875" y="10436"/>
                    </a:lnTo>
                    <a:lnTo>
                      <a:pt x="7650" y="10193"/>
                    </a:lnTo>
                    <a:lnTo>
                      <a:pt x="7650" y="9951"/>
                    </a:lnTo>
                    <a:lnTo>
                      <a:pt x="7087" y="9951"/>
                    </a:lnTo>
                    <a:lnTo>
                      <a:pt x="7087" y="9101"/>
                    </a:lnTo>
                    <a:lnTo>
                      <a:pt x="6863" y="9101"/>
                    </a:lnTo>
                    <a:lnTo>
                      <a:pt x="6863" y="8737"/>
                    </a:lnTo>
                    <a:lnTo>
                      <a:pt x="6637" y="8737"/>
                    </a:lnTo>
                    <a:lnTo>
                      <a:pt x="6637" y="7645"/>
                    </a:lnTo>
                    <a:lnTo>
                      <a:pt x="6525" y="7645"/>
                    </a:lnTo>
                    <a:lnTo>
                      <a:pt x="6525" y="7402"/>
                    </a:lnTo>
                    <a:lnTo>
                      <a:pt x="6075" y="7402"/>
                    </a:lnTo>
                    <a:lnTo>
                      <a:pt x="6075" y="7160"/>
                    </a:lnTo>
                    <a:lnTo>
                      <a:pt x="5738" y="7160"/>
                    </a:lnTo>
                    <a:lnTo>
                      <a:pt x="5738" y="7038"/>
                    </a:lnTo>
                    <a:lnTo>
                      <a:pt x="5288" y="7038"/>
                    </a:lnTo>
                    <a:lnTo>
                      <a:pt x="5063" y="6796"/>
                    </a:lnTo>
                    <a:lnTo>
                      <a:pt x="4725" y="6796"/>
                    </a:lnTo>
                    <a:lnTo>
                      <a:pt x="4725" y="6553"/>
                    </a:lnTo>
                    <a:lnTo>
                      <a:pt x="3487" y="6553"/>
                    </a:lnTo>
                    <a:lnTo>
                      <a:pt x="3487" y="6796"/>
                    </a:lnTo>
                    <a:lnTo>
                      <a:pt x="3375" y="6796"/>
                    </a:lnTo>
                    <a:lnTo>
                      <a:pt x="3375" y="7038"/>
                    </a:lnTo>
                    <a:lnTo>
                      <a:pt x="3150" y="7160"/>
                    </a:lnTo>
                    <a:lnTo>
                      <a:pt x="3150" y="7402"/>
                    </a:lnTo>
                    <a:lnTo>
                      <a:pt x="2925" y="7402"/>
                    </a:lnTo>
                    <a:lnTo>
                      <a:pt x="2925" y="7645"/>
                    </a:lnTo>
                    <a:lnTo>
                      <a:pt x="2588" y="7645"/>
                    </a:lnTo>
                    <a:lnTo>
                      <a:pt x="2588" y="7888"/>
                    </a:lnTo>
                    <a:lnTo>
                      <a:pt x="1800" y="7888"/>
                    </a:lnTo>
                    <a:lnTo>
                      <a:pt x="1800" y="7645"/>
                    </a:lnTo>
                    <a:lnTo>
                      <a:pt x="1912" y="7645"/>
                    </a:lnTo>
                    <a:lnTo>
                      <a:pt x="1912" y="7402"/>
                    </a:lnTo>
                    <a:lnTo>
                      <a:pt x="2138" y="7402"/>
                    </a:lnTo>
                    <a:lnTo>
                      <a:pt x="2138" y="7160"/>
                    </a:lnTo>
                    <a:lnTo>
                      <a:pt x="1912" y="7160"/>
                    </a:lnTo>
                    <a:lnTo>
                      <a:pt x="1912" y="7038"/>
                    </a:lnTo>
                    <a:lnTo>
                      <a:pt x="1350" y="7038"/>
                    </a:lnTo>
                    <a:lnTo>
                      <a:pt x="1013" y="6553"/>
                    </a:lnTo>
                    <a:lnTo>
                      <a:pt x="563" y="6553"/>
                    </a:lnTo>
                    <a:lnTo>
                      <a:pt x="563" y="5703"/>
                    </a:lnTo>
                    <a:lnTo>
                      <a:pt x="1013" y="5703"/>
                    </a:lnTo>
                    <a:lnTo>
                      <a:pt x="788" y="5461"/>
                    </a:lnTo>
                    <a:lnTo>
                      <a:pt x="788" y="5339"/>
                    </a:lnTo>
                    <a:lnTo>
                      <a:pt x="338" y="5339"/>
                    </a:lnTo>
                    <a:lnTo>
                      <a:pt x="338" y="4854"/>
                    </a:lnTo>
                    <a:lnTo>
                      <a:pt x="0" y="4854"/>
                    </a:lnTo>
                    <a:lnTo>
                      <a:pt x="0" y="4611"/>
                    </a:lnTo>
                    <a:lnTo>
                      <a:pt x="563" y="4611"/>
                    </a:lnTo>
                    <a:lnTo>
                      <a:pt x="563" y="4490"/>
                    </a:lnTo>
                    <a:lnTo>
                      <a:pt x="1013" y="4490"/>
                    </a:lnTo>
                    <a:lnTo>
                      <a:pt x="1013" y="4247"/>
                    </a:lnTo>
                    <a:lnTo>
                      <a:pt x="1125" y="4247"/>
                    </a:lnTo>
                    <a:lnTo>
                      <a:pt x="1125" y="3762"/>
                    </a:lnTo>
                    <a:lnTo>
                      <a:pt x="788" y="3762"/>
                    </a:lnTo>
                    <a:lnTo>
                      <a:pt x="788" y="3398"/>
                    </a:lnTo>
                    <a:lnTo>
                      <a:pt x="338" y="3398"/>
                    </a:lnTo>
                    <a:lnTo>
                      <a:pt x="338" y="3034"/>
                    </a:lnTo>
                    <a:lnTo>
                      <a:pt x="563" y="3034"/>
                    </a:lnTo>
                    <a:lnTo>
                      <a:pt x="788" y="2791"/>
                    </a:lnTo>
                    <a:lnTo>
                      <a:pt x="1800" y="2791"/>
                    </a:lnTo>
                    <a:lnTo>
                      <a:pt x="1800" y="2548"/>
                    </a:lnTo>
                    <a:lnTo>
                      <a:pt x="1912" y="2548"/>
                    </a:lnTo>
                    <a:lnTo>
                      <a:pt x="1912" y="2791"/>
                    </a:lnTo>
                    <a:lnTo>
                      <a:pt x="2138" y="2791"/>
                    </a:lnTo>
                    <a:lnTo>
                      <a:pt x="2138" y="3034"/>
                    </a:lnTo>
                    <a:lnTo>
                      <a:pt x="2363" y="3034"/>
                    </a:lnTo>
                    <a:lnTo>
                      <a:pt x="2363" y="2548"/>
                    </a:lnTo>
                    <a:lnTo>
                      <a:pt x="2700" y="2548"/>
                    </a:lnTo>
                    <a:lnTo>
                      <a:pt x="2700" y="2184"/>
                    </a:lnTo>
                    <a:lnTo>
                      <a:pt x="2925" y="1942"/>
                    </a:lnTo>
                    <a:lnTo>
                      <a:pt x="2925" y="1699"/>
                    </a:lnTo>
                    <a:lnTo>
                      <a:pt x="3150" y="1699"/>
                    </a:lnTo>
                    <a:lnTo>
                      <a:pt x="3375" y="1456"/>
                    </a:lnTo>
                    <a:lnTo>
                      <a:pt x="3487" y="1456"/>
                    </a:lnTo>
                    <a:lnTo>
                      <a:pt x="3375" y="1699"/>
                    </a:lnTo>
                    <a:lnTo>
                      <a:pt x="3375" y="1942"/>
                    </a:lnTo>
                    <a:lnTo>
                      <a:pt x="3487" y="2184"/>
                    </a:lnTo>
                    <a:lnTo>
                      <a:pt x="3713" y="2184"/>
                    </a:lnTo>
                    <a:lnTo>
                      <a:pt x="3713" y="2306"/>
                    </a:lnTo>
                    <a:lnTo>
                      <a:pt x="3937" y="2306"/>
                    </a:lnTo>
                    <a:lnTo>
                      <a:pt x="4162" y="2548"/>
                    </a:lnTo>
                    <a:lnTo>
                      <a:pt x="4162" y="3155"/>
                    </a:lnTo>
                    <a:lnTo>
                      <a:pt x="4275" y="3155"/>
                    </a:lnTo>
                    <a:lnTo>
                      <a:pt x="4275" y="2791"/>
                    </a:lnTo>
                    <a:lnTo>
                      <a:pt x="4500" y="2791"/>
                    </a:lnTo>
                    <a:lnTo>
                      <a:pt x="4500" y="2306"/>
                    </a:lnTo>
                    <a:lnTo>
                      <a:pt x="4950" y="1942"/>
                    </a:lnTo>
                    <a:lnTo>
                      <a:pt x="4950" y="1335"/>
                    </a:lnTo>
                    <a:lnTo>
                      <a:pt x="5063" y="1456"/>
                    </a:lnTo>
                    <a:lnTo>
                      <a:pt x="5288" y="1456"/>
                    </a:lnTo>
                    <a:lnTo>
                      <a:pt x="5288" y="1699"/>
                    </a:lnTo>
                    <a:lnTo>
                      <a:pt x="5512" y="1699"/>
                    </a:lnTo>
                    <a:lnTo>
                      <a:pt x="5512" y="1942"/>
                    </a:lnTo>
                    <a:lnTo>
                      <a:pt x="6075" y="1942"/>
                    </a:lnTo>
                    <a:lnTo>
                      <a:pt x="6075" y="2184"/>
                    </a:lnTo>
                    <a:lnTo>
                      <a:pt x="6525" y="2184"/>
                    </a:lnTo>
                    <a:lnTo>
                      <a:pt x="6525" y="1456"/>
                    </a:lnTo>
                    <a:lnTo>
                      <a:pt x="6300" y="1456"/>
                    </a:lnTo>
                    <a:lnTo>
                      <a:pt x="6300" y="1335"/>
                    </a:lnTo>
                    <a:lnTo>
                      <a:pt x="6525" y="1092"/>
                    </a:lnTo>
                    <a:lnTo>
                      <a:pt x="6637" y="1092"/>
                    </a:lnTo>
                    <a:lnTo>
                      <a:pt x="6637" y="1335"/>
                    </a:lnTo>
                    <a:lnTo>
                      <a:pt x="7087" y="1335"/>
                    </a:lnTo>
                    <a:lnTo>
                      <a:pt x="7087" y="485"/>
                    </a:lnTo>
                    <a:lnTo>
                      <a:pt x="7425" y="485"/>
                    </a:lnTo>
                    <a:lnTo>
                      <a:pt x="7425" y="607"/>
                    </a:lnTo>
                    <a:lnTo>
                      <a:pt x="8100" y="607"/>
                    </a:lnTo>
                    <a:lnTo>
                      <a:pt x="8100" y="485"/>
                    </a:lnTo>
                    <a:lnTo>
                      <a:pt x="8212" y="485"/>
                    </a:lnTo>
                    <a:lnTo>
                      <a:pt x="8212" y="243"/>
                    </a:lnTo>
                    <a:lnTo>
                      <a:pt x="9000" y="243"/>
                    </a:lnTo>
                    <a:lnTo>
                      <a:pt x="9000" y="0"/>
                    </a:lnTo>
                    <a:close/>
                    <a:moveTo>
                      <a:pt x="9000" y="0"/>
                    </a:moveTo>
                  </a:path>
                </a:pathLst>
              </a:custGeom>
              <a:solidFill>
                <a:srgbClr val="B2EAE7"/>
              </a:solidFill>
              <a:ln w="12700">
                <a:solidFill>
                  <a:srgbClr val="FFFFFF"/>
                </a:solidFill>
                <a:round/>
                <a:headEnd/>
                <a:tailEnd/>
              </a:ln>
            </p:spPr>
            <p:txBody>
              <a:bodyPr lIns="0" tIns="0" rIns="0" bIns="0"/>
              <a:lstStyle/>
              <a:p>
                <a:endParaRPr lang="en-US"/>
              </a:p>
            </p:txBody>
          </p:sp>
          <p:sp>
            <p:nvSpPr>
              <p:cNvPr id="133" name="AutoShape 87"/>
              <p:cNvSpPr>
                <a:spLocks/>
              </p:cNvSpPr>
              <p:nvPr/>
            </p:nvSpPr>
            <p:spPr bwMode="auto">
              <a:xfrm>
                <a:off x="0" y="2281"/>
                <a:ext cx="392" cy="494"/>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1600"/>
                  <a:gd name="T166" fmla="*/ 0 h 21600"/>
                  <a:gd name="T167" fmla="*/ 21600 w 21600"/>
                  <a:gd name="T168" fmla="*/ 21600 h 216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1600" h="21600">
                    <a:moveTo>
                      <a:pt x="3130" y="20855"/>
                    </a:moveTo>
                    <a:lnTo>
                      <a:pt x="3757" y="20855"/>
                    </a:lnTo>
                    <a:lnTo>
                      <a:pt x="3130" y="21352"/>
                    </a:lnTo>
                    <a:lnTo>
                      <a:pt x="3130" y="20855"/>
                    </a:lnTo>
                    <a:close/>
                    <a:moveTo>
                      <a:pt x="2504" y="15145"/>
                    </a:moveTo>
                    <a:lnTo>
                      <a:pt x="3757" y="15145"/>
                    </a:lnTo>
                    <a:lnTo>
                      <a:pt x="3757" y="15641"/>
                    </a:lnTo>
                    <a:lnTo>
                      <a:pt x="2504" y="15641"/>
                    </a:lnTo>
                    <a:lnTo>
                      <a:pt x="2504" y="15145"/>
                    </a:lnTo>
                    <a:close/>
                    <a:moveTo>
                      <a:pt x="6887" y="14400"/>
                    </a:moveTo>
                    <a:lnTo>
                      <a:pt x="6887" y="14648"/>
                    </a:lnTo>
                    <a:lnTo>
                      <a:pt x="5948" y="14648"/>
                    </a:lnTo>
                    <a:lnTo>
                      <a:pt x="5948" y="15145"/>
                    </a:lnTo>
                    <a:lnTo>
                      <a:pt x="8139" y="15145"/>
                    </a:lnTo>
                    <a:lnTo>
                      <a:pt x="6887" y="14400"/>
                    </a:lnTo>
                    <a:close/>
                    <a:moveTo>
                      <a:pt x="313" y="7697"/>
                    </a:moveTo>
                    <a:lnTo>
                      <a:pt x="2191" y="7697"/>
                    </a:lnTo>
                    <a:lnTo>
                      <a:pt x="2191" y="8193"/>
                    </a:lnTo>
                    <a:lnTo>
                      <a:pt x="313" y="8193"/>
                    </a:lnTo>
                    <a:lnTo>
                      <a:pt x="313" y="7697"/>
                    </a:lnTo>
                    <a:close/>
                    <a:moveTo>
                      <a:pt x="15339" y="0"/>
                    </a:moveTo>
                    <a:lnTo>
                      <a:pt x="15652" y="0"/>
                    </a:lnTo>
                    <a:lnTo>
                      <a:pt x="15652" y="497"/>
                    </a:lnTo>
                    <a:lnTo>
                      <a:pt x="16904" y="497"/>
                    </a:lnTo>
                    <a:lnTo>
                      <a:pt x="16904" y="993"/>
                    </a:lnTo>
                    <a:lnTo>
                      <a:pt x="17530" y="993"/>
                    </a:lnTo>
                    <a:lnTo>
                      <a:pt x="17530" y="1241"/>
                    </a:lnTo>
                    <a:lnTo>
                      <a:pt x="16904" y="1241"/>
                    </a:lnTo>
                    <a:lnTo>
                      <a:pt x="16904" y="1738"/>
                    </a:lnTo>
                    <a:lnTo>
                      <a:pt x="16278" y="1738"/>
                    </a:lnTo>
                    <a:lnTo>
                      <a:pt x="16278" y="2234"/>
                    </a:lnTo>
                    <a:lnTo>
                      <a:pt x="15339" y="2234"/>
                    </a:lnTo>
                    <a:lnTo>
                      <a:pt x="15339" y="2979"/>
                    </a:lnTo>
                    <a:lnTo>
                      <a:pt x="14713" y="2979"/>
                    </a:lnTo>
                    <a:lnTo>
                      <a:pt x="14713" y="3972"/>
                    </a:lnTo>
                    <a:lnTo>
                      <a:pt x="12522" y="3972"/>
                    </a:lnTo>
                    <a:lnTo>
                      <a:pt x="12522" y="4469"/>
                    </a:lnTo>
                    <a:lnTo>
                      <a:pt x="13461" y="4469"/>
                    </a:lnTo>
                    <a:lnTo>
                      <a:pt x="13461" y="4717"/>
                    </a:lnTo>
                    <a:lnTo>
                      <a:pt x="11896" y="4717"/>
                    </a:lnTo>
                    <a:lnTo>
                      <a:pt x="11896" y="5214"/>
                    </a:lnTo>
                    <a:lnTo>
                      <a:pt x="11270" y="5214"/>
                    </a:lnTo>
                    <a:lnTo>
                      <a:pt x="11270" y="5710"/>
                    </a:lnTo>
                    <a:lnTo>
                      <a:pt x="11896" y="5710"/>
                    </a:lnTo>
                    <a:lnTo>
                      <a:pt x="11896" y="5959"/>
                    </a:lnTo>
                    <a:lnTo>
                      <a:pt x="12522" y="5959"/>
                    </a:lnTo>
                    <a:lnTo>
                      <a:pt x="12522" y="6455"/>
                    </a:lnTo>
                    <a:lnTo>
                      <a:pt x="13148" y="6455"/>
                    </a:lnTo>
                    <a:lnTo>
                      <a:pt x="13148" y="6952"/>
                    </a:lnTo>
                    <a:lnTo>
                      <a:pt x="14713" y="6952"/>
                    </a:lnTo>
                    <a:lnTo>
                      <a:pt x="14713" y="7448"/>
                    </a:lnTo>
                    <a:lnTo>
                      <a:pt x="15652" y="7448"/>
                    </a:lnTo>
                    <a:lnTo>
                      <a:pt x="15652" y="6952"/>
                    </a:lnTo>
                    <a:lnTo>
                      <a:pt x="16278" y="6952"/>
                    </a:lnTo>
                    <a:lnTo>
                      <a:pt x="16278" y="6455"/>
                    </a:lnTo>
                    <a:lnTo>
                      <a:pt x="15652" y="6455"/>
                    </a:lnTo>
                    <a:lnTo>
                      <a:pt x="15652" y="5959"/>
                    </a:lnTo>
                    <a:lnTo>
                      <a:pt x="17843" y="5959"/>
                    </a:lnTo>
                    <a:lnTo>
                      <a:pt x="17843" y="6952"/>
                    </a:lnTo>
                    <a:lnTo>
                      <a:pt x="19096" y="6952"/>
                    </a:lnTo>
                    <a:lnTo>
                      <a:pt x="19096" y="7697"/>
                    </a:lnTo>
                    <a:lnTo>
                      <a:pt x="20035" y="7697"/>
                    </a:lnTo>
                    <a:lnTo>
                      <a:pt x="20035" y="7448"/>
                    </a:lnTo>
                    <a:lnTo>
                      <a:pt x="20661" y="7448"/>
                    </a:lnTo>
                    <a:lnTo>
                      <a:pt x="20661" y="7697"/>
                    </a:lnTo>
                    <a:lnTo>
                      <a:pt x="21287" y="7697"/>
                    </a:lnTo>
                    <a:lnTo>
                      <a:pt x="21287" y="8193"/>
                    </a:lnTo>
                    <a:lnTo>
                      <a:pt x="20035" y="8193"/>
                    </a:lnTo>
                    <a:lnTo>
                      <a:pt x="20035" y="8690"/>
                    </a:lnTo>
                    <a:lnTo>
                      <a:pt x="20661" y="8690"/>
                    </a:lnTo>
                    <a:lnTo>
                      <a:pt x="20661" y="9434"/>
                    </a:lnTo>
                    <a:lnTo>
                      <a:pt x="21287" y="9434"/>
                    </a:lnTo>
                    <a:lnTo>
                      <a:pt x="21287" y="9931"/>
                    </a:lnTo>
                    <a:lnTo>
                      <a:pt x="21600" y="10428"/>
                    </a:lnTo>
                    <a:lnTo>
                      <a:pt x="21600" y="11669"/>
                    </a:lnTo>
                    <a:lnTo>
                      <a:pt x="21287" y="11669"/>
                    </a:lnTo>
                    <a:lnTo>
                      <a:pt x="21287" y="12166"/>
                    </a:lnTo>
                    <a:lnTo>
                      <a:pt x="21600" y="12166"/>
                    </a:lnTo>
                    <a:lnTo>
                      <a:pt x="21600" y="14400"/>
                    </a:lnTo>
                    <a:lnTo>
                      <a:pt x="21287" y="14400"/>
                    </a:lnTo>
                    <a:lnTo>
                      <a:pt x="21287" y="15641"/>
                    </a:lnTo>
                    <a:lnTo>
                      <a:pt x="20661" y="15641"/>
                    </a:lnTo>
                    <a:lnTo>
                      <a:pt x="20661" y="16386"/>
                    </a:lnTo>
                    <a:lnTo>
                      <a:pt x="20035" y="16883"/>
                    </a:lnTo>
                    <a:lnTo>
                      <a:pt x="19722" y="16883"/>
                    </a:lnTo>
                    <a:lnTo>
                      <a:pt x="20035" y="17379"/>
                    </a:lnTo>
                    <a:lnTo>
                      <a:pt x="20035" y="17876"/>
                    </a:lnTo>
                    <a:lnTo>
                      <a:pt x="19096" y="17876"/>
                    </a:lnTo>
                    <a:lnTo>
                      <a:pt x="19096" y="17379"/>
                    </a:lnTo>
                    <a:lnTo>
                      <a:pt x="17843" y="17379"/>
                    </a:lnTo>
                    <a:lnTo>
                      <a:pt x="17843" y="17876"/>
                    </a:lnTo>
                    <a:lnTo>
                      <a:pt x="16904" y="17876"/>
                    </a:lnTo>
                    <a:lnTo>
                      <a:pt x="16904" y="18124"/>
                    </a:lnTo>
                    <a:lnTo>
                      <a:pt x="14087" y="18124"/>
                    </a:lnTo>
                    <a:lnTo>
                      <a:pt x="13148" y="19117"/>
                    </a:lnTo>
                    <a:lnTo>
                      <a:pt x="12522" y="19117"/>
                    </a:lnTo>
                    <a:lnTo>
                      <a:pt x="11896" y="19614"/>
                    </a:lnTo>
                    <a:lnTo>
                      <a:pt x="11270" y="19614"/>
                    </a:lnTo>
                    <a:lnTo>
                      <a:pt x="11270" y="19862"/>
                    </a:lnTo>
                    <a:lnTo>
                      <a:pt x="10330" y="19862"/>
                    </a:lnTo>
                    <a:lnTo>
                      <a:pt x="10330" y="19614"/>
                    </a:lnTo>
                    <a:lnTo>
                      <a:pt x="9704" y="19614"/>
                    </a:lnTo>
                    <a:lnTo>
                      <a:pt x="9704" y="20359"/>
                    </a:lnTo>
                    <a:lnTo>
                      <a:pt x="8765" y="21352"/>
                    </a:lnTo>
                    <a:lnTo>
                      <a:pt x="5948" y="21352"/>
                    </a:lnTo>
                    <a:lnTo>
                      <a:pt x="5322" y="21600"/>
                    </a:lnTo>
                    <a:lnTo>
                      <a:pt x="4696" y="21600"/>
                    </a:lnTo>
                    <a:lnTo>
                      <a:pt x="4696" y="21352"/>
                    </a:lnTo>
                    <a:lnTo>
                      <a:pt x="4383" y="21352"/>
                    </a:lnTo>
                    <a:lnTo>
                      <a:pt x="4383" y="21600"/>
                    </a:lnTo>
                    <a:lnTo>
                      <a:pt x="3130" y="21600"/>
                    </a:lnTo>
                    <a:lnTo>
                      <a:pt x="3130" y="21352"/>
                    </a:lnTo>
                    <a:lnTo>
                      <a:pt x="3757" y="21352"/>
                    </a:lnTo>
                    <a:lnTo>
                      <a:pt x="3757" y="20855"/>
                    </a:lnTo>
                    <a:lnTo>
                      <a:pt x="4383" y="20855"/>
                    </a:lnTo>
                    <a:lnTo>
                      <a:pt x="4383" y="20359"/>
                    </a:lnTo>
                    <a:lnTo>
                      <a:pt x="3757" y="20359"/>
                    </a:lnTo>
                    <a:lnTo>
                      <a:pt x="3130" y="20855"/>
                    </a:lnTo>
                    <a:lnTo>
                      <a:pt x="1565" y="20855"/>
                    </a:lnTo>
                    <a:lnTo>
                      <a:pt x="1565" y="20359"/>
                    </a:lnTo>
                    <a:lnTo>
                      <a:pt x="2191" y="20359"/>
                    </a:lnTo>
                    <a:lnTo>
                      <a:pt x="2191" y="19862"/>
                    </a:lnTo>
                    <a:lnTo>
                      <a:pt x="3130" y="19862"/>
                    </a:lnTo>
                    <a:lnTo>
                      <a:pt x="3130" y="19614"/>
                    </a:lnTo>
                    <a:lnTo>
                      <a:pt x="2191" y="19614"/>
                    </a:lnTo>
                    <a:lnTo>
                      <a:pt x="2191" y="19862"/>
                    </a:lnTo>
                    <a:lnTo>
                      <a:pt x="1565" y="19862"/>
                    </a:lnTo>
                    <a:lnTo>
                      <a:pt x="1565" y="19117"/>
                    </a:lnTo>
                    <a:lnTo>
                      <a:pt x="939" y="19117"/>
                    </a:lnTo>
                    <a:lnTo>
                      <a:pt x="313" y="19614"/>
                    </a:lnTo>
                    <a:lnTo>
                      <a:pt x="313" y="18621"/>
                    </a:lnTo>
                    <a:lnTo>
                      <a:pt x="939" y="18621"/>
                    </a:lnTo>
                    <a:lnTo>
                      <a:pt x="1565" y="18124"/>
                    </a:lnTo>
                    <a:lnTo>
                      <a:pt x="2504" y="18124"/>
                    </a:lnTo>
                    <a:lnTo>
                      <a:pt x="2504" y="17876"/>
                    </a:lnTo>
                    <a:lnTo>
                      <a:pt x="0" y="17876"/>
                    </a:lnTo>
                    <a:lnTo>
                      <a:pt x="313" y="17379"/>
                    </a:lnTo>
                    <a:lnTo>
                      <a:pt x="939" y="17379"/>
                    </a:lnTo>
                    <a:lnTo>
                      <a:pt x="939" y="16883"/>
                    </a:lnTo>
                    <a:lnTo>
                      <a:pt x="1565" y="16883"/>
                    </a:lnTo>
                    <a:lnTo>
                      <a:pt x="1565" y="17379"/>
                    </a:lnTo>
                    <a:lnTo>
                      <a:pt x="3130" y="17379"/>
                    </a:lnTo>
                    <a:lnTo>
                      <a:pt x="3130" y="16883"/>
                    </a:lnTo>
                    <a:lnTo>
                      <a:pt x="2504" y="16883"/>
                    </a:lnTo>
                    <a:lnTo>
                      <a:pt x="2504" y="16386"/>
                    </a:lnTo>
                    <a:lnTo>
                      <a:pt x="2191" y="16386"/>
                    </a:lnTo>
                    <a:lnTo>
                      <a:pt x="2504" y="16138"/>
                    </a:lnTo>
                    <a:lnTo>
                      <a:pt x="3757" y="16138"/>
                    </a:lnTo>
                    <a:lnTo>
                      <a:pt x="3757" y="15641"/>
                    </a:lnTo>
                    <a:lnTo>
                      <a:pt x="4696" y="15641"/>
                    </a:lnTo>
                    <a:lnTo>
                      <a:pt x="4696" y="15145"/>
                    </a:lnTo>
                    <a:lnTo>
                      <a:pt x="3757" y="15145"/>
                    </a:lnTo>
                    <a:lnTo>
                      <a:pt x="3757" y="14648"/>
                    </a:lnTo>
                    <a:lnTo>
                      <a:pt x="4383" y="14648"/>
                    </a:lnTo>
                    <a:lnTo>
                      <a:pt x="4696" y="14400"/>
                    </a:lnTo>
                    <a:lnTo>
                      <a:pt x="4696" y="13407"/>
                    </a:lnTo>
                    <a:lnTo>
                      <a:pt x="5322" y="12910"/>
                    </a:lnTo>
                    <a:lnTo>
                      <a:pt x="5322" y="12662"/>
                    </a:lnTo>
                    <a:lnTo>
                      <a:pt x="6574" y="12662"/>
                    </a:lnTo>
                    <a:lnTo>
                      <a:pt x="6887" y="12166"/>
                    </a:lnTo>
                    <a:lnTo>
                      <a:pt x="6887" y="11669"/>
                    </a:lnTo>
                    <a:lnTo>
                      <a:pt x="4696" y="11669"/>
                    </a:lnTo>
                    <a:lnTo>
                      <a:pt x="4383" y="12166"/>
                    </a:lnTo>
                    <a:lnTo>
                      <a:pt x="3757" y="12166"/>
                    </a:lnTo>
                    <a:lnTo>
                      <a:pt x="3757" y="11172"/>
                    </a:lnTo>
                    <a:lnTo>
                      <a:pt x="939" y="11172"/>
                    </a:lnTo>
                    <a:lnTo>
                      <a:pt x="939" y="10924"/>
                    </a:lnTo>
                    <a:lnTo>
                      <a:pt x="1565" y="10924"/>
                    </a:lnTo>
                    <a:lnTo>
                      <a:pt x="939" y="10428"/>
                    </a:lnTo>
                    <a:lnTo>
                      <a:pt x="2191" y="10428"/>
                    </a:lnTo>
                    <a:lnTo>
                      <a:pt x="2191" y="9931"/>
                    </a:lnTo>
                    <a:lnTo>
                      <a:pt x="3130" y="9931"/>
                    </a:lnTo>
                    <a:lnTo>
                      <a:pt x="3130" y="9434"/>
                    </a:lnTo>
                    <a:lnTo>
                      <a:pt x="2504" y="9434"/>
                    </a:lnTo>
                    <a:lnTo>
                      <a:pt x="2504" y="9186"/>
                    </a:lnTo>
                    <a:lnTo>
                      <a:pt x="3757" y="9186"/>
                    </a:lnTo>
                    <a:lnTo>
                      <a:pt x="3757" y="8690"/>
                    </a:lnTo>
                    <a:lnTo>
                      <a:pt x="2504" y="8690"/>
                    </a:lnTo>
                    <a:lnTo>
                      <a:pt x="2504" y="6952"/>
                    </a:lnTo>
                    <a:lnTo>
                      <a:pt x="2191" y="6952"/>
                    </a:lnTo>
                    <a:lnTo>
                      <a:pt x="1565" y="6455"/>
                    </a:lnTo>
                    <a:lnTo>
                      <a:pt x="1565" y="5959"/>
                    </a:lnTo>
                    <a:lnTo>
                      <a:pt x="2191" y="5959"/>
                    </a:lnTo>
                    <a:lnTo>
                      <a:pt x="2191" y="6455"/>
                    </a:lnTo>
                    <a:lnTo>
                      <a:pt x="2504" y="6455"/>
                    </a:lnTo>
                    <a:lnTo>
                      <a:pt x="2504" y="5959"/>
                    </a:lnTo>
                    <a:lnTo>
                      <a:pt x="5322" y="5959"/>
                    </a:lnTo>
                    <a:lnTo>
                      <a:pt x="5322" y="6455"/>
                    </a:lnTo>
                    <a:lnTo>
                      <a:pt x="5948" y="6455"/>
                    </a:lnTo>
                    <a:lnTo>
                      <a:pt x="5948" y="6952"/>
                    </a:lnTo>
                    <a:lnTo>
                      <a:pt x="6574" y="6952"/>
                    </a:lnTo>
                    <a:lnTo>
                      <a:pt x="6574" y="6455"/>
                    </a:lnTo>
                    <a:lnTo>
                      <a:pt x="9078" y="6455"/>
                    </a:lnTo>
                    <a:lnTo>
                      <a:pt x="9078" y="6952"/>
                    </a:lnTo>
                    <a:lnTo>
                      <a:pt x="9704" y="6952"/>
                    </a:lnTo>
                    <a:lnTo>
                      <a:pt x="9704" y="5710"/>
                    </a:lnTo>
                    <a:lnTo>
                      <a:pt x="10330" y="5710"/>
                    </a:lnTo>
                    <a:lnTo>
                      <a:pt x="10330" y="5214"/>
                    </a:lnTo>
                    <a:lnTo>
                      <a:pt x="10957" y="5214"/>
                    </a:lnTo>
                    <a:lnTo>
                      <a:pt x="10957" y="4469"/>
                    </a:lnTo>
                    <a:lnTo>
                      <a:pt x="8139" y="4469"/>
                    </a:lnTo>
                    <a:lnTo>
                      <a:pt x="8139" y="3972"/>
                    </a:lnTo>
                    <a:lnTo>
                      <a:pt x="8765" y="3476"/>
                    </a:lnTo>
                    <a:lnTo>
                      <a:pt x="9704" y="3476"/>
                    </a:lnTo>
                    <a:lnTo>
                      <a:pt x="9704" y="2731"/>
                    </a:lnTo>
                    <a:lnTo>
                      <a:pt x="10330" y="2234"/>
                    </a:lnTo>
                    <a:lnTo>
                      <a:pt x="10330" y="1738"/>
                    </a:lnTo>
                    <a:lnTo>
                      <a:pt x="11270" y="1738"/>
                    </a:lnTo>
                    <a:lnTo>
                      <a:pt x="11270" y="1241"/>
                    </a:lnTo>
                    <a:lnTo>
                      <a:pt x="13461" y="1241"/>
                    </a:lnTo>
                    <a:lnTo>
                      <a:pt x="13461" y="993"/>
                    </a:lnTo>
                    <a:lnTo>
                      <a:pt x="14087" y="993"/>
                    </a:lnTo>
                    <a:lnTo>
                      <a:pt x="14087" y="1241"/>
                    </a:lnTo>
                    <a:lnTo>
                      <a:pt x="14713" y="1241"/>
                    </a:lnTo>
                    <a:lnTo>
                      <a:pt x="14087" y="1738"/>
                    </a:lnTo>
                    <a:lnTo>
                      <a:pt x="14087" y="2234"/>
                    </a:lnTo>
                    <a:lnTo>
                      <a:pt x="14713" y="2234"/>
                    </a:lnTo>
                    <a:lnTo>
                      <a:pt x="14713" y="993"/>
                    </a:lnTo>
                    <a:lnTo>
                      <a:pt x="15339" y="993"/>
                    </a:lnTo>
                    <a:lnTo>
                      <a:pt x="15339" y="0"/>
                    </a:lnTo>
                    <a:close/>
                    <a:moveTo>
                      <a:pt x="15339" y="0"/>
                    </a:moveTo>
                  </a:path>
                </a:pathLst>
              </a:custGeom>
              <a:solidFill>
                <a:srgbClr val="00BACF"/>
              </a:solidFill>
              <a:ln w="12700">
                <a:solidFill>
                  <a:srgbClr val="FFFFFF"/>
                </a:solidFill>
                <a:round/>
                <a:headEnd/>
                <a:tailEnd/>
              </a:ln>
            </p:spPr>
            <p:txBody>
              <a:bodyPr lIns="0" tIns="0" rIns="0" bIns="0"/>
              <a:lstStyle/>
              <a:p>
                <a:endParaRPr lang="en-US"/>
              </a:p>
            </p:txBody>
          </p:sp>
          <p:sp>
            <p:nvSpPr>
              <p:cNvPr id="134" name="Freeform 88"/>
              <p:cNvSpPr>
                <a:spLocks/>
              </p:cNvSpPr>
              <p:nvPr/>
            </p:nvSpPr>
            <p:spPr bwMode="auto">
              <a:xfrm>
                <a:off x="2427" y="3116"/>
                <a:ext cx="613" cy="324"/>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1600"/>
                  <a:gd name="T157" fmla="*/ 0 h 21600"/>
                  <a:gd name="T158" fmla="*/ 21600 w 21600"/>
                  <a:gd name="T159" fmla="*/ 21600 h 216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1600" h="21600">
                    <a:moveTo>
                      <a:pt x="14600" y="0"/>
                    </a:moveTo>
                    <a:lnTo>
                      <a:pt x="15200" y="0"/>
                    </a:lnTo>
                    <a:lnTo>
                      <a:pt x="15200" y="379"/>
                    </a:lnTo>
                    <a:lnTo>
                      <a:pt x="15600" y="379"/>
                    </a:lnTo>
                    <a:lnTo>
                      <a:pt x="15600" y="0"/>
                    </a:lnTo>
                    <a:lnTo>
                      <a:pt x="16000" y="0"/>
                    </a:lnTo>
                    <a:lnTo>
                      <a:pt x="16400" y="379"/>
                    </a:lnTo>
                    <a:lnTo>
                      <a:pt x="17000" y="379"/>
                    </a:lnTo>
                    <a:lnTo>
                      <a:pt x="17000" y="1137"/>
                    </a:lnTo>
                    <a:lnTo>
                      <a:pt x="17800" y="1137"/>
                    </a:lnTo>
                    <a:lnTo>
                      <a:pt x="17800" y="1895"/>
                    </a:lnTo>
                    <a:lnTo>
                      <a:pt x="18800" y="1895"/>
                    </a:lnTo>
                    <a:lnTo>
                      <a:pt x="18800" y="1137"/>
                    </a:lnTo>
                    <a:lnTo>
                      <a:pt x="19200" y="1137"/>
                    </a:lnTo>
                    <a:lnTo>
                      <a:pt x="19200" y="1895"/>
                    </a:lnTo>
                    <a:lnTo>
                      <a:pt x="19800" y="1895"/>
                    </a:lnTo>
                    <a:lnTo>
                      <a:pt x="19800" y="2653"/>
                    </a:lnTo>
                    <a:lnTo>
                      <a:pt x="20200" y="2653"/>
                    </a:lnTo>
                    <a:lnTo>
                      <a:pt x="20200" y="3032"/>
                    </a:lnTo>
                    <a:lnTo>
                      <a:pt x="20800" y="3032"/>
                    </a:lnTo>
                    <a:lnTo>
                      <a:pt x="20800" y="3789"/>
                    </a:lnTo>
                    <a:lnTo>
                      <a:pt x="21200" y="3789"/>
                    </a:lnTo>
                    <a:lnTo>
                      <a:pt x="21200" y="4547"/>
                    </a:lnTo>
                    <a:lnTo>
                      <a:pt x="21600" y="4547"/>
                    </a:lnTo>
                    <a:lnTo>
                      <a:pt x="21600" y="5305"/>
                    </a:lnTo>
                    <a:lnTo>
                      <a:pt x="21200" y="5305"/>
                    </a:lnTo>
                    <a:lnTo>
                      <a:pt x="21200" y="5684"/>
                    </a:lnTo>
                    <a:lnTo>
                      <a:pt x="20800" y="5684"/>
                    </a:lnTo>
                    <a:lnTo>
                      <a:pt x="20800" y="6442"/>
                    </a:lnTo>
                    <a:lnTo>
                      <a:pt x="19800" y="6442"/>
                    </a:lnTo>
                    <a:lnTo>
                      <a:pt x="19800" y="7200"/>
                    </a:lnTo>
                    <a:lnTo>
                      <a:pt x="19400" y="7200"/>
                    </a:lnTo>
                    <a:lnTo>
                      <a:pt x="19400" y="7958"/>
                    </a:lnTo>
                    <a:lnTo>
                      <a:pt x="19200" y="7958"/>
                    </a:lnTo>
                    <a:lnTo>
                      <a:pt x="19200" y="8337"/>
                    </a:lnTo>
                    <a:lnTo>
                      <a:pt x="18800" y="8337"/>
                    </a:lnTo>
                    <a:lnTo>
                      <a:pt x="18800" y="9853"/>
                    </a:lnTo>
                    <a:lnTo>
                      <a:pt x="18400" y="9853"/>
                    </a:lnTo>
                    <a:lnTo>
                      <a:pt x="18400" y="10611"/>
                    </a:lnTo>
                    <a:lnTo>
                      <a:pt x="18000" y="10611"/>
                    </a:lnTo>
                    <a:lnTo>
                      <a:pt x="18000" y="10989"/>
                    </a:lnTo>
                    <a:lnTo>
                      <a:pt x="17800" y="10989"/>
                    </a:lnTo>
                    <a:lnTo>
                      <a:pt x="17800" y="11747"/>
                    </a:lnTo>
                    <a:lnTo>
                      <a:pt x="17400" y="11747"/>
                    </a:lnTo>
                    <a:lnTo>
                      <a:pt x="17400" y="12505"/>
                    </a:lnTo>
                    <a:lnTo>
                      <a:pt x="17800" y="13263"/>
                    </a:lnTo>
                    <a:lnTo>
                      <a:pt x="17400" y="13263"/>
                    </a:lnTo>
                    <a:lnTo>
                      <a:pt x="17400" y="13642"/>
                    </a:lnTo>
                    <a:lnTo>
                      <a:pt x="17000" y="13642"/>
                    </a:lnTo>
                    <a:lnTo>
                      <a:pt x="17000" y="15158"/>
                    </a:lnTo>
                    <a:lnTo>
                      <a:pt x="16600" y="15916"/>
                    </a:lnTo>
                    <a:lnTo>
                      <a:pt x="16400" y="15916"/>
                    </a:lnTo>
                    <a:lnTo>
                      <a:pt x="16400" y="17053"/>
                    </a:lnTo>
                    <a:lnTo>
                      <a:pt x="16000" y="17053"/>
                    </a:lnTo>
                    <a:lnTo>
                      <a:pt x="15600" y="17811"/>
                    </a:lnTo>
                    <a:lnTo>
                      <a:pt x="15600" y="18568"/>
                    </a:lnTo>
                    <a:lnTo>
                      <a:pt x="15200" y="18568"/>
                    </a:lnTo>
                    <a:lnTo>
                      <a:pt x="15200" y="17811"/>
                    </a:lnTo>
                    <a:lnTo>
                      <a:pt x="14600" y="17811"/>
                    </a:lnTo>
                    <a:lnTo>
                      <a:pt x="14600" y="18568"/>
                    </a:lnTo>
                    <a:lnTo>
                      <a:pt x="14200" y="18568"/>
                    </a:lnTo>
                    <a:lnTo>
                      <a:pt x="14200" y="18947"/>
                    </a:lnTo>
                    <a:lnTo>
                      <a:pt x="13800" y="18947"/>
                    </a:lnTo>
                    <a:lnTo>
                      <a:pt x="13800" y="18568"/>
                    </a:lnTo>
                    <a:lnTo>
                      <a:pt x="13600" y="18568"/>
                    </a:lnTo>
                    <a:lnTo>
                      <a:pt x="13600" y="18947"/>
                    </a:lnTo>
                    <a:lnTo>
                      <a:pt x="13200" y="18568"/>
                    </a:lnTo>
                    <a:lnTo>
                      <a:pt x="12200" y="18568"/>
                    </a:lnTo>
                    <a:lnTo>
                      <a:pt x="12200" y="18947"/>
                    </a:lnTo>
                    <a:lnTo>
                      <a:pt x="11800" y="18947"/>
                    </a:lnTo>
                    <a:lnTo>
                      <a:pt x="11800" y="18568"/>
                    </a:lnTo>
                    <a:lnTo>
                      <a:pt x="10400" y="18568"/>
                    </a:lnTo>
                    <a:lnTo>
                      <a:pt x="10400" y="18947"/>
                    </a:lnTo>
                    <a:lnTo>
                      <a:pt x="10000" y="18947"/>
                    </a:lnTo>
                    <a:lnTo>
                      <a:pt x="10000" y="19705"/>
                    </a:lnTo>
                    <a:lnTo>
                      <a:pt x="9000" y="19705"/>
                    </a:lnTo>
                    <a:lnTo>
                      <a:pt x="9000" y="20463"/>
                    </a:lnTo>
                    <a:lnTo>
                      <a:pt x="7600" y="20463"/>
                    </a:lnTo>
                    <a:lnTo>
                      <a:pt x="7600" y="21221"/>
                    </a:lnTo>
                    <a:lnTo>
                      <a:pt x="7200" y="21221"/>
                    </a:lnTo>
                    <a:lnTo>
                      <a:pt x="7200" y="21600"/>
                    </a:lnTo>
                    <a:lnTo>
                      <a:pt x="5200" y="21600"/>
                    </a:lnTo>
                    <a:lnTo>
                      <a:pt x="5200" y="21221"/>
                    </a:lnTo>
                    <a:lnTo>
                      <a:pt x="4400" y="21221"/>
                    </a:lnTo>
                    <a:lnTo>
                      <a:pt x="4400" y="20463"/>
                    </a:lnTo>
                    <a:lnTo>
                      <a:pt x="3800" y="20463"/>
                    </a:lnTo>
                    <a:lnTo>
                      <a:pt x="3800" y="19705"/>
                    </a:lnTo>
                    <a:lnTo>
                      <a:pt x="3400" y="19705"/>
                    </a:lnTo>
                    <a:lnTo>
                      <a:pt x="3400" y="18947"/>
                    </a:lnTo>
                    <a:lnTo>
                      <a:pt x="3000" y="18947"/>
                    </a:lnTo>
                    <a:lnTo>
                      <a:pt x="3000" y="18568"/>
                    </a:lnTo>
                    <a:lnTo>
                      <a:pt x="2400" y="18568"/>
                    </a:lnTo>
                    <a:lnTo>
                      <a:pt x="2400" y="17811"/>
                    </a:lnTo>
                    <a:lnTo>
                      <a:pt x="2000" y="17811"/>
                    </a:lnTo>
                    <a:lnTo>
                      <a:pt x="2000" y="17053"/>
                    </a:lnTo>
                    <a:lnTo>
                      <a:pt x="1600" y="17053"/>
                    </a:lnTo>
                    <a:lnTo>
                      <a:pt x="1600" y="16295"/>
                    </a:lnTo>
                    <a:lnTo>
                      <a:pt x="1000" y="16295"/>
                    </a:lnTo>
                    <a:lnTo>
                      <a:pt x="1000" y="15916"/>
                    </a:lnTo>
                    <a:lnTo>
                      <a:pt x="600" y="15916"/>
                    </a:lnTo>
                    <a:lnTo>
                      <a:pt x="600" y="14400"/>
                    </a:lnTo>
                    <a:lnTo>
                      <a:pt x="200" y="14400"/>
                    </a:lnTo>
                    <a:lnTo>
                      <a:pt x="600" y="13642"/>
                    </a:lnTo>
                    <a:lnTo>
                      <a:pt x="0" y="13642"/>
                    </a:lnTo>
                    <a:lnTo>
                      <a:pt x="0" y="13263"/>
                    </a:lnTo>
                    <a:lnTo>
                      <a:pt x="200" y="12505"/>
                    </a:lnTo>
                    <a:lnTo>
                      <a:pt x="1000" y="12505"/>
                    </a:lnTo>
                    <a:lnTo>
                      <a:pt x="1000" y="9853"/>
                    </a:lnTo>
                    <a:lnTo>
                      <a:pt x="1400" y="9853"/>
                    </a:lnTo>
                    <a:lnTo>
                      <a:pt x="1400" y="9095"/>
                    </a:lnTo>
                    <a:lnTo>
                      <a:pt x="1600" y="9095"/>
                    </a:lnTo>
                    <a:lnTo>
                      <a:pt x="1600" y="7958"/>
                    </a:lnTo>
                    <a:lnTo>
                      <a:pt x="1400" y="7958"/>
                    </a:lnTo>
                    <a:lnTo>
                      <a:pt x="1000" y="7200"/>
                    </a:lnTo>
                    <a:lnTo>
                      <a:pt x="1400" y="7200"/>
                    </a:lnTo>
                    <a:lnTo>
                      <a:pt x="1400" y="6442"/>
                    </a:lnTo>
                    <a:lnTo>
                      <a:pt x="1600" y="6442"/>
                    </a:lnTo>
                    <a:lnTo>
                      <a:pt x="1600" y="7200"/>
                    </a:lnTo>
                    <a:lnTo>
                      <a:pt x="3000" y="7200"/>
                    </a:lnTo>
                    <a:lnTo>
                      <a:pt x="3000" y="5305"/>
                    </a:lnTo>
                    <a:lnTo>
                      <a:pt x="4200" y="5305"/>
                    </a:lnTo>
                    <a:lnTo>
                      <a:pt x="4200" y="5684"/>
                    </a:lnTo>
                    <a:lnTo>
                      <a:pt x="4400" y="6442"/>
                    </a:lnTo>
                    <a:lnTo>
                      <a:pt x="5200" y="6442"/>
                    </a:lnTo>
                    <a:lnTo>
                      <a:pt x="5200" y="7200"/>
                    </a:lnTo>
                    <a:lnTo>
                      <a:pt x="6200" y="7200"/>
                    </a:lnTo>
                    <a:lnTo>
                      <a:pt x="6200" y="6442"/>
                    </a:lnTo>
                    <a:lnTo>
                      <a:pt x="6600" y="6442"/>
                    </a:lnTo>
                    <a:lnTo>
                      <a:pt x="6600" y="7200"/>
                    </a:lnTo>
                    <a:lnTo>
                      <a:pt x="6800" y="7200"/>
                    </a:lnTo>
                    <a:lnTo>
                      <a:pt x="6800" y="6442"/>
                    </a:lnTo>
                    <a:lnTo>
                      <a:pt x="7200" y="6442"/>
                    </a:lnTo>
                    <a:lnTo>
                      <a:pt x="7200" y="7200"/>
                    </a:lnTo>
                    <a:lnTo>
                      <a:pt x="7600" y="7200"/>
                    </a:lnTo>
                    <a:lnTo>
                      <a:pt x="7600" y="6442"/>
                    </a:lnTo>
                    <a:lnTo>
                      <a:pt x="8600" y="6442"/>
                    </a:lnTo>
                    <a:lnTo>
                      <a:pt x="8600" y="5684"/>
                    </a:lnTo>
                    <a:lnTo>
                      <a:pt x="8200" y="5684"/>
                    </a:lnTo>
                    <a:lnTo>
                      <a:pt x="8600" y="5305"/>
                    </a:lnTo>
                    <a:lnTo>
                      <a:pt x="8600" y="4547"/>
                    </a:lnTo>
                    <a:lnTo>
                      <a:pt x="9000" y="4547"/>
                    </a:lnTo>
                    <a:lnTo>
                      <a:pt x="9000" y="3789"/>
                    </a:lnTo>
                    <a:lnTo>
                      <a:pt x="10000" y="3789"/>
                    </a:lnTo>
                    <a:lnTo>
                      <a:pt x="10400" y="3032"/>
                    </a:lnTo>
                    <a:lnTo>
                      <a:pt x="11400" y="3032"/>
                    </a:lnTo>
                    <a:lnTo>
                      <a:pt x="11400" y="3789"/>
                    </a:lnTo>
                    <a:lnTo>
                      <a:pt x="12400" y="3789"/>
                    </a:lnTo>
                    <a:lnTo>
                      <a:pt x="12400" y="3032"/>
                    </a:lnTo>
                    <a:lnTo>
                      <a:pt x="12800" y="2653"/>
                    </a:lnTo>
                    <a:lnTo>
                      <a:pt x="13200" y="2653"/>
                    </a:lnTo>
                    <a:lnTo>
                      <a:pt x="13200" y="1895"/>
                    </a:lnTo>
                    <a:lnTo>
                      <a:pt x="13600" y="1895"/>
                    </a:lnTo>
                    <a:lnTo>
                      <a:pt x="13600" y="1137"/>
                    </a:lnTo>
                    <a:lnTo>
                      <a:pt x="14200" y="1137"/>
                    </a:lnTo>
                    <a:lnTo>
                      <a:pt x="14200" y="379"/>
                    </a:lnTo>
                    <a:lnTo>
                      <a:pt x="14600" y="379"/>
                    </a:lnTo>
                    <a:lnTo>
                      <a:pt x="14600" y="0"/>
                    </a:lnTo>
                    <a:close/>
                    <a:moveTo>
                      <a:pt x="14600" y="0"/>
                    </a:moveTo>
                  </a:path>
                </a:pathLst>
              </a:custGeom>
              <a:solidFill>
                <a:srgbClr val="B2EAE7"/>
              </a:solidFill>
              <a:ln w="12700">
                <a:solidFill>
                  <a:srgbClr val="FFFFFF"/>
                </a:solidFill>
                <a:round/>
                <a:headEnd/>
                <a:tailEnd/>
              </a:ln>
            </p:spPr>
            <p:txBody>
              <a:bodyPr lIns="0" tIns="0" rIns="0" bIns="0"/>
              <a:lstStyle/>
              <a:p>
                <a:endParaRPr lang="en-US"/>
              </a:p>
            </p:txBody>
          </p:sp>
          <p:sp>
            <p:nvSpPr>
              <p:cNvPr id="135" name="AutoShape 89"/>
              <p:cNvSpPr>
                <a:spLocks/>
              </p:cNvSpPr>
              <p:nvPr/>
            </p:nvSpPr>
            <p:spPr bwMode="auto">
              <a:xfrm>
                <a:off x="3233" y="4372"/>
                <a:ext cx="32" cy="34"/>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600"/>
                  <a:gd name="T43" fmla="*/ 0 h 21600"/>
                  <a:gd name="T44" fmla="*/ 21600 w 21600"/>
                  <a:gd name="T45" fmla="*/ 21600 h 21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600" h="21600">
                    <a:moveTo>
                      <a:pt x="0" y="7200"/>
                    </a:moveTo>
                    <a:lnTo>
                      <a:pt x="8100" y="7200"/>
                    </a:lnTo>
                    <a:lnTo>
                      <a:pt x="8100" y="14400"/>
                    </a:lnTo>
                    <a:lnTo>
                      <a:pt x="0" y="14400"/>
                    </a:lnTo>
                    <a:lnTo>
                      <a:pt x="0" y="7200"/>
                    </a:lnTo>
                    <a:close/>
                    <a:moveTo>
                      <a:pt x="18900" y="0"/>
                    </a:moveTo>
                    <a:lnTo>
                      <a:pt x="21600" y="0"/>
                    </a:lnTo>
                    <a:lnTo>
                      <a:pt x="21600" y="7200"/>
                    </a:lnTo>
                    <a:lnTo>
                      <a:pt x="18900" y="14400"/>
                    </a:lnTo>
                    <a:lnTo>
                      <a:pt x="18900" y="21600"/>
                    </a:lnTo>
                    <a:lnTo>
                      <a:pt x="13500" y="21600"/>
                    </a:lnTo>
                    <a:lnTo>
                      <a:pt x="13500" y="7200"/>
                    </a:lnTo>
                    <a:lnTo>
                      <a:pt x="18900" y="0"/>
                    </a:lnTo>
                    <a:close/>
                    <a:moveTo>
                      <a:pt x="18900" y="0"/>
                    </a:moveTo>
                  </a:path>
                </a:pathLst>
              </a:custGeom>
              <a:solidFill>
                <a:srgbClr val="B2EAE7"/>
              </a:solidFill>
              <a:ln w="12700">
                <a:solidFill>
                  <a:srgbClr val="FFFFFF"/>
                </a:solidFill>
                <a:round/>
                <a:headEnd/>
                <a:tailEnd/>
              </a:ln>
            </p:spPr>
            <p:txBody>
              <a:bodyPr lIns="0" tIns="0" rIns="0" bIns="0"/>
              <a:lstStyle/>
              <a:p>
                <a:endParaRPr lang="en-US"/>
              </a:p>
            </p:txBody>
          </p:sp>
          <p:sp>
            <p:nvSpPr>
              <p:cNvPr id="136" name="Freeform 90"/>
              <p:cNvSpPr>
                <a:spLocks/>
              </p:cNvSpPr>
              <p:nvPr/>
            </p:nvSpPr>
            <p:spPr bwMode="auto">
              <a:xfrm>
                <a:off x="3301" y="4224"/>
                <a:ext cx="29" cy="5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1600"/>
                  <a:gd name="T31" fmla="*/ 0 h 21600"/>
                  <a:gd name="T32" fmla="*/ 21600 w 21600"/>
                  <a:gd name="T33" fmla="*/ 21600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a:moveTo>
                      <a:pt x="0" y="0"/>
                    </a:moveTo>
                    <a:lnTo>
                      <a:pt x="21600" y="0"/>
                    </a:lnTo>
                    <a:lnTo>
                      <a:pt x="21600" y="12000"/>
                    </a:lnTo>
                    <a:lnTo>
                      <a:pt x="12960" y="16800"/>
                    </a:lnTo>
                    <a:lnTo>
                      <a:pt x="12960" y="21600"/>
                    </a:lnTo>
                    <a:lnTo>
                      <a:pt x="8640" y="21600"/>
                    </a:lnTo>
                    <a:lnTo>
                      <a:pt x="8640" y="16800"/>
                    </a:lnTo>
                    <a:lnTo>
                      <a:pt x="0" y="16800"/>
                    </a:lnTo>
                    <a:lnTo>
                      <a:pt x="0" y="0"/>
                    </a:lnTo>
                    <a:close/>
                    <a:moveTo>
                      <a:pt x="0" y="0"/>
                    </a:moveTo>
                  </a:path>
                </a:pathLst>
              </a:custGeom>
              <a:solidFill>
                <a:srgbClr val="B2EAE7"/>
              </a:solidFill>
              <a:ln w="12700">
                <a:solidFill>
                  <a:srgbClr val="FFFFFF"/>
                </a:solidFill>
                <a:round/>
                <a:headEnd/>
                <a:tailEnd/>
              </a:ln>
            </p:spPr>
            <p:txBody>
              <a:bodyPr lIns="0" tIns="0" rIns="0" bIns="0"/>
              <a:lstStyle/>
              <a:p>
                <a:endParaRPr lang="en-US"/>
              </a:p>
            </p:txBody>
          </p:sp>
          <p:sp>
            <p:nvSpPr>
              <p:cNvPr id="137" name="Freeform 91"/>
              <p:cNvSpPr>
                <a:spLocks/>
              </p:cNvSpPr>
              <p:nvPr/>
            </p:nvSpPr>
            <p:spPr bwMode="auto">
              <a:xfrm>
                <a:off x="3318" y="4145"/>
                <a:ext cx="51" cy="4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600"/>
                  <a:gd name="T43" fmla="*/ 0 h 21600"/>
                  <a:gd name="T44" fmla="*/ 21600 w 21600"/>
                  <a:gd name="T45" fmla="*/ 21600 h 21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600" h="21600">
                    <a:moveTo>
                      <a:pt x="0" y="0"/>
                    </a:moveTo>
                    <a:lnTo>
                      <a:pt x="14400" y="0"/>
                    </a:lnTo>
                    <a:lnTo>
                      <a:pt x="14400" y="6171"/>
                    </a:lnTo>
                    <a:lnTo>
                      <a:pt x="16800" y="6171"/>
                    </a:lnTo>
                    <a:lnTo>
                      <a:pt x="16800" y="12343"/>
                    </a:lnTo>
                    <a:lnTo>
                      <a:pt x="21600" y="12343"/>
                    </a:lnTo>
                    <a:lnTo>
                      <a:pt x="21600" y="21600"/>
                    </a:lnTo>
                    <a:lnTo>
                      <a:pt x="16800" y="15429"/>
                    </a:lnTo>
                    <a:lnTo>
                      <a:pt x="16800" y="21600"/>
                    </a:lnTo>
                    <a:lnTo>
                      <a:pt x="4800" y="21600"/>
                    </a:lnTo>
                    <a:lnTo>
                      <a:pt x="4800" y="12343"/>
                    </a:lnTo>
                    <a:lnTo>
                      <a:pt x="0" y="6171"/>
                    </a:lnTo>
                    <a:lnTo>
                      <a:pt x="0" y="0"/>
                    </a:lnTo>
                    <a:close/>
                    <a:moveTo>
                      <a:pt x="0" y="0"/>
                    </a:moveTo>
                  </a:path>
                </a:pathLst>
              </a:custGeom>
              <a:solidFill>
                <a:srgbClr val="B2EAE7"/>
              </a:solidFill>
              <a:ln w="12700">
                <a:solidFill>
                  <a:srgbClr val="FFFFFF"/>
                </a:solidFill>
                <a:round/>
                <a:headEnd/>
                <a:tailEnd/>
              </a:ln>
            </p:spPr>
            <p:txBody>
              <a:bodyPr lIns="0" tIns="0" rIns="0" bIns="0"/>
              <a:lstStyle/>
              <a:p>
                <a:endParaRPr lang="en-US"/>
              </a:p>
            </p:txBody>
          </p:sp>
          <p:sp>
            <p:nvSpPr>
              <p:cNvPr id="138" name="AutoShape 92"/>
              <p:cNvSpPr>
                <a:spLocks/>
              </p:cNvSpPr>
              <p:nvPr/>
            </p:nvSpPr>
            <p:spPr bwMode="auto">
              <a:xfrm>
                <a:off x="3472" y="4452"/>
                <a:ext cx="32" cy="6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1600"/>
                  <a:gd name="T49" fmla="*/ 0 h 21600"/>
                  <a:gd name="T50" fmla="*/ 21600 w 21600"/>
                  <a:gd name="T51" fmla="*/ 21600 h 2160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1600" h="21600">
                    <a:moveTo>
                      <a:pt x="2700" y="3927"/>
                    </a:moveTo>
                    <a:lnTo>
                      <a:pt x="18900" y="3927"/>
                    </a:lnTo>
                    <a:lnTo>
                      <a:pt x="18900" y="13745"/>
                    </a:lnTo>
                    <a:lnTo>
                      <a:pt x="8100" y="13745"/>
                    </a:lnTo>
                    <a:lnTo>
                      <a:pt x="8100" y="17673"/>
                    </a:lnTo>
                    <a:lnTo>
                      <a:pt x="2700" y="21600"/>
                    </a:lnTo>
                    <a:lnTo>
                      <a:pt x="0" y="17673"/>
                    </a:lnTo>
                    <a:lnTo>
                      <a:pt x="0" y="11782"/>
                    </a:lnTo>
                    <a:lnTo>
                      <a:pt x="2700" y="11782"/>
                    </a:lnTo>
                    <a:lnTo>
                      <a:pt x="2700" y="3927"/>
                    </a:lnTo>
                    <a:close/>
                    <a:moveTo>
                      <a:pt x="18900" y="0"/>
                    </a:moveTo>
                    <a:lnTo>
                      <a:pt x="21600" y="0"/>
                    </a:lnTo>
                    <a:lnTo>
                      <a:pt x="21600" y="3927"/>
                    </a:lnTo>
                    <a:lnTo>
                      <a:pt x="18900" y="3927"/>
                    </a:lnTo>
                    <a:lnTo>
                      <a:pt x="18900" y="0"/>
                    </a:lnTo>
                    <a:close/>
                    <a:moveTo>
                      <a:pt x="18900" y="0"/>
                    </a:moveTo>
                  </a:path>
                </a:pathLst>
              </a:custGeom>
              <a:solidFill>
                <a:srgbClr val="B2EAE7"/>
              </a:solidFill>
              <a:ln w="12700">
                <a:solidFill>
                  <a:srgbClr val="FFFFFF"/>
                </a:solidFill>
                <a:round/>
                <a:headEnd/>
                <a:tailEnd/>
              </a:ln>
            </p:spPr>
            <p:txBody>
              <a:bodyPr lIns="0" tIns="0" rIns="0" bIns="0"/>
              <a:lstStyle/>
              <a:p>
                <a:endParaRPr lang="en-US"/>
              </a:p>
            </p:txBody>
          </p:sp>
          <p:sp>
            <p:nvSpPr>
              <p:cNvPr id="139" name="Freeform 93"/>
              <p:cNvSpPr>
                <a:spLocks/>
              </p:cNvSpPr>
              <p:nvPr/>
            </p:nvSpPr>
            <p:spPr bwMode="auto">
              <a:xfrm>
                <a:off x="3085" y="4531"/>
                <a:ext cx="256" cy="8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1600"/>
                  <a:gd name="T121" fmla="*/ 0 h 21600"/>
                  <a:gd name="T122" fmla="*/ 21600 w 21600"/>
                  <a:gd name="T123" fmla="*/ 21600 h 2160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1600" h="21600">
                    <a:moveTo>
                      <a:pt x="2400" y="0"/>
                    </a:moveTo>
                    <a:lnTo>
                      <a:pt x="2400" y="3086"/>
                    </a:lnTo>
                    <a:lnTo>
                      <a:pt x="5760" y="3086"/>
                    </a:lnTo>
                    <a:lnTo>
                      <a:pt x="5760" y="6171"/>
                    </a:lnTo>
                    <a:lnTo>
                      <a:pt x="6240" y="6171"/>
                    </a:lnTo>
                    <a:lnTo>
                      <a:pt x="6240" y="7714"/>
                    </a:lnTo>
                    <a:lnTo>
                      <a:pt x="7200" y="10800"/>
                    </a:lnTo>
                    <a:lnTo>
                      <a:pt x="9600" y="10800"/>
                    </a:lnTo>
                    <a:lnTo>
                      <a:pt x="10560" y="7714"/>
                    </a:lnTo>
                    <a:lnTo>
                      <a:pt x="12960" y="7714"/>
                    </a:lnTo>
                    <a:lnTo>
                      <a:pt x="13920" y="10800"/>
                    </a:lnTo>
                    <a:lnTo>
                      <a:pt x="17280" y="10800"/>
                    </a:lnTo>
                    <a:lnTo>
                      <a:pt x="17280" y="13886"/>
                    </a:lnTo>
                    <a:lnTo>
                      <a:pt x="18240" y="16971"/>
                    </a:lnTo>
                    <a:lnTo>
                      <a:pt x="19200" y="16971"/>
                    </a:lnTo>
                    <a:lnTo>
                      <a:pt x="19200" y="13886"/>
                    </a:lnTo>
                    <a:lnTo>
                      <a:pt x="20640" y="13886"/>
                    </a:lnTo>
                    <a:lnTo>
                      <a:pt x="21600" y="10800"/>
                    </a:lnTo>
                    <a:lnTo>
                      <a:pt x="21600" y="16971"/>
                    </a:lnTo>
                    <a:lnTo>
                      <a:pt x="20640" y="18514"/>
                    </a:lnTo>
                    <a:lnTo>
                      <a:pt x="13920" y="18514"/>
                    </a:lnTo>
                    <a:lnTo>
                      <a:pt x="13920" y="21600"/>
                    </a:lnTo>
                    <a:lnTo>
                      <a:pt x="12960" y="21600"/>
                    </a:lnTo>
                    <a:lnTo>
                      <a:pt x="12480" y="18514"/>
                    </a:lnTo>
                    <a:lnTo>
                      <a:pt x="10560" y="18514"/>
                    </a:lnTo>
                    <a:lnTo>
                      <a:pt x="10560" y="21600"/>
                    </a:lnTo>
                    <a:lnTo>
                      <a:pt x="9600" y="21600"/>
                    </a:lnTo>
                    <a:lnTo>
                      <a:pt x="9600" y="18514"/>
                    </a:lnTo>
                    <a:lnTo>
                      <a:pt x="9120" y="16971"/>
                    </a:lnTo>
                    <a:lnTo>
                      <a:pt x="6240" y="16971"/>
                    </a:lnTo>
                    <a:lnTo>
                      <a:pt x="6240" y="13886"/>
                    </a:lnTo>
                    <a:lnTo>
                      <a:pt x="2880" y="13886"/>
                    </a:lnTo>
                    <a:lnTo>
                      <a:pt x="2880" y="10800"/>
                    </a:lnTo>
                    <a:lnTo>
                      <a:pt x="0" y="10800"/>
                    </a:lnTo>
                    <a:lnTo>
                      <a:pt x="480" y="7714"/>
                    </a:lnTo>
                    <a:lnTo>
                      <a:pt x="480" y="6171"/>
                    </a:lnTo>
                    <a:lnTo>
                      <a:pt x="1440" y="6171"/>
                    </a:lnTo>
                    <a:lnTo>
                      <a:pt x="1440" y="3086"/>
                    </a:lnTo>
                    <a:lnTo>
                      <a:pt x="2400" y="0"/>
                    </a:lnTo>
                    <a:close/>
                    <a:moveTo>
                      <a:pt x="2400" y="0"/>
                    </a:moveTo>
                  </a:path>
                </a:pathLst>
              </a:custGeom>
              <a:solidFill>
                <a:srgbClr val="B2EAE7"/>
              </a:solidFill>
              <a:ln w="12700">
                <a:solidFill>
                  <a:srgbClr val="FFFFFF"/>
                </a:solidFill>
                <a:round/>
                <a:headEnd/>
                <a:tailEnd/>
              </a:ln>
            </p:spPr>
            <p:txBody>
              <a:bodyPr lIns="0" tIns="0" rIns="0" bIns="0"/>
              <a:lstStyle/>
              <a:p>
                <a:endParaRPr lang="en-US"/>
              </a:p>
            </p:txBody>
          </p:sp>
          <p:sp>
            <p:nvSpPr>
              <p:cNvPr id="140" name="AutoShape 94"/>
              <p:cNvSpPr>
                <a:spLocks/>
              </p:cNvSpPr>
              <p:nvPr/>
            </p:nvSpPr>
            <p:spPr bwMode="auto">
              <a:xfrm>
                <a:off x="2773" y="3889"/>
                <a:ext cx="596" cy="574"/>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1600"/>
                  <a:gd name="T169" fmla="*/ 0 h 21600"/>
                  <a:gd name="T170" fmla="*/ 21600 w 21600"/>
                  <a:gd name="T171" fmla="*/ 21600 h 216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1600" h="21600">
                    <a:moveTo>
                      <a:pt x="10080" y="20958"/>
                    </a:moveTo>
                    <a:lnTo>
                      <a:pt x="10491" y="20958"/>
                    </a:lnTo>
                    <a:lnTo>
                      <a:pt x="10491" y="21172"/>
                    </a:lnTo>
                    <a:lnTo>
                      <a:pt x="10080" y="21172"/>
                    </a:lnTo>
                    <a:lnTo>
                      <a:pt x="10080" y="20958"/>
                    </a:lnTo>
                    <a:close/>
                    <a:moveTo>
                      <a:pt x="8023" y="20958"/>
                    </a:moveTo>
                    <a:lnTo>
                      <a:pt x="8434" y="21172"/>
                    </a:lnTo>
                    <a:lnTo>
                      <a:pt x="8434" y="21600"/>
                    </a:lnTo>
                    <a:lnTo>
                      <a:pt x="8023" y="21600"/>
                    </a:lnTo>
                    <a:lnTo>
                      <a:pt x="8023" y="20958"/>
                    </a:lnTo>
                    <a:close/>
                    <a:moveTo>
                      <a:pt x="6994" y="13687"/>
                    </a:moveTo>
                    <a:lnTo>
                      <a:pt x="6994" y="14115"/>
                    </a:lnTo>
                    <a:lnTo>
                      <a:pt x="7611" y="14115"/>
                    </a:lnTo>
                    <a:lnTo>
                      <a:pt x="7611" y="14543"/>
                    </a:lnTo>
                    <a:lnTo>
                      <a:pt x="8434" y="14543"/>
                    </a:lnTo>
                    <a:lnTo>
                      <a:pt x="8434" y="14970"/>
                    </a:lnTo>
                    <a:lnTo>
                      <a:pt x="8640" y="14970"/>
                    </a:lnTo>
                    <a:lnTo>
                      <a:pt x="9051" y="15184"/>
                    </a:lnTo>
                    <a:lnTo>
                      <a:pt x="9874" y="15184"/>
                    </a:lnTo>
                    <a:lnTo>
                      <a:pt x="9874" y="14970"/>
                    </a:lnTo>
                    <a:lnTo>
                      <a:pt x="10080" y="14970"/>
                    </a:lnTo>
                    <a:lnTo>
                      <a:pt x="10080" y="14543"/>
                    </a:lnTo>
                    <a:lnTo>
                      <a:pt x="9874" y="14115"/>
                    </a:lnTo>
                    <a:lnTo>
                      <a:pt x="9463" y="14115"/>
                    </a:lnTo>
                    <a:lnTo>
                      <a:pt x="9051" y="13687"/>
                    </a:lnTo>
                    <a:lnTo>
                      <a:pt x="6994" y="13687"/>
                    </a:lnTo>
                    <a:close/>
                    <a:moveTo>
                      <a:pt x="10080" y="10479"/>
                    </a:moveTo>
                    <a:lnTo>
                      <a:pt x="10491" y="10479"/>
                    </a:lnTo>
                    <a:lnTo>
                      <a:pt x="10491" y="10693"/>
                    </a:lnTo>
                    <a:lnTo>
                      <a:pt x="10080" y="10693"/>
                    </a:lnTo>
                    <a:lnTo>
                      <a:pt x="10080" y="10479"/>
                    </a:lnTo>
                    <a:close/>
                    <a:moveTo>
                      <a:pt x="10491" y="10051"/>
                    </a:moveTo>
                    <a:lnTo>
                      <a:pt x="10903" y="10051"/>
                    </a:lnTo>
                    <a:lnTo>
                      <a:pt x="10903" y="10479"/>
                    </a:lnTo>
                    <a:lnTo>
                      <a:pt x="10491" y="10479"/>
                    </a:lnTo>
                    <a:lnTo>
                      <a:pt x="10491" y="10051"/>
                    </a:lnTo>
                    <a:close/>
                    <a:moveTo>
                      <a:pt x="12343" y="6630"/>
                    </a:moveTo>
                    <a:lnTo>
                      <a:pt x="12549" y="6630"/>
                    </a:lnTo>
                    <a:lnTo>
                      <a:pt x="12549" y="7057"/>
                    </a:lnTo>
                    <a:lnTo>
                      <a:pt x="12343" y="7057"/>
                    </a:lnTo>
                    <a:lnTo>
                      <a:pt x="12343" y="6630"/>
                    </a:lnTo>
                    <a:close/>
                    <a:moveTo>
                      <a:pt x="10903" y="6630"/>
                    </a:moveTo>
                    <a:lnTo>
                      <a:pt x="11520" y="6630"/>
                    </a:lnTo>
                    <a:lnTo>
                      <a:pt x="11520" y="7057"/>
                    </a:lnTo>
                    <a:lnTo>
                      <a:pt x="11931" y="7057"/>
                    </a:lnTo>
                    <a:lnTo>
                      <a:pt x="11931" y="7485"/>
                    </a:lnTo>
                    <a:lnTo>
                      <a:pt x="11314" y="7485"/>
                    </a:lnTo>
                    <a:lnTo>
                      <a:pt x="11314" y="7057"/>
                    </a:lnTo>
                    <a:lnTo>
                      <a:pt x="10903" y="7057"/>
                    </a:lnTo>
                    <a:lnTo>
                      <a:pt x="10903" y="6630"/>
                    </a:lnTo>
                    <a:close/>
                    <a:moveTo>
                      <a:pt x="12960" y="5560"/>
                    </a:moveTo>
                    <a:lnTo>
                      <a:pt x="13371" y="5988"/>
                    </a:lnTo>
                    <a:lnTo>
                      <a:pt x="12960" y="5988"/>
                    </a:lnTo>
                    <a:lnTo>
                      <a:pt x="12960" y="5560"/>
                    </a:lnTo>
                    <a:close/>
                    <a:moveTo>
                      <a:pt x="20160" y="0"/>
                    </a:moveTo>
                    <a:lnTo>
                      <a:pt x="20571" y="0"/>
                    </a:lnTo>
                    <a:lnTo>
                      <a:pt x="20571" y="428"/>
                    </a:lnTo>
                    <a:lnTo>
                      <a:pt x="21189" y="428"/>
                    </a:lnTo>
                    <a:lnTo>
                      <a:pt x="21189" y="642"/>
                    </a:lnTo>
                    <a:lnTo>
                      <a:pt x="21600" y="642"/>
                    </a:lnTo>
                    <a:lnTo>
                      <a:pt x="21600" y="1497"/>
                    </a:lnTo>
                    <a:lnTo>
                      <a:pt x="21189" y="1497"/>
                    </a:lnTo>
                    <a:lnTo>
                      <a:pt x="21189" y="1925"/>
                    </a:lnTo>
                    <a:lnTo>
                      <a:pt x="20571" y="1925"/>
                    </a:lnTo>
                    <a:lnTo>
                      <a:pt x="20571" y="3422"/>
                    </a:lnTo>
                    <a:lnTo>
                      <a:pt x="19749" y="4063"/>
                    </a:lnTo>
                    <a:lnTo>
                      <a:pt x="19131" y="4063"/>
                    </a:lnTo>
                    <a:lnTo>
                      <a:pt x="19131" y="3636"/>
                    </a:lnTo>
                    <a:lnTo>
                      <a:pt x="18309" y="3636"/>
                    </a:lnTo>
                    <a:lnTo>
                      <a:pt x="18309" y="3422"/>
                    </a:lnTo>
                    <a:lnTo>
                      <a:pt x="16869" y="3422"/>
                    </a:lnTo>
                    <a:lnTo>
                      <a:pt x="16869" y="2994"/>
                    </a:lnTo>
                    <a:lnTo>
                      <a:pt x="16663" y="2994"/>
                    </a:lnTo>
                    <a:lnTo>
                      <a:pt x="15840" y="3636"/>
                    </a:lnTo>
                    <a:lnTo>
                      <a:pt x="15429" y="3636"/>
                    </a:lnTo>
                    <a:lnTo>
                      <a:pt x="15223" y="3422"/>
                    </a:lnTo>
                    <a:lnTo>
                      <a:pt x="13783" y="3422"/>
                    </a:lnTo>
                    <a:lnTo>
                      <a:pt x="13371" y="3636"/>
                    </a:lnTo>
                    <a:lnTo>
                      <a:pt x="12960" y="3636"/>
                    </a:lnTo>
                    <a:lnTo>
                      <a:pt x="12960" y="4063"/>
                    </a:lnTo>
                    <a:lnTo>
                      <a:pt x="12343" y="4063"/>
                    </a:lnTo>
                    <a:lnTo>
                      <a:pt x="12343" y="4491"/>
                    </a:lnTo>
                    <a:lnTo>
                      <a:pt x="12549" y="4705"/>
                    </a:lnTo>
                    <a:lnTo>
                      <a:pt x="12549" y="5560"/>
                    </a:lnTo>
                    <a:lnTo>
                      <a:pt x="12343" y="5560"/>
                    </a:lnTo>
                    <a:lnTo>
                      <a:pt x="12343" y="6630"/>
                    </a:lnTo>
                    <a:lnTo>
                      <a:pt x="11931" y="6630"/>
                    </a:lnTo>
                    <a:lnTo>
                      <a:pt x="11931" y="6202"/>
                    </a:lnTo>
                    <a:lnTo>
                      <a:pt x="10903" y="6202"/>
                    </a:lnTo>
                    <a:lnTo>
                      <a:pt x="10903" y="5988"/>
                    </a:lnTo>
                    <a:lnTo>
                      <a:pt x="9874" y="5988"/>
                    </a:lnTo>
                    <a:lnTo>
                      <a:pt x="9874" y="5560"/>
                    </a:lnTo>
                    <a:lnTo>
                      <a:pt x="9463" y="5560"/>
                    </a:lnTo>
                    <a:lnTo>
                      <a:pt x="9463" y="5133"/>
                    </a:lnTo>
                    <a:lnTo>
                      <a:pt x="9051" y="5133"/>
                    </a:lnTo>
                    <a:lnTo>
                      <a:pt x="9051" y="4705"/>
                    </a:lnTo>
                    <a:lnTo>
                      <a:pt x="8640" y="4705"/>
                    </a:lnTo>
                    <a:lnTo>
                      <a:pt x="8640" y="5133"/>
                    </a:lnTo>
                    <a:lnTo>
                      <a:pt x="8434" y="5560"/>
                    </a:lnTo>
                    <a:lnTo>
                      <a:pt x="8434" y="6630"/>
                    </a:lnTo>
                    <a:lnTo>
                      <a:pt x="8640" y="7057"/>
                    </a:lnTo>
                    <a:lnTo>
                      <a:pt x="8640" y="7485"/>
                    </a:lnTo>
                    <a:lnTo>
                      <a:pt x="9051" y="7485"/>
                    </a:lnTo>
                    <a:lnTo>
                      <a:pt x="9051" y="8127"/>
                    </a:lnTo>
                    <a:lnTo>
                      <a:pt x="9463" y="8127"/>
                    </a:lnTo>
                    <a:lnTo>
                      <a:pt x="9463" y="8554"/>
                    </a:lnTo>
                    <a:lnTo>
                      <a:pt x="9874" y="8554"/>
                    </a:lnTo>
                    <a:lnTo>
                      <a:pt x="9874" y="9196"/>
                    </a:lnTo>
                    <a:lnTo>
                      <a:pt x="10080" y="9196"/>
                    </a:lnTo>
                    <a:lnTo>
                      <a:pt x="10491" y="9624"/>
                    </a:lnTo>
                    <a:lnTo>
                      <a:pt x="10491" y="10051"/>
                    </a:lnTo>
                    <a:lnTo>
                      <a:pt x="10080" y="10051"/>
                    </a:lnTo>
                    <a:lnTo>
                      <a:pt x="9874" y="9624"/>
                    </a:lnTo>
                    <a:lnTo>
                      <a:pt x="9463" y="10051"/>
                    </a:lnTo>
                    <a:lnTo>
                      <a:pt x="9051" y="10051"/>
                    </a:lnTo>
                    <a:lnTo>
                      <a:pt x="9051" y="10479"/>
                    </a:lnTo>
                    <a:lnTo>
                      <a:pt x="9463" y="10479"/>
                    </a:lnTo>
                    <a:lnTo>
                      <a:pt x="9463" y="10693"/>
                    </a:lnTo>
                    <a:lnTo>
                      <a:pt x="9874" y="11121"/>
                    </a:lnTo>
                    <a:lnTo>
                      <a:pt x="9463" y="11121"/>
                    </a:lnTo>
                    <a:lnTo>
                      <a:pt x="9463" y="11549"/>
                    </a:lnTo>
                    <a:lnTo>
                      <a:pt x="8434" y="11549"/>
                    </a:lnTo>
                    <a:lnTo>
                      <a:pt x="8434" y="11976"/>
                    </a:lnTo>
                    <a:lnTo>
                      <a:pt x="9874" y="11976"/>
                    </a:lnTo>
                    <a:lnTo>
                      <a:pt x="9874" y="12190"/>
                    </a:lnTo>
                    <a:lnTo>
                      <a:pt x="10080" y="12618"/>
                    </a:lnTo>
                    <a:lnTo>
                      <a:pt x="10491" y="12618"/>
                    </a:lnTo>
                    <a:lnTo>
                      <a:pt x="10491" y="13046"/>
                    </a:lnTo>
                    <a:lnTo>
                      <a:pt x="11314" y="13046"/>
                    </a:lnTo>
                    <a:lnTo>
                      <a:pt x="11314" y="13473"/>
                    </a:lnTo>
                    <a:lnTo>
                      <a:pt x="11931" y="13473"/>
                    </a:lnTo>
                    <a:lnTo>
                      <a:pt x="11931" y="13687"/>
                    </a:lnTo>
                    <a:lnTo>
                      <a:pt x="12549" y="13687"/>
                    </a:lnTo>
                    <a:lnTo>
                      <a:pt x="12549" y="14115"/>
                    </a:lnTo>
                    <a:lnTo>
                      <a:pt x="13371" y="14115"/>
                    </a:lnTo>
                    <a:lnTo>
                      <a:pt x="12960" y="13687"/>
                    </a:lnTo>
                    <a:lnTo>
                      <a:pt x="12960" y="13473"/>
                    </a:lnTo>
                    <a:lnTo>
                      <a:pt x="11931" y="13473"/>
                    </a:lnTo>
                    <a:lnTo>
                      <a:pt x="11520" y="13046"/>
                    </a:lnTo>
                    <a:lnTo>
                      <a:pt x="11314" y="13046"/>
                    </a:lnTo>
                    <a:lnTo>
                      <a:pt x="11314" y="12618"/>
                    </a:lnTo>
                    <a:lnTo>
                      <a:pt x="10903" y="12618"/>
                    </a:lnTo>
                    <a:lnTo>
                      <a:pt x="10903" y="11976"/>
                    </a:lnTo>
                    <a:lnTo>
                      <a:pt x="10080" y="11976"/>
                    </a:lnTo>
                    <a:lnTo>
                      <a:pt x="10080" y="11549"/>
                    </a:lnTo>
                    <a:lnTo>
                      <a:pt x="9874" y="11549"/>
                    </a:lnTo>
                    <a:lnTo>
                      <a:pt x="9874" y="11121"/>
                    </a:lnTo>
                    <a:lnTo>
                      <a:pt x="10080" y="11121"/>
                    </a:lnTo>
                    <a:lnTo>
                      <a:pt x="10491" y="10693"/>
                    </a:lnTo>
                    <a:lnTo>
                      <a:pt x="10903" y="10693"/>
                    </a:lnTo>
                    <a:lnTo>
                      <a:pt x="10903" y="11121"/>
                    </a:lnTo>
                    <a:lnTo>
                      <a:pt x="11314" y="11121"/>
                    </a:lnTo>
                    <a:lnTo>
                      <a:pt x="11314" y="11976"/>
                    </a:lnTo>
                    <a:lnTo>
                      <a:pt x="12343" y="11976"/>
                    </a:lnTo>
                    <a:lnTo>
                      <a:pt x="12343" y="12190"/>
                    </a:lnTo>
                    <a:lnTo>
                      <a:pt x="12960" y="12190"/>
                    </a:lnTo>
                    <a:lnTo>
                      <a:pt x="13371" y="12618"/>
                    </a:lnTo>
                    <a:lnTo>
                      <a:pt x="13371" y="13046"/>
                    </a:lnTo>
                    <a:lnTo>
                      <a:pt x="13783" y="13046"/>
                    </a:lnTo>
                    <a:lnTo>
                      <a:pt x="13783" y="13687"/>
                    </a:lnTo>
                    <a:lnTo>
                      <a:pt x="13989" y="14115"/>
                    </a:lnTo>
                    <a:lnTo>
                      <a:pt x="13989" y="14543"/>
                    </a:lnTo>
                    <a:lnTo>
                      <a:pt x="15223" y="14543"/>
                    </a:lnTo>
                    <a:lnTo>
                      <a:pt x="15223" y="14970"/>
                    </a:lnTo>
                    <a:lnTo>
                      <a:pt x="14811" y="15184"/>
                    </a:lnTo>
                    <a:lnTo>
                      <a:pt x="14400" y="15184"/>
                    </a:lnTo>
                    <a:lnTo>
                      <a:pt x="13989" y="14970"/>
                    </a:lnTo>
                    <a:lnTo>
                      <a:pt x="13783" y="14970"/>
                    </a:lnTo>
                    <a:lnTo>
                      <a:pt x="13783" y="14543"/>
                    </a:lnTo>
                    <a:lnTo>
                      <a:pt x="12960" y="14543"/>
                    </a:lnTo>
                    <a:lnTo>
                      <a:pt x="12960" y="15184"/>
                    </a:lnTo>
                    <a:lnTo>
                      <a:pt x="13371" y="15184"/>
                    </a:lnTo>
                    <a:lnTo>
                      <a:pt x="13371" y="16467"/>
                    </a:lnTo>
                    <a:lnTo>
                      <a:pt x="12549" y="16467"/>
                    </a:lnTo>
                    <a:lnTo>
                      <a:pt x="12549" y="16040"/>
                    </a:lnTo>
                    <a:lnTo>
                      <a:pt x="12343" y="16040"/>
                    </a:lnTo>
                    <a:lnTo>
                      <a:pt x="12343" y="15612"/>
                    </a:lnTo>
                    <a:lnTo>
                      <a:pt x="11931" y="15184"/>
                    </a:lnTo>
                    <a:lnTo>
                      <a:pt x="11931" y="14970"/>
                    </a:lnTo>
                    <a:lnTo>
                      <a:pt x="11520" y="14970"/>
                    </a:lnTo>
                    <a:lnTo>
                      <a:pt x="11520" y="15184"/>
                    </a:lnTo>
                    <a:lnTo>
                      <a:pt x="10080" y="15184"/>
                    </a:lnTo>
                    <a:lnTo>
                      <a:pt x="10080" y="16467"/>
                    </a:lnTo>
                    <a:lnTo>
                      <a:pt x="10491" y="16467"/>
                    </a:lnTo>
                    <a:lnTo>
                      <a:pt x="10491" y="16681"/>
                    </a:lnTo>
                    <a:lnTo>
                      <a:pt x="10903" y="16681"/>
                    </a:lnTo>
                    <a:lnTo>
                      <a:pt x="10903" y="16467"/>
                    </a:lnTo>
                    <a:lnTo>
                      <a:pt x="11314" y="16467"/>
                    </a:lnTo>
                    <a:lnTo>
                      <a:pt x="11314" y="17537"/>
                    </a:lnTo>
                    <a:lnTo>
                      <a:pt x="10491" y="17537"/>
                    </a:lnTo>
                    <a:lnTo>
                      <a:pt x="10491" y="17964"/>
                    </a:lnTo>
                    <a:lnTo>
                      <a:pt x="10080" y="17964"/>
                    </a:lnTo>
                    <a:lnTo>
                      <a:pt x="10080" y="17537"/>
                    </a:lnTo>
                    <a:lnTo>
                      <a:pt x="9463" y="17537"/>
                    </a:lnTo>
                    <a:lnTo>
                      <a:pt x="9463" y="17109"/>
                    </a:lnTo>
                    <a:lnTo>
                      <a:pt x="9051" y="17109"/>
                    </a:lnTo>
                    <a:lnTo>
                      <a:pt x="9051" y="17537"/>
                    </a:lnTo>
                    <a:lnTo>
                      <a:pt x="9463" y="17537"/>
                    </a:lnTo>
                    <a:lnTo>
                      <a:pt x="9463" y="18606"/>
                    </a:lnTo>
                    <a:lnTo>
                      <a:pt x="9874" y="18606"/>
                    </a:lnTo>
                    <a:lnTo>
                      <a:pt x="9874" y="19675"/>
                    </a:lnTo>
                    <a:lnTo>
                      <a:pt x="10080" y="19675"/>
                    </a:lnTo>
                    <a:lnTo>
                      <a:pt x="10080" y="20958"/>
                    </a:lnTo>
                    <a:lnTo>
                      <a:pt x="9874" y="20531"/>
                    </a:lnTo>
                    <a:lnTo>
                      <a:pt x="9463" y="20531"/>
                    </a:lnTo>
                    <a:lnTo>
                      <a:pt x="9463" y="20103"/>
                    </a:lnTo>
                    <a:lnTo>
                      <a:pt x="8434" y="20103"/>
                    </a:lnTo>
                    <a:lnTo>
                      <a:pt x="8434" y="20531"/>
                    </a:lnTo>
                    <a:lnTo>
                      <a:pt x="8023" y="20531"/>
                    </a:lnTo>
                    <a:lnTo>
                      <a:pt x="8023" y="20958"/>
                    </a:lnTo>
                    <a:lnTo>
                      <a:pt x="7611" y="20531"/>
                    </a:lnTo>
                    <a:lnTo>
                      <a:pt x="7611" y="19675"/>
                    </a:lnTo>
                    <a:lnTo>
                      <a:pt x="7200" y="19675"/>
                    </a:lnTo>
                    <a:lnTo>
                      <a:pt x="7200" y="19461"/>
                    </a:lnTo>
                    <a:lnTo>
                      <a:pt x="6994" y="19461"/>
                    </a:lnTo>
                    <a:lnTo>
                      <a:pt x="6994" y="19034"/>
                    </a:lnTo>
                    <a:lnTo>
                      <a:pt x="6171" y="19034"/>
                    </a:lnTo>
                    <a:lnTo>
                      <a:pt x="6171" y="19461"/>
                    </a:lnTo>
                    <a:lnTo>
                      <a:pt x="5760" y="19675"/>
                    </a:lnTo>
                    <a:lnTo>
                      <a:pt x="5554" y="19675"/>
                    </a:lnTo>
                    <a:lnTo>
                      <a:pt x="5554" y="19034"/>
                    </a:lnTo>
                    <a:lnTo>
                      <a:pt x="5143" y="19034"/>
                    </a:lnTo>
                    <a:lnTo>
                      <a:pt x="5143" y="18178"/>
                    </a:lnTo>
                    <a:lnTo>
                      <a:pt x="5554" y="18178"/>
                    </a:lnTo>
                    <a:lnTo>
                      <a:pt x="5554" y="17537"/>
                    </a:lnTo>
                    <a:lnTo>
                      <a:pt x="5143" y="17109"/>
                    </a:lnTo>
                    <a:lnTo>
                      <a:pt x="4731" y="17109"/>
                    </a:lnTo>
                    <a:lnTo>
                      <a:pt x="4731" y="16681"/>
                    </a:lnTo>
                    <a:lnTo>
                      <a:pt x="4320" y="16681"/>
                    </a:lnTo>
                    <a:lnTo>
                      <a:pt x="4320" y="16467"/>
                    </a:lnTo>
                    <a:lnTo>
                      <a:pt x="4114" y="16467"/>
                    </a:lnTo>
                    <a:lnTo>
                      <a:pt x="4114" y="16040"/>
                    </a:lnTo>
                    <a:lnTo>
                      <a:pt x="3703" y="16040"/>
                    </a:lnTo>
                    <a:lnTo>
                      <a:pt x="3703" y="15184"/>
                    </a:lnTo>
                    <a:lnTo>
                      <a:pt x="4114" y="15184"/>
                    </a:lnTo>
                    <a:lnTo>
                      <a:pt x="4114" y="14970"/>
                    </a:lnTo>
                    <a:lnTo>
                      <a:pt x="4320" y="14970"/>
                    </a:lnTo>
                    <a:lnTo>
                      <a:pt x="4320" y="14543"/>
                    </a:lnTo>
                    <a:lnTo>
                      <a:pt x="4731" y="14543"/>
                    </a:lnTo>
                    <a:lnTo>
                      <a:pt x="4731" y="14115"/>
                    </a:lnTo>
                    <a:lnTo>
                      <a:pt x="5760" y="14115"/>
                    </a:lnTo>
                    <a:lnTo>
                      <a:pt x="5760" y="13687"/>
                    </a:lnTo>
                    <a:lnTo>
                      <a:pt x="4320" y="13687"/>
                    </a:lnTo>
                    <a:lnTo>
                      <a:pt x="4320" y="13473"/>
                    </a:lnTo>
                    <a:lnTo>
                      <a:pt x="3703" y="13473"/>
                    </a:lnTo>
                    <a:lnTo>
                      <a:pt x="3703" y="13687"/>
                    </a:lnTo>
                    <a:lnTo>
                      <a:pt x="3291" y="13687"/>
                    </a:lnTo>
                    <a:lnTo>
                      <a:pt x="3291" y="13046"/>
                    </a:lnTo>
                    <a:lnTo>
                      <a:pt x="2880" y="13046"/>
                    </a:lnTo>
                    <a:lnTo>
                      <a:pt x="2880" y="12190"/>
                    </a:lnTo>
                    <a:lnTo>
                      <a:pt x="2263" y="12190"/>
                    </a:lnTo>
                    <a:lnTo>
                      <a:pt x="2263" y="12618"/>
                    </a:lnTo>
                    <a:lnTo>
                      <a:pt x="1851" y="12618"/>
                    </a:lnTo>
                    <a:lnTo>
                      <a:pt x="1851" y="11976"/>
                    </a:lnTo>
                    <a:lnTo>
                      <a:pt x="2263" y="11976"/>
                    </a:lnTo>
                    <a:lnTo>
                      <a:pt x="2263" y="11549"/>
                    </a:lnTo>
                    <a:lnTo>
                      <a:pt x="2674" y="11549"/>
                    </a:lnTo>
                    <a:lnTo>
                      <a:pt x="2674" y="11121"/>
                    </a:lnTo>
                    <a:lnTo>
                      <a:pt x="3291" y="11121"/>
                    </a:lnTo>
                    <a:lnTo>
                      <a:pt x="3291" y="11549"/>
                    </a:lnTo>
                    <a:lnTo>
                      <a:pt x="3703" y="11121"/>
                    </a:lnTo>
                    <a:lnTo>
                      <a:pt x="3291" y="11121"/>
                    </a:lnTo>
                    <a:lnTo>
                      <a:pt x="3291" y="10693"/>
                    </a:lnTo>
                    <a:lnTo>
                      <a:pt x="1851" y="10693"/>
                    </a:lnTo>
                    <a:lnTo>
                      <a:pt x="1851" y="10479"/>
                    </a:lnTo>
                    <a:lnTo>
                      <a:pt x="1440" y="10479"/>
                    </a:lnTo>
                    <a:lnTo>
                      <a:pt x="1234" y="10051"/>
                    </a:lnTo>
                    <a:lnTo>
                      <a:pt x="823" y="10051"/>
                    </a:lnTo>
                    <a:lnTo>
                      <a:pt x="823" y="9624"/>
                    </a:lnTo>
                    <a:lnTo>
                      <a:pt x="411" y="9624"/>
                    </a:lnTo>
                    <a:lnTo>
                      <a:pt x="411" y="8982"/>
                    </a:lnTo>
                    <a:lnTo>
                      <a:pt x="0" y="8982"/>
                    </a:lnTo>
                    <a:lnTo>
                      <a:pt x="0" y="8554"/>
                    </a:lnTo>
                    <a:lnTo>
                      <a:pt x="411" y="8554"/>
                    </a:lnTo>
                    <a:lnTo>
                      <a:pt x="823" y="8127"/>
                    </a:lnTo>
                    <a:lnTo>
                      <a:pt x="1234" y="8127"/>
                    </a:lnTo>
                    <a:lnTo>
                      <a:pt x="1234" y="7699"/>
                    </a:lnTo>
                    <a:lnTo>
                      <a:pt x="823" y="7485"/>
                    </a:lnTo>
                    <a:lnTo>
                      <a:pt x="823" y="7057"/>
                    </a:lnTo>
                    <a:lnTo>
                      <a:pt x="1234" y="7057"/>
                    </a:lnTo>
                    <a:lnTo>
                      <a:pt x="1234" y="6630"/>
                    </a:lnTo>
                    <a:lnTo>
                      <a:pt x="1851" y="6630"/>
                    </a:lnTo>
                    <a:lnTo>
                      <a:pt x="1851" y="6202"/>
                    </a:lnTo>
                    <a:lnTo>
                      <a:pt x="2263" y="6202"/>
                    </a:lnTo>
                    <a:lnTo>
                      <a:pt x="2263" y="5133"/>
                    </a:lnTo>
                    <a:lnTo>
                      <a:pt x="2880" y="5133"/>
                    </a:lnTo>
                    <a:lnTo>
                      <a:pt x="2880" y="4705"/>
                    </a:lnTo>
                    <a:lnTo>
                      <a:pt x="3291" y="4705"/>
                    </a:lnTo>
                    <a:lnTo>
                      <a:pt x="3291" y="4063"/>
                    </a:lnTo>
                    <a:lnTo>
                      <a:pt x="2880" y="4063"/>
                    </a:lnTo>
                    <a:lnTo>
                      <a:pt x="2880" y="3636"/>
                    </a:lnTo>
                    <a:lnTo>
                      <a:pt x="4320" y="3636"/>
                    </a:lnTo>
                    <a:lnTo>
                      <a:pt x="4320" y="3422"/>
                    </a:lnTo>
                    <a:lnTo>
                      <a:pt x="4731" y="3422"/>
                    </a:lnTo>
                    <a:lnTo>
                      <a:pt x="4731" y="3636"/>
                    </a:lnTo>
                    <a:lnTo>
                      <a:pt x="5554" y="3636"/>
                    </a:lnTo>
                    <a:lnTo>
                      <a:pt x="5554" y="3422"/>
                    </a:lnTo>
                    <a:lnTo>
                      <a:pt x="5760" y="3422"/>
                    </a:lnTo>
                    <a:lnTo>
                      <a:pt x="5760" y="2994"/>
                    </a:lnTo>
                    <a:lnTo>
                      <a:pt x="6171" y="2994"/>
                    </a:lnTo>
                    <a:lnTo>
                      <a:pt x="6171" y="2566"/>
                    </a:lnTo>
                    <a:lnTo>
                      <a:pt x="6583" y="2139"/>
                    </a:lnTo>
                    <a:lnTo>
                      <a:pt x="6583" y="2566"/>
                    </a:lnTo>
                    <a:lnTo>
                      <a:pt x="6994" y="2566"/>
                    </a:lnTo>
                    <a:lnTo>
                      <a:pt x="6994" y="2139"/>
                    </a:lnTo>
                    <a:lnTo>
                      <a:pt x="8023" y="2139"/>
                    </a:lnTo>
                    <a:lnTo>
                      <a:pt x="8023" y="2566"/>
                    </a:lnTo>
                    <a:lnTo>
                      <a:pt x="8434" y="2566"/>
                    </a:lnTo>
                    <a:lnTo>
                      <a:pt x="8434" y="2139"/>
                    </a:lnTo>
                    <a:lnTo>
                      <a:pt x="9051" y="2139"/>
                    </a:lnTo>
                    <a:lnTo>
                      <a:pt x="9051" y="1497"/>
                    </a:lnTo>
                    <a:lnTo>
                      <a:pt x="9463" y="1497"/>
                    </a:lnTo>
                    <a:lnTo>
                      <a:pt x="9463" y="1925"/>
                    </a:lnTo>
                    <a:lnTo>
                      <a:pt x="9874" y="1925"/>
                    </a:lnTo>
                    <a:lnTo>
                      <a:pt x="9874" y="1497"/>
                    </a:lnTo>
                    <a:lnTo>
                      <a:pt x="10080" y="1925"/>
                    </a:lnTo>
                    <a:lnTo>
                      <a:pt x="10491" y="1925"/>
                    </a:lnTo>
                    <a:lnTo>
                      <a:pt x="10491" y="1497"/>
                    </a:lnTo>
                    <a:lnTo>
                      <a:pt x="12549" y="1497"/>
                    </a:lnTo>
                    <a:lnTo>
                      <a:pt x="12549" y="1069"/>
                    </a:lnTo>
                    <a:lnTo>
                      <a:pt x="13371" y="1069"/>
                    </a:lnTo>
                    <a:lnTo>
                      <a:pt x="13371" y="642"/>
                    </a:lnTo>
                    <a:lnTo>
                      <a:pt x="13783" y="1069"/>
                    </a:lnTo>
                    <a:lnTo>
                      <a:pt x="13783" y="642"/>
                    </a:lnTo>
                    <a:lnTo>
                      <a:pt x="14811" y="642"/>
                    </a:lnTo>
                    <a:lnTo>
                      <a:pt x="14811" y="1069"/>
                    </a:lnTo>
                    <a:lnTo>
                      <a:pt x="15223" y="1069"/>
                    </a:lnTo>
                    <a:lnTo>
                      <a:pt x="15429" y="1497"/>
                    </a:lnTo>
                    <a:lnTo>
                      <a:pt x="16251" y="1497"/>
                    </a:lnTo>
                    <a:lnTo>
                      <a:pt x="16251" y="1925"/>
                    </a:lnTo>
                    <a:lnTo>
                      <a:pt x="16869" y="1925"/>
                    </a:lnTo>
                    <a:lnTo>
                      <a:pt x="16869" y="2139"/>
                    </a:lnTo>
                    <a:lnTo>
                      <a:pt x="17691" y="2139"/>
                    </a:lnTo>
                    <a:lnTo>
                      <a:pt x="17691" y="1925"/>
                    </a:lnTo>
                    <a:lnTo>
                      <a:pt x="20160" y="1925"/>
                    </a:lnTo>
                    <a:lnTo>
                      <a:pt x="20160" y="428"/>
                    </a:lnTo>
                    <a:lnTo>
                      <a:pt x="19749" y="428"/>
                    </a:lnTo>
                    <a:lnTo>
                      <a:pt x="20160" y="0"/>
                    </a:lnTo>
                    <a:close/>
                    <a:moveTo>
                      <a:pt x="20160" y="0"/>
                    </a:moveTo>
                  </a:path>
                </a:pathLst>
              </a:custGeom>
              <a:solidFill>
                <a:srgbClr val="B2EAE7"/>
              </a:solidFill>
              <a:ln w="12700">
                <a:solidFill>
                  <a:srgbClr val="FFFFFF"/>
                </a:solidFill>
                <a:round/>
                <a:headEnd/>
                <a:tailEnd/>
              </a:ln>
            </p:spPr>
            <p:txBody>
              <a:bodyPr lIns="0" tIns="0" rIns="0" bIns="0"/>
              <a:lstStyle/>
              <a:p>
                <a:endParaRPr lang="en-US"/>
              </a:p>
            </p:txBody>
          </p:sp>
          <p:sp>
            <p:nvSpPr>
              <p:cNvPr id="141" name="AutoShape 95"/>
              <p:cNvSpPr>
                <a:spLocks/>
              </p:cNvSpPr>
              <p:nvPr/>
            </p:nvSpPr>
            <p:spPr bwMode="auto">
              <a:xfrm>
                <a:off x="1483" y="2332"/>
                <a:ext cx="835" cy="94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w 21600"/>
                  <a:gd name="T117" fmla="*/ 0 h 21600"/>
                  <a:gd name="T118" fmla="*/ 0 w 21600"/>
                  <a:gd name="T119" fmla="*/ 0 h 21600"/>
                  <a:gd name="T120" fmla="*/ 0 w 21600"/>
                  <a:gd name="T121" fmla="*/ 0 h 2160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1600"/>
                  <a:gd name="T184" fmla="*/ 0 h 21600"/>
                  <a:gd name="T185" fmla="*/ 21600 w 21600"/>
                  <a:gd name="T186" fmla="*/ 21600 h 2160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1600" h="21600">
                    <a:moveTo>
                      <a:pt x="5143" y="4294"/>
                    </a:moveTo>
                    <a:lnTo>
                      <a:pt x="5143" y="4554"/>
                    </a:lnTo>
                    <a:lnTo>
                      <a:pt x="5731" y="4554"/>
                    </a:lnTo>
                    <a:lnTo>
                      <a:pt x="5731" y="4294"/>
                    </a:lnTo>
                    <a:lnTo>
                      <a:pt x="5143" y="4294"/>
                    </a:lnTo>
                    <a:close/>
                    <a:moveTo>
                      <a:pt x="15429" y="1561"/>
                    </a:moveTo>
                    <a:lnTo>
                      <a:pt x="16016" y="1561"/>
                    </a:lnTo>
                    <a:lnTo>
                      <a:pt x="16016" y="1822"/>
                    </a:lnTo>
                    <a:lnTo>
                      <a:pt x="15429" y="1822"/>
                    </a:lnTo>
                    <a:lnTo>
                      <a:pt x="15429" y="1561"/>
                    </a:lnTo>
                    <a:close/>
                    <a:moveTo>
                      <a:pt x="6759" y="260"/>
                    </a:moveTo>
                    <a:lnTo>
                      <a:pt x="7053" y="260"/>
                    </a:lnTo>
                    <a:lnTo>
                      <a:pt x="7053" y="390"/>
                    </a:lnTo>
                    <a:lnTo>
                      <a:pt x="7788" y="390"/>
                    </a:lnTo>
                    <a:lnTo>
                      <a:pt x="7788" y="651"/>
                    </a:lnTo>
                    <a:lnTo>
                      <a:pt x="9845" y="651"/>
                    </a:lnTo>
                    <a:lnTo>
                      <a:pt x="9845" y="911"/>
                    </a:lnTo>
                    <a:lnTo>
                      <a:pt x="9551" y="911"/>
                    </a:lnTo>
                    <a:lnTo>
                      <a:pt x="9551" y="1171"/>
                    </a:lnTo>
                    <a:lnTo>
                      <a:pt x="9845" y="1171"/>
                    </a:lnTo>
                    <a:lnTo>
                      <a:pt x="9845" y="1301"/>
                    </a:lnTo>
                    <a:lnTo>
                      <a:pt x="9551" y="1561"/>
                    </a:lnTo>
                    <a:lnTo>
                      <a:pt x="9845" y="1561"/>
                    </a:lnTo>
                    <a:lnTo>
                      <a:pt x="10139" y="1822"/>
                    </a:lnTo>
                    <a:lnTo>
                      <a:pt x="10286" y="1822"/>
                    </a:lnTo>
                    <a:lnTo>
                      <a:pt x="10286" y="1561"/>
                    </a:lnTo>
                    <a:lnTo>
                      <a:pt x="10580" y="1561"/>
                    </a:lnTo>
                    <a:lnTo>
                      <a:pt x="10873" y="1822"/>
                    </a:lnTo>
                    <a:lnTo>
                      <a:pt x="10873" y="1952"/>
                    </a:lnTo>
                    <a:lnTo>
                      <a:pt x="11608" y="1952"/>
                    </a:lnTo>
                    <a:lnTo>
                      <a:pt x="11902" y="1822"/>
                    </a:lnTo>
                    <a:lnTo>
                      <a:pt x="12343" y="1822"/>
                    </a:lnTo>
                    <a:lnTo>
                      <a:pt x="12343" y="1952"/>
                    </a:lnTo>
                    <a:lnTo>
                      <a:pt x="12196" y="1952"/>
                    </a:lnTo>
                    <a:lnTo>
                      <a:pt x="12196" y="2472"/>
                    </a:lnTo>
                    <a:lnTo>
                      <a:pt x="11902" y="2733"/>
                    </a:lnTo>
                    <a:lnTo>
                      <a:pt x="11902" y="3123"/>
                    </a:lnTo>
                    <a:lnTo>
                      <a:pt x="13224" y="3123"/>
                    </a:lnTo>
                    <a:lnTo>
                      <a:pt x="13224" y="2863"/>
                    </a:lnTo>
                    <a:lnTo>
                      <a:pt x="13371" y="2863"/>
                    </a:lnTo>
                    <a:lnTo>
                      <a:pt x="13371" y="2733"/>
                    </a:lnTo>
                    <a:lnTo>
                      <a:pt x="13959" y="2733"/>
                    </a:lnTo>
                    <a:lnTo>
                      <a:pt x="13959" y="2472"/>
                    </a:lnTo>
                    <a:lnTo>
                      <a:pt x="14400" y="2472"/>
                    </a:lnTo>
                    <a:lnTo>
                      <a:pt x="14400" y="2733"/>
                    </a:lnTo>
                    <a:lnTo>
                      <a:pt x="14694" y="2733"/>
                    </a:lnTo>
                    <a:lnTo>
                      <a:pt x="14694" y="2472"/>
                    </a:lnTo>
                    <a:lnTo>
                      <a:pt x="14988" y="2472"/>
                    </a:lnTo>
                    <a:lnTo>
                      <a:pt x="14988" y="2212"/>
                    </a:lnTo>
                    <a:lnTo>
                      <a:pt x="15135" y="2212"/>
                    </a:lnTo>
                    <a:lnTo>
                      <a:pt x="15135" y="1822"/>
                    </a:lnTo>
                    <a:lnTo>
                      <a:pt x="15429" y="1822"/>
                    </a:lnTo>
                    <a:lnTo>
                      <a:pt x="15429" y="1952"/>
                    </a:lnTo>
                    <a:lnTo>
                      <a:pt x="16163" y="1952"/>
                    </a:lnTo>
                    <a:lnTo>
                      <a:pt x="16163" y="1561"/>
                    </a:lnTo>
                    <a:lnTo>
                      <a:pt x="16457" y="1561"/>
                    </a:lnTo>
                    <a:lnTo>
                      <a:pt x="16457" y="1822"/>
                    </a:lnTo>
                    <a:lnTo>
                      <a:pt x="17045" y="1822"/>
                    </a:lnTo>
                    <a:lnTo>
                      <a:pt x="17045" y="1301"/>
                    </a:lnTo>
                    <a:lnTo>
                      <a:pt x="18220" y="1301"/>
                    </a:lnTo>
                    <a:lnTo>
                      <a:pt x="18220" y="1561"/>
                    </a:lnTo>
                    <a:lnTo>
                      <a:pt x="18073" y="1561"/>
                    </a:lnTo>
                    <a:lnTo>
                      <a:pt x="18073" y="1822"/>
                    </a:lnTo>
                    <a:lnTo>
                      <a:pt x="18514" y="1822"/>
                    </a:lnTo>
                    <a:lnTo>
                      <a:pt x="18514" y="1952"/>
                    </a:lnTo>
                    <a:lnTo>
                      <a:pt x="17780" y="1952"/>
                    </a:lnTo>
                    <a:lnTo>
                      <a:pt x="17780" y="2212"/>
                    </a:lnTo>
                    <a:lnTo>
                      <a:pt x="17486" y="2212"/>
                    </a:lnTo>
                    <a:lnTo>
                      <a:pt x="17486" y="2472"/>
                    </a:lnTo>
                    <a:lnTo>
                      <a:pt x="18514" y="2472"/>
                    </a:lnTo>
                    <a:lnTo>
                      <a:pt x="18514" y="3123"/>
                    </a:lnTo>
                    <a:lnTo>
                      <a:pt x="19102" y="3123"/>
                    </a:lnTo>
                    <a:lnTo>
                      <a:pt x="19102" y="2863"/>
                    </a:lnTo>
                    <a:lnTo>
                      <a:pt x="19249" y="2863"/>
                    </a:lnTo>
                    <a:lnTo>
                      <a:pt x="19249" y="3123"/>
                    </a:lnTo>
                    <a:lnTo>
                      <a:pt x="19543" y="3123"/>
                    </a:lnTo>
                    <a:lnTo>
                      <a:pt x="19543" y="3383"/>
                    </a:lnTo>
                    <a:lnTo>
                      <a:pt x="19102" y="3383"/>
                    </a:lnTo>
                    <a:lnTo>
                      <a:pt x="19102" y="3643"/>
                    </a:lnTo>
                    <a:lnTo>
                      <a:pt x="19249" y="3643"/>
                    </a:lnTo>
                    <a:lnTo>
                      <a:pt x="19249" y="3773"/>
                    </a:lnTo>
                    <a:lnTo>
                      <a:pt x="19837" y="3773"/>
                    </a:lnTo>
                    <a:lnTo>
                      <a:pt x="19837" y="4554"/>
                    </a:lnTo>
                    <a:lnTo>
                      <a:pt x="20131" y="4554"/>
                    </a:lnTo>
                    <a:lnTo>
                      <a:pt x="20131" y="5205"/>
                    </a:lnTo>
                    <a:lnTo>
                      <a:pt x="19837" y="5205"/>
                    </a:lnTo>
                    <a:lnTo>
                      <a:pt x="19837" y="5855"/>
                    </a:lnTo>
                    <a:lnTo>
                      <a:pt x="19543" y="5855"/>
                    </a:lnTo>
                    <a:lnTo>
                      <a:pt x="19543" y="6376"/>
                    </a:lnTo>
                    <a:lnTo>
                      <a:pt x="19837" y="6376"/>
                    </a:lnTo>
                    <a:lnTo>
                      <a:pt x="20131" y="6506"/>
                    </a:lnTo>
                    <a:lnTo>
                      <a:pt x="20131" y="6766"/>
                    </a:lnTo>
                    <a:lnTo>
                      <a:pt x="20571" y="6766"/>
                    </a:lnTo>
                    <a:lnTo>
                      <a:pt x="20571" y="7287"/>
                    </a:lnTo>
                    <a:lnTo>
                      <a:pt x="20278" y="7287"/>
                    </a:lnTo>
                    <a:lnTo>
                      <a:pt x="20278" y="7677"/>
                    </a:lnTo>
                    <a:lnTo>
                      <a:pt x="20571" y="7677"/>
                    </a:lnTo>
                    <a:lnTo>
                      <a:pt x="20571" y="8198"/>
                    </a:lnTo>
                    <a:lnTo>
                      <a:pt x="20865" y="8198"/>
                    </a:lnTo>
                    <a:lnTo>
                      <a:pt x="20865" y="8848"/>
                    </a:lnTo>
                    <a:lnTo>
                      <a:pt x="20571" y="8848"/>
                    </a:lnTo>
                    <a:lnTo>
                      <a:pt x="20571" y="9239"/>
                    </a:lnTo>
                    <a:lnTo>
                      <a:pt x="20865" y="9239"/>
                    </a:lnTo>
                    <a:lnTo>
                      <a:pt x="20865" y="10019"/>
                    </a:lnTo>
                    <a:lnTo>
                      <a:pt x="21159" y="10019"/>
                    </a:lnTo>
                    <a:lnTo>
                      <a:pt x="21306" y="10149"/>
                    </a:lnTo>
                    <a:lnTo>
                      <a:pt x="21306" y="10670"/>
                    </a:lnTo>
                    <a:lnTo>
                      <a:pt x="21600" y="10670"/>
                    </a:lnTo>
                    <a:lnTo>
                      <a:pt x="21600" y="11060"/>
                    </a:lnTo>
                    <a:lnTo>
                      <a:pt x="21306" y="11060"/>
                    </a:lnTo>
                    <a:lnTo>
                      <a:pt x="21306" y="11320"/>
                    </a:lnTo>
                    <a:lnTo>
                      <a:pt x="21159" y="11320"/>
                    </a:lnTo>
                    <a:lnTo>
                      <a:pt x="21159" y="11841"/>
                    </a:lnTo>
                    <a:lnTo>
                      <a:pt x="20571" y="11841"/>
                    </a:lnTo>
                    <a:lnTo>
                      <a:pt x="20571" y="11320"/>
                    </a:lnTo>
                    <a:lnTo>
                      <a:pt x="20131" y="11320"/>
                    </a:lnTo>
                    <a:lnTo>
                      <a:pt x="19837" y="11060"/>
                    </a:lnTo>
                    <a:lnTo>
                      <a:pt x="19837" y="11581"/>
                    </a:lnTo>
                    <a:lnTo>
                      <a:pt x="19543" y="11581"/>
                    </a:lnTo>
                    <a:lnTo>
                      <a:pt x="19249" y="11841"/>
                    </a:lnTo>
                    <a:lnTo>
                      <a:pt x="19102" y="11841"/>
                    </a:lnTo>
                    <a:lnTo>
                      <a:pt x="18808" y="11971"/>
                    </a:lnTo>
                    <a:lnTo>
                      <a:pt x="18220" y="11971"/>
                    </a:lnTo>
                    <a:lnTo>
                      <a:pt x="17780" y="12492"/>
                    </a:lnTo>
                    <a:lnTo>
                      <a:pt x="17486" y="12492"/>
                    </a:lnTo>
                    <a:lnTo>
                      <a:pt x="17192" y="12752"/>
                    </a:lnTo>
                    <a:lnTo>
                      <a:pt x="17045" y="12752"/>
                    </a:lnTo>
                    <a:lnTo>
                      <a:pt x="16751" y="12882"/>
                    </a:lnTo>
                    <a:lnTo>
                      <a:pt x="16457" y="12882"/>
                    </a:lnTo>
                    <a:lnTo>
                      <a:pt x="16457" y="13142"/>
                    </a:lnTo>
                    <a:lnTo>
                      <a:pt x="16163" y="12882"/>
                    </a:lnTo>
                    <a:lnTo>
                      <a:pt x="15722" y="12882"/>
                    </a:lnTo>
                    <a:lnTo>
                      <a:pt x="15722" y="13142"/>
                    </a:lnTo>
                    <a:lnTo>
                      <a:pt x="15429" y="13142"/>
                    </a:lnTo>
                    <a:lnTo>
                      <a:pt x="15135" y="13402"/>
                    </a:lnTo>
                    <a:lnTo>
                      <a:pt x="15135" y="13533"/>
                    </a:lnTo>
                    <a:lnTo>
                      <a:pt x="14988" y="13533"/>
                    </a:lnTo>
                    <a:lnTo>
                      <a:pt x="14988" y="13142"/>
                    </a:lnTo>
                    <a:lnTo>
                      <a:pt x="14400" y="13142"/>
                    </a:lnTo>
                    <a:lnTo>
                      <a:pt x="14694" y="13402"/>
                    </a:lnTo>
                    <a:lnTo>
                      <a:pt x="14694" y="13533"/>
                    </a:lnTo>
                    <a:lnTo>
                      <a:pt x="14988" y="13533"/>
                    </a:lnTo>
                    <a:lnTo>
                      <a:pt x="14988" y="13793"/>
                    </a:lnTo>
                    <a:lnTo>
                      <a:pt x="15135" y="14053"/>
                    </a:lnTo>
                    <a:lnTo>
                      <a:pt x="15429" y="14053"/>
                    </a:lnTo>
                    <a:lnTo>
                      <a:pt x="15429" y="14313"/>
                    </a:lnTo>
                    <a:lnTo>
                      <a:pt x="15722" y="14313"/>
                    </a:lnTo>
                    <a:lnTo>
                      <a:pt x="15429" y="14443"/>
                    </a:lnTo>
                    <a:lnTo>
                      <a:pt x="15135" y="14443"/>
                    </a:lnTo>
                    <a:lnTo>
                      <a:pt x="15135" y="14704"/>
                    </a:lnTo>
                    <a:lnTo>
                      <a:pt x="15429" y="14704"/>
                    </a:lnTo>
                    <a:lnTo>
                      <a:pt x="15429" y="15224"/>
                    </a:lnTo>
                    <a:lnTo>
                      <a:pt x="15722" y="15224"/>
                    </a:lnTo>
                    <a:lnTo>
                      <a:pt x="15722" y="15354"/>
                    </a:lnTo>
                    <a:lnTo>
                      <a:pt x="16163" y="15875"/>
                    </a:lnTo>
                    <a:lnTo>
                      <a:pt x="16457" y="15875"/>
                    </a:lnTo>
                    <a:lnTo>
                      <a:pt x="16751" y="16135"/>
                    </a:lnTo>
                    <a:lnTo>
                      <a:pt x="17045" y="16135"/>
                    </a:lnTo>
                    <a:lnTo>
                      <a:pt x="17045" y="16525"/>
                    </a:lnTo>
                    <a:lnTo>
                      <a:pt x="17486" y="16525"/>
                    </a:lnTo>
                    <a:lnTo>
                      <a:pt x="17486" y="16786"/>
                    </a:lnTo>
                    <a:lnTo>
                      <a:pt x="17780" y="16786"/>
                    </a:lnTo>
                    <a:lnTo>
                      <a:pt x="17780" y="17046"/>
                    </a:lnTo>
                    <a:lnTo>
                      <a:pt x="18220" y="17046"/>
                    </a:lnTo>
                    <a:lnTo>
                      <a:pt x="18220" y="17176"/>
                    </a:lnTo>
                    <a:lnTo>
                      <a:pt x="18514" y="17176"/>
                    </a:lnTo>
                    <a:lnTo>
                      <a:pt x="18808" y="17436"/>
                    </a:lnTo>
                    <a:lnTo>
                      <a:pt x="18808" y="17696"/>
                    </a:lnTo>
                    <a:lnTo>
                      <a:pt x="18514" y="17696"/>
                    </a:lnTo>
                    <a:lnTo>
                      <a:pt x="18514" y="18347"/>
                    </a:lnTo>
                    <a:lnTo>
                      <a:pt x="18220" y="18347"/>
                    </a:lnTo>
                    <a:lnTo>
                      <a:pt x="18220" y="18087"/>
                    </a:lnTo>
                    <a:lnTo>
                      <a:pt x="18073" y="18087"/>
                    </a:lnTo>
                    <a:lnTo>
                      <a:pt x="18073" y="17957"/>
                    </a:lnTo>
                    <a:lnTo>
                      <a:pt x="17780" y="17957"/>
                    </a:lnTo>
                    <a:lnTo>
                      <a:pt x="17780" y="18347"/>
                    </a:lnTo>
                    <a:lnTo>
                      <a:pt x="17486" y="18347"/>
                    </a:lnTo>
                    <a:lnTo>
                      <a:pt x="17486" y="18607"/>
                    </a:lnTo>
                    <a:lnTo>
                      <a:pt x="17192" y="18607"/>
                    </a:lnTo>
                    <a:lnTo>
                      <a:pt x="17192" y="18867"/>
                    </a:lnTo>
                    <a:lnTo>
                      <a:pt x="16751" y="18867"/>
                    </a:lnTo>
                    <a:lnTo>
                      <a:pt x="16163" y="19258"/>
                    </a:lnTo>
                    <a:lnTo>
                      <a:pt x="16163" y="19518"/>
                    </a:lnTo>
                    <a:lnTo>
                      <a:pt x="16457" y="19518"/>
                    </a:lnTo>
                    <a:lnTo>
                      <a:pt x="16457" y="19778"/>
                    </a:lnTo>
                    <a:lnTo>
                      <a:pt x="16751" y="19778"/>
                    </a:lnTo>
                    <a:lnTo>
                      <a:pt x="16751" y="20169"/>
                    </a:lnTo>
                    <a:lnTo>
                      <a:pt x="17045" y="20169"/>
                    </a:lnTo>
                    <a:lnTo>
                      <a:pt x="17045" y="20429"/>
                    </a:lnTo>
                    <a:lnTo>
                      <a:pt x="16751" y="20429"/>
                    </a:lnTo>
                    <a:lnTo>
                      <a:pt x="16751" y="20689"/>
                    </a:lnTo>
                    <a:lnTo>
                      <a:pt x="17045" y="20689"/>
                    </a:lnTo>
                    <a:lnTo>
                      <a:pt x="17045" y="20819"/>
                    </a:lnTo>
                    <a:lnTo>
                      <a:pt x="16457" y="20819"/>
                    </a:lnTo>
                    <a:lnTo>
                      <a:pt x="16457" y="20689"/>
                    </a:lnTo>
                    <a:lnTo>
                      <a:pt x="16163" y="20689"/>
                    </a:lnTo>
                    <a:lnTo>
                      <a:pt x="16163" y="20429"/>
                    </a:lnTo>
                    <a:lnTo>
                      <a:pt x="15135" y="20429"/>
                    </a:lnTo>
                    <a:lnTo>
                      <a:pt x="15135" y="20169"/>
                    </a:lnTo>
                    <a:lnTo>
                      <a:pt x="14988" y="20169"/>
                    </a:lnTo>
                    <a:lnTo>
                      <a:pt x="14988" y="20429"/>
                    </a:lnTo>
                    <a:lnTo>
                      <a:pt x="14694" y="20429"/>
                    </a:lnTo>
                    <a:lnTo>
                      <a:pt x="14694" y="20689"/>
                    </a:lnTo>
                    <a:lnTo>
                      <a:pt x="14400" y="20689"/>
                    </a:lnTo>
                    <a:lnTo>
                      <a:pt x="14106" y="20429"/>
                    </a:lnTo>
                    <a:lnTo>
                      <a:pt x="13959" y="20429"/>
                    </a:lnTo>
                    <a:lnTo>
                      <a:pt x="13959" y="20689"/>
                    </a:lnTo>
                    <a:lnTo>
                      <a:pt x="13371" y="20689"/>
                    </a:lnTo>
                    <a:lnTo>
                      <a:pt x="12931" y="21080"/>
                    </a:lnTo>
                    <a:lnTo>
                      <a:pt x="12343" y="21080"/>
                    </a:lnTo>
                    <a:lnTo>
                      <a:pt x="12196" y="21340"/>
                    </a:lnTo>
                    <a:lnTo>
                      <a:pt x="12196" y="21080"/>
                    </a:lnTo>
                    <a:lnTo>
                      <a:pt x="11902" y="21080"/>
                    </a:lnTo>
                    <a:lnTo>
                      <a:pt x="11902" y="20689"/>
                    </a:lnTo>
                    <a:lnTo>
                      <a:pt x="11608" y="20819"/>
                    </a:lnTo>
                    <a:lnTo>
                      <a:pt x="11314" y="20689"/>
                    </a:lnTo>
                    <a:lnTo>
                      <a:pt x="10873" y="20689"/>
                    </a:lnTo>
                    <a:lnTo>
                      <a:pt x="10873" y="21080"/>
                    </a:lnTo>
                    <a:lnTo>
                      <a:pt x="10580" y="21080"/>
                    </a:lnTo>
                    <a:lnTo>
                      <a:pt x="10580" y="21340"/>
                    </a:lnTo>
                    <a:lnTo>
                      <a:pt x="10286" y="21340"/>
                    </a:lnTo>
                    <a:lnTo>
                      <a:pt x="10286" y="21600"/>
                    </a:lnTo>
                    <a:lnTo>
                      <a:pt x="10139" y="21600"/>
                    </a:lnTo>
                    <a:lnTo>
                      <a:pt x="10139" y="20819"/>
                    </a:lnTo>
                    <a:lnTo>
                      <a:pt x="9551" y="20819"/>
                    </a:lnTo>
                    <a:lnTo>
                      <a:pt x="9551" y="20689"/>
                    </a:lnTo>
                    <a:lnTo>
                      <a:pt x="9110" y="20689"/>
                    </a:lnTo>
                    <a:lnTo>
                      <a:pt x="9110" y="20819"/>
                    </a:lnTo>
                    <a:lnTo>
                      <a:pt x="8816" y="20819"/>
                    </a:lnTo>
                    <a:lnTo>
                      <a:pt x="8816" y="20689"/>
                    </a:lnTo>
                    <a:lnTo>
                      <a:pt x="8522" y="20689"/>
                    </a:lnTo>
                    <a:lnTo>
                      <a:pt x="8522" y="20429"/>
                    </a:lnTo>
                    <a:lnTo>
                      <a:pt x="8082" y="20429"/>
                    </a:lnTo>
                    <a:lnTo>
                      <a:pt x="8082" y="20169"/>
                    </a:lnTo>
                    <a:lnTo>
                      <a:pt x="7494" y="20169"/>
                    </a:lnTo>
                    <a:lnTo>
                      <a:pt x="7494" y="20429"/>
                    </a:lnTo>
                    <a:lnTo>
                      <a:pt x="6759" y="20429"/>
                    </a:lnTo>
                    <a:lnTo>
                      <a:pt x="6759" y="20169"/>
                    </a:lnTo>
                    <a:lnTo>
                      <a:pt x="6465" y="20169"/>
                    </a:lnTo>
                    <a:lnTo>
                      <a:pt x="6465" y="19908"/>
                    </a:lnTo>
                    <a:lnTo>
                      <a:pt x="6171" y="19908"/>
                    </a:lnTo>
                    <a:lnTo>
                      <a:pt x="6171" y="20169"/>
                    </a:lnTo>
                    <a:lnTo>
                      <a:pt x="6024" y="20169"/>
                    </a:lnTo>
                    <a:lnTo>
                      <a:pt x="6024" y="20429"/>
                    </a:lnTo>
                    <a:lnTo>
                      <a:pt x="6465" y="20429"/>
                    </a:lnTo>
                    <a:lnTo>
                      <a:pt x="6465" y="20689"/>
                    </a:lnTo>
                    <a:lnTo>
                      <a:pt x="3967" y="20689"/>
                    </a:lnTo>
                    <a:lnTo>
                      <a:pt x="3967" y="19258"/>
                    </a:lnTo>
                    <a:lnTo>
                      <a:pt x="4114" y="18998"/>
                    </a:lnTo>
                    <a:lnTo>
                      <a:pt x="4114" y="18867"/>
                    </a:lnTo>
                    <a:lnTo>
                      <a:pt x="4408" y="18607"/>
                    </a:lnTo>
                    <a:lnTo>
                      <a:pt x="4408" y="17957"/>
                    </a:lnTo>
                    <a:lnTo>
                      <a:pt x="4702" y="17957"/>
                    </a:lnTo>
                    <a:lnTo>
                      <a:pt x="4702" y="17696"/>
                    </a:lnTo>
                    <a:lnTo>
                      <a:pt x="4996" y="17696"/>
                    </a:lnTo>
                    <a:lnTo>
                      <a:pt x="4996" y="17436"/>
                    </a:lnTo>
                    <a:lnTo>
                      <a:pt x="5143" y="17436"/>
                    </a:lnTo>
                    <a:lnTo>
                      <a:pt x="5143" y="17176"/>
                    </a:lnTo>
                    <a:lnTo>
                      <a:pt x="5437" y="17046"/>
                    </a:lnTo>
                    <a:lnTo>
                      <a:pt x="5437" y="16786"/>
                    </a:lnTo>
                    <a:lnTo>
                      <a:pt x="4408" y="16786"/>
                    </a:lnTo>
                    <a:lnTo>
                      <a:pt x="4114" y="16525"/>
                    </a:lnTo>
                    <a:lnTo>
                      <a:pt x="3673" y="16525"/>
                    </a:lnTo>
                    <a:lnTo>
                      <a:pt x="3673" y="16265"/>
                    </a:lnTo>
                    <a:lnTo>
                      <a:pt x="3086" y="16265"/>
                    </a:lnTo>
                    <a:lnTo>
                      <a:pt x="3086" y="16525"/>
                    </a:lnTo>
                    <a:lnTo>
                      <a:pt x="2351" y="16525"/>
                    </a:lnTo>
                    <a:lnTo>
                      <a:pt x="2351" y="16135"/>
                    </a:lnTo>
                    <a:lnTo>
                      <a:pt x="2057" y="16135"/>
                    </a:lnTo>
                    <a:lnTo>
                      <a:pt x="2057" y="16265"/>
                    </a:lnTo>
                    <a:lnTo>
                      <a:pt x="1910" y="16265"/>
                    </a:lnTo>
                    <a:lnTo>
                      <a:pt x="1910" y="16135"/>
                    </a:lnTo>
                    <a:lnTo>
                      <a:pt x="1616" y="15875"/>
                    </a:lnTo>
                    <a:lnTo>
                      <a:pt x="1616" y="15614"/>
                    </a:lnTo>
                    <a:lnTo>
                      <a:pt x="1029" y="15614"/>
                    </a:lnTo>
                    <a:lnTo>
                      <a:pt x="1029" y="15224"/>
                    </a:lnTo>
                    <a:lnTo>
                      <a:pt x="1322" y="15224"/>
                    </a:lnTo>
                    <a:lnTo>
                      <a:pt x="1322" y="14704"/>
                    </a:lnTo>
                    <a:lnTo>
                      <a:pt x="1029" y="14704"/>
                    </a:lnTo>
                    <a:lnTo>
                      <a:pt x="1029" y="14443"/>
                    </a:lnTo>
                    <a:lnTo>
                      <a:pt x="882" y="14443"/>
                    </a:lnTo>
                    <a:lnTo>
                      <a:pt x="882" y="14313"/>
                    </a:lnTo>
                    <a:lnTo>
                      <a:pt x="588" y="14313"/>
                    </a:lnTo>
                    <a:lnTo>
                      <a:pt x="588" y="13533"/>
                    </a:lnTo>
                    <a:lnTo>
                      <a:pt x="882" y="13533"/>
                    </a:lnTo>
                    <a:lnTo>
                      <a:pt x="882" y="13402"/>
                    </a:lnTo>
                    <a:lnTo>
                      <a:pt x="1029" y="13402"/>
                    </a:lnTo>
                    <a:lnTo>
                      <a:pt x="1029" y="12882"/>
                    </a:lnTo>
                    <a:lnTo>
                      <a:pt x="882" y="12882"/>
                    </a:lnTo>
                    <a:lnTo>
                      <a:pt x="882" y="12492"/>
                    </a:lnTo>
                    <a:lnTo>
                      <a:pt x="588" y="12492"/>
                    </a:lnTo>
                    <a:lnTo>
                      <a:pt x="588" y="12231"/>
                    </a:lnTo>
                    <a:lnTo>
                      <a:pt x="294" y="12231"/>
                    </a:lnTo>
                    <a:lnTo>
                      <a:pt x="294" y="11581"/>
                    </a:lnTo>
                    <a:lnTo>
                      <a:pt x="0" y="11581"/>
                    </a:lnTo>
                    <a:lnTo>
                      <a:pt x="0" y="11320"/>
                    </a:lnTo>
                    <a:lnTo>
                      <a:pt x="294" y="11320"/>
                    </a:lnTo>
                    <a:lnTo>
                      <a:pt x="294" y="11060"/>
                    </a:lnTo>
                    <a:lnTo>
                      <a:pt x="588" y="11060"/>
                    </a:lnTo>
                    <a:lnTo>
                      <a:pt x="588" y="10410"/>
                    </a:lnTo>
                    <a:lnTo>
                      <a:pt x="882" y="10410"/>
                    </a:lnTo>
                    <a:lnTo>
                      <a:pt x="882" y="10019"/>
                    </a:lnTo>
                    <a:lnTo>
                      <a:pt x="294" y="9499"/>
                    </a:lnTo>
                    <a:lnTo>
                      <a:pt x="294" y="9108"/>
                    </a:lnTo>
                    <a:lnTo>
                      <a:pt x="1910" y="9108"/>
                    </a:lnTo>
                    <a:lnTo>
                      <a:pt x="1910" y="8848"/>
                    </a:lnTo>
                    <a:lnTo>
                      <a:pt x="2057" y="8848"/>
                    </a:lnTo>
                    <a:lnTo>
                      <a:pt x="2057" y="8588"/>
                    </a:lnTo>
                    <a:lnTo>
                      <a:pt x="1910" y="8588"/>
                    </a:lnTo>
                    <a:lnTo>
                      <a:pt x="1910" y="8328"/>
                    </a:lnTo>
                    <a:lnTo>
                      <a:pt x="2351" y="8328"/>
                    </a:lnTo>
                    <a:lnTo>
                      <a:pt x="2351" y="8198"/>
                    </a:lnTo>
                    <a:lnTo>
                      <a:pt x="2645" y="8198"/>
                    </a:lnTo>
                    <a:lnTo>
                      <a:pt x="2645" y="7937"/>
                    </a:lnTo>
                    <a:lnTo>
                      <a:pt x="2939" y="7937"/>
                    </a:lnTo>
                    <a:lnTo>
                      <a:pt x="2939" y="7677"/>
                    </a:lnTo>
                    <a:lnTo>
                      <a:pt x="2645" y="7677"/>
                    </a:lnTo>
                    <a:lnTo>
                      <a:pt x="2645" y="7417"/>
                    </a:lnTo>
                    <a:lnTo>
                      <a:pt x="2351" y="7417"/>
                    </a:lnTo>
                    <a:lnTo>
                      <a:pt x="2057" y="7287"/>
                    </a:lnTo>
                    <a:lnTo>
                      <a:pt x="1910" y="7287"/>
                    </a:lnTo>
                    <a:lnTo>
                      <a:pt x="2057" y="7027"/>
                    </a:lnTo>
                    <a:lnTo>
                      <a:pt x="1910" y="7027"/>
                    </a:lnTo>
                    <a:lnTo>
                      <a:pt x="1910" y="6766"/>
                    </a:lnTo>
                    <a:lnTo>
                      <a:pt x="2645" y="6766"/>
                    </a:lnTo>
                    <a:lnTo>
                      <a:pt x="2645" y="6506"/>
                    </a:lnTo>
                    <a:lnTo>
                      <a:pt x="2939" y="6506"/>
                    </a:lnTo>
                    <a:lnTo>
                      <a:pt x="2939" y="6116"/>
                    </a:lnTo>
                    <a:lnTo>
                      <a:pt x="3086" y="6116"/>
                    </a:lnTo>
                    <a:lnTo>
                      <a:pt x="3086" y="5595"/>
                    </a:lnTo>
                    <a:lnTo>
                      <a:pt x="2939" y="5465"/>
                    </a:lnTo>
                    <a:lnTo>
                      <a:pt x="3086" y="5205"/>
                    </a:lnTo>
                    <a:lnTo>
                      <a:pt x="3086" y="4945"/>
                    </a:lnTo>
                    <a:lnTo>
                      <a:pt x="2939" y="4945"/>
                    </a:lnTo>
                    <a:lnTo>
                      <a:pt x="2939" y="4684"/>
                    </a:lnTo>
                    <a:lnTo>
                      <a:pt x="2645" y="4684"/>
                    </a:lnTo>
                    <a:lnTo>
                      <a:pt x="2645" y="4294"/>
                    </a:lnTo>
                    <a:lnTo>
                      <a:pt x="2939" y="4294"/>
                    </a:lnTo>
                    <a:lnTo>
                      <a:pt x="2939" y="4034"/>
                    </a:lnTo>
                    <a:lnTo>
                      <a:pt x="3086" y="4034"/>
                    </a:lnTo>
                    <a:lnTo>
                      <a:pt x="3086" y="3773"/>
                    </a:lnTo>
                    <a:lnTo>
                      <a:pt x="4996" y="3773"/>
                    </a:lnTo>
                    <a:lnTo>
                      <a:pt x="4996" y="4034"/>
                    </a:lnTo>
                    <a:lnTo>
                      <a:pt x="6024" y="4034"/>
                    </a:lnTo>
                    <a:lnTo>
                      <a:pt x="6024" y="4294"/>
                    </a:lnTo>
                    <a:lnTo>
                      <a:pt x="6171" y="4294"/>
                    </a:lnTo>
                    <a:lnTo>
                      <a:pt x="6171" y="3383"/>
                    </a:lnTo>
                    <a:lnTo>
                      <a:pt x="7788" y="3383"/>
                    </a:lnTo>
                    <a:lnTo>
                      <a:pt x="7788" y="3123"/>
                    </a:lnTo>
                    <a:lnTo>
                      <a:pt x="7200" y="3123"/>
                    </a:lnTo>
                    <a:lnTo>
                      <a:pt x="7200" y="2863"/>
                    </a:lnTo>
                    <a:lnTo>
                      <a:pt x="7053" y="2863"/>
                    </a:lnTo>
                    <a:lnTo>
                      <a:pt x="7053" y="1952"/>
                    </a:lnTo>
                    <a:lnTo>
                      <a:pt x="6465" y="1952"/>
                    </a:lnTo>
                    <a:lnTo>
                      <a:pt x="6465" y="1822"/>
                    </a:lnTo>
                    <a:lnTo>
                      <a:pt x="7200" y="1822"/>
                    </a:lnTo>
                    <a:lnTo>
                      <a:pt x="7200" y="1301"/>
                    </a:lnTo>
                    <a:lnTo>
                      <a:pt x="7053" y="1301"/>
                    </a:lnTo>
                    <a:lnTo>
                      <a:pt x="7053" y="911"/>
                    </a:lnTo>
                    <a:lnTo>
                      <a:pt x="6759" y="911"/>
                    </a:lnTo>
                    <a:lnTo>
                      <a:pt x="6759" y="651"/>
                    </a:lnTo>
                    <a:lnTo>
                      <a:pt x="6465" y="390"/>
                    </a:lnTo>
                    <a:lnTo>
                      <a:pt x="6759" y="390"/>
                    </a:lnTo>
                    <a:lnTo>
                      <a:pt x="6759" y="260"/>
                    </a:lnTo>
                    <a:close/>
                    <a:moveTo>
                      <a:pt x="6024" y="0"/>
                    </a:moveTo>
                    <a:lnTo>
                      <a:pt x="6024" y="390"/>
                    </a:lnTo>
                    <a:lnTo>
                      <a:pt x="5731" y="390"/>
                    </a:lnTo>
                    <a:lnTo>
                      <a:pt x="5731" y="260"/>
                    </a:lnTo>
                    <a:lnTo>
                      <a:pt x="6024" y="0"/>
                    </a:lnTo>
                    <a:close/>
                    <a:moveTo>
                      <a:pt x="6024" y="0"/>
                    </a:moveTo>
                  </a:path>
                </a:pathLst>
              </a:custGeom>
              <a:solidFill>
                <a:srgbClr val="00BACF"/>
              </a:solidFill>
              <a:ln w="12700">
                <a:solidFill>
                  <a:srgbClr val="FFFFFF"/>
                </a:solidFill>
                <a:round/>
                <a:headEnd/>
                <a:tailEnd/>
              </a:ln>
            </p:spPr>
            <p:txBody>
              <a:bodyPr lIns="0" tIns="0" rIns="0" bIns="0"/>
              <a:lstStyle/>
              <a:p>
                <a:endParaRPr lang="en-US"/>
              </a:p>
            </p:txBody>
          </p:sp>
          <p:sp>
            <p:nvSpPr>
              <p:cNvPr id="142" name="Freeform 96"/>
              <p:cNvSpPr>
                <a:spLocks/>
              </p:cNvSpPr>
              <p:nvPr/>
            </p:nvSpPr>
            <p:spPr bwMode="auto">
              <a:xfrm>
                <a:off x="1721" y="3747"/>
                <a:ext cx="103" cy="19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600"/>
                  <a:gd name="T109" fmla="*/ 0 h 21600"/>
                  <a:gd name="T110" fmla="*/ 21600 w 21600"/>
                  <a:gd name="T111" fmla="*/ 21600 h 2160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600" h="21600">
                    <a:moveTo>
                      <a:pt x="16800" y="0"/>
                    </a:moveTo>
                    <a:lnTo>
                      <a:pt x="19200" y="1271"/>
                    </a:lnTo>
                    <a:lnTo>
                      <a:pt x="19200" y="5718"/>
                    </a:lnTo>
                    <a:lnTo>
                      <a:pt x="21600" y="6988"/>
                    </a:lnTo>
                    <a:lnTo>
                      <a:pt x="21600" y="10165"/>
                    </a:lnTo>
                    <a:lnTo>
                      <a:pt x="19200" y="10165"/>
                    </a:lnTo>
                    <a:lnTo>
                      <a:pt x="19200" y="12706"/>
                    </a:lnTo>
                    <a:lnTo>
                      <a:pt x="16800" y="13341"/>
                    </a:lnTo>
                    <a:lnTo>
                      <a:pt x="16800" y="15882"/>
                    </a:lnTo>
                    <a:lnTo>
                      <a:pt x="15600" y="17153"/>
                    </a:lnTo>
                    <a:lnTo>
                      <a:pt x="15600" y="20329"/>
                    </a:lnTo>
                    <a:lnTo>
                      <a:pt x="13200" y="21600"/>
                    </a:lnTo>
                    <a:lnTo>
                      <a:pt x="13200" y="20329"/>
                    </a:lnTo>
                    <a:lnTo>
                      <a:pt x="10800" y="20329"/>
                    </a:lnTo>
                    <a:lnTo>
                      <a:pt x="10800" y="19059"/>
                    </a:lnTo>
                    <a:lnTo>
                      <a:pt x="7200" y="19059"/>
                    </a:lnTo>
                    <a:lnTo>
                      <a:pt x="7200" y="17788"/>
                    </a:lnTo>
                    <a:lnTo>
                      <a:pt x="4800" y="17788"/>
                    </a:lnTo>
                    <a:lnTo>
                      <a:pt x="4800" y="15882"/>
                    </a:lnTo>
                    <a:lnTo>
                      <a:pt x="2400" y="15882"/>
                    </a:lnTo>
                    <a:lnTo>
                      <a:pt x="4800" y="14612"/>
                    </a:lnTo>
                    <a:lnTo>
                      <a:pt x="4800" y="13341"/>
                    </a:lnTo>
                    <a:lnTo>
                      <a:pt x="2400" y="13341"/>
                    </a:lnTo>
                    <a:lnTo>
                      <a:pt x="2400" y="10165"/>
                    </a:lnTo>
                    <a:lnTo>
                      <a:pt x="0" y="10165"/>
                    </a:lnTo>
                    <a:lnTo>
                      <a:pt x="0" y="8259"/>
                    </a:lnTo>
                    <a:lnTo>
                      <a:pt x="2400" y="6988"/>
                    </a:lnTo>
                    <a:lnTo>
                      <a:pt x="4800" y="6988"/>
                    </a:lnTo>
                    <a:lnTo>
                      <a:pt x="7200" y="5718"/>
                    </a:lnTo>
                    <a:lnTo>
                      <a:pt x="7200" y="4447"/>
                    </a:lnTo>
                    <a:lnTo>
                      <a:pt x="8400" y="4447"/>
                    </a:lnTo>
                    <a:lnTo>
                      <a:pt x="10800" y="3812"/>
                    </a:lnTo>
                    <a:lnTo>
                      <a:pt x="15600" y="3812"/>
                    </a:lnTo>
                    <a:lnTo>
                      <a:pt x="16800" y="2541"/>
                    </a:lnTo>
                    <a:lnTo>
                      <a:pt x="16800" y="0"/>
                    </a:lnTo>
                    <a:close/>
                    <a:moveTo>
                      <a:pt x="16800" y="0"/>
                    </a:moveTo>
                  </a:path>
                </a:pathLst>
              </a:custGeom>
              <a:solidFill>
                <a:srgbClr val="B2EAE7"/>
              </a:solidFill>
              <a:ln w="12700">
                <a:solidFill>
                  <a:srgbClr val="FFFFFF"/>
                </a:solidFill>
                <a:round/>
                <a:headEnd/>
                <a:tailEnd/>
              </a:ln>
            </p:spPr>
            <p:txBody>
              <a:bodyPr lIns="0" tIns="0" rIns="0" bIns="0"/>
              <a:lstStyle/>
              <a:p>
                <a:endParaRPr lang="en-US"/>
              </a:p>
            </p:txBody>
          </p:sp>
          <p:sp>
            <p:nvSpPr>
              <p:cNvPr id="143" name="AutoShape 97"/>
              <p:cNvSpPr>
                <a:spLocks/>
              </p:cNvSpPr>
              <p:nvPr/>
            </p:nvSpPr>
            <p:spPr bwMode="auto">
              <a:xfrm>
                <a:off x="509" y="2815"/>
                <a:ext cx="1182" cy="101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1600"/>
                  <a:gd name="T169" fmla="*/ 0 h 21600"/>
                  <a:gd name="T170" fmla="*/ 21600 w 21600"/>
                  <a:gd name="T171" fmla="*/ 21600 h 216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1600" h="21600">
                    <a:moveTo>
                      <a:pt x="5712" y="12742"/>
                    </a:moveTo>
                    <a:lnTo>
                      <a:pt x="5815" y="12742"/>
                    </a:lnTo>
                    <a:lnTo>
                      <a:pt x="5815" y="12984"/>
                    </a:lnTo>
                    <a:lnTo>
                      <a:pt x="5712" y="12984"/>
                    </a:lnTo>
                    <a:lnTo>
                      <a:pt x="5712" y="12742"/>
                    </a:lnTo>
                    <a:close/>
                    <a:moveTo>
                      <a:pt x="623" y="7038"/>
                    </a:moveTo>
                    <a:lnTo>
                      <a:pt x="623" y="7281"/>
                    </a:lnTo>
                    <a:lnTo>
                      <a:pt x="727" y="7281"/>
                    </a:lnTo>
                    <a:lnTo>
                      <a:pt x="727" y="7038"/>
                    </a:lnTo>
                    <a:lnTo>
                      <a:pt x="623" y="7038"/>
                    </a:lnTo>
                    <a:close/>
                    <a:moveTo>
                      <a:pt x="11838" y="0"/>
                    </a:moveTo>
                    <a:lnTo>
                      <a:pt x="12150" y="0"/>
                    </a:lnTo>
                    <a:lnTo>
                      <a:pt x="12358" y="243"/>
                    </a:lnTo>
                    <a:lnTo>
                      <a:pt x="12358" y="728"/>
                    </a:lnTo>
                    <a:lnTo>
                      <a:pt x="12565" y="728"/>
                    </a:lnTo>
                    <a:lnTo>
                      <a:pt x="12565" y="849"/>
                    </a:lnTo>
                    <a:lnTo>
                      <a:pt x="12773" y="849"/>
                    </a:lnTo>
                    <a:lnTo>
                      <a:pt x="12773" y="1092"/>
                    </a:lnTo>
                    <a:lnTo>
                      <a:pt x="12877" y="1092"/>
                    </a:lnTo>
                    <a:lnTo>
                      <a:pt x="12877" y="849"/>
                    </a:lnTo>
                    <a:lnTo>
                      <a:pt x="13292" y="849"/>
                    </a:lnTo>
                    <a:lnTo>
                      <a:pt x="13292" y="1092"/>
                    </a:lnTo>
                    <a:lnTo>
                      <a:pt x="13500" y="1092"/>
                    </a:lnTo>
                    <a:lnTo>
                      <a:pt x="13500" y="1578"/>
                    </a:lnTo>
                    <a:lnTo>
                      <a:pt x="13604" y="1699"/>
                    </a:lnTo>
                    <a:lnTo>
                      <a:pt x="13812" y="1699"/>
                    </a:lnTo>
                    <a:lnTo>
                      <a:pt x="13812" y="1578"/>
                    </a:lnTo>
                    <a:lnTo>
                      <a:pt x="14019" y="1578"/>
                    </a:lnTo>
                    <a:lnTo>
                      <a:pt x="14019" y="1942"/>
                    </a:lnTo>
                    <a:lnTo>
                      <a:pt x="14227" y="2184"/>
                    </a:lnTo>
                    <a:lnTo>
                      <a:pt x="14331" y="2184"/>
                    </a:lnTo>
                    <a:lnTo>
                      <a:pt x="14331" y="1942"/>
                    </a:lnTo>
                    <a:lnTo>
                      <a:pt x="14746" y="1942"/>
                    </a:lnTo>
                    <a:lnTo>
                      <a:pt x="14746" y="2184"/>
                    </a:lnTo>
                    <a:lnTo>
                      <a:pt x="14954" y="2184"/>
                    </a:lnTo>
                    <a:lnTo>
                      <a:pt x="14954" y="3034"/>
                    </a:lnTo>
                    <a:lnTo>
                      <a:pt x="15473" y="3034"/>
                    </a:lnTo>
                    <a:lnTo>
                      <a:pt x="15473" y="2791"/>
                    </a:lnTo>
                    <a:lnTo>
                      <a:pt x="15681" y="2791"/>
                    </a:lnTo>
                    <a:lnTo>
                      <a:pt x="15681" y="2548"/>
                    </a:lnTo>
                    <a:lnTo>
                      <a:pt x="15785" y="2548"/>
                    </a:lnTo>
                    <a:lnTo>
                      <a:pt x="15785" y="2306"/>
                    </a:lnTo>
                    <a:lnTo>
                      <a:pt x="15992" y="2306"/>
                    </a:lnTo>
                    <a:lnTo>
                      <a:pt x="15992" y="2548"/>
                    </a:lnTo>
                    <a:lnTo>
                      <a:pt x="15785" y="2791"/>
                    </a:lnTo>
                    <a:lnTo>
                      <a:pt x="15785" y="3034"/>
                    </a:lnTo>
                    <a:lnTo>
                      <a:pt x="15992" y="3034"/>
                    </a:lnTo>
                    <a:lnTo>
                      <a:pt x="15992" y="3398"/>
                    </a:lnTo>
                    <a:lnTo>
                      <a:pt x="16512" y="3398"/>
                    </a:lnTo>
                    <a:lnTo>
                      <a:pt x="16512" y="3640"/>
                    </a:lnTo>
                    <a:lnTo>
                      <a:pt x="16719" y="3640"/>
                    </a:lnTo>
                    <a:lnTo>
                      <a:pt x="16719" y="3883"/>
                    </a:lnTo>
                    <a:lnTo>
                      <a:pt x="16927" y="3883"/>
                    </a:lnTo>
                    <a:lnTo>
                      <a:pt x="16927" y="4004"/>
                    </a:lnTo>
                    <a:lnTo>
                      <a:pt x="18485" y="4004"/>
                    </a:lnTo>
                    <a:lnTo>
                      <a:pt x="18485" y="4247"/>
                    </a:lnTo>
                    <a:lnTo>
                      <a:pt x="18900" y="4247"/>
                    </a:lnTo>
                    <a:lnTo>
                      <a:pt x="18900" y="4733"/>
                    </a:lnTo>
                    <a:lnTo>
                      <a:pt x="19108" y="4733"/>
                    </a:lnTo>
                    <a:lnTo>
                      <a:pt x="19108" y="4854"/>
                    </a:lnTo>
                    <a:lnTo>
                      <a:pt x="19419" y="4854"/>
                    </a:lnTo>
                    <a:lnTo>
                      <a:pt x="19419" y="5097"/>
                    </a:lnTo>
                    <a:lnTo>
                      <a:pt x="19938" y="5097"/>
                    </a:lnTo>
                    <a:lnTo>
                      <a:pt x="20146" y="4854"/>
                    </a:lnTo>
                    <a:lnTo>
                      <a:pt x="20354" y="4854"/>
                    </a:lnTo>
                    <a:lnTo>
                      <a:pt x="20354" y="5097"/>
                    </a:lnTo>
                    <a:lnTo>
                      <a:pt x="20562" y="5097"/>
                    </a:lnTo>
                    <a:lnTo>
                      <a:pt x="20562" y="5339"/>
                    </a:lnTo>
                    <a:lnTo>
                      <a:pt x="21288" y="5339"/>
                    </a:lnTo>
                    <a:lnTo>
                      <a:pt x="21288" y="5582"/>
                    </a:lnTo>
                    <a:lnTo>
                      <a:pt x="21600" y="5582"/>
                    </a:lnTo>
                    <a:lnTo>
                      <a:pt x="21392" y="5703"/>
                    </a:lnTo>
                    <a:lnTo>
                      <a:pt x="21392" y="5946"/>
                    </a:lnTo>
                    <a:lnTo>
                      <a:pt x="21288" y="5946"/>
                    </a:lnTo>
                    <a:lnTo>
                      <a:pt x="21288" y="6189"/>
                    </a:lnTo>
                    <a:lnTo>
                      <a:pt x="21081" y="6189"/>
                    </a:lnTo>
                    <a:lnTo>
                      <a:pt x="21081" y="6431"/>
                    </a:lnTo>
                    <a:lnTo>
                      <a:pt x="20873" y="6431"/>
                    </a:lnTo>
                    <a:lnTo>
                      <a:pt x="20873" y="6553"/>
                    </a:lnTo>
                    <a:lnTo>
                      <a:pt x="20665" y="7038"/>
                    </a:lnTo>
                    <a:lnTo>
                      <a:pt x="20665" y="7402"/>
                    </a:lnTo>
                    <a:lnTo>
                      <a:pt x="20562" y="7402"/>
                    </a:lnTo>
                    <a:lnTo>
                      <a:pt x="20562" y="8494"/>
                    </a:lnTo>
                    <a:lnTo>
                      <a:pt x="20354" y="8494"/>
                    </a:lnTo>
                    <a:lnTo>
                      <a:pt x="20562" y="8737"/>
                    </a:lnTo>
                    <a:lnTo>
                      <a:pt x="20562" y="8980"/>
                    </a:lnTo>
                    <a:lnTo>
                      <a:pt x="20146" y="9344"/>
                    </a:lnTo>
                    <a:lnTo>
                      <a:pt x="19938" y="9344"/>
                    </a:lnTo>
                    <a:lnTo>
                      <a:pt x="19835" y="9101"/>
                    </a:lnTo>
                    <a:lnTo>
                      <a:pt x="19419" y="9101"/>
                    </a:lnTo>
                    <a:lnTo>
                      <a:pt x="19419" y="9344"/>
                    </a:lnTo>
                    <a:lnTo>
                      <a:pt x="19627" y="9344"/>
                    </a:lnTo>
                    <a:lnTo>
                      <a:pt x="19627" y="9587"/>
                    </a:lnTo>
                    <a:lnTo>
                      <a:pt x="19419" y="9587"/>
                    </a:lnTo>
                    <a:lnTo>
                      <a:pt x="19419" y="9829"/>
                    </a:lnTo>
                    <a:lnTo>
                      <a:pt x="19212" y="9951"/>
                    </a:lnTo>
                    <a:lnTo>
                      <a:pt x="19108" y="9951"/>
                    </a:lnTo>
                    <a:lnTo>
                      <a:pt x="19108" y="10193"/>
                    </a:lnTo>
                    <a:lnTo>
                      <a:pt x="18900" y="10193"/>
                    </a:lnTo>
                    <a:lnTo>
                      <a:pt x="18900" y="10436"/>
                    </a:lnTo>
                    <a:lnTo>
                      <a:pt x="18692" y="10436"/>
                    </a:lnTo>
                    <a:lnTo>
                      <a:pt x="18692" y="10800"/>
                    </a:lnTo>
                    <a:lnTo>
                      <a:pt x="18485" y="10800"/>
                    </a:lnTo>
                    <a:lnTo>
                      <a:pt x="18485" y="11043"/>
                    </a:lnTo>
                    <a:lnTo>
                      <a:pt x="18381" y="11043"/>
                    </a:lnTo>
                    <a:lnTo>
                      <a:pt x="18381" y="11285"/>
                    </a:lnTo>
                    <a:lnTo>
                      <a:pt x="18173" y="11285"/>
                    </a:lnTo>
                    <a:lnTo>
                      <a:pt x="18173" y="11528"/>
                    </a:lnTo>
                    <a:lnTo>
                      <a:pt x="17965" y="11528"/>
                    </a:lnTo>
                    <a:lnTo>
                      <a:pt x="17965" y="12135"/>
                    </a:lnTo>
                    <a:lnTo>
                      <a:pt x="17758" y="12135"/>
                    </a:lnTo>
                    <a:lnTo>
                      <a:pt x="17758" y="12499"/>
                    </a:lnTo>
                    <a:lnTo>
                      <a:pt x="17965" y="12499"/>
                    </a:lnTo>
                    <a:lnTo>
                      <a:pt x="17965" y="12378"/>
                    </a:lnTo>
                    <a:lnTo>
                      <a:pt x="18173" y="12378"/>
                    </a:lnTo>
                    <a:lnTo>
                      <a:pt x="18173" y="12135"/>
                    </a:lnTo>
                    <a:lnTo>
                      <a:pt x="18381" y="12135"/>
                    </a:lnTo>
                    <a:lnTo>
                      <a:pt x="18381" y="11649"/>
                    </a:lnTo>
                    <a:lnTo>
                      <a:pt x="19212" y="11649"/>
                    </a:lnTo>
                    <a:lnTo>
                      <a:pt x="19212" y="12135"/>
                    </a:lnTo>
                    <a:lnTo>
                      <a:pt x="19419" y="12135"/>
                    </a:lnTo>
                    <a:lnTo>
                      <a:pt x="19419" y="12378"/>
                    </a:lnTo>
                    <a:lnTo>
                      <a:pt x="19212" y="12378"/>
                    </a:lnTo>
                    <a:lnTo>
                      <a:pt x="19212" y="12499"/>
                    </a:lnTo>
                    <a:lnTo>
                      <a:pt x="19419" y="12499"/>
                    </a:lnTo>
                    <a:lnTo>
                      <a:pt x="19419" y="12742"/>
                    </a:lnTo>
                    <a:lnTo>
                      <a:pt x="19627" y="12742"/>
                    </a:lnTo>
                    <a:lnTo>
                      <a:pt x="19627" y="12984"/>
                    </a:lnTo>
                    <a:lnTo>
                      <a:pt x="19419" y="12984"/>
                    </a:lnTo>
                    <a:lnTo>
                      <a:pt x="19419" y="13227"/>
                    </a:lnTo>
                    <a:lnTo>
                      <a:pt x="19212" y="13227"/>
                    </a:lnTo>
                    <a:lnTo>
                      <a:pt x="19212" y="13591"/>
                    </a:lnTo>
                    <a:lnTo>
                      <a:pt x="19419" y="13591"/>
                    </a:lnTo>
                    <a:lnTo>
                      <a:pt x="19627" y="13834"/>
                    </a:lnTo>
                    <a:lnTo>
                      <a:pt x="19627" y="13955"/>
                    </a:lnTo>
                    <a:lnTo>
                      <a:pt x="19835" y="13955"/>
                    </a:lnTo>
                    <a:lnTo>
                      <a:pt x="19938" y="14198"/>
                    </a:lnTo>
                    <a:lnTo>
                      <a:pt x="19938" y="14440"/>
                    </a:lnTo>
                    <a:lnTo>
                      <a:pt x="19835" y="14440"/>
                    </a:lnTo>
                    <a:lnTo>
                      <a:pt x="19835" y="14683"/>
                    </a:lnTo>
                    <a:lnTo>
                      <a:pt x="19419" y="14683"/>
                    </a:lnTo>
                    <a:lnTo>
                      <a:pt x="19212" y="14804"/>
                    </a:lnTo>
                    <a:lnTo>
                      <a:pt x="18900" y="14804"/>
                    </a:lnTo>
                    <a:lnTo>
                      <a:pt x="18900" y="15047"/>
                    </a:lnTo>
                    <a:lnTo>
                      <a:pt x="19108" y="15047"/>
                    </a:lnTo>
                    <a:lnTo>
                      <a:pt x="19108" y="15290"/>
                    </a:lnTo>
                    <a:lnTo>
                      <a:pt x="19212" y="15533"/>
                    </a:lnTo>
                    <a:lnTo>
                      <a:pt x="19627" y="15533"/>
                    </a:lnTo>
                    <a:lnTo>
                      <a:pt x="19627" y="15897"/>
                    </a:lnTo>
                    <a:lnTo>
                      <a:pt x="19419" y="15897"/>
                    </a:lnTo>
                    <a:lnTo>
                      <a:pt x="19419" y="16746"/>
                    </a:lnTo>
                    <a:lnTo>
                      <a:pt x="19835" y="16746"/>
                    </a:lnTo>
                    <a:lnTo>
                      <a:pt x="19938" y="16989"/>
                    </a:lnTo>
                    <a:lnTo>
                      <a:pt x="19938" y="17231"/>
                    </a:lnTo>
                    <a:lnTo>
                      <a:pt x="20665" y="17231"/>
                    </a:lnTo>
                    <a:lnTo>
                      <a:pt x="20665" y="17353"/>
                    </a:lnTo>
                    <a:lnTo>
                      <a:pt x="20873" y="17353"/>
                    </a:lnTo>
                    <a:lnTo>
                      <a:pt x="20873" y="17596"/>
                    </a:lnTo>
                    <a:lnTo>
                      <a:pt x="20665" y="17596"/>
                    </a:lnTo>
                    <a:lnTo>
                      <a:pt x="20562" y="17838"/>
                    </a:lnTo>
                    <a:lnTo>
                      <a:pt x="20562" y="18202"/>
                    </a:lnTo>
                    <a:lnTo>
                      <a:pt x="20354" y="18202"/>
                    </a:lnTo>
                    <a:lnTo>
                      <a:pt x="20354" y="18081"/>
                    </a:lnTo>
                    <a:lnTo>
                      <a:pt x="20146" y="18202"/>
                    </a:lnTo>
                    <a:lnTo>
                      <a:pt x="20146" y="18445"/>
                    </a:lnTo>
                    <a:lnTo>
                      <a:pt x="19938" y="18445"/>
                    </a:lnTo>
                    <a:lnTo>
                      <a:pt x="19938" y="18688"/>
                    </a:lnTo>
                    <a:lnTo>
                      <a:pt x="19627" y="18688"/>
                    </a:lnTo>
                    <a:lnTo>
                      <a:pt x="19627" y="18930"/>
                    </a:lnTo>
                    <a:lnTo>
                      <a:pt x="19212" y="18930"/>
                    </a:lnTo>
                    <a:lnTo>
                      <a:pt x="19212" y="19052"/>
                    </a:lnTo>
                    <a:lnTo>
                      <a:pt x="19108" y="19052"/>
                    </a:lnTo>
                    <a:lnTo>
                      <a:pt x="19108" y="19294"/>
                    </a:lnTo>
                    <a:lnTo>
                      <a:pt x="18900" y="19537"/>
                    </a:lnTo>
                    <a:lnTo>
                      <a:pt x="18692" y="19537"/>
                    </a:lnTo>
                    <a:lnTo>
                      <a:pt x="18692" y="19780"/>
                    </a:lnTo>
                    <a:lnTo>
                      <a:pt x="18485" y="19780"/>
                    </a:lnTo>
                    <a:lnTo>
                      <a:pt x="18485" y="19901"/>
                    </a:lnTo>
                    <a:lnTo>
                      <a:pt x="18173" y="19901"/>
                    </a:lnTo>
                    <a:lnTo>
                      <a:pt x="18173" y="19780"/>
                    </a:lnTo>
                    <a:lnTo>
                      <a:pt x="17446" y="19780"/>
                    </a:lnTo>
                    <a:lnTo>
                      <a:pt x="17446" y="19537"/>
                    </a:lnTo>
                    <a:lnTo>
                      <a:pt x="16719" y="19537"/>
                    </a:lnTo>
                    <a:lnTo>
                      <a:pt x="16927" y="19294"/>
                    </a:lnTo>
                    <a:lnTo>
                      <a:pt x="16927" y="19052"/>
                    </a:lnTo>
                    <a:lnTo>
                      <a:pt x="16200" y="19052"/>
                    </a:lnTo>
                    <a:lnTo>
                      <a:pt x="15992" y="18930"/>
                    </a:lnTo>
                    <a:lnTo>
                      <a:pt x="15058" y="18930"/>
                    </a:lnTo>
                    <a:lnTo>
                      <a:pt x="14954" y="18688"/>
                    </a:lnTo>
                    <a:lnTo>
                      <a:pt x="14746" y="18688"/>
                    </a:lnTo>
                    <a:lnTo>
                      <a:pt x="14331" y="18930"/>
                    </a:lnTo>
                    <a:lnTo>
                      <a:pt x="14227" y="19052"/>
                    </a:lnTo>
                    <a:lnTo>
                      <a:pt x="14019" y="19052"/>
                    </a:lnTo>
                    <a:lnTo>
                      <a:pt x="13812" y="19294"/>
                    </a:lnTo>
                    <a:lnTo>
                      <a:pt x="13604" y="19294"/>
                    </a:lnTo>
                    <a:lnTo>
                      <a:pt x="13604" y="19537"/>
                    </a:lnTo>
                    <a:lnTo>
                      <a:pt x="13500" y="19537"/>
                    </a:lnTo>
                    <a:lnTo>
                      <a:pt x="13292" y="19780"/>
                    </a:lnTo>
                    <a:lnTo>
                      <a:pt x="13292" y="19901"/>
                    </a:lnTo>
                    <a:lnTo>
                      <a:pt x="13085" y="19901"/>
                    </a:lnTo>
                    <a:lnTo>
                      <a:pt x="12877" y="20144"/>
                    </a:lnTo>
                    <a:lnTo>
                      <a:pt x="12877" y="20387"/>
                    </a:lnTo>
                    <a:lnTo>
                      <a:pt x="13085" y="20387"/>
                    </a:lnTo>
                    <a:lnTo>
                      <a:pt x="13085" y="20993"/>
                    </a:lnTo>
                    <a:lnTo>
                      <a:pt x="13292" y="20993"/>
                    </a:lnTo>
                    <a:lnTo>
                      <a:pt x="13292" y="21479"/>
                    </a:lnTo>
                    <a:lnTo>
                      <a:pt x="13085" y="21479"/>
                    </a:lnTo>
                    <a:lnTo>
                      <a:pt x="13085" y="21236"/>
                    </a:lnTo>
                    <a:lnTo>
                      <a:pt x="12877" y="21236"/>
                    </a:lnTo>
                    <a:lnTo>
                      <a:pt x="12773" y="21479"/>
                    </a:lnTo>
                    <a:lnTo>
                      <a:pt x="12150" y="21479"/>
                    </a:lnTo>
                    <a:lnTo>
                      <a:pt x="12150" y="21600"/>
                    </a:lnTo>
                    <a:lnTo>
                      <a:pt x="12046" y="21600"/>
                    </a:lnTo>
                    <a:lnTo>
                      <a:pt x="12046" y="21479"/>
                    </a:lnTo>
                    <a:lnTo>
                      <a:pt x="11112" y="21479"/>
                    </a:lnTo>
                    <a:lnTo>
                      <a:pt x="11112" y="21236"/>
                    </a:lnTo>
                    <a:lnTo>
                      <a:pt x="10904" y="21236"/>
                    </a:lnTo>
                    <a:lnTo>
                      <a:pt x="10904" y="20993"/>
                    </a:lnTo>
                    <a:lnTo>
                      <a:pt x="10592" y="20993"/>
                    </a:lnTo>
                    <a:lnTo>
                      <a:pt x="10592" y="20751"/>
                    </a:lnTo>
                    <a:lnTo>
                      <a:pt x="10385" y="20751"/>
                    </a:lnTo>
                    <a:lnTo>
                      <a:pt x="10385" y="20993"/>
                    </a:lnTo>
                    <a:lnTo>
                      <a:pt x="10177" y="20751"/>
                    </a:lnTo>
                    <a:lnTo>
                      <a:pt x="9865" y="20751"/>
                    </a:lnTo>
                    <a:lnTo>
                      <a:pt x="9865" y="20629"/>
                    </a:lnTo>
                    <a:lnTo>
                      <a:pt x="9450" y="20629"/>
                    </a:lnTo>
                    <a:lnTo>
                      <a:pt x="9450" y="20387"/>
                    </a:lnTo>
                    <a:lnTo>
                      <a:pt x="9242" y="20387"/>
                    </a:lnTo>
                    <a:lnTo>
                      <a:pt x="9242" y="20144"/>
                    </a:lnTo>
                    <a:lnTo>
                      <a:pt x="9138" y="20144"/>
                    </a:lnTo>
                    <a:lnTo>
                      <a:pt x="9138" y="20751"/>
                    </a:lnTo>
                    <a:lnTo>
                      <a:pt x="8723" y="20751"/>
                    </a:lnTo>
                    <a:lnTo>
                      <a:pt x="8723" y="20629"/>
                    </a:lnTo>
                    <a:lnTo>
                      <a:pt x="8515" y="20629"/>
                    </a:lnTo>
                    <a:lnTo>
                      <a:pt x="8515" y="20751"/>
                    </a:lnTo>
                    <a:lnTo>
                      <a:pt x="7788" y="20751"/>
                    </a:lnTo>
                    <a:lnTo>
                      <a:pt x="7685" y="20629"/>
                    </a:lnTo>
                    <a:lnTo>
                      <a:pt x="7685" y="20387"/>
                    </a:lnTo>
                    <a:lnTo>
                      <a:pt x="7269" y="20387"/>
                    </a:lnTo>
                    <a:lnTo>
                      <a:pt x="7269" y="20629"/>
                    </a:lnTo>
                    <a:lnTo>
                      <a:pt x="7165" y="20629"/>
                    </a:lnTo>
                    <a:lnTo>
                      <a:pt x="7165" y="20387"/>
                    </a:lnTo>
                    <a:lnTo>
                      <a:pt x="6958" y="20387"/>
                    </a:lnTo>
                    <a:lnTo>
                      <a:pt x="6750" y="20144"/>
                    </a:lnTo>
                    <a:lnTo>
                      <a:pt x="6231" y="20144"/>
                    </a:lnTo>
                    <a:lnTo>
                      <a:pt x="6023" y="19901"/>
                    </a:lnTo>
                    <a:lnTo>
                      <a:pt x="5815" y="19901"/>
                    </a:lnTo>
                    <a:lnTo>
                      <a:pt x="5815" y="19780"/>
                    </a:lnTo>
                    <a:lnTo>
                      <a:pt x="5712" y="19780"/>
                    </a:lnTo>
                    <a:lnTo>
                      <a:pt x="5712" y="19294"/>
                    </a:lnTo>
                    <a:lnTo>
                      <a:pt x="5504" y="19294"/>
                    </a:lnTo>
                    <a:lnTo>
                      <a:pt x="5504" y="19537"/>
                    </a:lnTo>
                    <a:lnTo>
                      <a:pt x="5296" y="19537"/>
                    </a:lnTo>
                    <a:lnTo>
                      <a:pt x="5296" y="19294"/>
                    </a:lnTo>
                    <a:lnTo>
                      <a:pt x="5088" y="19294"/>
                    </a:lnTo>
                    <a:lnTo>
                      <a:pt x="5088" y="18930"/>
                    </a:lnTo>
                    <a:lnTo>
                      <a:pt x="5296" y="18930"/>
                    </a:lnTo>
                    <a:lnTo>
                      <a:pt x="5296" y="18688"/>
                    </a:lnTo>
                    <a:lnTo>
                      <a:pt x="5712" y="18202"/>
                    </a:lnTo>
                    <a:lnTo>
                      <a:pt x="5712" y="17231"/>
                    </a:lnTo>
                    <a:lnTo>
                      <a:pt x="5815" y="17231"/>
                    </a:lnTo>
                    <a:lnTo>
                      <a:pt x="5815" y="16382"/>
                    </a:lnTo>
                    <a:lnTo>
                      <a:pt x="6023" y="16139"/>
                    </a:lnTo>
                    <a:lnTo>
                      <a:pt x="6231" y="16139"/>
                    </a:lnTo>
                    <a:lnTo>
                      <a:pt x="6231" y="15654"/>
                    </a:lnTo>
                    <a:lnTo>
                      <a:pt x="6023" y="15654"/>
                    </a:lnTo>
                    <a:lnTo>
                      <a:pt x="6023" y="13591"/>
                    </a:lnTo>
                    <a:lnTo>
                      <a:pt x="5815" y="13591"/>
                    </a:lnTo>
                    <a:lnTo>
                      <a:pt x="5815" y="12984"/>
                    </a:lnTo>
                    <a:lnTo>
                      <a:pt x="6023" y="12984"/>
                    </a:lnTo>
                    <a:lnTo>
                      <a:pt x="6023" y="12135"/>
                    </a:lnTo>
                    <a:lnTo>
                      <a:pt x="5815" y="12135"/>
                    </a:lnTo>
                    <a:lnTo>
                      <a:pt x="5815" y="11892"/>
                    </a:lnTo>
                    <a:lnTo>
                      <a:pt x="5296" y="11892"/>
                    </a:lnTo>
                    <a:lnTo>
                      <a:pt x="5296" y="11649"/>
                    </a:lnTo>
                    <a:lnTo>
                      <a:pt x="4985" y="11649"/>
                    </a:lnTo>
                    <a:lnTo>
                      <a:pt x="4985" y="11528"/>
                    </a:lnTo>
                    <a:lnTo>
                      <a:pt x="4777" y="11285"/>
                    </a:lnTo>
                    <a:lnTo>
                      <a:pt x="4777" y="11043"/>
                    </a:lnTo>
                    <a:lnTo>
                      <a:pt x="4569" y="11043"/>
                    </a:lnTo>
                    <a:lnTo>
                      <a:pt x="4569" y="10800"/>
                    </a:lnTo>
                    <a:lnTo>
                      <a:pt x="4362" y="10800"/>
                    </a:lnTo>
                    <a:lnTo>
                      <a:pt x="4362" y="10679"/>
                    </a:lnTo>
                    <a:lnTo>
                      <a:pt x="4569" y="10436"/>
                    </a:lnTo>
                    <a:lnTo>
                      <a:pt x="4569" y="10193"/>
                    </a:lnTo>
                    <a:lnTo>
                      <a:pt x="4362" y="10193"/>
                    </a:lnTo>
                    <a:lnTo>
                      <a:pt x="4362" y="9951"/>
                    </a:lnTo>
                    <a:lnTo>
                      <a:pt x="4258" y="9951"/>
                    </a:lnTo>
                    <a:lnTo>
                      <a:pt x="4258" y="9829"/>
                    </a:lnTo>
                    <a:lnTo>
                      <a:pt x="4050" y="9587"/>
                    </a:lnTo>
                    <a:lnTo>
                      <a:pt x="3842" y="9587"/>
                    </a:lnTo>
                    <a:lnTo>
                      <a:pt x="3842" y="9344"/>
                    </a:lnTo>
                    <a:lnTo>
                      <a:pt x="3635" y="9344"/>
                    </a:lnTo>
                    <a:lnTo>
                      <a:pt x="3635" y="9101"/>
                    </a:lnTo>
                    <a:lnTo>
                      <a:pt x="3531" y="9101"/>
                    </a:lnTo>
                    <a:lnTo>
                      <a:pt x="3531" y="8980"/>
                    </a:lnTo>
                    <a:lnTo>
                      <a:pt x="2804" y="8980"/>
                    </a:lnTo>
                    <a:lnTo>
                      <a:pt x="2804" y="9101"/>
                    </a:lnTo>
                    <a:lnTo>
                      <a:pt x="2388" y="8737"/>
                    </a:lnTo>
                    <a:lnTo>
                      <a:pt x="2181" y="8737"/>
                    </a:lnTo>
                    <a:lnTo>
                      <a:pt x="2181" y="8494"/>
                    </a:lnTo>
                    <a:lnTo>
                      <a:pt x="2077" y="8494"/>
                    </a:lnTo>
                    <a:lnTo>
                      <a:pt x="2077" y="8252"/>
                    </a:lnTo>
                    <a:lnTo>
                      <a:pt x="1662" y="8252"/>
                    </a:lnTo>
                    <a:lnTo>
                      <a:pt x="1662" y="8130"/>
                    </a:lnTo>
                    <a:lnTo>
                      <a:pt x="935" y="8130"/>
                    </a:lnTo>
                    <a:lnTo>
                      <a:pt x="935" y="8252"/>
                    </a:lnTo>
                    <a:lnTo>
                      <a:pt x="623" y="8252"/>
                    </a:lnTo>
                    <a:lnTo>
                      <a:pt x="623" y="8130"/>
                    </a:lnTo>
                    <a:lnTo>
                      <a:pt x="208" y="8130"/>
                    </a:lnTo>
                    <a:lnTo>
                      <a:pt x="208" y="7888"/>
                    </a:lnTo>
                    <a:lnTo>
                      <a:pt x="0" y="7888"/>
                    </a:lnTo>
                    <a:lnTo>
                      <a:pt x="0" y="7645"/>
                    </a:lnTo>
                    <a:lnTo>
                      <a:pt x="727" y="7645"/>
                    </a:lnTo>
                    <a:lnTo>
                      <a:pt x="727" y="7402"/>
                    </a:lnTo>
                    <a:lnTo>
                      <a:pt x="415" y="7402"/>
                    </a:lnTo>
                    <a:lnTo>
                      <a:pt x="415" y="7281"/>
                    </a:lnTo>
                    <a:lnTo>
                      <a:pt x="208" y="7281"/>
                    </a:lnTo>
                    <a:lnTo>
                      <a:pt x="415" y="7038"/>
                    </a:lnTo>
                    <a:lnTo>
                      <a:pt x="0" y="7038"/>
                    </a:lnTo>
                    <a:lnTo>
                      <a:pt x="0" y="6553"/>
                    </a:lnTo>
                    <a:lnTo>
                      <a:pt x="623" y="6553"/>
                    </a:lnTo>
                    <a:lnTo>
                      <a:pt x="727" y="6431"/>
                    </a:lnTo>
                    <a:lnTo>
                      <a:pt x="935" y="6431"/>
                    </a:lnTo>
                    <a:lnTo>
                      <a:pt x="1350" y="6189"/>
                    </a:lnTo>
                    <a:lnTo>
                      <a:pt x="2077" y="6189"/>
                    </a:lnTo>
                    <a:lnTo>
                      <a:pt x="2077" y="5946"/>
                    </a:lnTo>
                    <a:lnTo>
                      <a:pt x="2596" y="5946"/>
                    </a:lnTo>
                    <a:lnTo>
                      <a:pt x="2596" y="5703"/>
                    </a:lnTo>
                    <a:lnTo>
                      <a:pt x="2908" y="5703"/>
                    </a:lnTo>
                    <a:lnTo>
                      <a:pt x="2908" y="5946"/>
                    </a:lnTo>
                    <a:lnTo>
                      <a:pt x="3115" y="5946"/>
                    </a:lnTo>
                    <a:lnTo>
                      <a:pt x="3115" y="6189"/>
                    </a:lnTo>
                    <a:lnTo>
                      <a:pt x="3323" y="6189"/>
                    </a:lnTo>
                    <a:lnTo>
                      <a:pt x="3323" y="6431"/>
                    </a:lnTo>
                    <a:lnTo>
                      <a:pt x="3531" y="6431"/>
                    </a:lnTo>
                    <a:lnTo>
                      <a:pt x="3531" y="6553"/>
                    </a:lnTo>
                    <a:lnTo>
                      <a:pt x="3842" y="6553"/>
                    </a:lnTo>
                    <a:lnTo>
                      <a:pt x="3842" y="6431"/>
                    </a:lnTo>
                    <a:lnTo>
                      <a:pt x="4777" y="6431"/>
                    </a:lnTo>
                    <a:lnTo>
                      <a:pt x="4777" y="6189"/>
                    </a:lnTo>
                    <a:lnTo>
                      <a:pt x="5712" y="6189"/>
                    </a:lnTo>
                    <a:lnTo>
                      <a:pt x="5504" y="5946"/>
                    </a:lnTo>
                    <a:lnTo>
                      <a:pt x="5504" y="4854"/>
                    </a:lnTo>
                    <a:lnTo>
                      <a:pt x="5296" y="4854"/>
                    </a:lnTo>
                    <a:lnTo>
                      <a:pt x="5296" y="4733"/>
                    </a:lnTo>
                    <a:lnTo>
                      <a:pt x="5088" y="4490"/>
                    </a:lnTo>
                    <a:lnTo>
                      <a:pt x="5088" y="4247"/>
                    </a:lnTo>
                    <a:lnTo>
                      <a:pt x="4985" y="4247"/>
                    </a:lnTo>
                    <a:lnTo>
                      <a:pt x="4985" y="3883"/>
                    </a:lnTo>
                    <a:lnTo>
                      <a:pt x="4777" y="3883"/>
                    </a:lnTo>
                    <a:lnTo>
                      <a:pt x="4777" y="3640"/>
                    </a:lnTo>
                    <a:lnTo>
                      <a:pt x="5296" y="3640"/>
                    </a:lnTo>
                    <a:lnTo>
                      <a:pt x="5296" y="3883"/>
                    </a:lnTo>
                    <a:lnTo>
                      <a:pt x="5504" y="3883"/>
                    </a:lnTo>
                    <a:lnTo>
                      <a:pt x="5504" y="3640"/>
                    </a:lnTo>
                    <a:lnTo>
                      <a:pt x="5815" y="3640"/>
                    </a:lnTo>
                    <a:lnTo>
                      <a:pt x="5815" y="3883"/>
                    </a:lnTo>
                    <a:lnTo>
                      <a:pt x="5712" y="3883"/>
                    </a:lnTo>
                    <a:lnTo>
                      <a:pt x="5712" y="4004"/>
                    </a:lnTo>
                    <a:lnTo>
                      <a:pt x="5815" y="4004"/>
                    </a:lnTo>
                    <a:lnTo>
                      <a:pt x="6023" y="4247"/>
                    </a:lnTo>
                    <a:lnTo>
                      <a:pt x="6023" y="4490"/>
                    </a:lnTo>
                    <a:lnTo>
                      <a:pt x="7165" y="4490"/>
                    </a:lnTo>
                    <a:lnTo>
                      <a:pt x="7165" y="4733"/>
                    </a:lnTo>
                    <a:lnTo>
                      <a:pt x="7269" y="4733"/>
                    </a:lnTo>
                    <a:lnTo>
                      <a:pt x="7788" y="4490"/>
                    </a:lnTo>
                    <a:lnTo>
                      <a:pt x="8204" y="4247"/>
                    </a:lnTo>
                    <a:lnTo>
                      <a:pt x="8515" y="4247"/>
                    </a:lnTo>
                    <a:lnTo>
                      <a:pt x="8204" y="4004"/>
                    </a:lnTo>
                    <a:lnTo>
                      <a:pt x="7996" y="4004"/>
                    </a:lnTo>
                    <a:lnTo>
                      <a:pt x="8204" y="3883"/>
                    </a:lnTo>
                    <a:lnTo>
                      <a:pt x="8204" y="3640"/>
                    </a:lnTo>
                    <a:lnTo>
                      <a:pt x="8412" y="3398"/>
                    </a:lnTo>
                    <a:lnTo>
                      <a:pt x="8723" y="3398"/>
                    </a:lnTo>
                    <a:lnTo>
                      <a:pt x="8723" y="3155"/>
                    </a:lnTo>
                    <a:lnTo>
                      <a:pt x="9242" y="3155"/>
                    </a:lnTo>
                    <a:lnTo>
                      <a:pt x="9450" y="3034"/>
                    </a:lnTo>
                    <a:lnTo>
                      <a:pt x="9865" y="3034"/>
                    </a:lnTo>
                    <a:lnTo>
                      <a:pt x="9969" y="2791"/>
                    </a:lnTo>
                    <a:lnTo>
                      <a:pt x="10177" y="2791"/>
                    </a:lnTo>
                    <a:lnTo>
                      <a:pt x="10177" y="2548"/>
                    </a:lnTo>
                    <a:lnTo>
                      <a:pt x="10592" y="2548"/>
                    </a:lnTo>
                    <a:lnTo>
                      <a:pt x="10592" y="2306"/>
                    </a:lnTo>
                    <a:lnTo>
                      <a:pt x="10696" y="2306"/>
                    </a:lnTo>
                    <a:lnTo>
                      <a:pt x="10696" y="2184"/>
                    </a:lnTo>
                    <a:lnTo>
                      <a:pt x="10592" y="2184"/>
                    </a:lnTo>
                    <a:lnTo>
                      <a:pt x="10592" y="728"/>
                    </a:lnTo>
                    <a:lnTo>
                      <a:pt x="10696" y="728"/>
                    </a:lnTo>
                    <a:lnTo>
                      <a:pt x="10696" y="485"/>
                    </a:lnTo>
                    <a:lnTo>
                      <a:pt x="11319" y="485"/>
                    </a:lnTo>
                    <a:lnTo>
                      <a:pt x="11423" y="243"/>
                    </a:lnTo>
                    <a:lnTo>
                      <a:pt x="11838" y="243"/>
                    </a:lnTo>
                    <a:lnTo>
                      <a:pt x="11838" y="0"/>
                    </a:lnTo>
                    <a:close/>
                    <a:moveTo>
                      <a:pt x="11838" y="0"/>
                    </a:moveTo>
                  </a:path>
                </a:pathLst>
              </a:custGeom>
              <a:solidFill>
                <a:srgbClr val="B2EAE7"/>
              </a:solidFill>
              <a:ln w="12700">
                <a:solidFill>
                  <a:srgbClr val="FFFFFF"/>
                </a:solidFill>
                <a:round/>
                <a:headEnd/>
                <a:tailEnd/>
              </a:ln>
            </p:spPr>
            <p:txBody>
              <a:bodyPr lIns="0" tIns="0" rIns="0" bIns="0"/>
              <a:lstStyle/>
              <a:p>
                <a:endParaRPr lang="en-US"/>
              </a:p>
            </p:txBody>
          </p:sp>
          <p:sp>
            <p:nvSpPr>
              <p:cNvPr id="144" name="Freeform 98"/>
              <p:cNvSpPr>
                <a:spLocks/>
              </p:cNvSpPr>
              <p:nvPr/>
            </p:nvSpPr>
            <p:spPr bwMode="auto">
              <a:xfrm>
                <a:off x="2733" y="1616"/>
                <a:ext cx="62" cy="6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1600"/>
                  <a:gd name="T70" fmla="*/ 0 h 21600"/>
                  <a:gd name="T71" fmla="*/ 21600 w 21600"/>
                  <a:gd name="T72" fmla="*/ 21600 h 2160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1600" h="21600">
                    <a:moveTo>
                      <a:pt x="7855" y="0"/>
                    </a:moveTo>
                    <a:lnTo>
                      <a:pt x="11782" y="0"/>
                    </a:lnTo>
                    <a:lnTo>
                      <a:pt x="11782" y="3927"/>
                    </a:lnTo>
                    <a:lnTo>
                      <a:pt x="17673" y="3927"/>
                    </a:lnTo>
                    <a:lnTo>
                      <a:pt x="17673" y="7855"/>
                    </a:lnTo>
                    <a:lnTo>
                      <a:pt x="21600" y="7855"/>
                    </a:lnTo>
                    <a:lnTo>
                      <a:pt x="21600" y="17673"/>
                    </a:lnTo>
                    <a:lnTo>
                      <a:pt x="17673" y="13745"/>
                    </a:lnTo>
                    <a:lnTo>
                      <a:pt x="13745" y="13745"/>
                    </a:lnTo>
                    <a:lnTo>
                      <a:pt x="13745" y="17673"/>
                    </a:lnTo>
                    <a:lnTo>
                      <a:pt x="17673" y="17673"/>
                    </a:lnTo>
                    <a:lnTo>
                      <a:pt x="17673" y="21600"/>
                    </a:lnTo>
                    <a:lnTo>
                      <a:pt x="11782" y="21600"/>
                    </a:lnTo>
                    <a:lnTo>
                      <a:pt x="11782" y="17673"/>
                    </a:lnTo>
                    <a:lnTo>
                      <a:pt x="7855" y="17673"/>
                    </a:lnTo>
                    <a:lnTo>
                      <a:pt x="7855" y="9818"/>
                    </a:lnTo>
                    <a:lnTo>
                      <a:pt x="3927" y="9818"/>
                    </a:lnTo>
                    <a:lnTo>
                      <a:pt x="3927" y="13745"/>
                    </a:lnTo>
                    <a:lnTo>
                      <a:pt x="0" y="13745"/>
                    </a:lnTo>
                    <a:lnTo>
                      <a:pt x="0" y="7855"/>
                    </a:lnTo>
                    <a:lnTo>
                      <a:pt x="7855" y="7855"/>
                    </a:lnTo>
                    <a:lnTo>
                      <a:pt x="7855" y="0"/>
                    </a:lnTo>
                    <a:close/>
                    <a:moveTo>
                      <a:pt x="7855" y="0"/>
                    </a:moveTo>
                  </a:path>
                </a:pathLst>
              </a:custGeom>
              <a:solidFill>
                <a:srgbClr val="B2EAE7"/>
              </a:solidFill>
              <a:ln w="12700">
                <a:solidFill>
                  <a:srgbClr val="FFFFFF"/>
                </a:solidFill>
                <a:round/>
                <a:headEnd/>
                <a:tailEnd/>
              </a:ln>
            </p:spPr>
            <p:txBody>
              <a:bodyPr lIns="0" tIns="0" rIns="0" bIns="0"/>
              <a:lstStyle/>
              <a:p>
                <a:endParaRPr lang="en-US"/>
              </a:p>
            </p:txBody>
          </p:sp>
          <p:sp>
            <p:nvSpPr>
              <p:cNvPr id="145" name="AutoShape 99"/>
              <p:cNvSpPr>
                <a:spLocks/>
              </p:cNvSpPr>
              <p:nvPr/>
            </p:nvSpPr>
            <p:spPr bwMode="auto">
              <a:xfrm>
                <a:off x="2824" y="178"/>
                <a:ext cx="1011" cy="1517"/>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1600"/>
                  <a:gd name="T175" fmla="*/ 0 h 21600"/>
                  <a:gd name="T176" fmla="*/ 21600 w 21600"/>
                  <a:gd name="T177" fmla="*/ 21600 h 2160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1600" h="21600">
                    <a:moveTo>
                      <a:pt x="10557" y="20629"/>
                    </a:moveTo>
                    <a:lnTo>
                      <a:pt x="10800" y="20629"/>
                    </a:lnTo>
                    <a:lnTo>
                      <a:pt x="10800" y="20791"/>
                    </a:lnTo>
                    <a:lnTo>
                      <a:pt x="10557" y="20791"/>
                    </a:lnTo>
                    <a:lnTo>
                      <a:pt x="10557" y="20629"/>
                    </a:lnTo>
                    <a:close/>
                    <a:moveTo>
                      <a:pt x="13834" y="0"/>
                    </a:moveTo>
                    <a:lnTo>
                      <a:pt x="14198" y="0"/>
                    </a:lnTo>
                    <a:lnTo>
                      <a:pt x="14198" y="324"/>
                    </a:lnTo>
                    <a:lnTo>
                      <a:pt x="14683" y="324"/>
                    </a:lnTo>
                    <a:lnTo>
                      <a:pt x="14683" y="404"/>
                    </a:lnTo>
                    <a:lnTo>
                      <a:pt x="15047" y="404"/>
                    </a:lnTo>
                    <a:lnTo>
                      <a:pt x="15047" y="728"/>
                    </a:lnTo>
                    <a:lnTo>
                      <a:pt x="15533" y="728"/>
                    </a:lnTo>
                    <a:lnTo>
                      <a:pt x="15654" y="890"/>
                    </a:lnTo>
                    <a:lnTo>
                      <a:pt x="16139" y="890"/>
                    </a:lnTo>
                    <a:lnTo>
                      <a:pt x="16382" y="971"/>
                    </a:lnTo>
                    <a:lnTo>
                      <a:pt x="16503" y="971"/>
                    </a:lnTo>
                    <a:lnTo>
                      <a:pt x="16503" y="1133"/>
                    </a:lnTo>
                    <a:lnTo>
                      <a:pt x="16746" y="1133"/>
                    </a:lnTo>
                    <a:lnTo>
                      <a:pt x="16746" y="1375"/>
                    </a:lnTo>
                    <a:lnTo>
                      <a:pt x="16989" y="1375"/>
                    </a:lnTo>
                    <a:lnTo>
                      <a:pt x="16989" y="1537"/>
                    </a:lnTo>
                    <a:lnTo>
                      <a:pt x="16746" y="1537"/>
                    </a:lnTo>
                    <a:lnTo>
                      <a:pt x="16746" y="1699"/>
                    </a:lnTo>
                    <a:lnTo>
                      <a:pt x="16503" y="1699"/>
                    </a:lnTo>
                    <a:lnTo>
                      <a:pt x="16503" y="1861"/>
                    </a:lnTo>
                    <a:lnTo>
                      <a:pt x="16382" y="1861"/>
                    </a:lnTo>
                    <a:lnTo>
                      <a:pt x="16382" y="2103"/>
                    </a:lnTo>
                    <a:lnTo>
                      <a:pt x="16139" y="2103"/>
                    </a:lnTo>
                    <a:lnTo>
                      <a:pt x="16382" y="2265"/>
                    </a:lnTo>
                    <a:lnTo>
                      <a:pt x="16139" y="2265"/>
                    </a:lnTo>
                    <a:lnTo>
                      <a:pt x="16139" y="2427"/>
                    </a:lnTo>
                    <a:lnTo>
                      <a:pt x="16382" y="2427"/>
                    </a:lnTo>
                    <a:lnTo>
                      <a:pt x="16139" y="2508"/>
                    </a:lnTo>
                    <a:lnTo>
                      <a:pt x="16139" y="2670"/>
                    </a:lnTo>
                    <a:lnTo>
                      <a:pt x="15533" y="2670"/>
                    </a:lnTo>
                    <a:lnTo>
                      <a:pt x="15290" y="2831"/>
                    </a:lnTo>
                    <a:lnTo>
                      <a:pt x="15290" y="2993"/>
                    </a:lnTo>
                    <a:lnTo>
                      <a:pt x="15533" y="2831"/>
                    </a:lnTo>
                    <a:lnTo>
                      <a:pt x="15654" y="2993"/>
                    </a:lnTo>
                    <a:lnTo>
                      <a:pt x="15654" y="3398"/>
                    </a:lnTo>
                    <a:lnTo>
                      <a:pt x="15533" y="3398"/>
                    </a:lnTo>
                    <a:lnTo>
                      <a:pt x="15533" y="3640"/>
                    </a:lnTo>
                    <a:lnTo>
                      <a:pt x="15290" y="3640"/>
                    </a:lnTo>
                    <a:lnTo>
                      <a:pt x="15290" y="3964"/>
                    </a:lnTo>
                    <a:lnTo>
                      <a:pt x="15533" y="3964"/>
                    </a:lnTo>
                    <a:lnTo>
                      <a:pt x="15533" y="4126"/>
                    </a:lnTo>
                    <a:lnTo>
                      <a:pt x="15654" y="4207"/>
                    </a:lnTo>
                    <a:lnTo>
                      <a:pt x="15654" y="4530"/>
                    </a:lnTo>
                    <a:lnTo>
                      <a:pt x="16503" y="4530"/>
                    </a:lnTo>
                    <a:lnTo>
                      <a:pt x="16503" y="4692"/>
                    </a:lnTo>
                    <a:lnTo>
                      <a:pt x="16989" y="4692"/>
                    </a:lnTo>
                    <a:lnTo>
                      <a:pt x="17231" y="4773"/>
                    </a:lnTo>
                    <a:lnTo>
                      <a:pt x="17231" y="5097"/>
                    </a:lnTo>
                    <a:lnTo>
                      <a:pt x="17353" y="5097"/>
                    </a:lnTo>
                    <a:lnTo>
                      <a:pt x="17596" y="5258"/>
                    </a:lnTo>
                    <a:lnTo>
                      <a:pt x="17596" y="5339"/>
                    </a:lnTo>
                    <a:lnTo>
                      <a:pt x="17838" y="5339"/>
                    </a:lnTo>
                    <a:lnTo>
                      <a:pt x="17838" y="5501"/>
                    </a:lnTo>
                    <a:lnTo>
                      <a:pt x="17960" y="5501"/>
                    </a:lnTo>
                    <a:lnTo>
                      <a:pt x="18202" y="5663"/>
                    </a:lnTo>
                    <a:lnTo>
                      <a:pt x="18202" y="5825"/>
                    </a:lnTo>
                    <a:lnTo>
                      <a:pt x="17960" y="5825"/>
                    </a:lnTo>
                    <a:lnTo>
                      <a:pt x="17960" y="6067"/>
                    </a:lnTo>
                    <a:lnTo>
                      <a:pt x="17838" y="6229"/>
                    </a:lnTo>
                    <a:lnTo>
                      <a:pt x="17353" y="6229"/>
                    </a:lnTo>
                    <a:lnTo>
                      <a:pt x="17353" y="6391"/>
                    </a:lnTo>
                    <a:lnTo>
                      <a:pt x="17231" y="6391"/>
                    </a:lnTo>
                    <a:lnTo>
                      <a:pt x="17231" y="6472"/>
                    </a:lnTo>
                    <a:lnTo>
                      <a:pt x="16989" y="6472"/>
                    </a:lnTo>
                    <a:lnTo>
                      <a:pt x="16989" y="6796"/>
                    </a:lnTo>
                    <a:lnTo>
                      <a:pt x="16746" y="6796"/>
                    </a:lnTo>
                    <a:lnTo>
                      <a:pt x="16503" y="6957"/>
                    </a:lnTo>
                    <a:lnTo>
                      <a:pt x="16503" y="7038"/>
                    </a:lnTo>
                    <a:lnTo>
                      <a:pt x="16382" y="7038"/>
                    </a:lnTo>
                    <a:lnTo>
                      <a:pt x="16382" y="7362"/>
                    </a:lnTo>
                    <a:lnTo>
                      <a:pt x="16503" y="7362"/>
                    </a:lnTo>
                    <a:lnTo>
                      <a:pt x="16503" y="7524"/>
                    </a:lnTo>
                    <a:lnTo>
                      <a:pt x="16746" y="7524"/>
                    </a:lnTo>
                    <a:lnTo>
                      <a:pt x="16746" y="7604"/>
                    </a:lnTo>
                    <a:lnTo>
                      <a:pt x="16989" y="7604"/>
                    </a:lnTo>
                    <a:lnTo>
                      <a:pt x="16989" y="7766"/>
                    </a:lnTo>
                    <a:lnTo>
                      <a:pt x="17353" y="8090"/>
                    </a:lnTo>
                    <a:lnTo>
                      <a:pt x="17596" y="8333"/>
                    </a:lnTo>
                    <a:lnTo>
                      <a:pt x="17596" y="8899"/>
                    </a:lnTo>
                    <a:lnTo>
                      <a:pt x="17838" y="8899"/>
                    </a:lnTo>
                    <a:lnTo>
                      <a:pt x="17838" y="9061"/>
                    </a:lnTo>
                    <a:lnTo>
                      <a:pt x="17960" y="9142"/>
                    </a:lnTo>
                    <a:lnTo>
                      <a:pt x="17960" y="9303"/>
                    </a:lnTo>
                    <a:lnTo>
                      <a:pt x="18202" y="9303"/>
                    </a:lnTo>
                    <a:lnTo>
                      <a:pt x="18202" y="9627"/>
                    </a:lnTo>
                    <a:lnTo>
                      <a:pt x="18445" y="9708"/>
                    </a:lnTo>
                    <a:lnTo>
                      <a:pt x="18445" y="9870"/>
                    </a:lnTo>
                    <a:lnTo>
                      <a:pt x="17596" y="9870"/>
                    </a:lnTo>
                    <a:lnTo>
                      <a:pt x="17596" y="10031"/>
                    </a:lnTo>
                    <a:lnTo>
                      <a:pt x="17838" y="10031"/>
                    </a:lnTo>
                    <a:lnTo>
                      <a:pt x="17838" y="10274"/>
                    </a:lnTo>
                    <a:lnTo>
                      <a:pt x="17596" y="10274"/>
                    </a:lnTo>
                    <a:lnTo>
                      <a:pt x="17596" y="10598"/>
                    </a:lnTo>
                    <a:lnTo>
                      <a:pt x="17353" y="10598"/>
                    </a:lnTo>
                    <a:lnTo>
                      <a:pt x="17353" y="10840"/>
                    </a:lnTo>
                    <a:lnTo>
                      <a:pt x="17596" y="10840"/>
                    </a:lnTo>
                    <a:lnTo>
                      <a:pt x="17838" y="11002"/>
                    </a:lnTo>
                    <a:lnTo>
                      <a:pt x="17960" y="11002"/>
                    </a:lnTo>
                    <a:lnTo>
                      <a:pt x="17960" y="11164"/>
                    </a:lnTo>
                    <a:lnTo>
                      <a:pt x="17596" y="11164"/>
                    </a:lnTo>
                    <a:lnTo>
                      <a:pt x="17596" y="11326"/>
                    </a:lnTo>
                    <a:lnTo>
                      <a:pt x="17353" y="11326"/>
                    </a:lnTo>
                    <a:lnTo>
                      <a:pt x="17353" y="11569"/>
                    </a:lnTo>
                    <a:lnTo>
                      <a:pt x="17596" y="11569"/>
                    </a:lnTo>
                    <a:lnTo>
                      <a:pt x="17596" y="11730"/>
                    </a:lnTo>
                    <a:lnTo>
                      <a:pt x="17838" y="11730"/>
                    </a:lnTo>
                    <a:lnTo>
                      <a:pt x="17838" y="11892"/>
                    </a:lnTo>
                    <a:lnTo>
                      <a:pt x="18688" y="11892"/>
                    </a:lnTo>
                    <a:lnTo>
                      <a:pt x="18688" y="12135"/>
                    </a:lnTo>
                    <a:lnTo>
                      <a:pt x="18445" y="12135"/>
                    </a:lnTo>
                    <a:lnTo>
                      <a:pt x="18202" y="12297"/>
                    </a:lnTo>
                    <a:lnTo>
                      <a:pt x="18202" y="12458"/>
                    </a:lnTo>
                    <a:lnTo>
                      <a:pt x="18445" y="12458"/>
                    </a:lnTo>
                    <a:lnTo>
                      <a:pt x="18445" y="12701"/>
                    </a:lnTo>
                    <a:lnTo>
                      <a:pt x="18809" y="12701"/>
                    </a:lnTo>
                    <a:lnTo>
                      <a:pt x="19052" y="12863"/>
                    </a:lnTo>
                    <a:lnTo>
                      <a:pt x="19294" y="12863"/>
                    </a:lnTo>
                    <a:lnTo>
                      <a:pt x="19294" y="13025"/>
                    </a:lnTo>
                    <a:lnTo>
                      <a:pt x="19537" y="13025"/>
                    </a:lnTo>
                    <a:lnTo>
                      <a:pt x="19537" y="13267"/>
                    </a:lnTo>
                    <a:lnTo>
                      <a:pt x="19294" y="13267"/>
                    </a:lnTo>
                    <a:lnTo>
                      <a:pt x="19294" y="13429"/>
                    </a:lnTo>
                    <a:lnTo>
                      <a:pt x="18688" y="13834"/>
                    </a:lnTo>
                    <a:lnTo>
                      <a:pt x="18445" y="13834"/>
                    </a:lnTo>
                    <a:lnTo>
                      <a:pt x="18445" y="13996"/>
                    </a:lnTo>
                    <a:lnTo>
                      <a:pt x="18202" y="13996"/>
                    </a:lnTo>
                    <a:lnTo>
                      <a:pt x="18202" y="14157"/>
                    </a:lnTo>
                    <a:lnTo>
                      <a:pt x="18688" y="14157"/>
                    </a:lnTo>
                    <a:lnTo>
                      <a:pt x="18688" y="14238"/>
                    </a:lnTo>
                    <a:lnTo>
                      <a:pt x="19052" y="14238"/>
                    </a:lnTo>
                    <a:lnTo>
                      <a:pt x="19052" y="14400"/>
                    </a:lnTo>
                    <a:lnTo>
                      <a:pt x="19294" y="14562"/>
                    </a:lnTo>
                    <a:lnTo>
                      <a:pt x="19658" y="14562"/>
                    </a:lnTo>
                    <a:lnTo>
                      <a:pt x="19658" y="14724"/>
                    </a:lnTo>
                    <a:lnTo>
                      <a:pt x="19901" y="14724"/>
                    </a:lnTo>
                    <a:lnTo>
                      <a:pt x="20387" y="14966"/>
                    </a:lnTo>
                    <a:lnTo>
                      <a:pt x="20508" y="14966"/>
                    </a:lnTo>
                    <a:lnTo>
                      <a:pt x="20993" y="15290"/>
                    </a:lnTo>
                    <a:lnTo>
                      <a:pt x="20993" y="15371"/>
                    </a:lnTo>
                    <a:lnTo>
                      <a:pt x="21357" y="15371"/>
                    </a:lnTo>
                    <a:lnTo>
                      <a:pt x="21357" y="15533"/>
                    </a:lnTo>
                    <a:lnTo>
                      <a:pt x="21600" y="15533"/>
                    </a:lnTo>
                    <a:lnTo>
                      <a:pt x="21600" y="15694"/>
                    </a:lnTo>
                    <a:lnTo>
                      <a:pt x="21236" y="15694"/>
                    </a:lnTo>
                    <a:lnTo>
                      <a:pt x="21236" y="15937"/>
                    </a:lnTo>
                    <a:lnTo>
                      <a:pt x="20993" y="15937"/>
                    </a:lnTo>
                    <a:lnTo>
                      <a:pt x="20993" y="16261"/>
                    </a:lnTo>
                    <a:lnTo>
                      <a:pt x="20751" y="16342"/>
                    </a:lnTo>
                    <a:lnTo>
                      <a:pt x="20508" y="16342"/>
                    </a:lnTo>
                    <a:lnTo>
                      <a:pt x="20508" y="16665"/>
                    </a:lnTo>
                    <a:lnTo>
                      <a:pt x="20387" y="16665"/>
                    </a:lnTo>
                    <a:lnTo>
                      <a:pt x="20387" y="16827"/>
                    </a:lnTo>
                    <a:lnTo>
                      <a:pt x="19901" y="16827"/>
                    </a:lnTo>
                    <a:lnTo>
                      <a:pt x="19901" y="16908"/>
                    </a:lnTo>
                    <a:lnTo>
                      <a:pt x="19658" y="17070"/>
                    </a:lnTo>
                    <a:lnTo>
                      <a:pt x="19537" y="17070"/>
                    </a:lnTo>
                    <a:lnTo>
                      <a:pt x="19537" y="17231"/>
                    </a:lnTo>
                    <a:lnTo>
                      <a:pt x="19294" y="17393"/>
                    </a:lnTo>
                    <a:lnTo>
                      <a:pt x="19052" y="17393"/>
                    </a:lnTo>
                    <a:lnTo>
                      <a:pt x="19052" y="17474"/>
                    </a:lnTo>
                    <a:lnTo>
                      <a:pt x="18809" y="17636"/>
                    </a:lnTo>
                    <a:lnTo>
                      <a:pt x="18445" y="17798"/>
                    </a:lnTo>
                    <a:lnTo>
                      <a:pt x="18445" y="17960"/>
                    </a:lnTo>
                    <a:lnTo>
                      <a:pt x="18202" y="18040"/>
                    </a:lnTo>
                    <a:lnTo>
                      <a:pt x="17960" y="18040"/>
                    </a:lnTo>
                    <a:lnTo>
                      <a:pt x="17960" y="18202"/>
                    </a:lnTo>
                    <a:lnTo>
                      <a:pt x="17838" y="18202"/>
                    </a:lnTo>
                    <a:lnTo>
                      <a:pt x="17838" y="18364"/>
                    </a:lnTo>
                    <a:lnTo>
                      <a:pt x="17596" y="18364"/>
                    </a:lnTo>
                    <a:lnTo>
                      <a:pt x="17353" y="18526"/>
                    </a:lnTo>
                    <a:lnTo>
                      <a:pt x="17353" y="18607"/>
                    </a:lnTo>
                    <a:lnTo>
                      <a:pt x="17231" y="18607"/>
                    </a:lnTo>
                    <a:lnTo>
                      <a:pt x="17231" y="18769"/>
                    </a:lnTo>
                    <a:lnTo>
                      <a:pt x="16989" y="18769"/>
                    </a:lnTo>
                    <a:lnTo>
                      <a:pt x="16503" y="19092"/>
                    </a:lnTo>
                    <a:lnTo>
                      <a:pt x="16382" y="19092"/>
                    </a:lnTo>
                    <a:lnTo>
                      <a:pt x="15897" y="19335"/>
                    </a:lnTo>
                    <a:lnTo>
                      <a:pt x="15533" y="19335"/>
                    </a:lnTo>
                    <a:lnTo>
                      <a:pt x="15533" y="19497"/>
                    </a:lnTo>
                    <a:lnTo>
                      <a:pt x="15290" y="19658"/>
                    </a:lnTo>
                    <a:lnTo>
                      <a:pt x="15047" y="19658"/>
                    </a:lnTo>
                    <a:lnTo>
                      <a:pt x="15047" y="19739"/>
                    </a:lnTo>
                    <a:lnTo>
                      <a:pt x="14804" y="19739"/>
                    </a:lnTo>
                    <a:lnTo>
                      <a:pt x="14804" y="19901"/>
                    </a:lnTo>
                    <a:lnTo>
                      <a:pt x="14683" y="19901"/>
                    </a:lnTo>
                    <a:lnTo>
                      <a:pt x="14198" y="20225"/>
                    </a:lnTo>
                    <a:lnTo>
                      <a:pt x="13955" y="20225"/>
                    </a:lnTo>
                    <a:lnTo>
                      <a:pt x="13955" y="20306"/>
                    </a:lnTo>
                    <a:lnTo>
                      <a:pt x="13834" y="20306"/>
                    </a:lnTo>
                    <a:lnTo>
                      <a:pt x="13834" y="20467"/>
                    </a:lnTo>
                    <a:lnTo>
                      <a:pt x="13106" y="20467"/>
                    </a:lnTo>
                    <a:lnTo>
                      <a:pt x="12984" y="20306"/>
                    </a:lnTo>
                    <a:lnTo>
                      <a:pt x="11892" y="20306"/>
                    </a:lnTo>
                    <a:lnTo>
                      <a:pt x="11407" y="20467"/>
                    </a:lnTo>
                    <a:lnTo>
                      <a:pt x="11285" y="20629"/>
                    </a:lnTo>
                    <a:lnTo>
                      <a:pt x="10800" y="20629"/>
                    </a:lnTo>
                    <a:lnTo>
                      <a:pt x="10800" y="20467"/>
                    </a:lnTo>
                    <a:lnTo>
                      <a:pt x="10557" y="20467"/>
                    </a:lnTo>
                    <a:lnTo>
                      <a:pt x="10557" y="20629"/>
                    </a:lnTo>
                    <a:lnTo>
                      <a:pt x="10436" y="20629"/>
                    </a:lnTo>
                    <a:lnTo>
                      <a:pt x="10436" y="20872"/>
                    </a:lnTo>
                    <a:lnTo>
                      <a:pt x="10193" y="20872"/>
                    </a:lnTo>
                    <a:lnTo>
                      <a:pt x="10193" y="20791"/>
                    </a:lnTo>
                    <a:lnTo>
                      <a:pt x="9951" y="20791"/>
                    </a:lnTo>
                    <a:lnTo>
                      <a:pt x="9951" y="20629"/>
                    </a:lnTo>
                    <a:lnTo>
                      <a:pt x="9708" y="20629"/>
                    </a:lnTo>
                    <a:lnTo>
                      <a:pt x="9708" y="20872"/>
                    </a:lnTo>
                    <a:lnTo>
                      <a:pt x="9101" y="20872"/>
                    </a:lnTo>
                    <a:lnTo>
                      <a:pt x="8858" y="21034"/>
                    </a:lnTo>
                    <a:lnTo>
                      <a:pt x="7645" y="21034"/>
                    </a:lnTo>
                    <a:lnTo>
                      <a:pt x="7645" y="21438"/>
                    </a:lnTo>
                    <a:lnTo>
                      <a:pt x="7402" y="21438"/>
                    </a:lnTo>
                    <a:lnTo>
                      <a:pt x="7402" y="21357"/>
                    </a:lnTo>
                    <a:lnTo>
                      <a:pt x="6796" y="21357"/>
                    </a:lnTo>
                    <a:lnTo>
                      <a:pt x="6553" y="21438"/>
                    </a:lnTo>
                    <a:lnTo>
                      <a:pt x="5339" y="21438"/>
                    </a:lnTo>
                    <a:lnTo>
                      <a:pt x="5339" y="21600"/>
                    </a:lnTo>
                    <a:lnTo>
                      <a:pt x="5097" y="21600"/>
                    </a:lnTo>
                    <a:lnTo>
                      <a:pt x="5097" y="21357"/>
                    </a:lnTo>
                    <a:lnTo>
                      <a:pt x="4854" y="21196"/>
                    </a:lnTo>
                    <a:lnTo>
                      <a:pt x="4247" y="21196"/>
                    </a:lnTo>
                    <a:lnTo>
                      <a:pt x="4247" y="21357"/>
                    </a:lnTo>
                    <a:lnTo>
                      <a:pt x="4004" y="21438"/>
                    </a:lnTo>
                    <a:lnTo>
                      <a:pt x="3883" y="21357"/>
                    </a:lnTo>
                    <a:lnTo>
                      <a:pt x="3640" y="21357"/>
                    </a:lnTo>
                    <a:lnTo>
                      <a:pt x="3640" y="21034"/>
                    </a:lnTo>
                    <a:lnTo>
                      <a:pt x="3883" y="20872"/>
                    </a:lnTo>
                    <a:lnTo>
                      <a:pt x="3883" y="20629"/>
                    </a:lnTo>
                    <a:lnTo>
                      <a:pt x="3398" y="20629"/>
                    </a:lnTo>
                    <a:lnTo>
                      <a:pt x="3155" y="20467"/>
                    </a:lnTo>
                    <a:lnTo>
                      <a:pt x="2791" y="20467"/>
                    </a:lnTo>
                    <a:lnTo>
                      <a:pt x="2791" y="20306"/>
                    </a:lnTo>
                    <a:lnTo>
                      <a:pt x="2548" y="20306"/>
                    </a:lnTo>
                    <a:lnTo>
                      <a:pt x="2306" y="20225"/>
                    </a:lnTo>
                    <a:lnTo>
                      <a:pt x="2184" y="20225"/>
                    </a:lnTo>
                    <a:lnTo>
                      <a:pt x="2184" y="20467"/>
                    </a:lnTo>
                    <a:lnTo>
                      <a:pt x="1942" y="20467"/>
                    </a:lnTo>
                    <a:lnTo>
                      <a:pt x="1942" y="20306"/>
                    </a:lnTo>
                    <a:lnTo>
                      <a:pt x="1699" y="20306"/>
                    </a:lnTo>
                    <a:lnTo>
                      <a:pt x="1699" y="19658"/>
                    </a:lnTo>
                    <a:lnTo>
                      <a:pt x="1456" y="19658"/>
                    </a:lnTo>
                    <a:lnTo>
                      <a:pt x="1456" y="19173"/>
                    </a:lnTo>
                    <a:lnTo>
                      <a:pt x="1699" y="19092"/>
                    </a:lnTo>
                    <a:lnTo>
                      <a:pt x="1942" y="19092"/>
                    </a:lnTo>
                    <a:lnTo>
                      <a:pt x="1942" y="18769"/>
                    </a:lnTo>
                    <a:lnTo>
                      <a:pt x="1699" y="18769"/>
                    </a:lnTo>
                    <a:lnTo>
                      <a:pt x="1699" y="18364"/>
                    </a:lnTo>
                    <a:lnTo>
                      <a:pt x="2184" y="18364"/>
                    </a:lnTo>
                    <a:lnTo>
                      <a:pt x="2184" y="18040"/>
                    </a:lnTo>
                    <a:lnTo>
                      <a:pt x="1942" y="18040"/>
                    </a:lnTo>
                    <a:lnTo>
                      <a:pt x="1942" y="17960"/>
                    </a:lnTo>
                    <a:lnTo>
                      <a:pt x="1699" y="17960"/>
                    </a:lnTo>
                    <a:lnTo>
                      <a:pt x="1699" y="17798"/>
                    </a:lnTo>
                    <a:lnTo>
                      <a:pt x="1456" y="17636"/>
                    </a:lnTo>
                    <a:lnTo>
                      <a:pt x="1456" y="17231"/>
                    </a:lnTo>
                    <a:lnTo>
                      <a:pt x="1699" y="17231"/>
                    </a:lnTo>
                    <a:lnTo>
                      <a:pt x="1699" y="16908"/>
                    </a:lnTo>
                    <a:lnTo>
                      <a:pt x="1456" y="16908"/>
                    </a:lnTo>
                    <a:lnTo>
                      <a:pt x="1456" y="16827"/>
                    </a:lnTo>
                    <a:lnTo>
                      <a:pt x="1335" y="16827"/>
                    </a:lnTo>
                    <a:lnTo>
                      <a:pt x="1335" y="16665"/>
                    </a:lnTo>
                    <a:lnTo>
                      <a:pt x="1092" y="16665"/>
                    </a:lnTo>
                    <a:lnTo>
                      <a:pt x="1092" y="15937"/>
                    </a:lnTo>
                    <a:lnTo>
                      <a:pt x="1335" y="15694"/>
                    </a:lnTo>
                    <a:lnTo>
                      <a:pt x="1699" y="15371"/>
                    </a:lnTo>
                    <a:lnTo>
                      <a:pt x="2184" y="15371"/>
                    </a:lnTo>
                    <a:lnTo>
                      <a:pt x="2184" y="15290"/>
                    </a:lnTo>
                    <a:lnTo>
                      <a:pt x="1942" y="15128"/>
                    </a:lnTo>
                    <a:lnTo>
                      <a:pt x="1942" y="14966"/>
                    </a:lnTo>
                    <a:lnTo>
                      <a:pt x="2306" y="14804"/>
                    </a:lnTo>
                    <a:lnTo>
                      <a:pt x="2548" y="14804"/>
                    </a:lnTo>
                    <a:lnTo>
                      <a:pt x="2791" y="14966"/>
                    </a:lnTo>
                    <a:lnTo>
                      <a:pt x="3155" y="14966"/>
                    </a:lnTo>
                    <a:lnTo>
                      <a:pt x="3398" y="14804"/>
                    </a:lnTo>
                    <a:lnTo>
                      <a:pt x="3398" y="14562"/>
                    </a:lnTo>
                    <a:lnTo>
                      <a:pt x="3155" y="14562"/>
                    </a:lnTo>
                    <a:lnTo>
                      <a:pt x="3155" y="14400"/>
                    </a:lnTo>
                    <a:lnTo>
                      <a:pt x="3398" y="14400"/>
                    </a:lnTo>
                    <a:lnTo>
                      <a:pt x="3398" y="14238"/>
                    </a:lnTo>
                    <a:lnTo>
                      <a:pt x="3640" y="14238"/>
                    </a:lnTo>
                    <a:lnTo>
                      <a:pt x="3883" y="14157"/>
                    </a:lnTo>
                    <a:lnTo>
                      <a:pt x="4004" y="14157"/>
                    </a:lnTo>
                    <a:lnTo>
                      <a:pt x="4247" y="13996"/>
                    </a:lnTo>
                    <a:lnTo>
                      <a:pt x="4733" y="13996"/>
                    </a:lnTo>
                    <a:lnTo>
                      <a:pt x="4733" y="13834"/>
                    </a:lnTo>
                    <a:lnTo>
                      <a:pt x="4854" y="13834"/>
                    </a:lnTo>
                    <a:lnTo>
                      <a:pt x="4854" y="13672"/>
                    </a:lnTo>
                    <a:lnTo>
                      <a:pt x="5097" y="13591"/>
                    </a:lnTo>
                    <a:lnTo>
                      <a:pt x="5582" y="13591"/>
                    </a:lnTo>
                    <a:lnTo>
                      <a:pt x="5582" y="13429"/>
                    </a:lnTo>
                    <a:lnTo>
                      <a:pt x="5339" y="13267"/>
                    </a:lnTo>
                    <a:lnTo>
                      <a:pt x="5946" y="13267"/>
                    </a:lnTo>
                    <a:lnTo>
                      <a:pt x="5946" y="13106"/>
                    </a:lnTo>
                    <a:lnTo>
                      <a:pt x="6189" y="13025"/>
                    </a:lnTo>
                    <a:lnTo>
                      <a:pt x="6189" y="12863"/>
                    </a:lnTo>
                    <a:lnTo>
                      <a:pt x="6553" y="12701"/>
                    </a:lnTo>
                    <a:lnTo>
                      <a:pt x="6796" y="12701"/>
                    </a:lnTo>
                    <a:lnTo>
                      <a:pt x="6796" y="12539"/>
                    </a:lnTo>
                    <a:lnTo>
                      <a:pt x="7038" y="12539"/>
                    </a:lnTo>
                    <a:lnTo>
                      <a:pt x="7038" y="12458"/>
                    </a:lnTo>
                    <a:lnTo>
                      <a:pt x="7402" y="12135"/>
                    </a:lnTo>
                    <a:lnTo>
                      <a:pt x="7402" y="11892"/>
                    </a:lnTo>
                    <a:lnTo>
                      <a:pt x="7645" y="11892"/>
                    </a:lnTo>
                    <a:lnTo>
                      <a:pt x="8009" y="11569"/>
                    </a:lnTo>
                    <a:lnTo>
                      <a:pt x="8494" y="11407"/>
                    </a:lnTo>
                    <a:lnTo>
                      <a:pt x="8737" y="11407"/>
                    </a:lnTo>
                    <a:lnTo>
                      <a:pt x="8737" y="11569"/>
                    </a:lnTo>
                    <a:lnTo>
                      <a:pt x="9344" y="11569"/>
                    </a:lnTo>
                    <a:lnTo>
                      <a:pt x="9101" y="11407"/>
                    </a:lnTo>
                    <a:lnTo>
                      <a:pt x="9101" y="11326"/>
                    </a:lnTo>
                    <a:lnTo>
                      <a:pt x="9344" y="11326"/>
                    </a:lnTo>
                    <a:lnTo>
                      <a:pt x="9344" y="11164"/>
                    </a:lnTo>
                    <a:lnTo>
                      <a:pt x="9101" y="11164"/>
                    </a:lnTo>
                    <a:lnTo>
                      <a:pt x="9101" y="10193"/>
                    </a:lnTo>
                    <a:lnTo>
                      <a:pt x="8858" y="10193"/>
                    </a:lnTo>
                    <a:lnTo>
                      <a:pt x="8858" y="10031"/>
                    </a:lnTo>
                    <a:lnTo>
                      <a:pt x="8494" y="10031"/>
                    </a:lnTo>
                    <a:lnTo>
                      <a:pt x="8252" y="9870"/>
                    </a:lnTo>
                    <a:lnTo>
                      <a:pt x="7645" y="9870"/>
                    </a:lnTo>
                    <a:lnTo>
                      <a:pt x="7645" y="9708"/>
                    </a:lnTo>
                    <a:lnTo>
                      <a:pt x="7402" y="9708"/>
                    </a:lnTo>
                    <a:lnTo>
                      <a:pt x="7160" y="9627"/>
                    </a:lnTo>
                    <a:lnTo>
                      <a:pt x="7038" y="9627"/>
                    </a:lnTo>
                    <a:lnTo>
                      <a:pt x="7038" y="9465"/>
                    </a:lnTo>
                    <a:lnTo>
                      <a:pt x="6796" y="9465"/>
                    </a:lnTo>
                    <a:lnTo>
                      <a:pt x="6796" y="9303"/>
                    </a:lnTo>
                    <a:lnTo>
                      <a:pt x="6553" y="9303"/>
                    </a:lnTo>
                    <a:lnTo>
                      <a:pt x="6553" y="8899"/>
                    </a:lnTo>
                    <a:lnTo>
                      <a:pt x="6310" y="8899"/>
                    </a:lnTo>
                    <a:lnTo>
                      <a:pt x="6189" y="8737"/>
                    </a:lnTo>
                    <a:lnTo>
                      <a:pt x="6189" y="8494"/>
                    </a:lnTo>
                    <a:lnTo>
                      <a:pt x="5946" y="8494"/>
                    </a:lnTo>
                    <a:lnTo>
                      <a:pt x="5946" y="8171"/>
                    </a:lnTo>
                    <a:lnTo>
                      <a:pt x="6310" y="8171"/>
                    </a:lnTo>
                    <a:lnTo>
                      <a:pt x="6310" y="8090"/>
                    </a:lnTo>
                    <a:lnTo>
                      <a:pt x="6189" y="8090"/>
                    </a:lnTo>
                    <a:lnTo>
                      <a:pt x="6189" y="7928"/>
                    </a:lnTo>
                    <a:lnTo>
                      <a:pt x="6310" y="7928"/>
                    </a:lnTo>
                    <a:lnTo>
                      <a:pt x="6310" y="7604"/>
                    </a:lnTo>
                    <a:lnTo>
                      <a:pt x="6553" y="7604"/>
                    </a:lnTo>
                    <a:lnTo>
                      <a:pt x="6553" y="7524"/>
                    </a:lnTo>
                    <a:lnTo>
                      <a:pt x="6796" y="7524"/>
                    </a:lnTo>
                    <a:lnTo>
                      <a:pt x="6796" y="7362"/>
                    </a:lnTo>
                    <a:lnTo>
                      <a:pt x="6310" y="7362"/>
                    </a:lnTo>
                    <a:lnTo>
                      <a:pt x="6310" y="7200"/>
                    </a:lnTo>
                    <a:lnTo>
                      <a:pt x="6189" y="7200"/>
                    </a:lnTo>
                    <a:lnTo>
                      <a:pt x="6189" y="6957"/>
                    </a:lnTo>
                    <a:lnTo>
                      <a:pt x="5946" y="6957"/>
                    </a:lnTo>
                    <a:lnTo>
                      <a:pt x="5703" y="6796"/>
                    </a:lnTo>
                    <a:lnTo>
                      <a:pt x="5703" y="6634"/>
                    </a:lnTo>
                    <a:lnTo>
                      <a:pt x="5946" y="6472"/>
                    </a:lnTo>
                    <a:lnTo>
                      <a:pt x="6189" y="6472"/>
                    </a:lnTo>
                    <a:lnTo>
                      <a:pt x="6189" y="6229"/>
                    </a:lnTo>
                    <a:lnTo>
                      <a:pt x="5946" y="6229"/>
                    </a:lnTo>
                    <a:lnTo>
                      <a:pt x="5946" y="6067"/>
                    </a:lnTo>
                    <a:lnTo>
                      <a:pt x="5582" y="6067"/>
                    </a:lnTo>
                    <a:lnTo>
                      <a:pt x="5582" y="5663"/>
                    </a:lnTo>
                    <a:lnTo>
                      <a:pt x="5703" y="5663"/>
                    </a:lnTo>
                    <a:lnTo>
                      <a:pt x="5703" y="5097"/>
                    </a:lnTo>
                    <a:lnTo>
                      <a:pt x="5946" y="5097"/>
                    </a:lnTo>
                    <a:lnTo>
                      <a:pt x="5946" y="4773"/>
                    </a:lnTo>
                    <a:lnTo>
                      <a:pt x="5703" y="4773"/>
                    </a:lnTo>
                    <a:lnTo>
                      <a:pt x="5582" y="4692"/>
                    </a:lnTo>
                    <a:lnTo>
                      <a:pt x="5339" y="4692"/>
                    </a:lnTo>
                    <a:lnTo>
                      <a:pt x="5339" y="4530"/>
                    </a:lnTo>
                    <a:lnTo>
                      <a:pt x="5097" y="4530"/>
                    </a:lnTo>
                    <a:lnTo>
                      <a:pt x="5097" y="4369"/>
                    </a:lnTo>
                    <a:lnTo>
                      <a:pt x="4733" y="4369"/>
                    </a:lnTo>
                    <a:lnTo>
                      <a:pt x="4733" y="4207"/>
                    </a:lnTo>
                    <a:lnTo>
                      <a:pt x="4490" y="4207"/>
                    </a:lnTo>
                    <a:lnTo>
                      <a:pt x="4490" y="4126"/>
                    </a:lnTo>
                    <a:lnTo>
                      <a:pt x="4004" y="4126"/>
                    </a:lnTo>
                    <a:lnTo>
                      <a:pt x="4004" y="3964"/>
                    </a:lnTo>
                    <a:lnTo>
                      <a:pt x="3883" y="3964"/>
                    </a:lnTo>
                    <a:lnTo>
                      <a:pt x="3883" y="3802"/>
                    </a:lnTo>
                    <a:lnTo>
                      <a:pt x="3640" y="3802"/>
                    </a:lnTo>
                    <a:lnTo>
                      <a:pt x="3398" y="3640"/>
                    </a:lnTo>
                    <a:lnTo>
                      <a:pt x="3155" y="3640"/>
                    </a:lnTo>
                    <a:lnTo>
                      <a:pt x="3034" y="3560"/>
                    </a:lnTo>
                    <a:lnTo>
                      <a:pt x="2548" y="3560"/>
                    </a:lnTo>
                    <a:lnTo>
                      <a:pt x="2548" y="3398"/>
                    </a:lnTo>
                    <a:lnTo>
                      <a:pt x="2184" y="3398"/>
                    </a:lnTo>
                    <a:lnTo>
                      <a:pt x="2184" y="3236"/>
                    </a:lnTo>
                    <a:lnTo>
                      <a:pt x="1942" y="3236"/>
                    </a:lnTo>
                    <a:lnTo>
                      <a:pt x="1942" y="3074"/>
                    </a:lnTo>
                    <a:lnTo>
                      <a:pt x="1456" y="3074"/>
                    </a:lnTo>
                    <a:lnTo>
                      <a:pt x="1456" y="2993"/>
                    </a:lnTo>
                    <a:lnTo>
                      <a:pt x="1335" y="2993"/>
                    </a:lnTo>
                    <a:lnTo>
                      <a:pt x="1092" y="2831"/>
                    </a:lnTo>
                    <a:lnTo>
                      <a:pt x="849" y="2831"/>
                    </a:lnTo>
                    <a:lnTo>
                      <a:pt x="607" y="2670"/>
                    </a:lnTo>
                    <a:lnTo>
                      <a:pt x="0" y="2670"/>
                    </a:lnTo>
                    <a:lnTo>
                      <a:pt x="243" y="2508"/>
                    </a:lnTo>
                    <a:lnTo>
                      <a:pt x="243" y="2427"/>
                    </a:lnTo>
                    <a:lnTo>
                      <a:pt x="1092" y="2427"/>
                    </a:lnTo>
                    <a:lnTo>
                      <a:pt x="1092" y="2265"/>
                    </a:lnTo>
                    <a:lnTo>
                      <a:pt x="849" y="2265"/>
                    </a:lnTo>
                    <a:lnTo>
                      <a:pt x="849" y="1942"/>
                    </a:lnTo>
                    <a:lnTo>
                      <a:pt x="1335" y="1942"/>
                    </a:lnTo>
                    <a:lnTo>
                      <a:pt x="1335" y="1861"/>
                    </a:lnTo>
                    <a:lnTo>
                      <a:pt x="1456" y="1861"/>
                    </a:lnTo>
                    <a:lnTo>
                      <a:pt x="1456" y="1942"/>
                    </a:lnTo>
                    <a:lnTo>
                      <a:pt x="2184" y="1942"/>
                    </a:lnTo>
                    <a:lnTo>
                      <a:pt x="2184" y="2265"/>
                    </a:lnTo>
                    <a:lnTo>
                      <a:pt x="2306" y="2265"/>
                    </a:lnTo>
                    <a:lnTo>
                      <a:pt x="2306" y="2427"/>
                    </a:lnTo>
                    <a:lnTo>
                      <a:pt x="2548" y="2427"/>
                    </a:lnTo>
                    <a:lnTo>
                      <a:pt x="2548" y="2508"/>
                    </a:lnTo>
                    <a:lnTo>
                      <a:pt x="3034" y="2508"/>
                    </a:lnTo>
                    <a:lnTo>
                      <a:pt x="3034" y="2670"/>
                    </a:lnTo>
                    <a:lnTo>
                      <a:pt x="3155" y="2670"/>
                    </a:lnTo>
                    <a:lnTo>
                      <a:pt x="3155" y="2993"/>
                    </a:lnTo>
                    <a:lnTo>
                      <a:pt x="3398" y="2993"/>
                    </a:lnTo>
                    <a:lnTo>
                      <a:pt x="3398" y="3236"/>
                    </a:lnTo>
                    <a:lnTo>
                      <a:pt x="4490" y="3236"/>
                    </a:lnTo>
                    <a:lnTo>
                      <a:pt x="4490" y="3074"/>
                    </a:lnTo>
                    <a:lnTo>
                      <a:pt x="4733" y="3074"/>
                    </a:lnTo>
                    <a:lnTo>
                      <a:pt x="4733" y="3236"/>
                    </a:lnTo>
                    <a:lnTo>
                      <a:pt x="5339" y="3236"/>
                    </a:lnTo>
                    <a:lnTo>
                      <a:pt x="5582" y="3074"/>
                    </a:lnTo>
                    <a:lnTo>
                      <a:pt x="6189" y="3074"/>
                    </a:lnTo>
                    <a:lnTo>
                      <a:pt x="6189" y="2993"/>
                    </a:lnTo>
                    <a:lnTo>
                      <a:pt x="6553" y="2993"/>
                    </a:lnTo>
                    <a:lnTo>
                      <a:pt x="6796" y="3074"/>
                    </a:lnTo>
                    <a:lnTo>
                      <a:pt x="7160" y="3074"/>
                    </a:lnTo>
                    <a:lnTo>
                      <a:pt x="7160" y="3236"/>
                    </a:lnTo>
                    <a:lnTo>
                      <a:pt x="7402" y="3236"/>
                    </a:lnTo>
                    <a:lnTo>
                      <a:pt x="7402" y="3398"/>
                    </a:lnTo>
                    <a:lnTo>
                      <a:pt x="8009" y="3398"/>
                    </a:lnTo>
                    <a:lnTo>
                      <a:pt x="8009" y="3560"/>
                    </a:lnTo>
                    <a:lnTo>
                      <a:pt x="8252" y="3560"/>
                    </a:lnTo>
                    <a:lnTo>
                      <a:pt x="8252" y="3640"/>
                    </a:lnTo>
                    <a:lnTo>
                      <a:pt x="8494" y="3640"/>
                    </a:lnTo>
                    <a:lnTo>
                      <a:pt x="8494" y="3560"/>
                    </a:lnTo>
                    <a:lnTo>
                      <a:pt x="8737" y="3560"/>
                    </a:lnTo>
                    <a:lnTo>
                      <a:pt x="8737" y="3236"/>
                    </a:lnTo>
                    <a:lnTo>
                      <a:pt x="8858" y="3236"/>
                    </a:lnTo>
                    <a:lnTo>
                      <a:pt x="8858" y="3074"/>
                    </a:lnTo>
                    <a:lnTo>
                      <a:pt x="9101" y="3074"/>
                    </a:lnTo>
                    <a:lnTo>
                      <a:pt x="9101" y="2993"/>
                    </a:lnTo>
                    <a:lnTo>
                      <a:pt x="9344" y="2993"/>
                    </a:lnTo>
                    <a:lnTo>
                      <a:pt x="9344" y="2831"/>
                    </a:lnTo>
                    <a:lnTo>
                      <a:pt x="9951" y="2831"/>
                    </a:lnTo>
                    <a:lnTo>
                      <a:pt x="10193" y="2670"/>
                    </a:lnTo>
                    <a:lnTo>
                      <a:pt x="10193" y="2427"/>
                    </a:lnTo>
                    <a:lnTo>
                      <a:pt x="9951" y="2265"/>
                    </a:lnTo>
                    <a:lnTo>
                      <a:pt x="9951" y="2103"/>
                    </a:lnTo>
                    <a:lnTo>
                      <a:pt x="10193" y="1942"/>
                    </a:lnTo>
                    <a:lnTo>
                      <a:pt x="10193" y="1375"/>
                    </a:lnTo>
                    <a:lnTo>
                      <a:pt x="10436" y="1294"/>
                    </a:lnTo>
                    <a:lnTo>
                      <a:pt x="10436" y="1133"/>
                    </a:lnTo>
                    <a:lnTo>
                      <a:pt x="10800" y="890"/>
                    </a:lnTo>
                    <a:lnTo>
                      <a:pt x="11043" y="890"/>
                    </a:lnTo>
                    <a:lnTo>
                      <a:pt x="11043" y="728"/>
                    </a:lnTo>
                    <a:lnTo>
                      <a:pt x="11285" y="728"/>
                    </a:lnTo>
                    <a:lnTo>
                      <a:pt x="11285" y="566"/>
                    </a:lnTo>
                    <a:lnTo>
                      <a:pt x="11407" y="566"/>
                    </a:lnTo>
                    <a:lnTo>
                      <a:pt x="11407" y="404"/>
                    </a:lnTo>
                    <a:lnTo>
                      <a:pt x="12984" y="404"/>
                    </a:lnTo>
                    <a:lnTo>
                      <a:pt x="12984" y="324"/>
                    </a:lnTo>
                    <a:lnTo>
                      <a:pt x="13106" y="324"/>
                    </a:lnTo>
                    <a:lnTo>
                      <a:pt x="13348" y="162"/>
                    </a:lnTo>
                    <a:lnTo>
                      <a:pt x="13834" y="162"/>
                    </a:lnTo>
                    <a:lnTo>
                      <a:pt x="13834" y="0"/>
                    </a:lnTo>
                    <a:close/>
                    <a:moveTo>
                      <a:pt x="13834" y="0"/>
                    </a:moveTo>
                  </a:path>
                </a:pathLst>
              </a:custGeom>
              <a:solidFill>
                <a:srgbClr val="B2EAE7"/>
              </a:solidFill>
              <a:ln w="12700">
                <a:solidFill>
                  <a:srgbClr val="FFFFFF"/>
                </a:solidFill>
                <a:round/>
                <a:headEnd/>
                <a:tailEnd/>
              </a:ln>
            </p:spPr>
            <p:txBody>
              <a:bodyPr lIns="0" tIns="0" rIns="0" bIns="0"/>
              <a:lstStyle/>
              <a:p>
                <a:endParaRPr lang="en-US"/>
              </a:p>
            </p:txBody>
          </p:sp>
          <p:sp>
            <p:nvSpPr>
              <p:cNvPr id="146" name="Freeform 100"/>
              <p:cNvSpPr>
                <a:spLocks/>
              </p:cNvSpPr>
              <p:nvPr/>
            </p:nvSpPr>
            <p:spPr bwMode="auto">
              <a:xfrm>
                <a:off x="2972" y="1803"/>
                <a:ext cx="62" cy="5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1600"/>
                  <a:gd name="T49" fmla="*/ 0 h 21600"/>
                  <a:gd name="T50" fmla="*/ 21600 w 21600"/>
                  <a:gd name="T51" fmla="*/ 21600 h 2160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1600" h="21600">
                    <a:moveTo>
                      <a:pt x="13745" y="0"/>
                    </a:moveTo>
                    <a:lnTo>
                      <a:pt x="17673" y="4800"/>
                    </a:lnTo>
                    <a:lnTo>
                      <a:pt x="17673" y="9600"/>
                    </a:lnTo>
                    <a:lnTo>
                      <a:pt x="21600" y="9600"/>
                    </a:lnTo>
                    <a:lnTo>
                      <a:pt x="21600" y="16800"/>
                    </a:lnTo>
                    <a:lnTo>
                      <a:pt x="13745" y="16800"/>
                    </a:lnTo>
                    <a:lnTo>
                      <a:pt x="11782" y="21600"/>
                    </a:lnTo>
                    <a:lnTo>
                      <a:pt x="7855" y="21600"/>
                    </a:lnTo>
                    <a:lnTo>
                      <a:pt x="7855" y="14400"/>
                    </a:lnTo>
                    <a:lnTo>
                      <a:pt x="3927" y="14400"/>
                    </a:lnTo>
                    <a:lnTo>
                      <a:pt x="0" y="9600"/>
                    </a:lnTo>
                    <a:lnTo>
                      <a:pt x="3927" y="9600"/>
                    </a:lnTo>
                    <a:lnTo>
                      <a:pt x="3927" y="4800"/>
                    </a:lnTo>
                    <a:lnTo>
                      <a:pt x="11782" y="4800"/>
                    </a:lnTo>
                    <a:lnTo>
                      <a:pt x="13745" y="0"/>
                    </a:lnTo>
                    <a:close/>
                    <a:moveTo>
                      <a:pt x="13745" y="0"/>
                    </a:moveTo>
                  </a:path>
                </a:pathLst>
              </a:custGeom>
              <a:solidFill>
                <a:srgbClr val="B2EAE7"/>
              </a:solidFill>
              <a:ln w="12700">
                <a:solidFill>
                  <a:srgbClr val="FFFFFF"/>
                </a:solidFill>
                <a:round/>
                <a:headEnd/>
                <a:tailEnd/>
              </a:ln>
            </p:spPr>
            <p:txBody>
              <a:bodyPr lIns="0" tIns="0" rIns="0" bIns="0"/>
              <a:lstStyle/>
              <a:p>
                <a:endParaRPr lang="en-US"/>
              </a:p>
            </p:txBody>
          </p:sp>
          <p:sp>
            <p:nvSpPr>
              <p:cNvPr id="147" name="Freeform 101"/>
              <p:cNvSpPr>
                <a:spLocks/>
              </p:cNvSpPr>
              <p:nvPr/>
            </p:nvSpPr>
            <p:spPr bwMode="auto">
              <a:xfrm>
                <a:off x="2932" y="1854"/>
                <a:ext cx="142" cy="9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00"/>
                  <a:gd name="T103" fmla="*/ 0 h 21600"/>
                  <a:gd name="T104" fmla="*/ 21600 w 21600"/>
                  <a:gd name="T105" fmla="*/ 21600 h 2160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00" h="21600">
                    <a:moveTo>
                      <a:pt x="12096" y="0"/>
                    </a:moveTo>
                    <a:lnTo>
                      <a:pt x="15552" y="0"/>
                    </a:lnTo>
                    <a:lnTo>
                      <a:pt x="17280" y="1271"/>
                    </a:lnTo>
                    <a:lnTo>
                      <a:pt x="18144" y="1271"/>
                    </a:lnTo>
                    <a:lnTo>
                      <a:pt x="18144" y="0"/>
                    </a:lnTo>
                    <a:lnTo>
                      <a:pt x="21600" y="0"/>
                    </a:lnTo>
                    <a:lnTo>
                      <a:pt x="21600" y="1271"/>
                    </a:lnTo>
                    <a:lnTo>
                      <a:pt x="19872" y="1271"/>
                    </a:lnTo>
                    <a:lnTo>
                      <a:pt x="19872" y="3812"/>
                    </a:lnTo>
                    <a:lnTo>
                      <a:pt x="21600" y="3812"/>
                    </a:lnTo>
                    <a:lnTo>
                      <a:pt x="19872" y="6353"/>
                    </a:lnTo>
                    <a:lnTo>
                      <a:pt x="15552" y="6353"/>
                    </a:lnTo>
                    <a:lnTo>
                      <a:pt x="15552" y="8894"/>
                    </a:lnTo>
                    <a:lnTo>
                      <a:pt x="13824" y="10165"/>
                    </a:lnTo>
                    <a:lnTo>
                      <a:pt x="9504" y="10165"/>
                    </a:lnTo>
                    <a:lnTo>
                      <a:pt x="7776" y="12706"/>
                    </a:lnTo>
                    <a:lnTo>
                      <a:pt x="6048" y="17788"/>
                    </a:lnTo>
                    <a:lnTo>
                      <a:pt x="5184" y="17788"/>
                    </a:lnTo>
                    <a:lnTo>
                      <a:pt x="5184" y="21600"/>
                    </a:lnTo>
                    <a:lnTo>
                      <a:pt x="3456" y="21600"/>
                    </a:lnTo>
                    <a:lnTo>
                      <a:pt x="3456" y="17788"/>
                    </a:lnTo>
                    <a:lnTo>
                      <a:pt x="5184" y="15247"/>
                    </a:lnTo>
                    <a:lnTo>
                      <a:pt x="5184" y="12706"/>
                    </a:lnTo>
                    <a:lnTo>
                      <a:pt x="3456" y="12706"/>
                    </a:lnTo>
                    <a:lnTo>
                      <a:pt x="3456" y="10165"/>
                    </a:lnTo>
                    <a:lnTo>
                      <a:pt x="0" y="10165"/>
                    </a:lnTo>
                    <a:lnTo>
                      <a:pt x="0" y="8894"/>
                    </a:lnTo>
                    <a:lnTo>
                      <a:pt x="1728" y="8894"/>
                    </a:lnTo>
                    <a:lnTo>
                      <a:pt x="1728" y="3812"/>
                    </a:lnTo>
                    <a:lnTo>
                      <a:pt x="6048" y="3812"/>
                    </a:lnTo>
                    <a:lnTo>
                      <a:pt x="6048" y="1271"/>
                    </a:lnTo>
                    <a:lnTo>
                      <a:pt x="11232" y="1271"/>
                    </a:lnTo>
                    <a:lnTo>
                      <a:pt x="12096" y="0"/>
                    </a:lnTo>
                    <a:close/>
                    <a:moveTo>
                      <a:pt x="12096" y="0"/>
                    </a:moveTo>
                  </a:path>
                </a:pathLst>
              </a:custGeom>
              <a:solidFill>
                <a:srgbClr val="B2EAE7"/>
              </a:solidFill>
              <a:ln w="12700">
                <a:solidFill>
                  <a:srgbClr val="FFFFFF"/>
                </a:solidFill>
                <a:round/>
                <a:headEnd/>
                <a:tailEnd/>
              </a:ln>
            </p:spPr>
            <p:txBody>
              <a:bodyPr lIns="0" tIns="0" rIns="0" bIns="0"/>
              <a:lstStyle/>
              <a:p>
                <a:endParaRPr lang="en-US"/>
              </a:p>
            </p:txBody>
          </p:sp>
          <p:sp>
            <p:nvSpPr>
              <p:cNvPr id="148" name="Freeform 102"/>
              <p:cNvSpPr>
                <a:spLocks/>
              </p:cNvSpPr>
              <p:nvPr/>
            </p:nvSpPr>
            <p:spPr bwMode="auto">
              <a:xfrm>
                <a:off x="3085" y="1724"/>
                <a:ext cx="415" cy="29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1600"/>
                  <a:gd name="T139" fmla="*/ 0 h 21600"/>
                  <a:gd name="T140" fmla="*/ 21600 w 21600"/>
                  <a:gd name="T141" fmla="*/ 21600 h 2160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1600" h="21600">
                    <a:moveTo>
                      <a:pt x="9764" y="0"/>
                    </a:moveTo>
                    <a:lnTo>
                      <a:pt x="10060" y="847"/>
                    </a:lnTo>
                    <a:lnTo>
                      <a:pt x="12723" y="847"/>
                    </a:lnTo>
                    <a:lnTo>
                      <a:pt x="13315" y="1694"/>
                    </a:lnTo>
                    <a:lnTo>
                      <a:pt x="15978" y="1694"/>
                    </a:lnTo>
                    <a:lnTo>
                      <a:pt x="15978" y="2541"/>
                    </a:lnTo>
                    <a:lnTo>
                      <a:pt x="21600" y="2541"/>
                    </a:lnTo>
                    <a:lnTo>
                      <a:pt x="21600" y="3812"/>
                    </a:lnTo>
                    <a:lnTo>
                      <a:pt x="21008" y="3812"/>
                    </a:lnTo>
                    <a:lnTo>
                      <a:pt x="21008" y="5506"/>
                    </a:lnTo>
                    <a:lnTo>
                      <a:pt x="20416" y="5506"/>
                    </a:lnTo>
                    <a:lnTo>
                      <a:pt x="20121" y="5929"/>
                    </a:lnTo>
                    <a:lnTo>
                      <a:pt x="20121" y="7624"/>
                    </a:lnTo>
                    <a:lnTo>
                      <a:pt x="19529" y="7624"/>
                    </a:lnTo>
                    <a:lnTo>
                      <a:pt x="19529" y="8471"/>
                    </a:lnTo>
                    <a:lnTo>
                      <a:pt x="18937" y="8471"/>
                    </a:lnTo>
                    <a:lnTo>
                      <a:pt x="18937" y="8894"/>
                    </a:lnTo>
                    <a:lnTo>
                      <a:pt x="18345" y="8894"/>
                    </a:lnTo>
                    <a:lnTo>
                      <a:pt x="18345" y="10588"/>
                    </a:lnTo>
                    <a:lnTo>
                      <a:pt x="18937" y="10588"/>
                    </a:lnTo>
                    <a:lnTo>
                      <a:pt x="18937" y="12706"/>
                    </a:lnTo>
                    <a:lnTo>
                      <a:pt x="18345" y="13553"/>
                    </a:lnTo>
                    <a:lnTo>
                      <a:pt x="18345" y="13976"/>
                    </a:lnTo>
                    <a:lnTo>
                      <a:pt x="18937" y="13976"/>
                    </a:lnTo>
                    <a:lnTo>
                      <a:pt x="18937" y="15671"/>
                    </a:lnTo>
                    <a:lnTo>
                      <a:pt x="19529" y="15671"/>
                    </a:lnTo>
                    <a:lnTo>
                      <a:pt x="19529" y="16518"/>
                    </a:lnTo>
                    <a:lnTo>
                      <a:pt x="20121" y="16941"/>
                    </a:lnTo>
                    <a:lnTo>
                      <a:pt x="20416" y="16941"/>
                    </a:lnTo>
                    <a:lnTo>
                      <a:pt x="20416" y="18635"/>
                    </a:lnTo>
                    <a:lnTo>
                      <a:pt x="18937" y="18635"/>
                    </a:lnTo>
                    <a:lnTo>
                      <a:pt x="18937" y="19482"/>
                    </a:lnTo>
                    <a:lnTo>
                      <a:pt x="18345" y="19482"/>
                    </a:lnTo>
                    <a:lnTo>
                      <a:pt x="18345" y="21600"/>
                    </a:lnTo>
                    <a:lnTo>
                      <a:pt x="18049" y="21600"/>
                    </a:lnTo>
                    <a:lnTo>
                      <a:pt x="18049" y="20753"/>
                    </a:lnTo>
                    <a:lnTo>
                      <a:pt x="16274" y="20753"/>
                    </a:lnTo>
                    <a:lnTo>
                      <a:pt x="16274" y="19906"/>
                    </a:lnTo>
                    <a:lnTo>
                      <a:pt x="15978" y="19906"/>
                    </a:lnTo>
                    <a:lnTo>
                      <a:pt x="14795" y="21600"/>
                    </a:lnTo>
                    <a:lnTo>
                      <a:pt x="14203" y="21600"/>
                    </a:lnTo>
                    <a:lnTo>
                      <a:pt x="14203" y="20753"/>
                    </a:lnTo>
                    <a:lnTo>
                      <a:pt x="13907" y="20753"/>
                    </a:lnTo>
                    <a:lnTo>
                      <a:pt x="13315" y="19906"/>
                    </a:lnTo>
                    <a:lnTo>
                      <a:pt x="12723" y="19906"/>
                    </a:lnTo>
                    <a:lnTo>
                      <a:pt x="12723" y="18635"/>
                    </a:lnTo>
                    <a:lnTo>
                      <a:pt x="12132" y="18635"/>
                    </a:lnTo>
                    <a:lnTo>
                      <a:pt x="12132" y="17788"/>
                    </a:lnTo>
                    <a:lnTo>
                      <a:pt x="10652" y="17788"/>
                    </a:lnTo>
                    <a:lnTo>
                      <a:pt x="10652" y="16941"/>
                    </a:lnTo>
                    <a:lnTo>
                      <a:pt x="10060" y="16941"/>
                    </a:lnTo>
                    <a:lnTo>
                      <a:pt x="10060" y="16518"/>
                    </a:lnTo>
                    <a:lnTo>
                      <a:pt x="7693" y="16518"/>
                    </a:lnTo>
                    <a:lnTo>
                      <a:pt x="7693" y="15671"/>
                    </a:lnTo>
                    <a:lnTo>
                      <a:pt x="7101" y="16518"/>
                    </a:lnTo>
                    <a:lnTo>
                      <a:pt x="6510" y="16518"/>
                    </a:lnTo>
                    <a:lnTo>
                      <a:pt x="6510" y="16941"/>
                    </a:lnTo>
                    <a:lnTo>
                      <a:pt x="5030" y="16941"/>
                    </a:lnTo>
                    <a:lnTo>
                      <a:pt x="4438" y="17788"/>
                    </a:lnTo>
                    <a:lnTo>
                      <a:pt x="3847" y="17788"/>
                    </a:lnTo>
                    <a:lnTo>
                      <a:pt x="3847" y="16518"/>
                    </a:lnTo>
                    <a:lnTo>
                      <a:pt x="4438" y="16518"/>
                    </a:lnTo>
                    <a:lnTo>
                      <a:pt x="4438" y="13976"/>
                    </a:lnTo>
                    <a:lnTo>
                      <a:pt x="5030" y="13976"/>
                    </a:lnTo>
                    <a:lnTo>
                      <a:pt x="5030" y="13553"/>
                    </a:lnTo>
                    <a:lnTo>
                      <a:pt x="3847" y="13553"/>
                    </a:lnTo>
                    <a:lnTo>
                      <a:pt x="3847" y="13976"/>
                    </a:lnTo>
                    <a:lnTo>
                      <a:pt x="3551" y="13976"/>
                    </a:lnTo>
                    <a:lnTo>
                      <a:pt x="2959" y="13553"/>
                    </a:lnTo>
                    <a:lnTo>
                      <a:pt x="1775" y="13553"/>
                    </a:lnTo>
                    <a:lnTo>
                      <a:pt x="296" y="11012"/>
                    </a:lnTo>
                    <a:lnTo>
                      <a:pt x="0" y="11012"/>
                    </a:lnTo>
                    <a:lnTo>
                      <a:pt x="0" y="10588"/>
                    </a:lnTo>
                    <a:lnTo>
                      <a:pt x="296" y="10588"/>
                    </a:lnTo>
                    <a:lnTo>
                      <a:pt x="296" y="8894"/>
                    </a:lnTo>
                    <a:lnTo>
                      <a:pt x="0" y="8894"/>
                    </a:lnTo>
                    <a:lnTo>
                      <a:pt x="0" y="8471"/>
                    </a:lnTo>
                    <a:lnTo>
                      <a:pt x="296" y="7624"/>
                    </a:lnTo>
                    <a:lnTo>
                      <a:pt x="296" y="6776"/>
                    </a:lnTo>
                    <a:lnTo>
                      <a:pt x="0" y="6776"/>
                    </a:lnTo>
                    <a:lnTo>
                      <a:pt x="0" y="4659"/>
                    </a:lnTo>
                    <a:lnTo>
                      <a:pt x="1479" y="4659"/>
                    </a:lnTo>
                    <a:lnTo>
                      <a:pt x="1775" y="3812"/>
                    </a:lnTo>
                    <a:lnTo>
                      <a:pt x="2959" y="3812"/>
                    </a:lnTo>
                    <a:lnTo>
                      <a:pt x="2959" y="2965"/>
                    </a:lnTo>
                    <a:lnTo>
                      <a:pt x="3847" y="2965"/>
                    </a:lnTo>
                    <a:lnTo>
                      <a:pt x="3847" y="2541"/>
                    </a:lnTo>
                    <a:lnTo>
                      <a:pt x="5622" y="2541"/>
                    </a:lnTo>
                    <a:lnTo>
                      <a:pt x="5918" y="1694"/>
                    </a:lnTo>
                    <a:lnTo>
                      <a:pt x="9764" y="1694"/>
                    </a:lnTo>
                    <a:lnTo>
                      <a:pt x="9764" y="0"/>
                    </a:lnTo>
                    <a:close/>
                    <a:moveTo>
                      <a:pt x="9764" y="0"/>
                    </a:moveTo>
                  </a:path>
                </a:pathLst>
              </a:custGeom>
              <a:solidFill>
                <a:srgbClr val="B2EAE7"/>
              </a:solidFill>
              <a:ln w="12700">
                <a:solidFill>
                  <a:srgbClr val="FFFFFF"/>
                </a:solidFill>
                <a:round/>
                <a:headEnd/>
                <a:tailEnd/>
              </a:ln>
            </p:spPr>
            <p:txBody>
              <a:bodyPr lIns="0" tIns="0" rIns="0" bIns="0"/>
              <a:lstStyle/>
              <a:p>
                <a:endParaRPr lang="en-US"/>
              </a:p>
            </p:txBody>
          </p:sp>
          <p:sp>
            <p:nvSpPr>
              <p:cNvPr id="149" name="Freeform 103"/>
              <p:cNvSpPr>
                <a:spLocks/>
              </p:cNvSpPr>
              <p:nvPr/>
            </p:nvSpPr>
            <p:spPr bwMode="auto">
              <a:xfrm>
                <a:off x="1954" y="2349"/>
                <a:ext cx="69" cy="34"/>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600"/>
                  <a:gd name="T43" fmla="*/ 0 h 21600"/>
                  <a:gd name="T44" fmla="*/ 21600 w 21600"/>
                  <a:gd name="T45" fmla="*/ 21600 h 21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600" h="21600">
                    <a:moveTo>
                      <a:pt x="1800" y="0"/>
                    </a:moveTo>
                    <a:lnTo>
                      <a:pt x="12600" y="0"/>
                    </a:lnTo>
                    <a:lnTo>
                      <a:pt x="12600" y="7200"/>
                    </a:lnTo>
                    <a:lnTo>
                      <a:pt x="21600" y="7200"/>
                    </a:lnTo>
                    <a:lnTo>
                      <a:pt x="21600" y="21600"/>
                    </a:lnTo>
                    <a:lnTo>
                      <a:pt x="18000" y="14400"/>
                    </a:lnTo>
                    <a:lnTo>
                      <a:pt x="14400" y="14400"/>
                    </a:lnTo>
                    <a:lnTo>
                      <a:pt x="14400" y="21600"/>
                    </a:lnTo>
                    <a:lnTo>
                      <a:pt x="9000" y="21600"/>
                    </a:lnTo>
                    <a:lnTo>
                      <a:pt x="5400" y="14400"/>
                    </a:lnTo>
                    <a:lnTo>
                      <a:pt x="0" y="14400"/>
                    </a:lnTo>
                    <a:lnTo>
                      <a:pt x="0" y="7200"/>
                    </a:lnTo>
                    <a:lnTo>
                      <a:pt x="1800" y="0"/>
                    </a:lnTo>
                    <a:close/>
                    <a:moveTo>
                      <a:pt x="1800" y="0"/>
                    </a:moveTo>
                  </a:path>
                </a:pathLst>
              </a:custGeom>
              <a:solidFill>
                <a:srgbClr val="B2EAE7"/>
              </a:solidFill>
              <a:ln w="12700">
                <a:solidFill>
                  <a:srgbClr val="FFFFFF"/>
                </a:solidFill>
                <a:round/>
                <a:headEnd/>
                <a:tailEnd/>
              </a:ln>
            </p:spPr>
            <p:txBody>
              <a:bodyPr lIns="0" tIns="0" rIns="0" bIns="0"/>
              <a:lstStyle/>
              <a:p>
                <a:endParaRPr lang="en-US"/>
              </a:p>
            </p:txBody>
          </p:sp>
          <p:sp>
            <p:nvSpPr>
              <p:cNvPr id="150" name="AutoShape 104"/>
              <p:cNvSpPr>
                <a:spLocks/>
              </p:cNvSpPr>
              <p:nvPr/>
            </p:nvSpPr>
            <p:spPr bwMode="auto">
              <a:xfrm>
                <a:off x="1943" y="2190"/>
                <a:ext cx="148" cy="199"/>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1600"/>
                  <a:gd name="T112" fmla="*/ 0 h 21600"/>
                  <a:gd name="T113" fmla="*/ 21600 w 21600"/>
                  <a:gd name="T114" fmla="*/ 21600 h 2160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1600" h="21600">
                    <a:moveTo>
                      <a:pt x="12462" y="5554"/>
                    </a:moveTo>
                    <a:lnTo>
                      <a:pt x="12462" y="6789"/>
                    </a:lnTo>
                    <a:lnTo>
                      <a:pt x="14123" y="6789"/>
                    </a:lnTo>
                    <a:lnTo>
                      <a:pt x="14123" y="5554"/>
                    </a:lnTo>
                    <a:lnTo>
                      <a:pt x="12462" y="5554"/>
                    </a:lnTo>
                    <a:close/>
                    <a:moveTo>
                      <a:pt x="15785" y="0"/>
                    </a:moveTo>
                    <a:lnTo>
                      <a:pt x="19938" y="0"/>
                    </a:lnTo>
                    <a:lnTo>
                      <a:pt x="19938" y="1234"/>
                    </a:lnTo>
                    <a:lnTo>
                      <a:pt x="21600" y="1234"/>
                    </a:lnTo>
                    <a:lnTo>
                      <a:pt x="21600" y="6789"/>
                    </a:lnTo>
                    <a:lnTo>
                      <a:pt x="19938" y="6789"/>
                    </a:lnTo>
                    <a:lnTo>
                      <a:pt x="19938" y="8023"/>
                    </a:lnTo>
                    <a:lnTo>
                      <a:pt x="18277" y="8023"/>
                    </a:lnTo>
                    <a:lnTo>
                      <a:pt x="18277" y="8640"/>
                    </a:lnTo>
                    <a:lnTo>
                      <a:pt x="17446" y="8640"/>
                    </a:lnTo>
                    <a:lnTo>
                      <a:pt x="17446" y="9874"/>
                    </a:lnTo>
                    <a:lnTo>
                      <a:pt x="18277" y="11109"/>
                    </a:lnTo>
                    <a:lnTo>
                      <a:pt x="19938" y="11109"/>
                    </a:lnTo>
                    <a:lnTo>
                      <a:pt x="19938" y="12960"/>
                    </a:lnTo>
                    <a:lnTo>
                      <a:pt x="15785" y="12960"/>
                    </a:lnTo>
                    <a:lnTo>
                      <a:pt x="15785" y="16663"/>
                    </a:lnTo>
                    <a:lnTo>
                      <a:pt x="12462" y="16663"/>
                    </a:lnTo>
                    <a:lnTo>
                      <a:pt x="12462" y="17280"/>
                    </a:lnTo>
                    <a:lnTo>
                      <a:pt x="15785" y="17280"/>
                    </a:lnTo>
                    <a:lnTo>
                      <a:pt x="15785" y="18514"/>
                    </a:lnTo>
                    <a:lnTo>
                      <a:pt x="14123" y="19749"/>
                    </a:lnTo>
                    <a:lnTo>
                      <a:pt x="14123" y="21600"/>
                    </a:lnTo>
                    <a:lnTo>
                      <a:pt x="12462" y="21600"/>
                    </a:lnTo>
                    <a:lnTo>
                      <a:pt x="12462" y="19749"/>
                    </a:lnTo>
                    <a:lnTo>
                      <a:pt x="11631" y="18514"/>
                    </a:lnTo>
                    <a:lnTo>
                      <a:pt x="11631" y="17280"/>
                    </a:lnTo>
                    <a:lnTo>
                      <a:pt x="9969" y="17280"/>
                    </a:lnTo>
                    <a:lnTo>
                      <a:pt x="9969" y="16663"/>
                    </a:lnTo>
                    <a:lnTo>
                      <a:pt x="11631" y="16663"/>
                    </a:lnTo>
                    <a:lnTo>
                      <a:pt x="11631" y="15429"/>
                    </a:lnTo>
                    <a:lnTo>
                      <a:pt x="9969" y="15429"/>
                    </a:lnTo>
                    <a:lnTo>
                      <a:pt x="8308" y="14194"/>
                    </a:lnTo>
                    <a:lnTo>
                      <a:pt x="11631" y="14194"/>
                    </a:lnTo>
                    <a:lnTo>
                      <a:pt x="11631" y="12960"/>
                    </a:lnTo>
                    <a:lnTo>
                      <a:pt x="7477" y="12960"/>
                    </a:lnTo>
                    <a:lnTo>
                      <a:pt x="5815" y="12343"/>
                    </a:lnTo>
                    <a:lnTo>
                      <a:pt x="2492" y="12343"/>
                    </a:lnTo>
                    <a:lnTo>
                      <a:pt x="2492" y="11109"/>
                    </a:lnTo>
                    <a:lnTo>
                      <a:pt x="4154" y="11109"/>
                    </a:lnTo>
                    <a:lnTo>
                      <a:pt x="4154" y="9874"/>
                    </a:lnTo>
                    <a:lnTo>
                      <a:pt x="2492" y="9874"/>
                    </a:lnTo>
                    <a:lnTo>
                      <a:pt x="2492" y="8023"/>
                    </a:lnTo>
                    <a:lnTo>
                      <a:pt x="1662" y="8023"/>
                    </a:lnTo>
                    <a:lnTo>
                      <a:pt x="1662" y="6789"/>
                    </a:lnTo>
                    <a:lnTo>
                      <a:pt x="0" y="6789"/>
                    </a:lnTo>
                    <a:lnTo>
                      <a:pt x="0" y="5554"/>
                    </a:lnTo>
                    <a:lnTo>
                      <a:pt x="1662" y="5554"/>
                    </a:lnTo>
                    <a:lnTo>
                      <a:pt x="2492" y="6789"/>
                    </a:lnTo>
                    <a:lnTo>
                      <a:pt x="4154" y="5554"/>
                    </a:lnTo>
                    <a:lnTo>
                      <a:pt x="5815" y="5554"/>
                    </a:lnTo>
                    <a:lnTo>
                      <a:pt x="7477" y="4320"/>
                    </a:lnTo>
                    <a:lnTo>
                      <a:pt x="7477" y="3703"/>
                    </a:lnTo>
                    <a:lnTo>
                      <a:pt x="5815" y="2469"/>
                    </a:lnTo>
                    <a:lnTo>
                      <a:pt x="11631" y="2469"/>
                    </a:lnTo>
                    <a:lnTo>
                      <a:pt x="9969" y="3703"/>
                    </a:lnTo>
                    <a:lnTo>
                      <a:pt x="8308" y="3703"/>
                    </a:lnTo>
                    <a:lnTo>
                      <a:pt x="8308" y="5554"/>
                    </a:lnTo>
                    <a:lnTo>
                      <a:pt x="9969" y="5554"/>
                    </a:lnTo>
                    <a:lnTo>
                      <a:pt x="9969" y="6789"/>
                    </a:lnTo>
                    <a:lnTo>
                      <a:pt x="11631" y="6789"/>
                    </a:lnTo>
                    <a:lnTo>
                      <a:pt x="11631" y="5554"/>
                    </a:lnTo>
                    <a:lnTo>
                      <a:pt x="12462" y="4320"/>
                    </a:lnTo>
                    <a:lnTo>
                      <a:pt x="12462" y="3703"/>
                    </a:lnTo>
                    <a:lnTo>
                      <a:pt x="14123" y="3703"/>
                    </a:lnTo>
                    <a:lnTo>
                      <a:pt x="14123" y="2469"/>
                    </a:lnTo>
                    <a:lnTo>
                      <a:pt x="12462" y="2469"/>
                    </a:lnTo>
                    <a:lnTo>
                      <a:pt x="12462" y="1234"/>
                    </a:lnTo>
                    <a:lnTo>
                      <a:pt x="15785" y="1234"/>
                    </a:lnTo>
                    <a:lnTo>
                      <a:pt x="15785" y="0"/>
                    </a:lnTo>
                    <a:close/>
                    <a:moveTo>
                      <a:pt x="15785" y="0"/>
                    </a:moveTo>
                  </a:path>
                </a:pathLst>
              </a:custGeom>
              <a:solidFill>
                <a:srgbClr val="B2EAE7"/>
              </a:solidFill>
              <a:ln w="12700">
                <a:solidFill>
                  <a:srgbClr val="FFFFFF"/>
                </a:solidFill>
                <a:round/>
                <a:headEnd/>
                <a:tailEnd/>
              </a:ln>
            </p:spPr>
            <p:txBody>
              <a:bodyPr lIns="0" tIns="0" rIns="0" bIns="0"/>
              <a:lstStyle/>
              <a:p>
                <a:endParaRPr lang="en-US"/>
              </a:p>
            </p:txBody>
          </p:sp>
          <p:sp>
            <p:nvSpPr>
              <p:cNvPr id="151" name="Freeform 105"/>
              <p:cNvSpPr>
                <a:spLocks/>
              </p:cNvSpPr>
              <p:nvPr/>
            </p:nvSpPr>
            <p:spPr bwMode="auto">
              <a:xfrm>
                <a:off x="1835" y="2264"/>
                <a:ext cx="97" cy="6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1600"/>
                  <a:gd name="T70" fmla="*/ 0 h 21600"/>
                  <a:gd name="T71" fmla="*/ 21600 w 21600"/>
                  <a:gd name="T72" fmla="*/ 21600 h 2160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1600" h="21600">
                    <a:moveTo>
                      <a:pt x="6353" y="0"/>
                    </a:moveTo>
                    <a:lnTo>
                      <a:pt x="15247" y="0"/>
                    </a:lnTo>
                    <a:lnTo>
                      <a:pt x="15247" y="5400"/>
                    </a:lnTo>
                    <a:lnTo>
                      <a:pt x="17788" y="1800"/>
                    </a:lnTo>
                    <a:lnTo>
                      <a:pt x="17788" y="0"/>
                    </a:lnTo>
                    <a:lnTo>
                      <a:pt x="19059" y="0"/>
                    </a:lnTo>
                    <a:lnTo>
                      <a:pt x="19059" y="5400"/>
                    </a:lnTo>
                    <a:lnTo>
                      <a:pt x="21600" y="9000"/>
                    </a:lnTo>
                    <a:lnTo>
                      <a:pt x="21600" y="18000"/>
                    </a:lnTo>
                    <a:lnTo>
                      <a:pt x="19059" y="21600"/>
                    </a:lnTo>
                    <a:lnTo>
                      <a:pt x="10165" y="21600"/>
                    </a:lnTo>
                    <a:lnTo>
                      <a:pt x="10165" y="18000"/>
                    </a:lnTo>
                    <a:lnTo>
                      <a:pt x="6353" y="18000"/>
                    </a:lnTo>
                    <a:lnTo>
                      <a:pt x="6353" y="14400"/>
                    </a:lnTo>
                    <a:lnTo>
                      <a:pt x="3812" y="14400"/>
                    </a:lnTo>
                    <a:lnTo>
                      <a:pt x="3812" y="12600"/>
                    </a:lnTo>
                    <a:lnTo>
                      <a:pt x="1271" y="9000"/>
                    </a:lnTo>
                    <a:lnTo>
                      <a:pt x="1271" y="5400"/>
                    </a:lnTo>
                    <a:lnTo>
                      <a:pt x="0" y="5400"/>
                    </a:lnTo>
                    <a:lnTo>
                      <a:pt x="0" y="1800"/>
                    </a:lnTo>
                    <a:lnTo>
                      <a:pt x="6353" y="1800"/>
                    </a:lnTo>
                    <a:lnTo>
                      <a:pt x="6353" y="0"/>
                    </a:lnTo>
                    <a:close/>
                    <a:moveTo>
                      <a:pt x="6353" y="0"/>
                    </a:moveTo>
                  </a:path>
                </a:pathLst>
              </a:custGeom>
              <a:solidFill>
                <a:srgbClr val="B2EAE7"/>
              </a:solidFill>
              <a:ln w="12700">
                <a:solidFill>
                  <a:srgbClr val="FFFFFF"/>
                </a:solidFill>
                <a:round/>
                <a:headEnd/>
                <a:tailEnd/>
              </a:ln>
            </p:spPr>
            <p:txBody>
              <a:bodyPr lIns="0" tIns="0" rIns="0" bIns="0"/>
              <a:lstStyle/>
              <a:p>
                <a:endParaRPr lang="en-US"/>
              </a:p>
            </p:txBody>
          </p:sp>
          <p:sp>
            <p:nvSpPr>
              <p:cNvPr id="152" name="AutoShape 106"/>
              <p:cNvSpPr>
                <a:spLocks/>
              </p:cNvSpPr>
              <p:nvPr/>
            </p:nvSpPr>
            <p:spPr bwMode="auto">
              <a:xfrm>
                <a:off x="1682" y="1985"/>
                <a:ext cx="261" cy="375"/>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1600"/>
                  <a:gd name="T151" fmla="*/ 0 h 21600"/>
                  <a:gd name="T152" fmla="*/ 21600 w 21600"/>
                  <a:gd name="T153" fmla="*/ 21600 h 2160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1600" h="21600">
                    <a:moveTo>
                      <a:pt x="12678" y="19964"/>
                    </a:moveTo>
                    <a:lnTo>
                      <a:pt x="14087" y="19964"/>
                    </a:lnTo>
                    <a:lnTo>
                      <a:pt x="14087" y="20618"/>
                    </a:lnTo>
                    <a:lnTo>
                      <a:pt x="15026" y="20618"/>
                    </a:lnTo>
                    <a:lnTo>
                      <a:pt x="14087" y="20945"/>
                    </a:lnTo>
                    <a:lnTo>
                      <a:pt x="13148" y="20945"/>
                    </a:lnTo>
                    <a:lnTo>
                      <a:pt x="13148" y="20618"/>
                    </a:lnTo>
                    <a:lnTo>
                      <a:pt x="12678" y="20618"/>
                    </a:lnTo>
                    <a:lnTo>
                      <a:pt x="12678" y="19964"/>
                    </a:lnTo>
                    <a:close/>
                    <a:moveTo>
                      <a:pt x="7513" y="7855"/>
                    </a:moveTo>
                    <a:lnTo>
                      <a:pt x="7513" y="8509"/>
                    </a:lnTo>
                    <a:lnTo>
                      <a:pt x="9391" y="8509"/>
                    </a:lnTo>
                    <a:lnTo>
                      <a:pt x="9391" y="7855"/>
                    </a:lnTo>
                    <a:lnTo>
                      <a:pt x="7513" y="7855"/>
                    </a:lnTo>
                    <a:close/>
                    <a:moveTo>
                      <a:pt x="10800" y="4909"/>
                    </a:moveTo>
                    <a:lnTo>
                      <a:pt x="11739" y="5564"/>
                    </a:lnTo>
                    <a:lnTo>
                      <a:pt x="12678" y="5564"/>
                    </a:lnTo>
                    <a:lnTo>
                      <a:pt x="12678" y="4909"/>
                    </a:lnTo>
                    <a:lnTo>
                      <a:pt x="10800" y="4909"/>
                    </a:lnTo>
                    <a:close/>
                    <a:moveTo>
                      <a:pt x="7513" y="4909"/>
                    </a:moveTo>
                    <a:lnTo>
                      <a:pt x="6574" y="5564"/>
                    </a:lnTo>
                    <a:lnTo>
                      <a:pt x="6574" y="6218"/>
                    </a:lnTo>
                    <a:lnTo>
                      <a:pt x="6104" y="6218"/>
                    </a:lnTo>
                    <a:lnTo>
                      <a:pt x="6104" y="7200"/>
                    </a:lnTo>
                    <a:lnTo>
                      <a:pt x="5165" y="7855"/>
                    </a:lnTo>
                    <a:lnTo>
                      <a:pt x="6104" y="7855"/>
                    </a:lnTo>
                    <a:lnTo>
                      <a:pt x="6104" y="7200"/>
                    </a:lnTo>
                    <a:lnTo>
                      <a:pt x="6574" y="7200"/>
                    </a:lnTo>
                    <a:lnTo>
                      <a:pt x="6574" y="6873"/>
                    </a:lnTo>
                    <a:lnTo>
                      <a:pt x="7513" y="6873"/>
                    </a:lnTo>
                    <a:lnTo>
                      <a:pt x="7513" y="7200"/>
                    </a:lnTo>
                    <a:lnTo>
                      <a:pt x="8452" y="7200"/>
                    </a:lnTo>
                    <a:lnTo>
                      <a:pt x="8452" y="6873"/>
                    </a:lnTo>
                    <a:lnTo>
                      <a:pt x="9391" y="6218"/>
                    </a:lnTo>
                    <a:lnTo>
                      <a:pt x="9391" y="5564"/>
                    </a:lnTo>
                    <a:lnTo>
                      <a:pt x="9861" y="5564"/>
                    </a:lnTo>
                    <a:lnTo>
                      <a:pt x="9861" y="4909"/>
                    </a:lnTo>
                    <a:lnTo>
                      <a:pt x="7513" y="4909"/>
                    </a:lnTo>
                    <a:close/>
                    <a:moveTo>
                      <a:pt x="16435" y="327"/>
                    </a:moveTo>
                    <a:lnTo>
                      <a:pt x="18313" y="327"/>
                    </a:lnTo>
                    <a:lnTo>
                      <a:pt x="18313" y="3927"/>
                    </a:lnTo>
                    <a:lnTo>
                      <a:pt x="17374" y="4582"/>
                    </a:lnTo>
                    <a:lnTo>
                      <a:pt x="17374" y="4909"/>
                    </a:lnTo>
                    <a:lnTo>
                      <a:pt x="15965" y="4909"/>
                    </a:lnTo>
                    <a:lnTo>
                      <a:pt x="15965" y="5564"/>
                    </a:lnTo>
                    <a:lnTo>
                      <a:pt x="17374" y="5564"/>
                    </a:lnTo>
                    <a:lnTo>
                      <a:pt x="17374" y="7200"/>
                    </a:lnTo>
                    <a:lnTo>
                      <a:pt x="16435" y="7200"/>
                    </a:lnTo>
                    <a:lnTo>
                      <a:pt x="16435" y="8509"/>
                    </a:lnTo>
                    <a:lnTo>
                      <a:pt x="18313" y="8509"/>
                    </a:lnTo>
                    <a:lnTo>
                      <a:pt x="18313" y="9164"/>
                    </a:lnTo>
                    <a:lnTo>
                      <a:pt x="20661" y="9164"/>
                    </a:lnTo>
                    <a:lnTo>
                      <a:pt x="20661" y="9491"/>
                    </a:lnTo>
                    <a:lnTo>
                      <a:pt x="21600" y="9491"/>
                    </a:lnTo>
                    <a:lnTo>
                      <a:pt x="21600" y="10145"/>
                    </a:lnTo>
                    <a:lnTo>
                      <a:pt x="20661" y="10145"/>
                    </a:lnTo>
                    <a:lnTo>
                      <a:pt x="20661" y="11455"/>
                    </a:lnTo>
                    <a:lnTo>
                      <a:pt x="19722" y="11455"/>
                    </a:lnTo>
                    <a:lnTo>
                      <a:pt x="19252" y="11782"/>
                    </a:lnTo>
                    <a:lnTo>
                      <a:pt x="17374" y="11782"/>
                    </a:lnTo>
                    <a:lnTo>
                      <a:pt x="17374" y="11455"/>
                    </a:lnTo>
                    <a:lnTo>
                      <a:pt x="18313" y="11455"/>
                    </a:lnTo>
                    <a:lnTo>
                      <a:pt x="18313" y="10800"/>
                    </a:lnTo>
                    <a:lnTo>
                      <a:pt x="17374" y="10800"/>
                    </a:lnTo>
                    <a:lnTo>
                      <a:pt x="17374" y="11455"/>
                    </a:lnTo>
                    <a:lnTo>
                      <a:pt x="16435" y="11455"/>
                    </a:lnTo>
                    <a:lnTo>
                      <a:pt x="16435" y="13745"/>
                    </a:lnTo>
                    <a:lnTo>
                      <a:pt x="15965" y="14073"/>
                    </a:lnTo>
                    <a:lnTo>
                      <a:pt x="15026" y="13745"/>
                    </a:lnTo>
                    <a:lnTo>
                      <a:pt x="15026" y="14727"/>
                    </a:lnTo>
                    <a:lnTo>
                      <a:pt x="14087" y="14727"/>
                    </a:lnTo>
                    <a:lnTo>
                      <a:pt x="14087" y="15382"/>
                    </a:lnTo>
                    <a:lnTo>
                      <a:pt x="12678" y="15382"/>
                    </a:lnTo>
                    <a:lnTo>
                      <a:pt x="12678" y="14727"/>
                    </a:lnTo>
                    <a:lnTo>
                      <a:pt x="11739" y="14727"/>
                    </a:lnTo>
                    <a:lnTo>
                      <a:pt x="11739" y="15382"/>
                    </a:lnTo>
                    <a:lnTo>
                      <a:pt x="12678" y="15382"/>
                    </a:lnTo>
                    <a:lnTo>
                      <a:pt x="12678" y="16036"/>
                    </a:lnTo>
                    <a:lnTo>
                      <a:pt x="11739" y="16036"/>
                    </a:lnTo>
                    <a:lnTo>
                      <a:pt x="11739" y="18327"/>
                    </a:lnTo>
                    <a:lnTo>
                      <a:pt x="12678" y="18327"/>
                    </a:lnTo>
                    <a:lnTo>
                      <a:pt x="12678" y="18655"/>
                    </a:lnTo>
                    <a:lnTo>
                      <a:pt x="10800" y="18655"/>
                    </a:lnTo>
                    <a:lnTo>
                      <a:pt x="10800" y="19964"/>
                    </a:lnTo>
                    <a:lnTo>
                      <a:pt x="11739" y="19964"/>
                    </a:lnTo>
                    <a:lnTo>
                      <a:pt x="11739" y="20945"/>
                    </a:lnTo>
                    <a:lnTo>
                      <a:pt x="10800" y="20945"/>
                    </a:lnTo>
                    <a:lnTo>
                      <a:pt x="10800" y="21600"/>
                    </a:lnTo>
                    <a:lnTo>
                      <a:pt x="9391" y="21600"/>
                    </a:lnTo>
                    <a:lnTo>
                      <a:pt x="9391" y="20945"/>
                    </a:lnTo>
                    <a:lnTo>
                      <a:pt x="6574" y="20945"/>
                    </a:lnTo>
                    <a:lnTo>
                      <a:pt x="6104" y="20618"/>
                    </a:lnTo>
                    <a:lnTo>
                      <a:pt x="5165" y="20618"/>
                    </a:lnTo>
                    <a:lnTo>
                      <a:pt x="5165" y="20945"/>
                    </a:lnTo>
                    <a:lnTo>
                      <a:pt x="4226" y="20945"/>
                    </a:lnTo>
                    <a:lnTo>
                      <a:pt x="4226" y="19309"/>
                    </a:lnTo>
                    <a:lnTo>
                      <a:pt x="2817" y="19309"/>
                    </a:lnTo>
                    <a:lnTo>
                      <a:pt x="2817" y="18655"/>
                    </a:lnTo>
                    <a:lnTo>
                      <a:pt x="4226" y="18655"/>
                    </a:lnTo>
                    <a:lnTo>
                      <a:pt x="4226" y="17018"/>
                    </a:lnTo>
                    <a:lnTo>
                      <a:pt x="3287" y="17018"/>
                    </a:lnTo>
                    <a:lnTo>
                      <a:pt x="3287" y="16364"/>
                    </a:lnTo>
                    <a:lnTo>
                      <a:pt x="2817" y="16364"/>
                    </a:lnTo>
                    <a:lnTo>
                      <a:pt x="2817" y="16036"/>
                    </a:lnTo>
                    <a:lnTo>
                      <a:pt x="1878" y="16036"/>
                    </a:lnTo>
                    <a:lnTo>
                      <a:pt x="1878" y="17018"/>
                    </a:lnTo>
                    <a:lnTo>
                      <a:pt x="939" y="17018"/>
                    </a:lnTo>
                    <a:lnTo>
                      <a:pt x="939" y="16364"/>
                    </a:lnTo>
                    <a:lnTo>
                      <a:pt x="0" y="16364"/>
                    </a:lnTo>
                    <a:lnTo>
                      <a:pt x="0" y="16036"/>
                    </a:lnTo>
                    <a:lnTo>
                      <a:pt x="939" y="15382"/>
                    </a:lnTo>
                    <a:lnTo>
                      <a:pt x="939" y="13745"/>
                    </a:lnTo>
                    <a:lnTo>
                      <a:pt x="1878" y="13745"/>
                    </a:lnTo>
                    <a:lnTo>
                      <a:pt x="1878" y="12436"/>
                    </a:lnTo>
                    <a:lnTo>
                      <a:pt x="939" y="12436"/>
                    </a:lnTo>
                    <a:lnTo>
                      <a:pt x="939" y="13745"/>
                    </a:lnTo>
                    <a:lnTo>
                      <a:pt x="0" y="13745"/>
                    </a:lnTo>
                    <a:lnTo>
                      <a:pt x="0" y="8509"/>
                    </a:lnTo>
                    <a:lnTo>
                      <a:pt x="939" y="8509"/>
                    </a:lnTo>
                    <a:lnTo>
                      <a:pt x="939" y="7855"/>
                    </a:lnTo>
                    <a:lnTo>
                      <a:pt x="1878" y="7855"/>
                    </a:lnTo>
                    <a:lnTo>
                      <a:pt x="1878" y="8509"/>
                    </a:lnTo>
                    <a:lnTo>
                      <a:pt x="2817" y="8509"/>
                    </a:lnTo>
                    <a:lnTo>
                      <a:pt x="2817" y="7855"/>
                    </a:lnTo>
                    <a:lnTo>
                      <a:pt x="3287" y="7855"/>
                    </a:lnTo>
                    <a:lnTo>
                      <a:pt x="3287" y="9164"/>
                    </a:lnTo>
                    <a:lnTo>
                      <a:pt x="5165" y="9164"/>
                    </a:lnTo>
                    <a:lnTo>
                      <a:pt x="5165" y="8509"/>
                    </a:lnTo>
                    <a:lnTo>
                      <a:pt x="4226" y="8509"/>
                    </a:lnTo>
                    <a:lnTo>
                      <a:pt x="4226" y="7200"/>
                    </a:lnTo>
                    <a:lnTo>
                      <a:pt x="2817" y="7200"/>
                    </a:lnTo>
                    <a:lnTo>
                      <a:pt x="2817" y="7855"/>
                    </a:lnTo>
                    <a:lnTo>
                      <a:pt x="1878" y="7855"/>
                    </a:lnTo>
                    <a:lnTo>
                      <a:pt x="1878" y="6218"/>
                    </a:lnTo>
                    <a:lnTo>
                      <a:pt x="4226" y="4582"/>
                    </a:lnTo>
                    <a:lnTo>
                      <a:pt x="9861" y="4582"/>
                    </a:lnTo>
                    <a:lnTo>
                      <a:pt x="9861" y="3927"/>
                    </a:lnTo>
                    <a:lnTo>
                      <a:pt x="10800" y="3927"/>
                    </a:lnTo>
                    <a:lnTo>
                      <a:pt x="11739" y="3273"/>
                    </a:lnTo>
                    <a:lnTo>
                      <a:pt x="11739" y="2618"/>
                    </a:lnTo>
                    <a:lnTo>
                      <a:pt x="13148" y="1636"/>
                    </a:lnTo>
                    <a:lnTo>
                      <a:pt x="14087" y="1636"/>
                    </a:lnTo>
                    <a:lnTo>
                      <a:pt x="15026" y="982"/>
                    </a:lnTo>
                    <a:lnTo>
                      <a:pt x="15965" y="982"/>
                    </a:lnTo>
                    <a:lnTo>
                      <a:pt x="16435" y="327"/>
                    </a:lnTo>
                    <a:close/>
                    <a:moveTo>
                      <a:pt x="18313" y="0"/>
                    </a:moveTo>
                    <a:lnTo>
                      <a:pt x="19252" y="0"/>
                    </a:lnTo>
                    <a:lnTo>
                      <a:pt x="19252" y="327"/>
                    </a:lnTo>
                    <a:lnTo>
                      <a:pt x="18313" y="327"/>
                    </a:lnTo>
                    <a:lnTo>
                      <a:pt x="18313" y="0"/>
                    </a:lnTo>
                    <a:close/>
                    <a:moveTo>
                      <a:pt x="18313" y="0"/>
                    </a:moveTo>
                  </a:path>
                </a:pathLst>
              </a:custGeom>
              <a:solidFill>
                <a:srgbClr val="B2EAE7"/>
              </a:solidFill>
              <a:ln w="12700">
                <a:solidFill>
                  <a:srgbClr val="FFFFFF"/>
                </a:solidFill>
                <a:round/>
                <a:headEnd/>
                <a:tailEnd/>
              </a:ln>
            </p:spPr>
            <p:txBody>
              <a:bodyPr lIns="0" tIns="0" rIns="0" bIns="0"/>
              <a:lstStyle/>
              <a:p>
                <a:endParaRPr lang="en-US"/>
              </a:p>
            </p:txBody>
          </p:sp>
          <p:sp>
            <p:nvSpPr>
              <p:cNvPr id="153" name="AutoShape 107"/>
              <p:cNvSpPr>
                <a:spLocks/>
              </p:cNvSpPr>
              <p:nvPr/>
            </p:nvSpPr>
            <p:spPr bwMode="auto">
              <a:xfrm>
                <a:off x="2040" y="2826"/>
                <a:ext cx="625" cy="29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1600"/>
                  <a:gd name="T163" fmla="*/ 0 h 21600"/>
                  <a:gd name="T164" fmla="*/ 21600 w 21600"/>
                  <a:gd name="T165" fmla="*/ 21600 h 2160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1600" h="21600">
                    <a:moveTo>
                      <a:pt x="0" y="5815"/>
                    </a:moveTo>
                    <a:lnTo>
                      <a:pt x="785" y="5815"/>
                    </a:lnTo>
                    <a:lnTo>
                      <a:pt x="785" y="7062"/>
                    </a:lnTo>
                    <a:lnTo>
                      <a:pt x="393" y="7062"/>
                    </a:lnTo>
                    <a:lnTo>
                      <a:pt x="393" y="6646"/>
                    </a:lnTo>
                    <a:lnTo>
                      <a:pt x="0" y="5815"/>
                    </a:lnTo>
                    <a:close/>
                    <a:moveTo>
                      <a:pt x="15513" y="4985"/>
                    </a:moveTo>
                    <a:lnTo>
                      <a:pt x="15905" y="4985"/>
                    </a:lnTo>
                    <a:lnTo>
                      <a:pt x="15905" y="5815"/>
                    </a:lnTo>
                    <a:lnTo>
                      <a:pt x="15513" y="4985"/>
                    </a:lnTo>
                    <a:close/>
                    <a:moveTo>
                      <a:pt x="7265" y="0"/>
                    </a:moveTo>
                    <a:lnTo>
                      <a:pt x="8247" y="0"/>
                    </a:lnTo>
                    <a:lnTo>
                      <a:pt x="8247" y="1662"/>
                    </a:lnTo>
                    <a:lnTo>
                      <a:pt x="9622" y="1662"/>
                    </a:lnTo>
                    <a:lnTo>
                      <a:pt x="9622" y="0"/>
                    </a:lnTo>
                    <a:lnTo>
                      <a:pt x="10015" y="0"/>
                    </a:lnTo>
                    <a:lnTo>
                      <a:pt x="10015" y="831"/>
                    </a:lnTo>
                    <a:lnTo>
                      <a:pt x="10407" y="831"/>
                    </a:lnTo>
                    <a:lnTo>
                      <a:pt x="10407" y="1662"/>
                    </a:lnTo>
                    <a:lnTo>
                      <a:pt x="10604" y="1662"/>
                    </a:lnTo>
                    <a:lnTo>
                      <a:pt x="10604" y="2077"/>
                    </a:lnTo>
                    <a:lnTo>
                      <a:pt x="11389" y="2077"/>
                    </a:lnTo>
                    <a:lnTo>
                      <a:pt x="11389" y="2908"/>
                    </a:lnTo>
                    <a:lnTo>
                      <a:pt x="12371" y="2908"/>
                    </a:lnTo>
                    <a:lnTo>
                      <a:pt x="12371" y="3738"/>
                    </a:lnTo>
                    <a:lnTo>
                      <a:pt x="13353" y="3738"/>
                    </a:lnTo>
                    <a:lnTo>
                      <a:pt x="13353" y="2908"/>
                    </a:lnTo>
                    <a:lnTo>
                      <a:pt x="13745" y="2908"/>
                    </a:lnTo>
                    <a:lnTo>
                      <a:pt x="13745" y="3738"/>
                    </a:lnTo>
                    <a:lnTo>
                      <a:pt x="14138" y="3738"/>
                    </a:lnTo>
                    <a:lnTo>
                      <a:pt x="14138" y="4569"/>
                    </a:lnTo>
                    <a:lnTo>
                      <a:pt x="13745" y="4569"/>
                    </a:lnTo>
                    <a:lnTo>
                      <a:pt x="13745" y="4985"/>
                    </a:lnTo>
                    <a:lnTo>
                      <a:pt x="13353" y="4985"/>
                    </a:lnTo>
                    <a:lnTo>
                      <a:pt x="13353" y="5815"/>
                    </a:lnTo>
                    <a:lnTo>
                      <a:pt x="13745" y="5815"/>
                    </a:lnTo>
                    <a:lnTo>
                      <a:pt x="13745" y="6646"/>
                    </a:lnTo>
                    <a:lnTo>
                      <a:pt x="14531" y="6646"/>
                    </a:lnTo>
                    <a:lnTo>
                      <a:pt x="14531" y="7892"/>
                    </a:lnTo>
                    <a:lnTo>
                      <a:pt x="15120" y="7892"/>
                    </a:lnTo>
                    <a:lnTo>
                      <a:pt x="15120" y="7062"/>
                    </a:lnTo>
                    <a:lnTo>
                      <a:pt x="15905" y="7062"/>
                    </a:lnTo>
                    <a:lnTo>
                      <a:pt x="15905" y="5815"/>
                    </a:lnTo>
                    <a:lnTo>
                      <a:pt x="16887" y="5815"/>
                    </a:lnTo>
                    <a:lnTo>
                      <a:pt x="16887" y="6646"/>
                    </a:lnTo>
                    <a:lnTo>
                      <a:pt x="17869" y="6646"/>
                    </a:lnTo>
                    <a:lnTo>
                      <a:pt x="17869" y="7062"/>
                    </a:lnTo>
                    <a:lnTo>
                      <a:pt x="17476" y="7062"/>
                    </a:lnTo>
                    <a:lnTo>
                      <a:pt x="17476" y="7892"/>
                    </a:lnTo>
                    <a:lnTo>
                      <a:pt x="18262" y="7892"/>
                    </a:lnTo>
                    <a:lnTo>
                      <a:pt x="18262" y="9554"/>
                    </a:lnTo>
                    <a:lnTo>
                      <a:pt x="18851" y="9554"/>
                    </a:lnTo>
                    <a:lnTo>
                      <a:pt x="18851" y="8723"/>
                    </a:lnTo>
                    <a:lnTo>
                      <a:pt x="19244" y="8723"/>
                    </a:lnTo>
                    <a:lnTo>
                      <a:pt x="19244" y="9554"/>
                    </a:lnTo>
                    <a:lnTo>
                      <a:pt x="19833" y="9554"/>
                    </a:lnTo>
                    <a:lnTo>
                      <a:pt x="19833" y="9969"/>
                    </a:lnTo>
                    <a:lnTo>
                      <a:pt x="20618" y="9969"/>
                    </a:lnTo>
                    <a:lnTo>
                      <a:pt x="20618" y="11631"/>
                    </a:lnTo>
                    <a:lnTo>
                      <a:pt x="21011" y="11631"/>
                    </a:lnTo>
                    <a:lnTo>
                      <a:pt x="21011" y="12462"/>
                    </a:lnTo>
                    <a:lnTo>
                      <a:pt x="21600" y="12462"/>
                    </a:lnTo>
                    <a:lnTo>
                      <a:pt x="21600" y="12877"/>
                    </a:lnTo>
                    <a:lnTo>
                      <a:pt x="21011" y="12877"/>
                    </a:lnTo>
                    <a:lnTo>
                      <a:pt x="20225" y="14538"/>
                    </a:lnTo>
                    <a:lnTo>
                      <a:pt x="19833" y="14538"/>
                    </a:lnTo>
                    <a:lnTo>
                      <a:pt x="19833" y="15369"/>
                    </a:lnTo>
                    <a:lnTo>
                      <a:pt x="19636" y="15369"/>
                    </a:lnTo>
                    <a:lnTo>
                      <a:pt x="19244" y="15785"/>
                    </a:lnTo>
                    <a:lnTo>
                      <a:pt x="19244" y="17446"/>
                    </a:lnTo>
                    <a:lnTo>
                      <a:pt x="18851" y="17446"/>
                    </a:lnTo>
                    <a:lnTo>
                      <a:pt x="18851" y="18277"/>
                    </a:lnTo>
                    <a:lnTo>
                      <a:pt x="18262" y="18277"/>
                    </a:lnTo>
                    <a:lnTo>
                      <a:pt x="18262" y="18692"/>
                    </a:lnTo>
                    <a:lnTo>
                      <a:pt x="17869" y="18692"/>
                    </a:lnTo>
                    <a:lnTo>
                      <a:pt x="17869" y="19523"/>
                    </a:lnTo>
                    <a:lnTo>
                      <a:pt x="16495" y="19523"/>
                    </a:lnTo>
                    <a:lnTo>
                      <a:pt x="16495" y="18692"/>
                    </a:lnTo>
                    <a:lnTo>
                      <a:pt x="15905" y="20354"/>
                    </a:lnTo>
                    <a:lnTo>
                      <a:pt x="15905" y="21185"/>
                    </a:lnTo>
                    <a:lnTo>
                      <a:pt x="15513" y="21185"/>
                    </a:lnTo>
                    <a:lnTo>
                      <a:pt x="15513" y="20354"/>
                    </a:lnTo>
                    <a:lnTo>
                      <a:pt x="14727" y="20354"/>
                    </a:lnTo>
                    <a:lnTo>
                      <a:pt x="14727" y="19523"/>
                    </a:lnTo>
                    <a:lnTo>
                      <a:pt x="14138" y="19523"/>
                    </a:lnTo>
                    <a:lnTo>
                      <a:pt x="14138" y="20354"/>
                    </a:lnTo>
                    <a:lnTo>
                      <a:pt x="12764" y="20354"/>
                    </a:lnTo>
                    <a:lnTo>
                      <a:pt x="12371" y="19523"/>
                    </a:lnTo>
                    <a:lnTo>
                      <a:pt x="11978" y="19523"/>
                    </a:lnTo>
                    <a:lnTo>
                      <a:pt x="11978" y="18692"/>
                    </a:lnTo>
                    <a:lnTo>
                      <a:pt x="10604" y="18692"/>
                    </a:lnTo>
                    <a:lnTo>
                      <a:pt x="10604" y="18277"/>
                    </a:lnTo>
                    <a:lnTo>
                      <a:pt x="10407" y="18277"/>
                    </a:lnTo>
                    <a:lnTo>
                      <a:pt x="10015" y="18692"/>
                    </a:lnTo>
                    <a:lnTo>
                      <a:pt x="10015" y="18277"/>
                    </a:lnTo>
                    <a:lnTo>
                      <a:pt x="9229" y="18277"/>
                    </a:lnTo>
                    <a:lnTo>
                      <a:pt x="9229" y="20354"/>
                    </a:lnTo>
                    <a:lnTo>
                      <a:pt x="8640" y="20354"/>
                    </a:lnTo>
                    <a:lnTo>
                      <a:pt x="8640" y="21185"/>
                    </a:lnTo>
                    <a:lnTo>
                      <a:pt x="8247" y="21600"/>
                    </a:lnTo>
                    <a:lnTo>
                      <a:pt x="7855" y="21600"/>
                    </a:lnTo>
                    <a:lnTo>
                      <a:pt x="7855" y="21185"/>
                    </a:lnTo>
                    <a:lnTo>
                      <a:pt x="7658" y="21185"/>
                    </a:lnTo>
                    <a:lnTo>
                      <a:pt x="7658" y="21600"/>
                    </a:lnTo>
                    <a:lnTo>
                      <a:pt x="6480" y="21600"/>
                    </a:lnTo>
                    <a:lnTo>
                      <a:pt x="6480" y="21185"/>
                    </a:lnTo>
                    <a:lnTo>
                      <a:pt x="6284" y="21185"/>
                    </a:lnTo>
                    <a:lnTo>
                      <a:pt x="6284" y="20354"/>
                    </a:lnTo>
                    <a:lnTo>
                      <a:pt x="5891" y="20354"/>
                    </a:lnTo>
                    <a:lnTo>
                      <a:pt x="5891" y="19523"/>
                    </a:lnTo>
                    <a:lnTo>
                      <a:pt x="5498" y="18692"/>
                    </a:lnTo>
                    <a:lnTo>
                      <a:pt x="5105" y="18692"/>
                    </a:lnTo>
                    <a:lnTo>
                      <a:pt x="5105" y="18277"/>
                    </a:lnTo>
                    <a:lnTo>
                      <a:pt x="4516" y="18277"/>
                    </a:lnTo>
                    <a:lnTo>
                      <a:pt x="4516" y="17446"/>
                    </a:lnTo>
                    <a:lnTo>
                      <a:pt x="4124" y="17446"/>
                    </a:lnTo>
                    <a:lnTo>
                      <a:pt x="4124" y="16615"/>
                    </a:lnTo>
                    <a:lnTo>
                      <a:pt x="3535" y="16615"/>
                    </a:lnTo>
                    <a:lnTo>
                      <a:pt x="3535" y="15369"/>
                    </a:lnTo>
                    <a:lnTo>
                      <a:pt x="3142" y="15369"/>
                    </a:lnTo>
                    <a:lnTo>
                      <a:pt x="2749" y="14538"/>
                    </a:lnTo>
                    <a:lnTo>
                      <a:pt x="2356" y="14538"/>
                    </a:lnTo>
                    <a:lnTo>
                      <a:pt x="2356" y="13708"/>
                    </a:lnTo>
                    <a:lnTo>
                      <a:pt x="2160" y="13708"/>
                    </a:lnTo>
                    <a:lnTo>
                      <a:pt x="2160" y="12877"/>
                    </a:lnTo>
                    <a:lnTo>
                      <a:pt x="1767" y="12877"/>
                    </a:lnTo>
                    <a:lnTo>
                      <a:pt x="1767" y="12462"/>
                    </a:lnTo>
                    <a:lnTo>
                      <a:pt x="1375" y="12462"/>
                    </a:lnTo>
                    <a:lnTo>
                      <a:pt x="1375" y="10800"/>
                    </a:lnTo>
                    <a:lnTo>
                      <a:pt x="982" y="10800"/>
                    </a:lnTo>
                    <a:lnTo>
                      <a:pt x="1375" y="9969"/>
                    </a:lnTo>
                    <a:lnTo>
                      <a:pt x="1767" y="9969"/>
                    </a:lnTo>
                    <a:lnTo>
                      <a:pt x="1767" y="9554"/>
                    </a:lnTo>
                    <a:lnTo>
                      <a:pt x="1375" y="9554"/>
                    </a:lnTo>
                    <a:lnTo>
                      <a:pt x="1375" y="8723"/>
                    </a:lnTo>
                    <a:lnTo>
                      <a:pt x="982" y="8723"/>
                    </a:lnTo>
                    <a:lnTo>
                      <a:pt x="982" y="7892"/>
                    </a:lnTo>
                    <a:lnTo>
                      <a:pt x="785" y="7892"/>
                    </a:lnTo>
                    <a:lnTo>
                      <a:pt x="785" y="7062"/>
                    </a:lnTo>
                    <a:lnTo>
                      <a:pt x="982" y="7062"/>
                    </a:lnTo>
                    <a:lnTo>
                      <a:pt x="982" y="6646"/>
                    </a:lnTo>
                    <a:lnTo>
                      <a:pt x="1375" y="6646"/>
                    </a:lnTo>
                    <a:lnTo>
                      <a:pt x="1375" y="5815"/>
                    </a:lnTo>
                    <a:lnTo>
                      <a:pt x="1767" y="5815"/>
                    </a:lnTo>
                    <a:lnTo>
                      <a:pt x="1767" y="4985"/>
                    </a:lnTo>
                    <a:lnTo>
                      <a:pt x="2356" y="4985"/>
                    </a:lnTo>
                    <a:lnTo>
                      <a:pt x="2356" y="5815"/>
                    </a:lnTo>
                    <a:lnTo>
                      <a:pt x="2749" y="5815"/>
                    </a:lnTo>
                    <a:lnTo>
                      <a:pt x="3535" y="4569"/>
                    </a:lnTo>
                    <a:lnTo>
                      <a:pt x="4124" y="4569"/>
                    </a:lnTo>
                    <a:lnTo>
                      <a:pt x="4124" y="3738"/>
                    </a:lnTo>
                    <a:lnTo>
                      <a:pt x="4909" y="3738"/>
                    </a:lnTo>
                    <a:lnTo>
                      <a:pt x="4909" y="2908"/>
                    </a:lnTo>
                    <a:lnTo>
                      <a:pt x="5105" y="2908"/>
                    </a:lnTo>
                    <a:lnTo>
                      <a:pt x="5105" y="2077"/>
                    </a:lnTo>
                    <a:lnTo>
                      <a:pt x="6284" y="2077"/>
                    </a:lnTo>
                    <a:lnTo>
                      <a:pt x="6284" y="1662"/>
                    </a:lnTo>
                    <a:lnTo>
                      <a:pt x="7658" y="1662"/>
                    </a:lnTo>
                    <a:lnTo>
                      <a:pt x="7658" y="831"/>
                    </a:lnTo>
                    <a:lnTo>
                      <a:pt x="7265" y="831"/>
                    </a:lnTo>
                    <a:lnTo>
                      <a:pt x="7265" y="0"/>
                    </a:lnTo>
                    <a:close/>
                    <a:moveTo>
                      <a:pt x="7265" y="0"/>
                    </a:moveTo>
                  </a:path>
                </a:pathLst>
              </a:custGeom>
              <a:solidFill>
                <a:srgbClr val="00BACF"/>
              </a:solidFill>
              <a:ln w="12700">
                <a:solidFill>
                  <a:srgbClr val="FFFFFF"/>
                </a:solidFill>
                <a:round/>
                <a:headEnd/>
                <a:tailEnd/>
              </a:ln>
            </p:spPr>
            <p:txBody>
              <a:bodyPr lIns="0" tIns="0" rIns="0" bIns="0"/>
              <a:lstStyle/>
              <a:p>
                <a:endParaRPr lang="en-US"/>
              </a:p>
            </p:txBody>
          </p:sp>
          <p:sp>
            <p:nvSpPr>
              <p:cNvPr id="154" name="AutoShape 108"/>
              <p:cNvSpPr>
                <a:spLocks/>
              </p:cNvSpPr>
              <p:nvPr/>
            </p:nvSpPr>
            <p:spPr bwMode="auto">
              <a:xfrm>
                <a:off x="2301" y="3622"/>
                <a:ext cx="32" cy="3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600"/>
                  <a:gd name="T52" fmla="*/ 0 h 21600"/>
                  <a:gd name="T53" fmla="*/ 21600 w 21600"/>
                  <a:gd name="T54" fmla="*/ 21600 h 2160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600" h="21600">
                    <a:moveTo>
                      <a:pt x="8100" y="8100"/>
                    </a:moveTo>
                    <a:lnTo>
                      <a:pt x="13500" y="13500"/>
                    </a:lnTo>
                    <a:lnTo>
                      <a:pt x="18900" y="13500"/>
                    </a:lnTo>
                    <a:lnTo>
                      <a:pt x="21600" y="18900"/>
                    </a:lnTo>
                    <a:lnTo>
                      <a:pt x="21600" y="21600"/>
                    </a:lnTo>
                    <a:lnTo>
                      <a:pt x="18900" y="18900"/>
                    </a:lnTo>
                    <a:lnTo>
                      <a:pt x="8100" y="13500"/>
                    </a:lnTo>
                    <a:lnTo>
                      <a:pt x="8100" y="8100"/>
                    </a:lnTo>
                    <a:close/>
                    <a:moveTo>
                      <a:pt x="2700" y="2700"/>
                    </a:moveTo>
                    <a:lnTo>
                      <a:pt x="8100" y="8100"/>
                    </a:lnTo>
                    <a:lnTo>
                      <a:pt x="2700" y="8100"/>
                    </a:lnTo>
                    <a:lnTo>
                      <a:pt x="2700" y="2700"/>
                    </a:lnTo>
                    <a:close/>
                    <a:moveTo>
                      <a:pt x="0" y="0"/>
                    </a:moveTo>
                    <a:lnTo>
                      <a:pt x="2700" y="0"/>
                    </a:lnTo>
                    <a:lnTo>
                      <a:pt x="2700" y="2700"/>
                    </a:lnTo>
                    <a:lnTo>
                      <a:pt x="0" y="0"/>
                    </a:lnTo>
                    <a:close/>
                    <a:moveTo>
                      <a:pt x="0" y="0"/>
                    </a:moveTo>
                  </a:path>
                </a:pathLst>
              </a:custGeom>
              <a:solidFill>
                <a:srgbClr val="B2EAE7"/>
              </a:solidFill>
              <a:ln w="12700">
                <a:solidFill>
                  <a:srgbClr val="FFFFFF"/>
                </a:solidFill>
                <a:round/>
                <a:headEnd/>
                <a:tailEnd/>
              </a:ln>
            </p:spPr>
            <p:txBody>
              <a:bodyPr lIns="0" tIns="0" rIns="0" bIns="0"/>
              <a:lstStyle/>
              <a:p>
                <a:endParaRPr lang="en-US"/>
              </a:p>
            </p:txBody>
          </p:sp>
          <p:sp>
            <p:nvSpPr>
              <p:cNvPr id="155" name="Freeform 109"/>
              <p:cNvSpPr>
                <a:spLocks/>
              </p:cNvSpPr>
              <p:nvPr/>
            </p:nvSpPr>
            <p:spPr bwMode="auto">
              <a:xfrm>
                <a:off x="2250" y="3516"/>
                <a:ext cx="17" cy="57"/>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1600"/>
                  <a:gd name="T31" fmla="*/ 0 h 21600"/>
                  <a:gd name="T32" fmla="*/ 21600 w 21600"/>
                  <a:gd name="T33" fmla="*/ 21600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a:moveTo>
                      <a:pt x="0" y="0"/>
                    </a:moveTo>
                    <a:lnTo>
                      <a:pt x="14400" y="0"/>
                    </a:lnTo>
                    <a:lnTo>
                      <a:pt x="14400" y="6480"/>
                    </a:lnTo>
                    <a:lnTo>
                      <a:pt x="21600" y="10800"/>
                    </a:lnTo>
                    <a:lnTo>
                      <a:pt x="21600" y="21600"/>
                    </a:lnTo>
                    <a:lnTo>
                      <a:pt x="14400" y="21600"/>
                    </a:lnTo>
                    <a:lnTo>
                      <a:pt x="14400" y="15120"/>
                    </a:lnTo>
                    <a:lnTo>
                      <a:pt x="0" y="10800"/>
                    </a:lnTo>
                    <a:lnTo>
                      <a:pt x="0" y="0"/>
                    </a:lnTo>
                    <a:close/>
                    <a:moveTo>
                      <a:pt x="0" y="0"/>
                    </a:moveTo>
                  </a:path>
                </a:pathLst>
              </a:custGeom>
              <a:solidFill>
                <a:srgbClr val="B2EAE7"/>
              </a:solidFill>
              <a:ln w="12700">
                <a:solidFill>
                  <a:srgbClr val="FFFFFF"/>
                </a:solidFill>
                <a:round/>
                <a:headEnd/>
                <a:tailEnd/>
              </a:ln>
            </p:spPr>
            <p:txBody>
              <a:bodyPr lIns="0" tIns="0" rIns="0" bIns="0"/>
              <a:lstStyle/>
              <a:p>
                <a:endParaRPr lang="en-US"/>
              </a:p>
            </p:txBody>
          </p:sp>
          <p:sp>
            <p:nvSpPr>
              <p:cNvPr id="156" name="AutoShape 110"/>
              <p:cNvSpPr>
                <a:spLocks/>
              </p:cNvSpPr>
              <p:nvPr/>
            </p:nvSpPr>
            <p:spPr bwMode="auto">
              <a:xfrm>
                <a:off x="2449" y="3718"/>
                <a:ext cx="51" cy="2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1600"/>
                  <a:gd name="T34" fmla="*/ 0 h 21600"/>
                  <a:gd name="T35" fmla="*/ 21600 w 21600"/>
                  <a:gd name="T36" fmla="*/ 21600 h 2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1600" h="21600">
                    <a:moveTo>
                      <a:pt x="12000" y="10800"/>
                    </a:moveTo>
                    <a:lnTo>
                      <a:pt x="21600" y="10800"/>
                    </a:lnTo>
                    <a:lnTo>
                      <a:pt x="21600" y="21600"/>
                    </a:lnTo>
                    <a:lnTo>
                      <a:pt x="16800" y="21600"/>
                    </a:lnTo>
                    <a:lnTo>
                      <a:pt x="12000" y="10800"/>
                    </a:lnTo>
                    <a:close/>
                    <a:moveTo>
                      <a:pt x="0" y="0"/>
                    </a:moveTo>
                    <a:lnTo>
                      <a:pt x="4800" y="0"/>
                    </a:lnTo>
                    <a:lnTo>
                      <a:pt x="4800" y="10800"/>
                    </a:lnTo>
                    <a:lnTo>
                      <a:pt x="0" y="10800"/>
                    </a:lnTo>
                    <a:lnTo>
                      <a:pt x="0" y="0"/>
                    </a:lnTo>
                    <a:close/>
                    <a:moveTo>
                      <a:pt x="0" y="0"/>
                    </a:moveTo>
                  </a:path>
                </a:pathLst>
              </a:custGeom>
              <a:solidFill>
                <a:srgbClr val="B2EAE7"/>
              </a:solidFill>
              <a:ln w="12700">
                <a:solidFill>
                  <a:srgbClr val="FFFFFF"/>
                </a:solidFill>
                <a:round/>
                <a:headEnd/>
                <a:tailEnd/>
              </a:ln>
            </p:spPr>
            <p:txBody>
              <a:bodyPr lIns="0" tIns="0" rIns="0" bIns="0"/>
              <a:lstStyle/>
              <a:p>
                <a:endParaRPr lang="en-US"/>
              </a:p>
            </p:txBody>
          </p:sp>
          <p:sp>
            <p:nvSpPr>
              <p:cNvPr id="157" name="AutoShape 111"/>
              <p:cNvSpPr>
                <a:spLocks/>
              </p:cNvSpPr>
              <p:nvPr/>
            </p:nvSpPr>
            <p:spPr bwMode="auto">
              <a:xfrm>
                <a:off x="2488" y="3741"/>
                <a:ext cx="69" cy="29"/>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1600"/>
                  <a:gd name="T49" fmla="*/ 0 h 21600"/>
                  <a:gd name="T50" fmla="*/ 21600 w 21600"/>
                  <a:gd name="T51" fmla="*/ 21600 h 2160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1600" h="21600">
                    <a:moveTo>
                      <a:pt x="12600" y="12960"/>
                    </a:moveTo>
                    <a:lnTo>
                      <a:pt x="21600" y="12960"/>
                    </a:lnTo>
                    <a:lnTo>
                      <a:pt x="21600" y="21600"/>
                    </a:lnTo>
                    <a:lnTo>
                      <a:pt x="16200" y="21600"/>
                    </a:lnTo>
                    <a:lnTo>
                      <a:pt x="12600" y="12960"/>
                    </a:lnTo>
                    <a:close/>
                    <a:moveTo>
                      <a:pt x="9000" y="4320"/>
                    </a:moveTo>
                    <a:lnTo>
                      <a:pt x="12600" y="4320"/>
                    </a:lnTo>
                    <a:lnTo>
                      <a:pt x="12600" y="12960"/>
                    </a:lnTo>
                    <a:lnTo>
                      <a:pt x="9000" y="12960"/>
                    </a:lnTo>
                    <a:lnTo>
                      <a:pt x="9000" y="4320"/>
                    </a:lnTo>
                    <a:close/>
                    <a:moveTo>
                      <a:pt x="0" y="0"/>
                    </a:moveTo>
                    <a:lnTo>
                      <a:pt x="3600" y="0"/>
                    </a:lnTo>
                    <a:lnTo>
                      <a:pt x="3600" y="4320"/>
                    </a:lnTo>
                    <a:lnTo>
                      <a:pt x="0" y="4320"/>
                    </a:lnTo>
                    <a:lnTo>
                      <a:pt x="0" y="0"/>
                    </a:lnTo>
                    <a:close/>
                    <a:moveTo>
                      <a:pt x="0" y="0"/>
                    </a:moveTo>
                  </a:path>
                </a:pathLst>
              </a:custGeom>
              <a:solidFill>
                <a:srgbClr val="B2EAE7"/>
              </a:solidFill>
              <a:ln w="12700">
                <a:solidFill>
                  <a:srgbClr val="FFFFFF"/>
                </a:solidFill>
                <a:round/>
                <a:headEnd/>
                <a:tailEnd/>
              </a:ln>
            </p:spPr>
            <p:txBody>
              <a:bodyPr lIns="0" tIns="0" rIns="0" bIns="0"/>
              <a:lstStyle/>
              <a:p>
                <a:endParaRPr lang="en-US"/>
              </a:p>
            </p:txBody>
          </p:sp>
          <p:sp>
            <p:nvSpPr>
              <p:cNvPr id="158" name="AutoShape 112"/>
              <p:cNvSpPr>
                <a:spLocks/>
              </p:cNvSpPr>
              <p:nvPr/>
            </p:nvSpPr>
            <p:spPr bwMode="auto">
              <a:xfrm>
                <a:off x="2555" y="3758"/>
                <a:ext cx="95" cy="6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1600"/>
                  <a:gd name="T70" fmla="*/ 0 h 21600"/>
                  <a:gd name="T71" fmla="*/ 21600 w 21600"/>
                  <a:gd name="T72" fmla="*/ 21600 h 2160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1600" h="21600">
                    <a:moveTo>
                      <a:pt x="18900" y="17673"/>
                    </a:moveTo>
                    <a:lnTo>
                      <a:pt x="21600" y="21600"/>
                    </a:lnTo>
                    <a:lnTo>
                      <a:pt x="18900" y="21600"/>
                    </a:lnTo>
                    <a:lnTo>
                      <a:pt x="18900" y="17673"/>
                    </a:lnTo>
                    <a:close/>
                    <a:moveTo>
                      <a:pt x="0" y="0"/>
                    </a:moveTo>
                    <a:lnTo>
                      <a:pt x="2700" y="0"/>
                    </a:lnTo>
                    <a:lnTo>
                      <a:pt x="4050" y="3927"/>
                    </a:lnTo>
                    <a:lnTo>
                      <a:pt x="6750" y="3927"/>
                    </a:lnTo>
                    <a:lnTo>
                      <a:pt x="6750" y="7855"/>
                    </a:lnTo>
                    <a:lnTo>
                      <a:pt x="12150" y="7855"/>
                    </a:lnTo>
                    <a:lnTo>
                      <a:pt x="12150" y="9818"/>
                    </a:lnTo>
                    <a:lnTo>
                      <a:pt x="16200" y="9818"/>
                    </a:lnTo>
                    <a:lnTo>
                      <a:pt x="16200" y="17673"/>
                    </a:lnTo>
                    <a:lnTo>
                      <a:pt x="13500" y="13745"/>
                    </a:lnTo>
                    <a:lnTo>
                      <a:pt x="9450" y="13745"/>
                    </a:lnTo>
                    <a:lnTo>
                      <a:pt x="9450" y="9818"/>
                    </a:lnTo>
                    <a:lnTo>
                      <a:pt x="4050" y="9818"/>
                    </a:lnTo>
                    <a:lnTo>
                      <a:pt x="4050" y="7855"/>
                    </a:lnTo>
                    <a:lnTo>
                      <a:pt x="2700" y="7855"/>
                    </a:lnTo>
                    <a:lnTo>
                      <a:pt x="2700" y="3927"/>
                    </a:lnTo>
                    <a:lnTo>
                      <a:pt x="0" y="3927"/>
                    </a:lnTo>
                    <a:lnTo>
                      <a:pt x="0" y="0"/>
                    </a:lnTo>
                    <a:close/>
                    <a:moveTo>
                      <a:pt x="0" y="0"/>
                    </a:moveTo>
                  </a:path>
                </a:pathLst>
              </a:custGeom>
              <a:solidFill>
                <a:srgbClr val="B2EAE7"/>
              </a:solidFill>
              <a:ln w="12700">
                <a:solidFill>
                  <a:srgbClr val="FFFFFF"/>
                </a:solidFill>
                <a:round/>
                <a:headEnd/>
                <a:tailEnd/>
              </a:ln>
            </p:spPr>
            <p:txBody>
              <a:bodyPr lIns="0" tIns="0" rIns="0" bIns="0"/>
              <a:lstStyle/>
              <a:p>
                <a:endParaRPr lang="en-US"/>
              </a:p>
            </p:txBody>
          </p:sp>
          <p:sp>
            <p:nvSpPr>
              <p:cNvPr id="159" name="AutoShape 113"/>
              <p:cNvSpPr>
                <a:spLocks/>
              </p:cNvSpPr>
              <p:nvPr/>
            </p:nvSpPr>
            <p:spPr bwMode="auto">
              <a:xfrm>
                <a:off x="2182" y="3355"/>
                <a:ext cx="522" cy="40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w 21600"/>
                  <a:gd name="T117" fmla="*/ 0 h 21600"/>
                  <a:gd name="T118" fmla="*/ 0 w 21600"/>
                  <a:gd name="T119" fmla="*/ 0 h 21600"/>
                  <a:gd name="T120" fmla="*/ 0 w 21600"/>
                  <a:gd name="T121" fmla="*/ 0 h 2160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1600"/>
                  <a:gd name="T184" fmla="*/ 0 h 21600"/>
                  <a:gd name="T185" fmla="*/ 21600 w 21600"/>
                  <a:gd name="T186" fmla="*/ 21600 h 2160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1600" h="21600">
                    <a:moveTo>
                      <a:pt x="14791" y="20687"/>
                    </a:moveTo>
                    <a:lnTo>
                      <a:pt x="15496" y="20687"/>
                    </a:lnTo>
                    <a:lnTo>
                      <a:pt x="15496" y="20992"/>
                    </a:lnTo>
                    <a:lnTo>
                      <a:pt x="15026" y="20992"/>
                    </a:lnTo>
                    <a:lnTo>
                      <a:pt x="15026" y="21600"/>
                    </a:lnTo>
                    <a:lnTo>
                      <a:pt x="14791" y="20992"/>
                    </a:lnTo>
                    <a:lnTo>
                      <a:pt x="14791" y="20687"/>
                    </a:lnTo>
                    <a:close/>
                    <a:moveTo>
                      <a:pt x="10096" y="0"/>
                    </a:moveTo>
                    <a:lnTo>
                      <a:pt x="10565" y="0"/>
                    </a:lnTo>
                    <a:lnTo>
                      <a:pt x="10565" y="304"/>
                    </a:lnTo>
                    <a:lnTo>
                      <a:pt x="11504" y="304"/>
                    </a:lnTo>
                    <a:lnTo>
                      <a:pt x="11504" y="913"/>
                    </a:lnTo>
                    <a:lnTo>
                      <a:pt x="12209" y="913"/>
                    </a:lnTo>
                    <a:lnTo>
                      <a:pt x="12209" y="1521"/>
                    </a:lnTo>
                    <a:lnTo>
                      <a:pt x="12678" y="1521"/>
                    </a:lnTo>
                    <a:lnTo>
                      <a:pt x="12678" y="2130"/>
                    </a:lnTo>
                    <a:lnTo>
                      <a:pt x="13383" y="2130"/>
                    </a:lnTo>
                    <a:lnTo>
                      <a:pt x="13383" y="2434"/>
                    </a:lnTo>
                    <a:lnTo>
                      <a:pt x="13852" y="2434"/>
                    </a:lnTo>
                    <a:lnTo>
                      <a:pt x="13852" y="3042"/>
                    </a:lnTo>
                    <a:lnTo>
                      <a:pt x="14322" y="3651"/>
                    </a:lnTo>
                    <a:lnTo>
                      <a:pt x="15026" y="3651"/>
                    </a:lnTo>
                    <a:lnTo>
                      <a:pt x="15026" y="4259"/>
                    </a:lnTo>
                    <a:lnTo>
                      <a:pt x="15496" y="4259"/>
                    </a:lnTo>
                    <a:lnTo>
                      <a:pt x="15965" y="4563"/>
                    </a:lnTo>
                    <a:lnTo>
                      <a:pt x="18313" y="4563"/>
                    </a:lnTo>
                    <a:lnTo>
                      <a:pt x="18313" y="4259"/>
                    </a:lnTo>
                    <a:lnTo>
                      <a:pt x="18783" y="4259"/>
                    </a:lnTo>
                    <a:lnTo>
                      <a:pt x="18783" y="3651"/>
                    </a:lnTo>
                    <a:lnTo>
                      <a:pt x="19252" y="3651"/>
                    </a:lnTo>
                    <a:lnTo>
                      <a:pt x="19252" y="4259"/>
                    </a:lnTo>
                    <a:lnTo>
                      <a:pt x="19957" y="4259"/>
                    </a:lnTo>
                    <a:lnTo>
                      <a:pt x="19957" y="5780"/>
                    </a:lnTo>
                    <a:lnTo>
                      <a:pt x="20426" y="5780"/>
                    </a:lnTo>
                    <a:lnTo>
                      <a:pt x="20426" y="7301"/>
                    </a:lnTo>
                    <a:lnTo>
                      <a:pt x="21130" y="7301"/>
                    </a:lnTo>
                    <a:lnTo>
                      <a:pt x="21600" y="7910"/>
                    </a:lnTo>
                    <a:lnTo>
                      <a:pt x="20896" y="7910"/>
                    </a:lnTo>
                    <a:lnTo>
                      <a:pt x="20896" y="9431"/>
                    </a:lnTo>
                    <a:lnTo>
                      <a:pt x="20426" y="9431"/>
                    </a:lnTo>
                    <a:lnTo>
                      <a:pt x="20426" y="10039"/>
                    </a:lnTo>
                    <a:lnTo>
                      <a:pt x="19487" y="10039"/>
                    </a:lnTo>
                    <a:lnTo>
                      <a:pt x="19487" y="8823"/>
                    </a:lnTo>
                    <a:lnTo>
                      <a:pt x="19252" y="8823"/>
                    </a:lnTo>
                    <a:lnTo>
                      <a:pt x="19252" y="8214"/>
                    </a:lnTo>
                    <a:lnTo>
                      <a:pt x="18783" y="8214"/>
                    </a:lnTo>
                    <a:lnTo>
                      <a:pt x="18783" y="8823"/>
                    </a:lnTo>
                    <a:lnTo>
                      <a:pt x="18313" y="8823"/>
                    </a:lnTo>
                    <a:lnTo>
                      <a:pt x="18313" y="8214"/>
                    </a:lnTo>
                    <a:lnTo>
                      <a:pt x="17609" y="8214"/>
                    </a:lnTo>
                    <a:lnTo>
                      <a:pt x="17139" y="8823"/>
                    </a:lnTo>
                    <a:lnTo>
                      <a:pt x="17139" y="8214"/>
                    </a:lnTo>
                    <a:lnTo>
                      <a:pt x="16200" y="8214"/>
                    </a:lnTo>
                    <a:lnTo>
                      <a:pt x="16200" y="8823"/>
                    </a:lnTo>
                    <a:lnTo>
                      <a:pt x="15965" y="8823"/>
                    </a:lnTo>
                    <a:lnTo>
                      <a:pt x="15496" y="8214"/>
                    </a:lnTo>
                    <a:lnTo>
                      <a:pt x="13383" y="8214"/>
                    </a:lnTo>
                    <a:lnTo>
                      <a:pt x="13383" y="7910"/>
                    </a:lnTo>
                    <a:lnTo>
                      <a:pt x="12678" y="7910"/>
                    </a:lnTo>
                    <a:lnTo>
                      <a:pt x="12678" y="7301"/>
                    </a:lnTo>
                    <a:lnTo>
                      <a:pt x="12209" y="7301"/>
                    </a:lnTo>
                    <a:lnTo>
                      <a:pt x="12209" y="7910"/>
                    </a:lnTo>
                    <a:lnTo>
                      <a:pt x="11504" y="7910"/>
                    </a:lnTo>
                    <a:lnTo>
                      <a:pt x="11504" y="8214"/>
                    </a:lnTo>
                    <a:lnTo>
                      <a:pt x="10565" y="8214"/>
                    </a:lnTo>
                    <a:lnTo>
                      <a:pt x="10565" y="8823"/>
                    </a:lnTo>
                    <a:lnTo>
                      <a:pt x="9861" y="8823"/>
                    </a:lnTo>
                    <a:lnTo>
                      <a:pt x="9861" y="8214"/>
                    </a:lnTo>
                    <a:lnTo>
                      <a:pt x="9391" y="8214"/>
                    </a:lnTo>
                    <a:lnTo>
                      <a:pt x="9391" y="7910"/>
                    </a:lnTo>
                    <a:lnTo>
                      <a:pt x="8217" y="7910"/>
                    </a:lnTo>
                    <a:lnTo>
                      <a:pt x="8217" y="10952"/>
                    </a:lnTo>
                    <a:lnTo>
                      <a:pt x="8922" y="10952"/>
                    </a:lnTo>
                    <a:lnTo>
                      <a:pt x="8922" y="12169"/>
                    </a:lnTo>
                    <a:lnTo>
                      <a:pt x="9861" y="12169"/>
                    </a:lnTo>
                    <a:lnTo>
                      <a:pt x="9861" y="12473"/>
                    </a:lnTo>
                    <a:lnTo>
                      <a:pt x="10096" y="12473"/>
                    </a:lnTo>
                    <a:lnTo>
                      <a:pt x="10096" y="13082"/>
                    </a:lnTo>
                    <a:lnTo>
                      <a:pt x="9861" y="13082"/>
                    </a:lnTo>
                    <a:lnTo>
                      <a:pt x="9861" y="13690"/>
                    </a:lnTo>
                    <a:lnTo>
                      <a:pt x="10096" y="13690"/>
                    </a:lnTo>
                    <a:lnTo>
                      <a:pt x="10096" y="14299"/>
                    </a:lnTo>
                    <a:lnTo>
                      <a:pt x="10565" y="14603"/>
                    </a:lnTo>
                    <a:lnTo>
                      <a:pt x="11035" y="14603"/>
                    </a:lnTo>
                    <a:lnTo>
                      <a:pt x="11035" y="15211"/>
                    </a:lnTo>
                    <a:lnTo>
                      <a:pt x="11504" y="15211"/>
                    </a:lnTo>
                    <a:lnTo>
                      <a:pt x="11504" y="15820"/>
                    </a:lnTo>
                    <a:lnTo>
                      <a:pt x="11739" y="15820"/>
                    </a:lnTo>
                    <a:lnTo>
                      <a:pt x="11739" y="16428"/>
                    </a:lnTo>
                    <a:lnTo>
                      <a:pt x="12209" y="16732"/>
                    </a:lnTo>
                    <a:lnTo>
                      <a:pt x="12678" y="16732"/>
                    </a:lnTo>
                    <a:lnTo>
                      <a:pt x="12678" y="17341"/>
                    </a:lnTo>
                    <a:lnTo>
                      <a:pt x="13148" y="17341"/>
                    </a:lnTo>
                    <a:lnTo>
                      <a:pt x="13383" y="17949"/>
                    </a:lnTo>
                    <a:lnTo>
                      <a:pt x="13852" y="17949"/>
                    </a:lnTo>
                    <a:lnTo>
                      <a:pt x="13852" y="18558"/>
                    </a:lnTo>
                    <a:lnTo>
                      <a:pt x="14322" y="18558"/>
                    </a:lnTo>
                    <a:lnTo>
                      <a:pt x="14322" y="19470"/>
                    </a:lnTo>
                    <a:lnTo>
                      <a:pt x="14791" y="19470"/>
                    </a:lnTo>
                    <a:lnTo>
                      <a:pt x="14791" y="20687"/>
                    </a:lnTo>
                    <a:lnTo>
                      <a:pt x="13852" y="20687"/>
                    </a:lnTo>
                    <a:lnTo>
                      <a:pt x="13383" y="20079"/>
                    </a:lnTo>
                    <a:lnTo>
                      <a:pt x="13148" y="20079"/>
                    </a:lnTo>
                    <a:lnTo>
                      <a:pt x="13148" y="19470"/>
                    </a:lnTo>
                    <a:lnTo>
                      <a:pt x="12209" y="19470"/>
                    </a:lnTo>
                    <a:lnTo>
                      <a:pt x="12209" y="18862"/>
                    </a:lnTo>
                    <a:lnTo>
                      <a:pt x="11739" y="18862"/>
                    </a:lnTo>
                    <a:lnTo>
                      <a:pt x="11739" y="18558"/>
                    </a:lnTo>
                    <a:lnTo>
                      <a:pt x="11504" y="18558"/>
                    </a:lnTo>
                    <a:lnTo>
                      <a:pt x="11035" y="17949"/>
                    </a:lnTo>
                    <a:lnTo>
                      <a:pt x="9391" y="17949"/>
                    </a:lnTo>
                    <a:lnTo>
                      <a:pt x="9391" y="17341"/>
                    </a:lnTo>
                    <a:lnTo>
                      <a:pt x="8922" y="17341"/>
                    </a:lnTo>
                    <a:lnTo>
                      <a:pt x="8922" y="16732"/>
                    </a:lnTo>
                    <a:lnTo>
                      <a:pt x="8452" y="16732"/>
                    </a:lnTo>
                    <a:lnTo>
                      <a:pt x="8452" y="16428"/>
                    </a:lnTo>
                    <a:lnTo>
                      <a:pt x="7748" y="16428"/>
                    </a:lnTo>
                    <a:lnTo>
                      <a:pt x="7278" y="15820"/>
                    </a:lnTo>
                    <a:lnTo>
                      <a:pt x="6809" y="15820"/>
                    </a:lnTo>
                    <a:lnTo>
                      <a:pt x="6809" y="15211"/>
                    </a:lnTo>
                    <a:lnTo>
                      <a:pt x="6574" y="14603"/>
                    </a:lnTo>
                    <a:lnTo>
                      <a:pt x="6574" y="14299"/>
                    </a:lnTo>
                    <a:lnTo>
                      <a:pt x="6104" y="14299"/>
                    </a:lnTo>
                    <a:lnTo>
                      <a:pt x="6104" y="13082"/>
                    </a:lnTo>
                    <a:lnTo>
                      <a:pt x="6574" y="13082"/>
                    </a:lnTo>
                    <a:lnTo>
                      <a:pt x="6574" y="13690"/>
                    </a:lnTo>
                    <a:lnTo>
                      <a:pt x="7278" y="13690"/>
                    </a:lnTo>
                    <a:lnTo>
                      <a:pt x="6809" y="13082"/>
                    </a:lnTo>
                    <a:lnTo>
                      <a:pt x="6574" y="13082"/>
                    </a:lnTo>
                    <a:lnTo>
                      <a:pt x="6104" y="12473"/>
                    </a:lnTo>
                    <a:lnTo>
                      <a:pt x="5635" y="12473"/>
                    </a:lnTo>
                    <a:lnTo>
                      <a:pt x="5635" y="11561"/>
                    </a:lnTo>
                    <a:lnTo>
                      <a:pt x="5165" y="11561"/>
                    </a:lnTo>
                    <a:lnTo>
                      <a:pt x="5165" y="10039"/>
                    </a:lnTo>
                    <a:lnTo>
                      <a:pt x="4930" y="9431"/>
                    </a:lnTo>
                    <a:lnTo>
                      <a:pt x="4930" y="8823"/>
                    </a:lnTo>
                    <a:lnTo>
                      <a:pt x="4461" y="8214"/>
                    </a:lnTo>
                    <a:lnTo>
                      <a:pt x="3991" y="8214"/>
                    </a:lnTo>
                    <a:lnTo>
                      <a:pt x="3991" y="7910"/>
                    </a:lnTo>
                    <a:lnTo>
                      <a:pt x="3287" y="7910"/>
                    </a:lnTo>
                    <a:lnTo>
                      <a:pt x="3287" y="7301"/>
                    </a:lnTo>
                    <a:lnTo>
                      <a:pt x="2817" y="7301"/>
                    </a:lnTo>
                    <a:lnTo>
                      <a:pt x="2817" y="7910"/>
                    </a:lnTo>
                    <a:lnTo>
                      <a:pt x="2348" y="8214"/>
                    </a:lnTo>
                    <a:lnTo>
                      <a:pt x="2348" y="8823"/>
                    </a:lnTo>
                    <a:lnTo>
                      <a:pt x="1878" y="8823"/>
                    </a:lnTo>
                    <a:lnTo>
                      <a:pt x="1643" y="9431"/>
                    </a:lnTo>
                    <a:lnTo>
                      <a:pt x="1643" y="10344"/>
                    </a:lnTo>
                    <a:lnTo>
                      <a:pt x="1174" y="10344"/>
                    </a:lnTo>
                    <a:lnTo>
                      <a:pt x="1174" y="10039"/>
                    </a:lnTo>
                    <a:lnTo>
                      <a:pt x="704" y="10039"/>
                    </a:lnTo>
                    <a:lnTo>
                      <a:pt x="704" y="9431"/>
                    </a:lnTo>
                    <a:lnTo>
                      <a:pt x="235" y="9431"/>
                    </a:lnTo>
                    <a:lnTo>
                      <a:pt x="235" y="8214"/>
                    </a:lnTo>
                    <a:lnTo>
                      <a:pt x="0" y="8214"/>
                    </a:lnTo>
                    <a:lnTo>
                      <a:pt x="0" y="6085"/>
                    </a:lnTo>
                    <a:lnTo>
                      <a:pt x="3287" y="6085"/>
                    </a:lnTo>
                    <a:lnTo>
                      <a:pt x="3522" y="5780"/>
                    </a:lnTo>
                    <a:lnTo>
                      <a:pt x="3522" y="5172"/>
                    </a:lnTo>
                    <a:lnTo>
                      <a:pt x="3991" y="5172"/>
                    </a:lnTo>
                    <a:lnTo>
                      <a:pt x="3991" y="5780"/>
                    </a:lnTo>
                    <a:lnTo>
                      <a:pt x="4461" y="6085"/>
                    </a:lnTo>
                    <a:lnTo>
                      <a:pt x="5635" y="6085"/>
                    </a:lnTo>
                    <a:lnTo>
                      <a:pt x="6104" y="6693"/>
                    </a:lnTo>
                    <a:lnTo>
                      <a:pt x="6574" y="6085"/>
                    </a:lnTo>
                    <a:lnTo>
                      <a:pt x="6574" y="5780"/>
                    </a:lnTo>
                    <a:lnTo>
                      <a:pt x="6809" y="5172"/>
                    </a:lnTo>
                    <a:lnTo>
                      <a:pt x="6574" y="5172"/>
                    </a:lnTo>
                    <a:lnTo>
                      <a:pt x="6574" y="4563"/>
                    </a:lnTo>
                    <a:lnTo>
                      <a:pt x="6809" y="4563"/>
                    </a:lnTo>
                    <a:lnTo>
                      <a:pt x="6809" y="4259"/>
                    </a:lnTo>
                    <a:lnTo>
                      <a:pt x="7748" y="4259"/>
                    </a:lnTo>
                    <a:lnTo>
                      <a:pt x="7748" y="3651"/>
                    </a:lnTo>
                    <a:lnTo>
                      <a:pt x="8217" y="3651"/>
                    </a:lnTo>
                    <a:lnTo>
                      <a:pt x="8217" y="2434"/>
                    </a:lnTo>
                    <a:lnTo>
                      <a:pt x="7748" y="2434"/>
                    </a:lnTo>
                    <a:lnTo>
                      <a:pt x="7748" y="2130"/>
                    </a:lnTo>
                    <a:lnTo>
                      <a:pt x="8452" y="2130"/>
                    </a:lnTo>
                    <a:lnTo>
                      <a:pt x="8452" y="1521"/>
                    </a:lnTo>
                    <a:lnTo>
                      <a:pt x="9391" y="1521"/>
                    </a:lnTo>
                    <a:lnTo>
                      <a:pt x="9391" y="913"/>
                    </a:lnTo>
                    <a:lnTo>
                      <a:pt x="10096" y="913"/>
                    </a:lnTo>
                    <a:lnTo>
                      <a:pt x="10096" y="0"/>
                    </a:lnTo>
                    <a:close/>
                    <a:moveTo>
                      <a:pt x="10096" y="0"/>
                    </a:moveTo>
                  </a:path>
                </a:pathLst>
              </a:custGeom>
              <a:solidFill>
                <a:srgbClr val="B2EAE7"/>
              </a:solidFill>
              <a:ln w="12700">
                <a:solidFill>
                  <a:srgbClr val="FFFFFF"/>
                </a:solidFill>
                <a:round/>
                <a:headEnd/>
                <a:tailEnd/>
              </a:ln>
            </p:spPr>
            <p:txBody>
              <a:bodyPr lIns="0" tIns="0" rIns="0" bIns="0"/>
              <a:lstStyle/>
              <a:p>
                <a:endParaRPr lang="en-US"/>
              </a:p>
            </p:txBody>
          </p:sp>
          <p:sp>
            <p:nvSpPr>
              <p:cNvPr id="160" name="Freeform 114"/>
              <p:cNvSpPr>
                <a:spLocks/>
              </p:cNvSpPr>
              <p:nvPr/>
            </p:nvSpPr>
            <p:spPr bwMode="auto">
              <a:xfrm>
                <a:off x="2983" y="3610"/>
                <a:ext cx="568" cy="33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1600"/>
                  <a:gd name="T139" fmla="*/ 0 h 21600"/>
                  <a:gd name="T140" fmla="*/ 21600 w 21600"/>
                  <a:gd name="T141" fmla="*/ 21600 h 2160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1600" h="21600">
                    <a:moveTo>
                      <a:pt x="864" y="0"/>
                    </a:moveTo>
                    <a:lnTo>
                      <a:pt x="1080" y="0"/>
                    </a:lnTo>
                    <a:lnTo>
                      <a:pt x="1080" y="745"/>
                    </a:lnTo>
                    <a:lnTo>
                      <a:pt x="1944" y="745"/>
                    </a:lnTo>
                    <a:lnTo>
                      <a:pt x="1944" y="1117"/>
                    </a:lnTo>
                    <a:lnTo>
                      <a:pt x="2376" y="1117"/>
                    </a:lnTo>
                    <a:lnTo>
                      <a:pt x="2376" y="1862"/>
                    </a:lnTo>
                    <a:lnTo>
                      <a:pt x="1944" y="1862"/>
                    </a:lnTo>
                    <a:lnTo>
                      <a:pt x="1944" y="2607"/>
                    </a:lnTo>
                    <a:lnTo>
                      <a:pt x="1512" y="2607"/>
                    </a:lnTo>
                    <a:lnTo>
                      <a:pt x="1512" y="3352"/>
                    </a:lnTo>
                    <a:lnTo>
                      <a:pt x="3888" y="3352"/>
                    </a:lnTo>
                    <a:lnTo>
                      <a:pt x="3888" y="3724"/>
                    </a:lnTo>
                    <a:lnTo>
                      <a:pt x="5184" y="3724"/>
                    </a:lnTo>
                    <a:lnTo>
                      <a:pt x="5616" y="4469"/>
                    </a:lnTo>
                    <a:lnTo>
                      <a:pt x="6696" y="4469"/>
                    </a:lnTo>
                    <a:lnTo>
                      <a:pt x="6696" y="3724"/>
                    </a:lnTo>
                    <a:lnTo>
                      <a:pt x="7560" y="3724"/>
                    </a:lnTo>
                    <a:lnTo>
                      <a:pt x="7560" y="4469"/>
                    </a:lnTo>
                    <a:lnTo>
                      <a:pt x="8640" y="4469"/>
                    </a:lnTo>
                    <a:lnTo>
                      <a:pt x="8640" y="3724"/>
                    </a:lnTo>
                    <a:lnTo>
                      <a:pt x="9072" y="3724"/>
                    </a:lnTo>
                    <a:lnTo>
                      <a:pt x="9072" y="4469"/>
                    </a:lnTo>
                    <a:lnTo>
                      <a:pt x="10152" y="4469"/>
                    </a:lnTo>
                    <a:lnTo>
                      <a:pt x="10152" y="5214"/>
                    </a:lnTo>
                    <a:lnTo>
                      <a:pt x="10584" y="5214"/>
                    </a:lnTo>
                    <a:lnTo>
                      <a:pt x="10584" y="4469"/>
                    </a:lnTo>
                    <a:lnTo>
                      <a:pt x="11664" y="4469"/>
                    </a:lnTo>
                    <a:lnTo>
                      <a:pt x="12744" y="2607"/>
                    </a:lnTo>
                    <a:lnTo>
                      <a:pt x="13608" y="2607"/>
                    </a:lnTo>
                    <a:lnTo>
                      <a:pt x="13608" y="1862"/>
                    </a:lnTo>
                    <a:lnTo>
                      <a:pt x="15552" y="1862"/>
                    </a:lnTo>
                    <a:lnTo>
                      <a:pt x="15552" y="1117"/>
                    </a:lnTo>
                    <a:lnTo>
                      <a:pt x="17280" y="1117"/>
                    </a:lnTo>
                    <a:lnTo>
                      <a:pt x="17280" y="1862"/>
                    </a:lnTo>
                    <a:lnTo>
                      <a:pt x="18792" y="1862"/>
                    </a:lnTo>
                    <a:lnTo>
                      <a:pt x="18792" y="2607"/>
                    </a:lnTo>
                    <a:lnTo>
                      <a:pt x="20088" y="2607"/>
                    </a:lnTo>
                    <a:lnTo>
                      <a:pt x="20088" y="3352"/>
                    </a:lnTo>
                    <a:lnTo>
                      <a:pt x="21168" y="3352"/>
                    </a:lnTo>
                    <a:lnTo>
                      <a:pt x="21168" y="3724"/>
                    </a:lnTo>
                    <a:lnTo>
                      <a:pt x="21600" y="3724"/>
                    </a:lnTo>
                    <a:lnTo>
                      <a:pt x="21600" y="5959"/>
                    </a:lnTo>
                    <a:lnTo>
                      <a:pt x="21168" y="5959"/>
                    </a:lnTo>
                    <a:lnTo>
                      <a:pt x="21168" y="6331"/>
                    </a:lnTo>
                    <a:lnTo>
                      <a:pt x="20304" y="6331"/>
                    </a:lnTo>
                    <a:lnTo>
                      <a:pt x="20304" y="7076"/>
                    </a:lnTo>
                    <a:lnTo>
                      <a:pt x="19656" y="7076"/>
                    </a:lnTo>
                    <a:lnTo>
                      <a:pt x="19656" y="7821"/>
                    </a:lnTo>
                    <a:lnTo>
                      <a:pt x="19224" y="8566"/>
                    </a:lnTo>
                    <a:lnTo>
                      <a:pt x="19224" y="11545"/>
                    </a:lnTo>
                    <a:lnTo>
                      <a:pt x="18792" y="11545"/>
                    </a:lnTo>
                    <a:lnTo>
                      <a:pt x="18576" y="12290"/>
                    </a:lnTo>
                    <a:lnTo>
                      <a:pt x="18144" y="12290"/>
                    </a:lnTo>
                    <a:lnTo>
                      <a:pt x="18144" y="13034"/>
                    </a:lnTo>
                    <a:lnTo>
                      <a:pt x="18576" y="13034"/>
                    </a:lnTo>
                    <a:lnTo>
                      <a:pt x="18576" y="14152"/>
                    </a:lnTo>
                    <a:lnTo>
                      <a:pt x="18792" y="14152"/>
                    </a:lnTo>
                    <a:lnTo>
                      <a:pt x="19224" y="14897"/>
                    </a:lnTo>
                    <a:lnTo>
                      <a:pt x="19224" y="15641"/>
                    </a:lnTo>
                    <a:lnTo>
                      <a:pt x="19656" y="16386"/>
                    </a:lnTo>
                    <a:lnTo>
                      <a:pt x="18576" y="16386"/>
                    </a:lnTo>
                    <a:lnTo>
                      <a:pt x="18576" y="16759"/>
                    </a:lnTo>
                    <a:lnTo>
                      <a:pt x="17712" y="16759"/>
                    </a:lnTo>
                    <a:lnTo>
                      <a:pt x="17712" y="16386"/>
                    </a:lnTo>
                    <a:lnTo>
                      <a:pt x="17280" y="16386"/>
                    </a:lnTo>
                    <a:lnTo>
                      <a:pt x="17280" y="15641"/>
                    </a:lnTo>
                    <a:lnTo>
                      <a:pt x="16200" y="15641"/>
                    </a:lnTo>
                    <a:lnTo>
                      <a:pt x="16200" y="16386"/>
                    </a:lnTo>
                    <a:lnTo>
                      <a:pt x="15120" y="16386"/>
                    </a:lnTo>
                    <a:lnTo>
                      <a:pt x="15120" y="16759"/>
                    </a:lnTo>
                    <a:lnTo>
                      <a:pt x="14688" y="16386"/>
                    </a:lnTo>
                    <a:lnTo>
                      <a:pt x="14688" y="17503"/>
                    </a:lnTo>
                    <a:lnTo>
                      <a:pt x="14040" y="17503"/>
                    </a:lnTo>
                    <a:lnTo>
                      <a:pt x="14040" y="18248"/>
                    </a:lnTo>
                    <a:lnTo>
                      <a:pt x="12744" y="18248"/>
                    </a:lnTo>
                    <a:lnTo>
                      <a:pt x="12744" y="18993"/>
                    </a:lnTo>
                    <a:lnTo>
                      <a:pt x="13176" y="18993"/>
                    </a:lnTo>
                    <a:lnTo>
                      <a:pt x="13176" y="20855"/>
                    </a:lnTo>
                    <a:lnTo>
                      <a:pt x="12744" y="20855"/>
                    </a:lnTo>
                    <a:lnTo>
                      <a:pt x="12744" y="21600"/>
                    </a:lnTo>
                    <a:lnTo>
                      <a:pt x="9504" y="21600"/>
                    </a:lnTo>
                    <a:lnTo>
                      <a:pt x="9072" y="20855"/>
                    </a:lnTo>
                    <a:lnTo>
                      <a:pt x="8208" y="20855"/>
                    </a:lnTo>
                    <a:lnTo>
                      <a:pt x="8208" y="20110"/>
                    </a:lnTo>
                    <a:lnTo>
                      <a:pt x="7560" y="20110"/>
                    </a:lnTo>
                    <a:lnTo>
                      <a:pt x="7560" y="19366"/>
                    </a:lnTo>
                    <a:lnTo>
                      <a:pt x="6480" y="19366"/>
                    </a:lnTo>
                    <a:lnTo>
                      <a:pt x="6480" y="20110"/>
                    </a:lnTo>
                    <a:lnTo>
                      <a:pt x="6048" y="19366"/>
                    </a:lnTo>
                    <a:lnTo>
                      <a:pt x="6048" y="20110"/>
                    </a:lnTo>
                    <a:lnTo>
                      <a:pt x="4968" y="20110"/>
                    </a:lnTo>
                    <a:lnTo>
                      <a:pt x="4968" y="20855"/>
                    </a:lnTo>
                    <a:lnTo>
                      <a:pt x="3024" y="20855"/>
                    </a:lnTo>
                    <a:lnTo>
                      <a:pt x="3024" y="21600"/>
                    </a:lnTo>
                    <a:lnTo>
                      <a:pt x="2592" y="21600"/>
                    </a:lnTo>
                    <a:lnTo>
                      <a:pt x="2592" y="20855"/>
                    </a:lnTo>
                    <a:lnTo>
                      <a:pt x="2376" y="20855"/>
                    </a:lnTo>
                    <a:lnTo>
                      <a:pt x="2376" y="19366"/>
                    </a:lnTo>
                    <a:lnTo>
                      <a:pt x="1944" y="19366"/>
                    </a:lnTo>
                    <a:lnTo>
                      <a:pt x="1944" y="18993"/>
                    </a:lnTo>
                    <a:lnTo>
                      <a:pt x="2376" y="18993"/>
                    </a:lnTo>
                    <a:lnTo>
                      <a:pt x="2376" y="17503"/>
                    </a:lnTo>
                    <a:lnTo>
                      <a:pt x="1944" y="17503"/>
                    </a:lnTo>
                    <a:lnTo>
                      <a:pt x="1944" y="16386"/>
                    </a:lnTo>
                    <a:lnTo>
                      <a:pt x="1080" y="16386"/>
                    </a:lnTo>
                    <a:lnTo>
                      <a:pt x="1080" y="15641"/>
                    </a:lnTo>
                    <a:lnTo>
                      <a:pt x="432" y="15641"/>
                    </a:lnTo>
                    <a:lnTo>
                      <a:pt x="432" y="14897"/>
                    </a:lnTo>
                    <a:lnTo>
                      <a:pt x="0" y="14152"/>
                    </a:lnTo>
                    <a:lnTo>
                      <a:pt x="432" y="14152"/>
                    </a:lnTo>
                    <a:lnTo>
                      <a:pt x="432" y="13779"/>
                    </a:lnTo>
                    <a:lnTo>
                      <a:pt x="864" y="13779"/>
                    </a:lnTo>
                    <a:lnTo>
                      <a:pt x="864" y="12290"/>
                    </a:lnTo>
                    <a:lnTo>
                      <a:pt x="0" y="12290"/>
                    </a:lnTo>
                    <a:lnTo>
                      <a:pt x="432" y="11545"/>
                    </a:lnTo>
                    <a:lnTo>
                      <a:pt x="432" y="10428"/>
                    </a:lnTo>
                    <a:lnTo>
                      <a:pt x="864" y="10428"/>
                    </a:lnTo>
                    <a:lnTo>
                      <a:pt x="864" y="9683"/>
                    </a:lnTo>
                    <a:lnTo>
                      <a:pt x="1512" y="9683"/>
                    </a:lnTo>
                    <a:lnTo>
                      <a:pt x="1512" y="8938"/>
                    </a:lnTo>
                    <a:lnTo>
                      <a:pt x="1944" y="8938"/>
                    </a:lnTo>
                    <a:lnTo>
                      <a:pt x="1944" y="8566"/>
                    </a:lnTo>
                    <a:lnTo>
                      <a:pt x="2376" y="8566"/>
                    </a:lnTo>
                    <a:lnTo>
                      <a:pt x="2376" y="7821"/>
                    </a:lnTo>
                    <a:lnTo>
                      <a:pt x="1944" y="7821"/>
                    </a:lnTo>
                    <a:lnTo>
                      <a:pt x="1944" y="7076"/>
                    </a:lnTo>
                    <a:lnTo>
                      <a:pt x="1512" y="7076"/>
                    </a:lnTo>
                    <a:lnTo>
                      <a:pt x="1512" y="6331"/>
                    </a:lnTo>
                    <a:lnTo>
                      <a:pt x="1080" y="6331"/>
                    </a:lnTo>
                    <a:lnTo>
                      <a:pt x="864" y="5959"/>
                    </a:lnTo>
                    <a:lnTo>
                      <a:pt x="432" y="5959"/>
                    </a:lnTo>
                    <a:lnTo>
                      <a:pt x="432" y="4469"/>
                    </a:lnTo>
                    <a:lnTo>
                      <a:pt x="0" y="4469"/>
                    </a:lnTo>
                    <a:lnTo>
                      <a:pt x="0" y="3352"/>
                    </a:lnTo>
                    <a:lnTo>
                      <a:pt x="432" y="2607"/>
                    </a:lnTo>
                    <a:lnTo>
                      <a:pt x="432" y="1862"/>
                    </a:lnTo>
                    <a:lnTo>
                      <a:pt x="864" y="1862"/>
                    </a:lnTo>
                    <a:lnTo>
                      <a:pt x="864" y="0"/>
                    </a:lnTo>
                    <a:close/>
                    <a:moveTo>
                      <a:pt x="864" y="0"/>
                    </a:moveTo>
                  </a:path>
                </a:pathLst>
              </a:custGeom>
              <a:solidFill>
                <a:srgbClr val="B2EAE7"/>
              </a:solidFill>
              <a:ln w="12700">
                <a:solidFill>
                  <a:srgbClr val="FFFFFF"/>
                </a:solidFill>
                <a:round/>
                <a:headEnd/>
                <a:tailEnd/>
              </a:ln>
            </p:spPr>
            <p:txBody>
              <a:bodyPr lIns="0" tIns="0" rIns="0" bIns="0"/>
              <a:lstStyle/>
              <a:p>
                <a:endParaRPr lang="en-US"/>
              </a:p>
            </p:txBody>
          </p:sp>
          <p:sp>
            <p:nvSpPr>
              <p:cNvPr id="161" name="Freeform 115"/>
              <p:cNvSpPr>
                <a:spLocks/>
              </p:cNvSpPr>
              <p:nvPr/>
            </p:nvSpPr>
            <p:spPr bwMode="auto">
              <a:xfrm>
                <a:off x="2381" y="3516"/>
                <a:ext cx="352" cy="29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1600"/>
                  <a:gd name="T169" fmla="*/ 0 h 21600"/>
                  <a:gd name="T170" fmla="*/ 21600 w 21600"/>
                  <a:gd name="T171" fmla="*/ 21600 h 216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1600" h="21600">
                    <a:moveTo>
                      <a:pt x="0" y="0"/>
                    </a:moveTo>
                    <a:lnTo>
                      <a:pt x="1742" y="0"/>
                    </a:lnTo>
                    <a:lnTo>
                      <a:pt x="1742" y="415"/>
                    </a:lnTo>
                    <a:lnTo>
                      <a:pt x="2439" y="415"/>
                    </a:lnTo>
                    <a:lnTo>
                      <a:pt x="2439" y="1246"/>
                    </a:lnTo>
                    <a:lnTo>
                      <a:pt x="4181" y="1246"/>
                    </a:lnTo>
                    <a:lnTo>
                      <a:pt x="4181" y="415"/>
                    </a:lnTo>
                    <a:lnTo>
                      <a:pt x="4877" y="415"/>
                    </a:lnTo>
                    <a:lnTo>
                      <a:pt x="4877" y="0"/>
                    </a:lnTo>
                    <a:lnTo>
                      <a:pt x="5226" y="0"/>
                    </a:lnTo>
                    <a:lnTo>
                      <a:pt x="5226" y="415"/>
                    </a:lnTo>
                    <a:lnTo>
                      <a:pt x="5923" y="415"/>
                    </a:lnTo>
                    <a:lnTo>
                      <a:pt x="5923" y="0"/>
                    </a:lnTo>
                    <a:lnTo>
                      <a:pt x="7316" y="0"/>
                    </a:lnTo>
                    <a:lnTo>
                      <a:pt x="7665" y="415"/>
                    </a:lnTo>
                    <a:lnTo>
                      <a:pt x="10800" y="415"/>
                    </a:lnTo>
                    <a:lnTo>
                      <a:pt x="10800" y="1246"/>
                    </a:lnTo>
                    <a:lnTo>
                      <a:pt x="11845" y="1246"/>
                    </a:lnTo>
                    <a:lnTo>
                      <a:pt x="11845" y="415"/>
                    </a:lnTo>
                    <a:lnTo>
                      <a:pt x="12542" y="415"/>
                    </a:lnTo>
                    <a:lnTo>
                      <a:pt x="13239" y="1246"/>
                    </a:lnTo>
                    <a:lnTo>
                      <a:pt x="13935" y="1246"/>
                    </a:lnTo>
                    <a:lnTo>
                      <a:pt x="13935" y="415"/>
                    </a:lnTo>
                    <a:lnTo>
                      <a:pt x="14981" y="415"/>
                    </a:lnTo>
                    <a:lnTo>
                      <a:pt x="14981" y="1246"/>
                    </a:lnTo>
                    <a:lnTo>
                      <a:pt x="16723" y="1246"/>
                    </a:lnTo>
                    <a:lnTo>
                      <a:pt x="16723" y="2908"/>
                    </a:lnTo>
                    <a:lnTo>
                      <a:pt x="18813" y="2908"/>
                    </a:lnTo>
                    <a:lnTo>
                      <a:pt x="18813" y="2077"/>
                    </a:lnTo>
                    <a:lnTo>
                      <a:pt x="19161" y="2077"/>
                    </a:lnTo>
                    <a:lnTo>
                      <a:pt x="19161" y="2908"/>
                    </a:lnTo>
                    <a:lnTo>
                      <a:pt x="19858" y="2908"/>
                    </a:lnTo>
                    <a:lnTo>
                      <a:pt x="19858" y="4154"/>
                    </a:lnTo>
                    <a:lnTo>
                      <a:pt x="19161" y="4154"/>
                    </a:lnTo>
                    <a:lnTo>
                      <a:pt x="19161" y="5815"/>
                    </a:lnTo>
                    <a:lnTo>
                      <a:pt x="18813" y="5815"/>
                    </a:lnTo>
                    <a:lnTo>
                      <a:pt x="18813" y="7062"/>
                    </a:lnTo>
                    <a:lnTo>
                      <a:pt x="19161" y="7062"/>
                    </a:lnTo>
                    <a:lnTo>
                      <a:pt x="19161" y="7892"/>
                    </a:lnTo>
                    <a:lnTo>
                      <a:pt x="20555" y="7892"/>
                    </a:lnTo>
                    <a:lnTo>
                      <a:pt x="20555" y="8723"/>
                    </a:lnTo>
                    <a:lnTo>
                      <a:pt x="21252" y="8723"/>
                    </a:lnTo>
                    <a:lnTo>
                      <a:pt x="21252" y="9138"/>
                    </a:lnTo>
                    <a:lnTo>
                      <a:pt x="21600" y="9138"/>
                    </a:lnTo>
                    <a:lnTo>
                      <a:pt x="21600" y="9969"/>
                    </a:lnTo>
                    <a:lnTo>
                      <a:pt x="19858" y="9969"/>
                    </a:lnTo>
                    <a:lnTo>
                      <a:pt x="19858" y="10800"/>
                    </a:lnTo>
                    <a:lnTo>
                      <a:pt x="20555" y="10800"/>
                    </a:lnTo>
                    <a:lnTo>
                      <a:pt x="20555" y="11631"/>
                    </a:lnTo>
                    <a:lnTo>
                      <a:pt x="21252" y="12046"/>
                    </a:lnTo>
                    <a:lnTo>
                      <a:pt x="21252" y="12877"/>
                    </a:lnTo>
                    <a:lnTo>
                      <a:pt x="19858" y="12877"/>
                    </a:lnTo>
                    <a:lnTo>
                      <a:pt x="19858" y="13708"/>
                    </a:lnTo>
                    <a:lnTo>
                      <a:pt x="18116" y="13708"/>
                    </a:lnTo>
                    <a:lnTo>
                      <a:pt x="18116" y="14538"/>
                    </a:lnTo>
                    <a:lnTo>
                      <a:pt x="18813" y="14954"/>
                    </a:lnTo>
                    <a:lnTo>
                      <a:pt x="18813" y="15785"/>
                    </a:lnTo>
                    <a:lnTo>
                      <a:pt x="18116" y="15785"/>
                    </a:lnTo>
                    <a:lnTo>
                      <a:pt x="18116" y="14954"/>
                    </a:lnTo>
                    <a:lnTo>
                      <a:pt x="16723" y="14954"/>
                    </a:lnTo>
                    <a:lnTo>
                      <a:pt x="16723" y="15785"/>
                    </a:lnTo>
                    <a:lnTo>
                      <a:pt x="16374" y="15785"/>
                    </a:lnTo>
                    <a:lnTo>
                      <a:pt x="16374" y="17446"/>
                    </a:lnTo>
                    <a:lnTo>
                      <a:pt x="14981" y="17446"/>
                    </a:lnTo>
                    <a:lnTo>
                      <a:pt x="14981" y="19523"/>
                    </a:lnTo>
                    <a:lnTo>
                      <a:pt x="15677" y="19523"/>
                    </a:lnTo>
                    <a:lnTo>
                      <a:pt x="15677" y="20354"/>
                    </a:lnTo>
                    <a:lnTo>
                      <a:pt x="16374" y="20769"/>
                    </a:lnTo>
                    <a:lnTo>
                      <a:pt x="15677" y="20769"/>
                    </a:lnTo>
                    <a:lnTo>
                      <a:pt x="15677" y="21600"/>
                    </a:lnTo>
                    <a:lnTo>
                      <a:pt x="14981" y="21600"/>
                    </a:lnTo>
                    <a:lnTo>
                      <a:pt x="14981" y="20769"/>
                    </a:lnTo>
                    <a:lnTo>
                      <a:pt x="13935" y="20769"/>
                    </a:lnTo>
                    <a:lnTo>
                      <a:pt x="13935" y="20354"/>
                    </a:lnTo>
                    <a:lnTo>
                      <a:pt x="12542" y="20354"/>
                    </a:lnTo>
                    <a:lnTo>
                      <a:pt x="12542" y="19523"/>
                    </a:lnTo>
                    <a:lnTo>
                      <a:pt x="11845" y="19523"/>
                    </a:lnTo>
                    <a:lnTo>
                      <a:pt x="11845" y="18692"/>
                    </a:lnTo>
                    <a:lnTo>
                      <a:pt x="10800" y="18692"/>
                    </a:lnTo>
                    <a:lnTo>
                      <a:pt x="10800" y="17446"/>
                    </a:lnTo>
                    <a:lnTo>
                      <a:pt x="10103" y="17446"/>
                    </a:lnTo>
                    <a:lnTo>
                      <a:pt x="10103" y="16615"/>
                    </a:lnTo>
                    <a:lnTo>
                      <a:pt x="9755" y="16615"/>
                    </a:lnTo>
                    <a:lnTo>
                      <a:pt x="9755" y="15785"/>
                    </a:lnTo>
                    <a:lnTo>
                      <a:pt x="9058" y="15785"/>
                    </a:lnTo>
                    <a:lnTo>
                      <a:pt x="9058" y="14538"/>
                    </a:lnTo>
                    <a:lnTo>
                      <a:pt x="8361" y="13708"/>
                    </a:lnTo>
                    <a:lnTo>
                      <a:pt x="7665" y="13708"/>
                    </a:lnTo>
                    <a:lnTo>
                      <a:pt x="6619" y="12046"/>
                    </a:lnTo>
                    <a:lnTo>
                      <a:pt x="5923" y="12046"/>
                    </a:lnTo>
                    <a:lnTo>
                      <a:pt x="5923" y="11631"/>
                    </a:lnTo>
                    <a:lnTo>
                      <a:pt x="5226" y="11631"/>
                    </a:lnTo>
                    <a:lnTo>
                      <a:pt x="5226" y="10800"/>
                    </a:lnTo>
                    <a:lnTo>
                      <a:pt x="4877" y="10800"/>
                    </a:lnTo>
                    <a:lnTo>
                      <a:pt x="4877" y="9969"/>
                    </a:lnTo>
                    <a:lnTo>
                      <a:pt x="4181" y="9969"/>
                    </a:lnTo>
                    <a:lnTo>
                      <a:pt x="4181" y="9138"/>
                    </a:lnTo>
                    <a:lnTo>
                      <a:pt x="3484" y="9138"/>
                    </a:lnTo>
                    <a:lnTo>
                      <a:pt x="3484" y="8723"/>
                    </a:lnTo>
                    <a:lnTo>
                      <a:pt x="2787" y="8723"/>
                    </a:lnTo>
                    <a:lnTo>
                      <a:pt x="2787" y="7892"/>
                    </a:lnTo>
                    <a:lnTo>
                      <a:pt x="2439" y="7892"/>
                    </a:lnTo>
                    <a:lnTo>
                      <a:pt x="2439" y="7062"/>
                    </a:lnTo>
                    <a:lnTo>
                      <a:pt x="2787" y="7062"/>
                    </a:lnTo>
                    <a:lnTo>
                      <a:pt x="2787" y="6231"/>
                    </a:lnTo>
                    <a:lnTo>
                      <a:pt x="2439" y="6231"/>
                    </a:lnTo>
                    <a:lnTo>
                      <a:pt x="2439" y="4985"/>
                    </a:lnTo>
                    <a:lnTo>
                      <a:pt x="1742" y="4985"/>
                    </a:lnTo>
                    <a:lnTo>
                      <a:pt x="1045" y="4154"/>
                    </a:lnTo>
                    <a:lnTo>
                      <a:pt x="0" y="4154"/>
                    </a:lnTo>
                    <a:lnTo>
                      <a:pt x="0" y="0"/>
                    </a:lnTo>
                    <a:close/>
                    <a:moveTo>
                      <a:pt x="0" y="0"/>
                    </a:moveTo>
                  </a:path>
                </a:pathLst>
              </a:custGeom>
              <a:solidFill>
                <a:srgbClr val="B2EAE7"/>
              </a:solidFill>
              <a:ln w="12700">
                <a:solidFill>
                  <a:srgbClr val="FFFFFF"/>
                </a:solidFill>
                <a:round/>
                <a:headEnd/>
                <a:tailEnd/>
              </a:ln>
            </p:spPr>
            <p:txBody>
              <a:bodyPr lIns="0" tIns="0" rIns="0" bIns="0"/>
              <a:lstStyle/>
              <a:p>
                <a:endParaRPr lang="en-US"/>
              </a:p>
            </p:txBody>
          </p:sp>
          <p:sp>
            <p:nvSpPr>
              <p:cNvPr id="162" name="Freeform 116"/>
              <p:cNvSpPr>
                <a:spLocks/>
              </p:cNvSpPr>
              <p:nvPr/>
            </p:nvSpPr>
            <p:spPr bwMode="auto">
              <a:xfrm>
                <a:off x="1176" y="2769"/>
                <a:ext cx="346" cy="23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1600"/>
                  <a:gd name="T136" fmla="*/ 0 h 21600"/>
                  <a:gd name="T137" fmla="*/ 21600 w 21600"/>
                  <a:gd name="T138" fmla="*/ 21600 h 2160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1600" h="21600">
                    <a:moveTo>
                      <a:pt x="12393" y="0"/>
                    </a:moveTo>
                    <a:lnTo>
                      <a:pt x="13102" y="0"/>
                    </a:lnTo>
                    <a:lnTo>
                      <a:pt x="13102" y="527"/>
                    </a:lnTo>
                    <a:lnTo>
                      <a:pt x="14872" y="527"/>
                    </a:lnTo>
                    <a:lnTo>
                      <a:pt x="14872" y="1580"/>
                    </a:lnTo>
                    <a:lnTo>
                      <a:pt x="15580" y="2634"/>
                    </a:lnTo>
                    <a:lnTo>
                      <a:pt x="17351" y="2634"/>
                    </a:lnTo>
                    <a:lnTo>
                      <a:pt x="17351" y="3688"/>
                    </a:lnTo>
                    <a:lnTo>
                      <a:pt x="18767" y="3688"/>
                    </a:lnTo>
                    <a:lnTo>
                      <a:pt x="18767" y="6322"/>
                    </a:lnTo>
                    <a:lnTo>
                      <a:pt x="18059" y="6322"/>
                    </a:lnTo>
                    <a:lnTo>
                      <a:pt x="18059" y="7902"/>
                    </a:lnTo>
                    <a:lnTo>
                      <a:pt x="19121" y="7902"/>
                    </a:lnTo>
                    <a:lnTo>
                      <a:pt x="19121" y="8956"/>
                    </a:lnTo>
                    <a:lnTo>
                      <a:pt x="20538" y="8956"/>
                    </a:lnTo>
                    <a:lnTo>
                      <a:pt x="20538" y="10010"/>
                    </a:lnTo>
                    <a:lnTo>
                      <a:pt x="21246" y="10010"/>
                    </a:lnTo>
                    <a:lnTo>
                      <a:pt x="21246" y="11590"/>
                    </a:lnTo>
                    <a:lnTo>
                      <a:pt x="21600" y="11590"/>
                    </a:lnTo>
                    <a:lnTo>
                      <a:pt x="21600" y="13698"/>
                    </a:lnTo>
                    <a:lnTo>
                      <a:pt x="21246" y="13698"/>
                    </a:lnTo>
                    <a:lnTo>
                      <a:pt x="21246" y="14224"/>
                    </a:lnTo>
                    <a:lnTo>
                      <a:pt x="20538" y="14224"/>
                    </a:lnTo>
                    <a:lnTo>
                      <a:pt x="20538" y="15278"/>
                    </a:lnTo>
                    <a:lnTo>
                      <a:pt x="19830" y="15278"/>
                    </a:lnTo>
                    <a:lnTo>
                      <a:pt x="19830" y="14224"/>
                    </a:lnTo>
                    <a:lnTo>
                      <a:pt x="19121" y="14224"/>
                    </a:lnTo>
                    <a:lnTo>
                      <a:pt x="19121" y="16332"/>
                    </a:lnTo>
                    <a:lnTo>
                      <a:pt x="18767" y="16332"/>
                    </a:lnTo>
                    <a:lnTo>
                      <a:pt x="18767" y="18966"/>
                    </a:lnTo>
                    <a:lnTo>
                      <a:pt x="19121" y="18966"/>
                    </a:lnTo>
                    <a:lnTo>
                      <a:pt x="19121" y="21600"/>
                    </a:lnTo>
                    <a:lnTo>
                      <a:pt x="16289" y="21600"/>
                    </a:lnTo>
                    <a:lnTo>
                      <a:pt x="16289" y="21073"/>
                    </a:lnTo>
                    <a:lnTo>
                      <a:pt x="15580" y="21073"/>
                    </a:lnTo>
                    <a:lnTo>
                      <a:pt x="15580" y="20020"/>
                    </a:lnTo>
                    <a:lnTo>
                      <a:pt x="14872" y="20020"/>
                    </a:lnTo>
                    <a:lnTo>
                      <a:pt x="14872" y="18966"/>
                    </a:lnTo>
                    <a:lnTo>
                      <a:pt x="13102" y="18966"/>
                    </a:lnTo>
                    <a:lnTo>
                      <a:pt x="13102" y="17385"/>
                    </a:lnTo>
                    <a:lnTo>
                      <a:pt x="12393" y="17385"/>
                    </a:lnTo>
                    <a:lnTo>
                      <a:pt x="12393" y="16332"/>
                    </a:lnTo>
                    <a:lnTo>
                      <a:pt x="13102" y="15278"/>
                    </a:lnTo>
                    <a:lnTo>
                      <a:pt x="13102" y="14224"/>
                    </a:lnTo>
                    <a:lnTo>
                      <a:pt x="12393" y="14224"/>
                    </a:lnTo>
                    <a:lnTo>
                      <a:pt x="12393" y="15278"/>
                    </a:lnTo>
                    <a:lnTo>
                      <a:pt x="12039" y="15278"/>
                    </a:lnTo>
                    <a:lnTo>
                      <a:pt x="12039" y="16332"/>
                    </a:lnTo>
                    <a:lnTo>
                      <a:pt x="11331" y="16332"/>
                    </a:lnTo>
                    <a:lnTo>
                      <a:pt x="11331" y="17385"/>
                    </a:lnTo>
                    <a:lnTo>
                      <a:pt x="9561" y="17385"/>
                    </a:lnTo>
                    <a:lnTo>
                      <a:pt x="9561" y="13698"/>
                    </a:lnTo>
                    <a:lnTo>
                      <a:pt x="8852" y="13698"/>
                    </a:lnTo>
                    <a:lnTo>
                      <a:pt x="8852" y="12644"/>
                    </a:lnTo>
                    <a:lnTo>
                      <a:pt x="7436" y="12644"/>
                    </a:lnTo>
                    <a:lnTo>
                      <a:pt x="7082" y="13698"/>
                    </a:lnTo>
                    <a:lnTo>
                      <a:pt x="7082" y="12644"/>
                    </a:lnTo>
                    <a:lnTo>
                      <a:pt x="6374" y="12644"/>
                    </a:lnTo>
                    <a:lnTo>
                      <a:pt x="6374" y="11063"/>
                    </a:lnTo>
                    <a:lnTo>
                      <a:pt x="4603" y="11063"/>
                    </a:lnTo>
                    <a:lnTo>
                      <a:pt x="4603" y="8956"/>
                    </a:lnTo>
                    <a:lnTo>
                      <a:pt x="3895" y="8956"/>
                    </a:lnTo>
                    <a:lnTo>
                      <a:pt x="3895" y="7902"/>
                    </a:lnTo>
                    <a:lnTo>
                      <a:pt x="2479" y="7902"/>
                    </a:lnTo>
                    <a:lnTo>
                      <a:pt x="2125" y="8956"/>
                    </a:lnTo>
                    <a:lnTo>
                      <a:pt x="2125" y="7902"/>
                    </a:lnTo>
                    <a:lnTo>
                      <a:pt x="1416" y="7902"/>
                    </a:lnTo>
                    <a:lnTo>
                      <a:pt x="1416" y="7376"/>
                    </a:lnTo>
                    <a:lnTo>
                      <a:pt x="708" y="7376"/>
                    </a:lnTo>
                    <a:lnTo>
                      <a:pt x="708" y="5268"/>
                    </a:lnTo>
                    <a:lnTo>
                      <a:pt x="0" y="4215"/>
                    </a:lnTo>
                    <a:lnTo>
                      <a:pt x="708" y="4215"/>
                    </a:lnTo>
                    <a:lnTo>
                      <a:pt x="708" y="3688"/>
                    </a:lnTo>
                    <a:lnTo>
                      <a:pt x="2125" y="3688"/>
                    </a:lnTo>
                    <a:lnTo>
                      <a:pt x="2479" y="2634"/>
                    </a:lnTo>
                    <a:lnTo>
                      <a:pt x="3187" y="2634"/>
                    </a:lnTo>
                    <a:lnTo>
                      <a:pt x="3895" y="1580"/>
                    </a:lnTo>
                    <a:lnTo>
                      <a:pt x="4603" y="1580"/>
                    </a:lnTo>
                    <a:lnTo>
                      <a:pt x="4603" y="2634"/>
                    </a:lnTo>
                    <a:lnTo>
                      <a:pt x="7082" y="2634"/>
                    </a:lnTo>
                    <a:lnTo>
                      <a:pt x="7436" y="3688"/>
                    </a:lnTo>
                    <a:lnTo>
                      <a:pt x="8144" y="3688"/>
                    </a:lnTo>
                    <a:lnTo>
                      <a:pt x="8852" y="2634"/>
                    </a:lnTo>
                    <a:lnTo>
                      <a:pt x="9561" y="2634"/>
                    </a:lnTo>
                    <a:lnTo>
                      <a:pt x="9561" y="1580"/>
                    </a:lnTo>
                    <a:lnTo>
                      <a:pt x="10623" y="1580"/>
                    </a:lnTo>
                    <a:lnTo>
                      <a:pt x="10623" y="527"/>
                    </a:lnTo>
                    <a:lnTo>
                      <a:pt x="12393" y="527"/>
                    </a:lnTo>
                    <a:lnTo>
                      <a:pt x="12393" y="0"/>
                    </a:lnTo>
                    <a:close/>
                    <a:moveTo>
                      <a:pt x="12393" y="0"/>
                    </a:moveTo>
                  </a:path>
                </a:pathLst>
              </a:custGeom>
              <a:solidFill>
                <a:srgbClr val="B2EAE7"/>
              </a:solidFill>
              <a:ln w="12700">
                <a:solidFill>
                  <a:srgbClr val="FFFFFF"/>
                </a:solidFill>
                <a:round/>
                <a:headEnd/>
                <a:tailEnd/>
              </a:ln>
            </p:spPr>
            <p:txBody>
              <a:bodyPr lIns="0" tIns="0" rIns="0" bIns="0"/>
              <a:lstStyle/>
              <a:p>
                <a:endParaRPr lang="en-US"/>
              </a:p>
            </p:txBody>
          </p:sp>
          <p:sp>
            <p:nvSpPr>
              <p:cNvPr id="163" name="Freeform 117"/>
              <p:cNvSpPr>
                <a:spLocks/>
              </p:cNvSpPr>
              <p:nvPr/>
            </p:nvSpPr>
            <p:spPr bwMode="auto">
              <a:xfrm>
                <a:off x="3062" y="2190"/>
                <a:ext cx="863" cy="60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1600"/>
                  <a:gd name="T166" fmla="*/ 0 h 21600"/>
                  <a:gd name="T167" fmla="*/ 21600 w 21600"/>
                  <a:gd name="T168" fmla="*/ 21600 h 216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1600" h="21600">
                    <a:moveTo>
                      <a:pt x="10942" y="0"/>
                    </a:moveTo>
                    <a:lnTo>
                      <a:pt x="11368" y="0"/>
                    </a:lnTo>
                    <a:lnTo>
                      <a:pt x="11653" y="404"/>
                    </a:lnTo>
                    <a:lnTo>
                      <a:pt x="11937" y="404"/>
                    </a:lnTo>
                    <a:lnTo>
                      <a:pt x="11937" y="807"/>
                    </a:lnTo>
                    <a:lnTo>
                      <a:pt x="12363" y="807"/>
                    </a:lnTo>
                    <a:lnTo>
                      <a:pt x="12363" y="1211"/>
                    </a:lnTo>
                    <a:lnTo>
                      <a:pt x="13216" y="1211"/>
                    </a:lnTo>
                    <a:lnTo>
                      <a:pt x="13216" y="807"/>
                    </a:lnTo>
                    <a:lnTo>
                      <a:pt x="13642" y="807"/>
                    </a:lnTo>
                    <a:lnTo>
                      <a:pt x="13926" y="1211"/>
                    </a:lnTo>
                    <a:lnTo>
                      <a:pt x="13926" y="1413"/>
                    </a:lnTo>
                    <a:lnTo>
                      <a:pt x="14211" y="1817"/>
                    </a:lnTo>
                    <a:lnTo>
                      <a:pt x="14921" y="1817"/>
                    </a:lnTo>
                    <a:lnTo>
                      <a:pt x="14921" y="1413"/>
                    </a:lnTo>
                    <a:lnTo>
                      <a:pt x="16342" y="1413"/>
                    </a:lnTo>
                    <a:lnTo>
                      <a:pt x="16342" y="1817"/>
                    </a:lnTo>
                    <a:lnTo>
                      <a:pt x="16911" y="1817"/>
                    </a:lnTo>
                    <a:lnTo>
                      <a:pt x="16911" y="2221"/>
                    </a:lnTo>
                    <a:lnTo>
                      <a:pt x="17053" y="2221"/>
                    </a:lnTo>
                    <a:lnTo>
                      <a:pt x="17053" y="2624"/>
                    </a:lnTo>
                    <a:lnTo>
                      <a:pt x="17337" y="2624"/>
                    </a:lnTo>
                    <a:lnTo>
                      <a:pt x="17337" y="2826"/>
                    </a:lnTo>
                    <a:lnTo>
                      <a:pt x="17621" y="2826"/>
                    </a:lnTo>
                    <a:lnTo>
                      <a:pt x="17621" y="3634"/>
                    </a:lnTo>
                    <a:lnTo>
                      <a:pt x="17337" y="3634"/>
                    </a:lnTo>
                    <a:lnTo>
                      <a:pt x="17337" y="4239"/>
                    </a:lnTo>
                    <a:lnTo>
                      <a:pt x="17621" y="4643"/>
                    </a:lnTo>
                    <a:lnTo>
                      <a:pt x="17621" y="5450"/>
                    </a:lnTo>
                    <a:lnTo>
                      <a:pt x="17337" y="5450"/>
                    </a:lnTo>
                    <a:lnTo>
                      <a:pt x="17337" y="5652"/>
                    </a:lnTo>
                    <a:lnTo>
                      <a:pt x="17053" y="6056"/>
                    </a:lnTo>
                    <a:lnTo>
                      <a:pt x="17337" y="6460"/>
                    </a:lnTo>
                    <a:lnTo>
                      <a:pt x="17621" y="6460"/>
                    </a:lnTo>
                    <a:lnTo>
                      <a:pt x="17621" y="6864"/>
                    </a:lnTo>
                    <a:lnTo>
                      <a:pt x="18047" y="6864"/>
                    </a:lnTo>
                    <a:lnTo>
                      <a:pt x="18047" y="7873"/>
                    </a:lnTo>
                    <a:lnTo>
                      <a:pt x="18332" y="8075"/>
                    </a:lnTo>
                    <a:lnTo>
                      <a:pt x="18332" y="8479"/>
                    </a:lnTo>
                    <a:lnTo>
                      <a:pt x="18900" y="8479"/>
                    </a:lnTo>
                    <a:lnTo>
                      <a:pt x="18900" y="8882"/>
                    </a:lnTo>
                    <a:lnTo>
                      <a:pt x="19326" y="9488"/>
                    </a:lnTo>
                    <a:lnTo>
                      <a:pt x="19611" y="9488"/>
                    </a:lnTo>
                    <a:lnTo>
                      <a:pt x="19611" y="10295"/>
                    </a:lnTo>
                    <a:lnTo>
                      <a:pt x="19326" y="10295"/>
                    </a:lnTo>
                    <a:lnTo>
                      <a:pt x="19326" y="10699"/>
                    </a:lnTo>
                    <a:lnTo>
                      <a:pt x="19895" y="10699"/>
                    </a:lnTo>
                    <a:lnTo>
                      <a:pt x="19895" y="10901"/>
                    </a:lnTo>
                    <a:lnTo>
                      <a:pt x="21032" y="10901"/>
                    </a:lnTo>
                    <a:lnTo>
                      <a:pt x="21032" y="11305"/>
                    </a:lnTo>
                    <a:lnTo>
                      <a:pt x="20889" y="11305"/>
                    </a:lnTo>
                    <a:lnTo>
                      <a:pt x="20889" y="11708"/>
                    </a:lnTo>
                    <a:lnTo>
                      <a:pt x="21032" y="11708"/>
                    </a:lnTo>
                    <a:lnTo>
                      <a:pt x="21032" y="12112"/>
                    </a:lnTo>
                    <a:lnTo>
                      <a:pt x="21600" y="12112"/>
                    </a:lnTo>
                    <a:lnTo>
                      <a:pt x="21600" y="12718"/>
                    </a:lnTo>
                    <a:lnTo>
                      <a:pt x="21032" y="12718"/>
                    </a:lnTo>
                    <a:lnTo>
                      <a:pt x="20889" y="13121"/>
                    </a:lnTo>
                    <a:lnTo>
                      <a:pt x="20605" y="13121"/>
                    </a:lnTo>
                    <a:lnTo>
                      <a:pt x="20605" y="13525"/>
                    </a:lnTo>
                    <a:lnTo>
                      <a:pt x="20321" y="13525"/>
                    </a:lnTo>
                    <a:lnTo>
                      <a:pt x="20321" y="13727"/>
                    </a:lnTo>
                    <a:lnTo>
                      <a:pt x="20037" y="13727"/>
                    </a:lnTo>
                    <a:lnTo>
                      <a:pt x="19895" y="13525"/>
                    </a:lnTo>
                    <a:lnTo>
                      <a:pt x="18332" y="13525"/>
                    </a:lnTo>
                    <a:lnTo>
                      <a:pt x="18332" y="13727"/>
                    </a:lnTo>
                    <a:lnTo>
                      <a:pt x="18616" y="14131"/>
                    </a:lnTo>
                    <a:lnTo>
                      <a:pt x="18616" y="14938"/>
                    </a:lnTo>
                    <a:lnTo>
                      <a:pt x="19042" y="15544"/>
                    </a:lnTo>
                    <a:lnTo>
                      <a:pt x="18900" y="15948"/>
                    </a:lnTo>
                    <a:lnTo>
                      <a:pt x="18900" y="17361"/>
                    </a:lnTo>
                    <a:lnTo>
                      <a:pt x="19042" y="17361"/>
                    </a:lnTo>
                    <a:lnTo>
                      <a:pt x="19611" y="17966"/>
                    </a:lnTo>
                    <a:lnTo>
                      <a:pt x="19326" y="17966"/>
                    </a:lnTo>
                    <a:lnTo>
                      <a:pt x="19326" y="18370"/>
                    </a:lnTo>
                    <a:lnTo>
                      <a:pt x="19042" y="18370"/>
                    </a:lnTo>
                    <a:lnTo>
                      <a:pt x="19042" y="17966"/>
                    </a:lnTo>
                    <a:lnTo>
                      <a:pt x="18900" y="17966"/>
                    </a:lnTo>
                    <a:lnTo>
                      <a:pt x="18900" y="17764"/>
                    </a:lnTo>
                    <a:lnTo>
                      <a:pt x="18616" y="17764"/>
                    </a:lnTo>
                    <a:lnTo>
                      <a:pt x="18616" y="17966"/>
                    </a:lnTo>
                    <a:lnTo>
                      <a:pt x="18047" y="17966"/>
                    </a:lnTo>
                    <a:lnTo>
                      <a:pt x="18047" y="18370"/>
                    </a:lnTo>
                    <a:lnTo>
                      <a:pt x="17905" y="18370"/>
                    </a:lnTo>
                    <a:lnTo>
                      <a:pt x="17905" y="17966"/>
                    </a:lnTo>
                    <a:lnTo>
                      <a:pt x="17621" y="17966"/>
                    </a:lnTo>
                    <a:lnTo>
                      <a:pt x="17337" y="18370"/>
                    </a:lnTo>
                    <a:lnTo>
                      <a:pt x="17053" y="18370"/>
                    </a:lnTo>
                    <a:lnTo>
                      <a:pt x="17053" y="19178"/>
                    </a:lnTo>
                    <a:lnTo>
                      <a:pt x="16911" y="19178"/>
                    </a:lnTo>
                    <a:lnTo>
                      <a:pt x="16911" y="19379"/>
                    </a:lnTo>
                    <a:lnTo>
                      <a:pt x="16626" y="19379"/>
                    </a:lnTo>
                    <a:lnTo>
                      <a:pt x="16626" y="21600"/>
                    </a:lnTo>
                    <a:lnTo>
                      <a:pt x="16342" y="21600"/>
                    </a:lnTo>
                    <a:lnTo>
                      <a:pt x="16342" y="21196"/>
                    </a:lnTo>
                    <a:lnTo>
                      <a:pt x="16058" y="21196"/>
                    </a:lnTo>
                    <a:lnTo>
                      <a:pt x="16058" y="20793"/>
                    </a:lnTo>
                    <a:lnTo>
                      <a:pt x="15916" y="20793"/>
                    </a:lnTo>
                    <a:lnTo>
                      <a:pt x="15916" y="20591"/>
                    </a:lnTo>
                    <a:lnTo>
                      <a:pt x="14921" y="20591"/>
                    </a:lnTo>
                    <a:lnTo>
                      <a:pt x="14637" y="20793"/>
                    </a:lnTo>
                    <a:lnTo>
                      <a:pt x="14637" y="21196"/>
                    </a:lnTo>
                    <a:lnTo>
                      <a:pt x="13926" y="21196"/>
                    </a:lnTo>
                    <a:lnTo>
                      <a:pt x="13926" y="20793"/>
                    </a:lnTo>
                    <a:lnTo>
                      <a:pt x="13642" y="20793"/>
                    </a:lnTo>
                    <a:lnTo>
                      <a:pt x="13642" y="20187"/>
                    </a:lnTo>
                    <a:lnTo>
                      <a:pt x="13216" y="20187"/>
                    </a:lnTo>
                    <a:lnTo>
                      <a:pt x="13216" y="20591"/>
                    </a:lnTo>
                    <a:lnTo>
                      <a:pt x="12647" y="20591"/>
                    </a:lnTo>
                    <a:lnTo>
                      <a:pt x="12647" y="20793"/>
                    </a:lnTo>
                    <a:lnTo>
                      <a:pt x="12363" y="21196"/>
                    </a:lnTo>
                    <a:lnTo>
                      <a:pt x="12363" y="20793"/>
                    </a:lnTo>
                    <a:lnTo>
                      <a:pt x="12221" y="20793"/>
                    </a:lnTo>
                    <a:lnTo>
                      <a:pt x="12221" y="20591"/>
                    </a:lnTo>
                    <a:lnTo>
                      <a:pt x="11653" y="20591"/>
                    </a:lnTo>
                    <a:lnTo>
                      <a:pt x="11653" y="20187"/>
                    </a:lnTo>
                    <a:lnTo>
                      <a:pt x="11368" y="20187"/>
                    </a:lnTo>
                    <a:lnTo>
                      <a:pt x="11368" y="19783"/>
                    </a:lnTo>
                    <a:lnTo>
                      <a:pt x="11226" y="19783"/>
                    </a:lnTo>
                    <a:lnTo>
                      <a:pt x="11226" y="20187"/>
                    </a:lnTo>
                    <a:lnTo>
                      <a:pt x="10374" y="20187"/>
                    </a:lnTo>
                    <a:lnTo>
                      <a:pt x="10374" y="20591"/>
                    </a:lnTo>
                    <a:lnTo>
                      <a:pt x="10232" y="20591"/>
                    </a:lnTo>
                    <a:lnTo>
                      <a:pt x="10232" y="20187"/>
                    </a:lnTo>
                    <a:lnTo>
                      <a:pt x="9379" y="20187"/>
                    </a:lnTo>
                    <a:lnTo>
                      <a:pt x="9379" y="19783"/>
                    </a:lnTo>
                    <a:lnTo>
                      <a:pt x="8953" y="19783"/>
                    </a:lnTo>
                    <a:lnTo>
                      <a:pt x="8953" y="20187"/>
                    </a:lnTo>
                    <a:lnTo>
                      <a:pt x="8668" y="19783"/>
                    </a:lnTo>
                    <a:lnTo>
                      <a:pt x="8242" y="19783"/>
                    </a:lnTo>
                    <a:lnTo>
                      <a:pt x="8242" y="19379"/>
                    </a:lnTo>
                    <a:lnTo>
                      <a:pt x="7247" y="19379"/>
                    </a:lnTo>
                    <a:lnTo>
                      <a:pt x="7247" y="19178"/>
                    </a:lnTo>
                    <a:lnTo>
                      <a:pt x="5968" y="19178"/>
                    </a:lnTo>
                    <a:lnTo>
                      <a:pt x="5684" y="18774"/>
                    </a:lnTo>
                    <a:lnTo>
                      <a:pt x="4405" y="18774"/>
                    </a:lnTo>
                    <a:lnTo>
                      <a:pt x="4405" y="18370"/>
                    </a:lnTo>
                    <a:lnTo>
                      <a:pt x="4263" y="18370"/>
                    </a:lnTo>
                    <a:lnTo>
                      <a:pt x="3979" y="18774"/>
                    </a:lnTo>
                    <a:lnTo>
                      <a:pt x="3268" y="18774"/>
                    </a:lnTo>
                    <a:lnTo>
                      <a:pt x="2984" y="19178"/>
                    </a:lnTo>
                    <a:lnTo>
                      <a:pt x="2416" y="19178"/>
                    </a:lnTo>
                    <a:lnTo>
                      <a:pt x="2274" y="19379"/>
                    </a:lnTo>
                    <a:lnTo>
                      <a:pt x="2274" y="19783"/>
                    </a:lnTo>
                    <a:lnTo>
                      <a:pt x="1705" y="19783"/>
                    </a:lnTo>
                    <a:lnTo>
                      <a:pt x="1705" y="20187"/>
                    </a:lnTo>
                    <a:lnTo>
                      <a:pt x="1279" y="20187"/>
                    </a:lnTo>
                    <a:lnTo>
                      <a:pt x="1279" y="20591"/>
                    </a:lnTo>
                    <a:lnTo>
                      <a:pt x="711" y="20591"/>
                    </a:lnTo>
                    <a:lnTo>
                      <a:pt x="711" y="19379"/>
                    </a:lnTo>
                    <a:lnTo>
                      <a:pt x="995" y="19178"/>
                    </a:lnTo>
                    <a:lnTo>
                      <a:pt x="711" y="18774"/>
                    </a:lnTo>
                    <a:lnTo>
                      <a:pt x="995" y="18774"/>
                    </a:lnTo>
                    <a:lnTo>
                      <a:pt x="995" y="17966"/>
                    </a:lnTo>
                    <a:lnTo>
                      <a:pt x="711" y="17966"/>
                    </a:lnTo>
                    <a:lnTo>
                      <a:pt x="711" y="17764"/>
                    </a:lnTo>
                    <a:lnTo>
                      <a:pt x="284" y="17764"/>
                    </a:lnTo>
                    <a:lnTo>
                      <a:pt x="284" y="17361"/>
                    </a:lnTo>
                    <a:lnTo>
                      <a:pt x="0" y="17361"/>
                    </a:lnTo>
                    <a:lnTo>
                      <a:pt x="0" y="16957"/>
                    </a:lnTo>
                    <a:lnTo>
                      <a:pt x="284" y="16957"/>
                    </a:lnTo>
                    <a:lnTo>
                      <a:pt x="284" y="16553"/>
                    </a:lnTo>
                    <a:lnTo>
                      <a:pt x="568" y="16553"/>
                    </a:lnTo>
                    <a:lnTo>
                      <a:pt x="568" y="16351"/>
                    </a:lnTo>
                    <a:lnTo>
                      <a:pt x="711" y="16351"/>
                    </a:lnTo>
                    <a:lnTo>
                      <a:pt x="711" y="15948"/>
                    </a:lnTo>
                    <a:lnTo>
                      <a:pt x="995" y="15948"/>
                    </a:lnTo>
                    <a:lnTo>
                      <a:pt x="1279" y="15544"/>
                    </a:lnTo>
                    <a:lnTo>
                      <a:pt x="1421" y="15544"/>
                    </a:lnTo>
                    <a:lnTo>
                      <a:pt x="1421" y="13121"/>
                    </a:lnTo>
                    <a:lnTo>
                      <a:pt x="1279" y="13121"/>
                    </a:lnTo>
                    <a:lnTo>
                      <a:pt x="1279" y="12314"/>
                    </a:lnTo>
                    <a:lnTo>
                      <a:pt x="995" y="12112"/>
                    </a:lnTo>
                    <a:lnTo>
                      <a:pt x="995" y="11708"/>
                    </a:lnTo>
                    <a:lnTo>
                      <a:pt x="711" y="11708"/>
                    </a:lnTo>
                    <a:lnTo>
                      <a:pt x="711" y="10901"/>
                    </a:lnTo>
                    <a:lnTo>
                      <a:pt x="568" y="10295"/>
                    </a:lnTo>
                    <a:lnTo>
                      <a:pt x="568" y="9892"/>
                    </a:lnTo>
                    <a:lnTo>
                      <a:pt x="2274" y="9892"/>
                    </a:lnTo>
                    <a:lnTo>
                      <a:pt x="2274" y="10295"/>
                    </a:lnTo>
                    <a:lnTo>
                      <a:pt x="2984" y="10295"/>
                    </a:lnTo>
                    <a:lnTo>
                      <a:pt x="2984" y="9892"/>
                    </a:lnTo>
                    <a:lnTo>
                      <a:pt x="3411" y="9892"/>
                    </a:lnTo>
                    <a:lnTo>
                      <a:pt x="3695" y="9488"/>
                    </a:lnTo>
                    <a:lnTo>
                      <a:pt x="3695" y="8882"/>
                    </a:lnTo>
                    <a:lnTo>
                      <a:pt x="4689" y="8882"/>
                    </a:lnTo>
                    <a:lnTo>
                      <a:pt x="4689" y="8479"/>
                    </a:lnTo>
                    <a:lnTo>
                      <a:pt x="5258" y="8479"/>
                    </a:lnTo>
                    <a:lnTo>
                      <a:pt x="5258" y="9286"/>
                    </a:lnTo>
                    <a:lnTo>
                      <a:pt x="5684" y="9286"/>
                    </a:lnTo>
                    <a:lnTo>
                      <a:pt x="5684" y="8479"/>
                    </a:lnTo>
                    <a:lnTo>
                      <a:pt x="5400" y="8479"/>
                    </a:lnTo>
                    <a:lnTo>
                      <a:pt x="5400" y="7065"/>
                    </a:lnTo>
                    <a:lnTo>
                      <a:pt x="5684" y="7065"/>
                    </a:lnTo>
                    <a:lnTo>
                      <a:pt x="5684" y="6056"/>
                    </a:lnTo>
                    <a:lnTo>
                      <a:pt x="5968" y="6056"/>
                    </a:lnTo>
                    <a:lnTo>
                      <a:pt x="5968" y="5652"/>
                    </a:lnTo>
                    <a:lnTo>
                      <a:pt x="6253" y="5652"/>
                    </a:lnTo>
                    <a:lnTo>
                      <a:pt x="6253" y="5450"/>
                    </a:lnTo>
                    <a:lnTo>
                      <a:pt x="6679" y="5450"/>
                    </a:lnTo>
                    <a:lnTo>
                      <a:pt x="6963" y="5047"/>
                    </a:lnTo>
                    <a:lnTo>
                      <a:pt x="7247" y="5047"/>
                    </a:lnTo>
                    <a:lnTo>
                      <a:pt x="7247" y="4643"/>
                    </a:lnTo>
                    <a:lnTo>
                      <a:pt x="7389" y="4643"/>
                    </a:lnTo>
                    <a:lnTo>
                      <a:pt x="7389" y="4239"/>
                    </a:lnTo>
                    <a:lnTo>
                      <a:pt x="7958" y="4239"/>
                    </a:lnTo>
                    <a:lnTo>
                      <a:pt x="7958" y="4037"/>
                    </a:lnTo>
                    <a:lnTo>
                      <a:pt x="7389" y="4037"/>
                    </a:lnTo>
                    <a:lnTo>
                      <a:pt x="7389" y="2826"/>
                    </a:lnTo>
                    <a:lnTo>
                      <a:pt x="7674" y="2826"/>
                    </a:lnTo>
                    <a:lnTo>
                      <a:pt x="7674" y="2221"/>
                    </a:lnTo>
                    <a:lnTo>
                      <a:pt x="8242" y="2221"/>
                    </a:lnTo>
                    <a:lnTo>
                      <a:pt x="8384" y="1817"/>
                    </a:lnTo>
                    <a:lnTo>
                      <a:pt x="8384" y="1413"/>
                    </a:lnTo>
                    <a:lnTo>
                      <a:pt x="9947" y="1413"/>
                    </a:lnTo>
                    <a:lnTo>
                      <a:pt x="9947" y="1211"/>
                    </a:lnTo>
                    <a:lnTo>
                      <a:pt x="10232" y="1211"/>
                    </a:lnTo>
                    <a:lnTo>
                      <a:pt x="10232" y="807"/>
                    </a:lnTo>
                    <a:lnTo>
                      <a:pt x="10374" y="807"/>
                    </a:lnTo>
                    <a:lnTo>
                      <a:pt x="10374" y="404"/>
                    </a:lnTo>
                    <a:lnTo>
                      <a:pt x="10658" y="404"/>
                    </a:lnTo>
                    <a:lnTo>
                      <a:pt x="10942" y="0"/>
                    </a:lnTo>
                    <a:close/>
                    <a:moveTo>
                      <a:pt x="10942" y="0"/>
                    </a:moveTo>
                  </a:path>
                </a:pathLst>
              </a:custGeom>
              <a:solidFill>
                <a:srgbClr val="B2EAE7"/>
              </a:solidFill>
              <a:ln w="12700">
                <a:solidFill>
                  <a:srgbClr val="FFFFFF"/>
                </a:solidFill>
                <a:round/>
                <a:headEnd/>
                <a:tailEnd/>
              </a:ln>
            </p:spPr>
            <p:txBody>
              <a:bodyPr lIns="0" tIns="0" rIns="0" bIns="0"/>
              <a:lstStyle/>
              <a:p>
                <a:endParaRPr lang="en-US"/>
              </a:p>
            </p:txBody>
          </p:sp>
          <p:sp>
            <p:nvSpPr>
              <p:cNvPr id="164" name="Freeform 118"/>
              <p:cNvSpPr>
                <a:spLocks/>
              </p:cNvSpPr>
              <p:nvPr/>
            </p:nvSpPr>
            <p:spPr bwMode="auto">
              <a:xfrm>
                <a:off x="1824" y="3076"/>
                <a:ext cx="671" cy="29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1600"/>
                  <a:gd name="T154" fmla="*/ 0 h 21600"/>
                  <a:gd name="T155" fmla="*/ 21600 w 21600"/>
                  <a:gd name="T156" fmla="*/ 21600 h 2160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1600" h="21600">
                    <a:moveTo>
                      <a:pt x="15300" y="0"/>
                    </a:moveTo>
                    <a:lnTo>
                      <a:pt x="16020" y="0"/>
                    </a:lnTo>
                    <a:lnTo>
                      <a:pt x="16020" y="415"/>
                    </a:lnTo>
                    <a:lnTo>
                      <a:pt x="16380" y="415"/>
                    </a:lnTo>
                    <a:lnTo>
                      <a:pt x="16380" y="0"/>
                    </a:lnTo>
                    <a:lnTo>
                      <a:pt x="16560" y="0"/>
                    </a:lnTo>
                    <a:lnTo>
                      <a:pt x="16560" y="415"/>
                    </a:lnTo>
                    <a:lnTo>
                      <a:pt x="17280" y="415"/>
                    </a:lnTo>
                    <a:lnTo>
                      <a:pt x="17280" y="1246"/>
                    </a:lnTo>
                    <a:lnTo>
                      <a:pt x="17640" y="1246"/>
                    </a:lnTo>
                    <a:lnTo>
                      <a:pt x="17820" y="415"/>
                    </a:lnTo>
                    <a:lnTo>
                      <a:pt x="17820" y="1246"/>
                    </a:lnTo>
                    <a:lnTo>
                      <a:pt x="18180" y="1246"/>
                    </a:lnTo>
                    <a:lnTo>
                      <a:pt x="18540" y="2077"/>
                    </a:lnTo>
                    <a:lnTo>
                      <a:pt x="19800" y="2077"/>
                    </a:lnTo>
                    <a:lnTo>
                      <a:pt x="19800" y="1246"/>
                    </a:lnTo>
                    <a:lnTo>
                      <a:pt x="20160" y="1246"/>
                    </a:lnTo>
                    <a:lnTo>
                      <a:pt x="20160" y="2077"/>
                    </a:lnTo>
                    <a:lnTo>
                      <a:pt x="21060" y="2077"/>
                    </a:lnTo>
                    <a:lnTo>
                      <a:pt x="21060" y="4985"/>
                    </a:lnTo>
                    <a:lnTo>
                      <a:pt x="20700" y="4985"/>
                    </a:lnTo>
                    <a:lnTo>
                      <a:pt x="20700" y="5815"/>
                    </a:lnTo>
                    <a:lnTo>
                      <a:pt x="21060" y="5815"/>
                    </a:lnTo>
                    <a:lnTo>
                      <a:pt x="21060" y="6231"/>
                    </a:lnTo>
                    <a:lnTo>
                      <a:pt x="21420" y="6231"/>
                    </a:lnTo>
                    <a:lnTo>
                      <a:pt x="21420" y="7892"/>
                    </a:lnTo>
                    <a:lnTo>
                      <a:pt x="21600" y="7892"/>
                    </a:lnTo>
                    <a:lnTo>
                      <a:pt x="21600" y="9969"/>
                    </a:lnTo>
                    <a:lnTo>
                      <a:pt x="21420" y="9969"/>
                    </a:lnTo>
                    <a:lnTo>
                      <a:pt x="21420" y="10800"/>
                    </a:lnTo>
                    <a:lnTo>
                      <a:pt x="20340" y="10800"/>
                    </a:lnTo>
                    <a:lnTo>
                      <a:pt x="20340" y="9969"/>
                    </a:lnTo>
                    <a:lnTo>
                      <a:pt x="20160" y="9969"/>
                    </a:lnTo>
                    <a:lnTo>
                      <a:pt x="20160" y="10800"/>
                    </a:lnTo>
                    <a:lnTo>
                      <a:pt x="19440" y="10800"/>
                    </a:lnTo>
                    <a:lnTo>
                      <a:pt x="19440" y="11631"/>
                    </a:lnTo>
                    <a:lnTo>
                      <a:pt x="20340" y="11631"/>
                    </a:lnTo>
                    <a:lnTo>
                      <a:pt x="20340" y="12877"/>
                    </a:lnTo>
                    <a:lnTo>
                      <a:pt x="20160" y="12877"/>
                    </a:lnTo>
                    <a:lnTo>
                      <a:pt x="20160" y="13708"/>
                    </a:lnTo>
                    <a:lnTo>
                      <a:pt x="19800" y="13708"/>
                    </a:lnTo>
                    <a:lnTo>
                      <a:pt x="19800" y="16615"/>
                    </a:lnTo>
                    <a:lnTo>
                      <a:pt x="18900" y="16615"/>
                    </a:lnTo>
                    <a:lnTo>
                      <a:pt x="18900" y="17446"/>
                    </a:lnTo>
                    <a:lnTo>
                      <a:pt x="18540" y="17446"/>
                    </a:lnTo>
                    <a:lnTo>
                      <a:pt x="18180" y="17862"/>
                    </a:lnTo>
                    <a:lnTo>
                      <a:pt x="18540" y="18692"/>
                    </a:lnTo>
                    <a:lnTo>
                      <a:pt x="17280" y="18692"/>
                    </a:lnTo>
                    <a:lnTo>
                      <a:pt x="16920" y="19523"/>
                    </a:lnTo>
                    <a:lnTo>
                      <a:pt x="15120" y="19523"/>
                    </a:lnTo>
                    <a:lnTo>
                      <a:pt x="15120" y="20354"/>
                    </a:lnTo>
                    <a:lnTo>
                      <a:pt x="14760" y="20354"/>
                    </a:lnTo>
                    <a:lnTo>
                      <a:pt x="14760" y="20769"/>
                    </a:lnTo>
                    <a:lnTo>
                      <a:pt x="14400" y="20769"/>
                    </a:lnTo>
                    <a:lnTo>
                      <a:pt x="14040" y="21600"/>
                    </a:lnTo>
                    <a:lnTo>
                      <a:pt x="13860" y="21600"/>
                    </a:lnTo>
                    <a:lnTo>
                      <a:pt x="13860" y="20769"/>
                    </a:lnTo>
                    <a:lnTo>
                      <a:pt x="12600" y="20769"/>
                    </a:lnTo>
                    <a:lnTo>
                      <a:pt x="12600" y="20354"/>
                    </a:lnTo>
                    <a:lnTo>
                      <a:pt x="12240" y="20354"/>
                    </a:lnTo>
                    <a:lnTo>
                      <a:pt x="12240" y="20769"/>
                    </a:lnTo>
                    <a:lnTo>
                      <a:pt x="11880" y="20354"/>
                    </a:lnTo>
                    <a:lnTo>
                      <a:pt x="10260" y="20354"/>
                    </a:lnTo>
                    <a:lnTo>
                      <a:pt x="10080" y="19523"/>
                    </a:lnTo>
                    <a:lnTo>
                      <a:pt x="8460" y="19523"/>
                    </a:lnTo>
                    <a:lnTo>
                      <a:pt x="8460" y="18692"/>
                    </a:lnTo>
                    <a:lnTo>
                      <a:pt x="7740" y="18692"/>
                    </a:lnTo>
                    <a:lnTo>
                      <a:pt x="7740" y="17862"/>
                    </a:lnTo>
                    <a:lnTo>
                      <a:pt x="7560" y="17862"/>
                    </a:lnTo>
                    <a:lnTo>
                      <a:pt x="7560" y="16615"/>
                    </a:lnTo>
                    <a:lnTo>
                      <a:pt x="7200" y="16615"/>
                    </a:lnTo>
                    <a:lnTo>
                      <a:pt x="7200" y="15785"/>
                    </a:lnTo>
                    <a:lnTo>
                      <a:pt x="7560" y="15785"/>
                    </a:lnTo>
                    <a:lnTo>
                      <a:pt x="7560" y="14954"/>
                    </a:lnTo>
                    <a:lnTo>
                      <a:pt x="7200" y="14954"/>
                    </a:lnTo>
                    <a:lnTo>
                      <a:pt x="7200" y="15785"/>
                    </a:lnTo>
                    <a:lnTo>
                      <a:pt x="5580" y="15785"/>
                    </a:lnTo>
                    <a:lnTo>
                      <a:pt x="5580" y="16615"/>
                    </a:lnTo>
                    <a:lnTo>
                      <a:pt x="4320" y="16615"/>
                    </a:lnTo>
                    <a:lnTo>
                      <a:pt x="4320" y="17446"/>
                    </a:lnTo>
                    <a:lnTo>
                      <a:pt x="4140" y="17446"/>
                    </a:lnTo>
                    <a:lnTo>
                      <a:pt x="4140" y="17862"/>
                    </a:lnTo>
                    <a:lnTo>
                      <a:pt x="3420" y="17862"/>
                    </a:lnTo>
                    <a:lnTo>
                      <a:pt x="3420" y="17446"/>
                    </a:lnTo>
                    <a:lnTo>
                      <a:pt x="2520" y="17446"/>
                    </a:lnTo>
                    <a:lnTo>
                      <a:pt x="2160" y="16615"/>
                    </a:lnTo>
                    <a:lnTo>
                      <a:pt x="1800" y="16615"/>
                    </a:lnTo>
                    <a:lnTo>
                      <a:pt x="1800" y="17446"/>
                    </a:lnTo>
                    <a:lnTo>
                      <a:pt x="900" y="17446"/>
                    </a:lnTo>
                    <a:lnTo>
                      <a:pt x="900" y="16615"/>
                    </a:lnTo>
                    <a:lnTo>
                      <a:pt x="360" y="16615"/>
                    </a:lnTo>
                    <a:lnTo>
                      <a:pt x="360" y="15785"/>
                    </a:lnTo>
                    <a:lnTo>
                      <a:pt x="0" y="15785"/>
                    </a:lnTo>
                    <a:lnTo>
                      <a:pt x="0" y="12046"/>
                    </a:lnTo>
                    <a:lnTo>
                      <a:pt x="360" y="12046"/>
                    </a:lnTo>
                    <a:lnTo>
                      <a:pt x="360" y="11631"/>
                    </a:lnTo>
                    <a:lnTo>
                      <a:pt x="900" y="11631"/>
                    </a:lnTo>
                    <a:lnTo>
                      <a:pt x="900" y="12046"/>
                    </a:lnTo>
                    <a:lnTo>
                      <a:pt x="1620" y="12046"/>
                    </a:lnTo>
                    <a:lnTo>
                      <a:pt x="1620" y="14538"/>
                    </a:lnTo>
                    <a:lnTo>
                      <a:pt x="1800" y="14538"/>
                    </a:lnTo>
                    <a:lnTo>
                      <a:pt x="1800" y="13708"/>
                    </a:lnTo>
                    <a:lnTo>
                      <a:pt x="2520" y="13708"/>
                    </a:lnTo>
                    <a:lnTo>
                      <a:pt x="2520" y="11631"/>
                    </a:lnTo>
                    <a:lnTo>
                      <a:pt x="3060" y="11631"/>
                    </a:lnTo>
                    <a:lnTo>
                      <a:pt x="3060" y="12046"/>
                    </a:lnTo>
                    <a:lnTo>
                      <a:pt x="3420" y="12046"/>
                    </a:lnTo>
                    <a:lnTo>
                      <a:pt x="3780" y="11631"/>
                    </a:lnTo>
                    <a:lnTo>
                      <a:pt x="3780" y="12877"/>
                    </a:lnTo>
                    <a:lnTo>
                      <a:pt x="4140" y="12877"/>
                    </a:lnTo>
                    <a:lnTo>
                      <a:pt x="4140" y="13708"/>
                    </a:lnTo>
                    <a:lnTo>
                      <a:pt x="4320" y="13708"/>
                    </a:lnTo>
                    <a:lnTo>
                      <a:pt x="4320" y="12877"/>
                    </a:lnTo>
                    <a:lnTo>
                      <a:pt x="5040" y="12877"/>
                    </a:lnTo>
                    <a:lnTo>
                      <a:pt x="5400" y="12046"/>
                    </a:lnTo>
                    <a:lnTo>
                      <a:pt x="5400" y="11631"/>
                    </a:lnTo>
                    <a:lnTo>
                      <a:pt x="7200" y="11631"/>
                    </a:lnTo>
                    <a:lnTo>
                      <a:pt x="7200" y="10800"/>
                    </a:lnTo>
                    <a:lnTo>
                      <a:pt x="9000" y="10800"/>
                    </a:lnTo>
                    <a:lnTo>
                      <a:pt x="9000" y="11631"/>
                    </a:lnTo>
                    <a:lnTo>
                      <a:pt x="9360" y="11631"/>
                    </a:lnTo>
                    <a:lnTo>
                      <a:pt x="9360" y="12046"/>
                    </a:lnTo>
                    <a:lnTo>
                      <a:pt x="10080" y="12046"/>
                    </a:lnTo>
                    <a:lnTo>
                      <a:pt x="10080" y="11631"/>
                    </a:lnTo>
                    <a:lnTo>
                      <a:pt x="9720" y="11631"/>
                    </a:lnTo>
                    <a:lnTo>
                      <a:pt x="10080" y="10800"/>
                    </a:lnTo>
                    <a:lnTo>
                      <a:pt x="10080" y="9969"/>
                    </a:lnTo>
                    <a:lnTo>
                      <a:pt x="9720" y="9969"/>
                    </a:lnTo>
                    <a:lnTo>
                      <a:pt x="9720" y="8723"/>
                    </a:lnTo>
                    <a:lnTo>
                      <a:pt x="9360" y="8723"/>
                    </a:lnTo>
                    <a:lnTo>
                      <a:pt x="9360" y="6231"/>
                    </a:lnTo>
                    <a:lnTo>
                      <a:pt x="9720" y="5815"/>
                    </a:lnTo>
                    <a:lnTo>
                      <a:pt x="10260" y="5815"/>
                    </a:lnTo>
                    <a:lnTo>
                      <a:pt x="10260" y="4985"/>
                    </a:lnTo>
                    <a:lnTo>
                      <a:pt x="10980" y="4985"/>
                    </a:lnTo>
                    <a:lnTo>
                      <a:pt x="10980" y="2908"/>
                    </a:lnTo>
                    <a:lnTo>
                      <a:pt x="11340" y="2908"/>
                    </a:lnTo>
                    <a:lnTo>
                      <a:pt x="11340" y="3323"/>
                    </a:lnTo>
                    <a:lnTo>
                      <a:pt x="11520" y="3323"/>
                    </a:lnTo>
                    <a:lnTo>
                      <a:pt x="11520" y="4154"/>
                    </a:lnTo>
                    <a:lnTo>
                      <a:pt x="11880" y="4154"/>
                    </a:lnTo>
                    <a:lnTo>
                      <a:pt x="11880" y="2908"/>
                    </a:lnTo>
                    <a:lnTo>
                      <a:pt x="12240" y="2077"/>
                    </a:lnTo>
                    <a:lnTo>
                      <a:pt x="12600" y="2077"/>
                    </a:lnTo>
                    <a:lnTo>
                      <a:pt x="12600" y="2908"/>
                    </a:lnTo>
                    <a:lnTo>
                      <a:pt x="12780" y="2908"/>
                    </a:lnTo>
                    <a:lnTo>
                      <a:pt x="12780" y="3323"/>
                    </a:lnTo>
                    <a:lnTo>
                      <a:pt x="13860" y="3323"/>
                    </a:lnTo>
                    <a:lnTo>
                      <a:pt x="13860" y="2908"/>
                    </a:lnTo>
                    <a:lnTo>
                      <a:pt x="14040" y="3323"/>
                    </a:lnTo>
                    <a:lnTo>
                      <a:pt x="14760" y="3323"/>
                    </a:lnTo>
                    <a:lnTo>
                      <a:pt x="14760" y="2077"/>
                    </a:lnTo>
                    <a:lnTo>
                      <a:pt x="15300" y="2077"/>
                    </a:lnTo>
                    <a:lnTo>
                      <a:pt x="15300" y="0"/>
                    </a:lnTo>
                    <a:close/>
                    <a:moveTo>
                      <a:pt x="15300" y="0"/>
                    </a:moveTo>
                  </a:path>
                </a:pathLst>
              </a:custGeom>
              <a:solidFill>
                <a:srgbClr val="B2EAE7"/>
              </a:solidFill>
              <a:ln w="12700">
                <a:solidFill>
                  <a:srgbClr val="FFFFFF"/>
                </a:solidFill>
                <a:round/>
                <a:headEnd/>
                <a:tailEnd/>
              </a:ln>
            </p:spPr>
            <p:txBody>
              <a:bodyPr lIns="0" tIns="0" rIns="0" bIns="0"/>
              <a:lstStyle/>
              <a:p>
                <a:endParaRPr lang="en-US"/>
              </a:p>
            </p:txBody>
          </p:sp>
          <p:sp>
            <p:nvSpPr>
              <p:cNvPr id="165" name="Freeform 119"/>
              <p:cNvSpPr>
                <a:spLocks/>
              </p:cNvSpPr>
              <p:nvPr/>
            </p:nvSpPr>
            <p:spPr bwMode="auto">
              <a:xfrm>
                <a:off x="2704" y="3787"/>
                <a:ext cx="160" cy="329"/>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1600"/>
                  <a:gd name="T124" fmla="*/ 0 h 21600"/>
                  <a:gd name="T125" fmla="*/ 21600 w 21600"/>
                  <a:gd name="T126" fmla="*/ 21600 h 2160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1600" h="21600">
                    <a:moveTo>
                      <a:pt x="3857" y="0"/>
                    </a:moveTo>
                    <a:lnTo>
                      <a:pt x="5400" y="0"/>
                    </a:lnTo>
                    <a:lnTo>
                      <a:pt x="5400" y="1490"/>
                    </a:lnTo>
                    <a:lnTo>
                      <a:pt x="8486" y="1490"/>
                    </a:lnTo>
                    <a:lnTo>
                      <a:pt x="8486" y="745"/>
                    </a:lnTo>
                    <a:lnTo>
                      <a:pt x="9257" y="745"/>
                    </a:lnTo>
                    <a:lnTo>
                      <a:pt x="9257" y="1490"/>
                    </a:lnTo>
                    <a:lnTo>
                      <a:pt x="10800" y="1490"/>
                    </a:lnTo>
                    <a:lnTo>
                      <a:pt x="10800" y="2234"/>
                    </a:lnTo>
                    <a:lnTo>
                      <a:pt x="12343" y="2234"/>
                    </a:lnTo>
                    <a:lnTo>
                      <a:pt x="12343" y="2607"/>
                    </a:lnTo>
                    <a:lnTo>
                      <a:pt x="13886" y="2607"/>
                    </a:lnTo>
                    <a:lnTo>
                      <a:pt x="13886" y="3352"/>
                    </a:lnTo>
                    <a:lnTo>
                      <a:pt x="14657" y="3352"/>
                    </a:lnTo>
                    <a:lnTo>
                      <a:pt x="14657" y="4097"/>
                    </a:lnTo>
                    <a:lnTo>
                      <a:pt x="16200" y="4841"/>
                    </a:lnTo>
                    <a:lnTo>
                      <a:pt x="16200" y="5214"/>
                    </a:lnTo>
                    <a:lnTo>
                      <a:pt x="14657" y="5214"/>
                    </a:lnTo>
                    <a:lnTo>
                      <a:pt x="14657" y="5959"/>
                    </a:lnTo>
                    <a:lnTo>
                      <a:pt x="16200" y="5959"/>
                    </a:lnTo>
                    <a:lnTo>
                      <a:pt x="14657" y="6703"/>
                    </a:lnTo>
                    <a:lnTo>
                      <a:pt x="14657" y="8566"/>
                    </a:lnTo>
                    <a:lnTo>
                      <a:pt x="16200" y="9310"/>
                    </a:lnTo>
                    <a:lnTo>
                      <a:pt x="14657" y="9310"/>
                    </a:lnTo>
                    <a:lnTo>
                      <a:pt x="14657" y="11172"/>
                    </a:lnTo>
                    <a:lnTo>
                      <a:pt x="16200" y="11172"/>
                    </a:lnTo>
                    <a:lnTo>
                      <a:pt x="16200" y="11917"/>
                    </a:lnTo>
                    <a:lnTo>
                      <a:pt x="17743" y="11917"/>
                    </a:lnTo>
                    <a:lnTo>
                      <a:pt x="17743" y="12662"/>
                    </a:lnTo>
                    <a:lnTo>
                      <a:pt x="20057" y="12662"/>
                    </a:lnTo>
                    <a:lnTo>
                      <a:pt x="20057" y="13779"/>
                    </a:lnTo>
                    <a:lnTo>
                      <a:pt x="21600" y="13779"/>
                    </a:lnTo>
                    <a:lnTo>
                      <a:pt x="21600" y="14897"/>
                    </a:lnTo>
                    <a:lnTo>
                      <a:pt x="20057" y="14897"/>
                    </a:lnTo>
                    <a:lnTo>
                      <a:pt x="20057" y="15641"/>
                    </a:lnTo>
                    <a:lnTo>
                      <a:pt x="17743" y="15641"/>
                    </a:lnTo>
                    <a:lnTo>
                      <a:pt x="17743" y="17131"/>
                    </a:lnTo>
                    <a:lnTo>
                      <a:pt x="16200" y="17131"/>
                    </a:lnTo>
                    <a:lnTo>
                      <a:pt x="16200" y="18248"/>
                    </a:lnTo>
                    <a:lnTo>
                      <a:pt x="13886" y="18248"/>
                    </a:lnTo>
                    <a:lnTo>
                      <a:pt x="13886" y="18993"/>
                    </a:lnTo>
                    <a:lnTo>
                      <a:pt x="12343" y="18993"/>
                    </a:lnTo>
                    <a:lnTo>
                      <a:pt x="12343" y="20110"/>
                    </a:lnTo>
                    <a:lnTo>
                      <a:pt x="10800" y="20110"/>
                    </a:lnTo>
                    <a:lnTo>
                      <a:pt x="10800" y="21600"/>
                    </a:lnTo>
                    <a:lnTo>
                      <a:pt x="9257" y="21600"/>
                    </a:lnTo>
                    <a:lnTo>
                      <a:pt x="9257" y="20855"/>
                    </a:lnTo>
                    <a:lnTo>
                      <a:pt x="8486" y="20855"/>
                    </a:lnTo>
                    <a:lnTo>
                      <a:pt x="8486" y="19738"/>
                    </a:lnTo>
                    <a:lnTo>
                      <a:pt x="6943" y="19738"/>
                    </a:lnTo>
                    <a:lnTo>
                      <a:pt x="6943" y="18993"/>
                    </a:lnTo>
                    <a:lnTo>
                      <a:pt x="5400" y="18993"/>
                    </a:lnTo>
                    <a:lnTo>
                      <a:pt x="5400" y="18248"/>
                    </a:lnTo>
                    <a:lnTo>
                      <a:pt x="3857" y="18248"/>
                    </a:lnTo>
                    <a:lnTo>
                      <a:pt x="3857" y="17503"/>
                    </a:lnTo>
                    <a:lnTo>
                      <a:pt x="3086" y="17503"/>
                    </a:lnTo>
                    <a:lnTo>
                      <a:pt x="3086" y="17131"/>
                    </a:lnTo>
                    <a:lnTo>
                      <a:pt x="1543" y="17131"/>
                    </a:lnTo>
                    <a:lnTo>
                      <a:pt x="0" y="16386"/>
                    </a:lnTo>
                    <a:lnTo>
                      <a:pt x="1543" y="16386"/>
                    </a:lnTo>
                    <a:lnTo>
                      <a:pt x="1543" y="15641"/>
                    </a:lnTo>
                    <a:lnTo>
                      <a:pt x="0" y="15641"/>
                    </a:lnTo>
                    <a:lnTo>
                      <a:pt x="0" y="13034"/>
                    </a:lnTo>
                    <a:lnTo>
                      <a:pt x="1543" y="13034"/>
                    </a:lnTo>
                    <a:lnTo>
                      <a:pt x="1543" y="11917"/>
                    </a:lnTo>
                    <a:lnTo>
                      <a:pt x="3086" y="10428"/>
                    </a:lnTo>
                    <a:lnTo>
                      <a:pt x="3086" y="10055"/>
                    </a:lnTo>
                    <a:lnTo>
                      <a:pt x="1543" y="10055"/>
                    </a:lnTo>
                    <a:lnTo>
                      <a:pt x="1543" y="7821"/>
                    </a:lnTo>
                    <a:lnTo>
                      <a:pt x="3086" y="7821"/>
                    </a:lnTo>
                    <a:lnTo>
                      <a:pt x="3086" y="5959"/>
                    </a:lnTo>
                    <a:lnTo>
                      <a:pt x="1543" y="5959"/>
                    </a:lnTo>
                    <a:lnTo>
                      <a:pt x="1543" y="4097"/>
                    </a:lnTo>
                    <a:lnTo>
                      <a:pt x="0" y="4097"/>
                    </a:lnTo>
                    <a:lnTo>
                      <a:pt x="0" y="3352"/>
                    </a:lnTo>
                    <a:lnTo>
                      <a:pt x="1543" y="3352"/>
                    </a:lnTo>
                    <a:lnTo>
                      <a:pt x="1543" y="2234"/>
                    </a:lnTo>
                    <a:lnTo>
                      <a:pt x="3086" y="2234"/>
                    </a:lnTo>
                    <a:lnTo>
                      <a:pt x="3086" y="1490"/>
                    </a:lnTo>
                    <a:lnTo>
                      <a:pt x="3857" y="1490"/>
                    </a:lnTo>
                    <a:lnTo>
                      <a:pt x="3857" y="0"/>
                    </a:lnTo>
                    <a:close/>
                    <a:moveTo>
                      <a:pt x="3857" y="0"/>
                    </a:moveTo>
                  </a:path>
                </a:pathLst>
              </a:custGeom>
              <a:solidFill>
                <a:srgbClr val="B2EAE7"/>
              </a:solidFill>
              <a:ln w="12700">
                <a:solidFill>
                  <a:srgbClr val="FFFFFF"/>
                </a:solidFill>
                <a:round/>
                <a:headEnd/>
                <a:tailEnd/>
              </a:ln>
            </p:spPr>
            <p:txBody>
              <a:bodyPr lIns="0" tIns="0" rIns="0" bIns="0"/>
              <a:lstStyle/>
              <a:p>
                <a:endParaRPr lang="en-US"/>
              </a:p>
            </p:txBody>
          </p:sp>
        </p:grpSp>
        <p:grpSp>
          <p:nvGrpSpPr>
            <p:cNvPr id="166" name="102 Grupo"/>
            <p:cNvGrpSpPr>
              <a:grpSpLocks/>
            </p:cNvGrpSpPr>
            <p:nvPr/>
          </p:nvGrpSpPr>
          <p:grpSpPr bwMode="auto">
            <a:xfrm>
              <a:off x="3166885" y="5963692"/>
              <a:ext cx="472993" cy="188912"/>
              <a:chOff x="3813175" y="3314700"/>
              <a:chExt cx="119063" cy="47626"/>
            </a:xfrm>
          </p:grpSpPr>
          <p:sp>
            <p:nvSpPr>
              <p:cNvPr id="167" name="Freeform 995"/>
              <p:cNvSpPr>
                <a:spLocks/>
              </p:cNvSpPr>
              <p:nvPr/>
            </p:nvSpPr>
            <p:spPr bwMode="auto">
              <a:xfrm>
                <a:off x="3924300" y="3314700"/>
                <a:ext cx="7938" cy="11113"/>
              </a:xfrm>
              <a:custGeom>
                <a:avLst/>
                <a:gdLst>
                  <a:gd name="T0" fmla="*/ 2147483647 w 5"/>
                  <a:gd name="T1" fmla="*/ 0 h 7"/>
                  <a:gd name="T2" fmla="*/ 2147483647 w 5"/>
                  <a:gd name="T3" fmla="*/ 0 h 7"/>
                  <a:gd name="T4" fmla="*/ 2147483647 w 5"/>
                  <a:gd name="T5" fmla="*/ 2147483647 h 7"/>
                  <a:gd name="T6" fmla="*/ 2147483647 w 5"/>
                  <a:gd name="T7" fmla="*/ 2147483647 h 7"/>
                  <a:gd name="T8" fmla="*/ 2147483647 w 5"/>
                  <a:gd name="T9" fmla="*/ 2147483647 h 7"/>
                  <a:gd name="T10" fmla="*/ 0 w 5"/>
                  <a:gd name="T11" fmla="*/ 2147483647 h 7"/>
                  <a:gd name="T12" fmla="*/ 0 w 5"/>
                  <a:gd name="T13" fmla="*/ 2147483647 h 7"/>
                  <a:gd name="T14" fmla="*/ 2147483647 w 5"/>
                  <a:gd name="T15" fmla="*/ 2147483647 h 7"/>
                  <a:gd name="T16" fmla="*/ 2147483647 w 5"/>
                  <a:gd name="T17" fmla="*/ 2147483647 h 7"/>
                  <a:gd name="T18" fmla="*/ 2147483647 w 5"/>
                  <a:gd name="T19" fmla="*/ 2147483647 h 7"/>
                  <a:gd name="T20" fmla="*/ 2147483647 w 5"/>
                  <a:gd name="T21" fmla="*/ 0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
                  <a:gd name="T34" fmla="*/ 0 h 7"/>
                  <a:gd name="T35" fmla="*/ 5 w 5"/>
                  <a:gd name="T36" fmla="*/ 7 h 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 h="7">
                    <a:moveTo>
                      <a:pt x="3" y="0"/>
                    </a:moveTo>
                    <a:lnTo>
                      <a:pt x="5" y="0"/>
                    </a:lnTo>
                    <a:lnTo>
                      <a:pt x="5" y="6"/>
                    </a:lnTo>
                    <a:lnTo>
                      <a:pt x="1" y="6"/>
                    </a:lnTo>
                    <a:lnTo>
                      <a:pt x="1" y="7"/>
                    </a:lnTo>
                    <a:lnTo>
                      <a:pt x="0" y="7"/>
                    </a:lnTo>
                    <a:lnTo>
                      <a:pt x="0" y="4"/>
                    </a:lnTo>
                    <a:lnTo>
                      <a:pt x="1" y="4"/>
                    </a:lnTo>
                    <a:lnTo>
                      <a:pt x="1" y="2"/>
                    </a:lnTo>
                    <a:lnTo>
                      <a:pt x="3" y="2"/>
                    </a:lnTo>
                    <a:lnTo>
                      <a:pt x="3" y="0"/>
                    </a:lnTo>
                    <a:close/>
                  </a:path>
                </a:pathLst>
              </a:custGeom>
              <a:solidFill>
                <a:srgbClr val="00BACF"/>
              </a:solidFill>
              <a:ln w="12700">
                <a:solidFill>
                  <a:srgbClr val="FFFFFF"/>
                </a:solidFill>
                <a:round/>
                <a:headEnd/>
                <a:tailEnd/>
              </a:ln>
            </p:spPr>
            <p:txBody>
              <a:bodyPr lIns="0" tIns="0" rIns="0" bIns="0"/>
              <a:lstStyle/>
              <a:p>
                <a:endParaRPr lang="en-US"/>
              </a:p>
            </p:txBody>
          </p:sp>
          <p:sp>
            <p:nvSpPr>
              <p:cNvPr id="168" name="Freeform 996"/>
              <p:cNvSpPr>
                <a:spLocks/>
              </p:cNvSpPr>
              <p:nvPr/>
            </p:nvSpPr>
            <p:spPr bwMode="auto">
              <a:xfrm>
                <a:off x="3870325" y="3346450"/>
                <a:ext cx="14288" cy="11113"/>
              </a:xfrm>
              <a:custGeom>
                <a:avLst/>
                <a:gdLst>
                  <a:gd name="T0" fmla="*/ 2147483647 w 9"/>
                  <a:gd name="T1" fmla="*/ 0 h 7"/>
                  <a:gd name="T2" fmla="*/ 2147483647 w 9"/>
                  <a:gd name="T3" fmla="*/ 0 h 7"/>
                  <a:gd name="T4" fmla="*/ 2147483647 w 9"/>
                  <a:gd name="T5" fmla="*/ 2147483647 h 7"/>
                  <a:gd name="T6" fmla="*/ 2147483647 w 9"/>
                  <a:gd name="T7" fmla="*/ 2147483647 h 7"/>
                  <a:gd name="T8" fmla="*/ 2147483647 w 9"/>
                  <a:gd name="T9" fmla="*/ 2147483647 h 7"/>
                  <a:gd name="T10" fmla="*/ 2147483647 w 9"/>
                  <a:gd name="T11" fmla="*/ 2147483647 h 7"/>
                  <a:gd name="T12" fmla="*/ 2147483647 w 9"/>
                  <a:gd name="T13" fmla="*/ 2147483647 h 7"/>
                  <a:gd name="T14" fmla="*/ 2147483647 w 9"/>
                  <a:gd name="T15" fmla="*/ 2147483647 h 7"/>
                  <a:gd name="T16" fmla="*/ 0 w 9"/>
                  <a:gd name="T17" fmla="*/ 2147483647 h 7"/>
                  <a:gd name="T18" fmla="*/ 0 w 9"/>
                  <a:gd name="T19" fmla="*/ 2147483647 h 7"/>
                  <a:gd name="T20" fmla="*/ 2147483647 w 9"/>
                  <a:gd name="T21" fmla="*/ 2147483647 h 7"/>
                  <a:gd name="T22" fmla="*/ 2147483647 w 9"/>
                  <a:gd name="T23" fmla="*/ 0 h 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
                  <a:gd name="T37" fmla="*/ 0 h 7"/>
                  <a:gd name="T38" fmla="*/ 9 w 9"/>
                  <a:gd name="T39" fmla="*/ 7 h 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 h="7">
                    <a:moveTo>
                      <a:pt x="2" y="0"/>
                    </a:moveTo>
                    <a:lnTo>
                      <a:pt x="9" y="0"/>
                    </a:lnTo>
                    <a:lnTo>
                      <a:pt x="9" y="1"/>
                    </a:lnTo>
                    <a:lnTo>
                      <a:pt x="7" y="1"/>
                    </a:lnTo>
                    <a:lnTo>
                      <a:pt x="7" y="5"/>
                    </a:lnTo>
                    <a:lnTo>
                      <a:pt x="6" y="7"/>
                    </a:lnTo>
                    <a:lnTo>
                      <a:pt x="4" y="7"/>
                    </a:lnTo>
                    <a:lnTo>
                      <a:pt x="2" y="5"/>
                    </a:lnTo>
                    <a:lnTo>
                      <a:pt x="0" y="5"/>
                    </a:lnTo>
                    <a:lnTo>
                      <a:pt x="0" y="3"/>
                    </a:lnTo>
                    <a:lnTo>
                      <a:pt x="2" y="3"/>
                    </a:lnTo>
                    <a:lnTo>
                      <a:pt x="2" y="0"/>
                    </a:lnTo>
                    <a:close/>
                  </a:path>
                </a:pathLst>
              </a:custGeom>
              <a:solidFill>
                <a:srgbClr val="00BACF"/>
              </a:solidFill>
              <a:ln w="12700">
                <a:solidFill>
                  <a:srgbClr val="FFFFFF"/>
                </a:solidFill>
                <a:round/>
                <a:headEnd/>
                <a:tailEnd/>
              </a:ln>
            </p:spPr>
            <p:txBody>
              <a:bodyPr lIns="0" tIns="0" rIns="0" bIns="0"/>
              <a:lstStyle/>
              <a:p>
                <a:endParaRPr lang="en-US"/>
              </a:p>
            </p:txBody>
          </p:sp>
          <p:sp>
            <p:nvSpPr>
              <p:cNvPr id="169" name="Freeform 997"/>
              <p:cNvSpPr>
                <a:spLocks/>
              </p:cNvSpPr>
              <p:nvPr/>
            </p:nvSpPr>
            <p:spPr bwMode="auto">
              <a:xfrm>
                <a:off x="3843338" y="3335338"/>
                <a:ext cx="19050" cy="15875"/>
              </a:xfrm>
              <a:custGeom>
                <a:avLst/>
                <a:gdLst>
                  <a:gd name="T0" fmla="*/ 2147483647 w 12"/>
                  <a:gd name="T1" fmla="*/ 0 h 10"/>
                  <a:gd name="T2" fmla="*/ 2147483647 w 12"/>
                  <a:gd name="T3" fmla="*/ 0 h 10"/>
                  <a:gd name="T4" fmla="*/ 2147483647 w 12"/>
                  <a:gd name="T5" fmla="*/ 2147483647 h 10"/>
                  <a:gd name="T6" fmla="*/ 2147483647 w 12"/>
                  <a:gd name="T7" fmla="*/ 2147483647 h 10"/>
                  <a:gd name="T8" fmla="*/ 2147483647 w 12"/>
                  <a:gd name="T9" fmla="*/ 2147483647 h 10"/>
                  <a:gd name="T10" fmla="*/ 2147483647 w 12"/>
                  <a:gd name="T11" fmla="*/ 2147483647 h 10"/>
                  <a:gd name="T12" fmla="*/ 2147483647 w 12"/>
                  <a:gd name="T13" fmla="*/ 2147483647 h 10"/>
                  <a:gd name="T14" fmla="*/ 2147483647 w 12"/>
                  <a:gd name="T15" fmla="*/ 2147483647 h 10"/>
                  <a:gd name="T16" fmla="*/ 2147483647 w 12"/>
                  <a:gd name="T17" fmla="*/ 2147483647 h 10"/>
                  <a:gd name="T18" fmla="*/ 2147483647 w 12"/>
                  <a:gd name="T19" fmla="*/ 2147483647 h 10"/>
                  <a:gd name="T20" fmla="*/ 0 w 12"/>
                  <a:gd name="T21" fmla="*/ 2147483647 h 10"/>
                  <a:gd name="T22" fmla="*/ 0 w 12"/>
                  <a:gd name="T23" fmla="*/ 2147483647 h 10"/>
                  <a:gd name="T24" fmla="*/ 2147483647 w 12"/>
                  <a:gd name="T25" fmla="*/ 2147483647 h 10"/>
                  <a:gd name="T26" fmla="*/ 2147483647 w 12"/>
                  <a:gd name="T27" fmla="*/ 2147483647 h 10"/>
                  <a:gd name="T28" fmla="*/ 2147483647 w 12"/>
                  <a:gd name="T29" fmla="*/ 2147483647 h 10"/>
                  <a:gd name="T30" fmla="*/ 2147483647 w 12"/>
                  <a:gd name="T31" fmla="*/ 0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
                  <a:gd name="T49" fmla="*/ 0 h 10"/>
                  <a:gd name="T50" fmla="*/ 12 w 12"/>
                  <a:gd name="T51" fmla="*/ 10 h 1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 h="10">
                    <a:moveTo>
                      <a:pt x="9" y="0"/>
                    </a:moveTo>
                    <a:lnTo>
                      <a:pt x="12" y="0"/>
                    </a:lnTo>
                    <a:lnTo>
                      <a:pt x="12" y="1"/>
                    </a:lnTo>
                    <a:lnTo>
                      <a:pt x="9" y="5"/>
                    </a:lnTo>
                    <a:lnTo>
                      <a:pt x="7" y="5"/>
                    </a:lnTo>
                    <a:lnTo>
                      <a:pt x="7" y="8"/>
                    </a:lnTo>
                    <a:lnTo>
                      <a:pt x="5" y="8"/>
                    </a:lnTo>
                    <a:lnTo>
                      <a:pt x="5" y="10"/>
                    </a:lnTo>
                    <a:lnTo>
                      <a:pt x="3" y="8"/>
                    </a:lnTo>
                    <a:lnTo>
                      <a:pt x="3" y="5"/>
                    </a:lnTo>
                    <a:lnTo>
                      <a:pt x="0" y="5"/>
                    </a:lnTo>
                    <a:lnTo>
                      <a:pt x="0" y="3"/>
                    </a:lnTo>
                    <a:lnTo>
                      <a:pt x="5" y="3"/>
                    </a:lnTo>
                    <a:lnTo>
                      <a:pt x="5" y="1"/>
                    </a:lnTo>
                    <a:lnTo>
                      <a:pt x="7" y="1"/>
                    </a:lnTo>
                    <a:lnTo>
                      <a:pt x="9" y="0"/>
                    </a:lnTo>
                    <a:close/>
                  </a:path>
                </a:pathLst>
              </a:custGeom>
              <a:solidFill>
                <a:srgbClr val="00BACF"/>
              </a:solidFill>
              <a:ln w="12700">
                <a:solidFill>
                  <a:srgbClr val="FFFFFF"/>
                </a:solidFill>
                <a:round/>
                <a:headEnd/>
                <a:tailEnd/>
              </a:ln>
            </p:spPr>
            <p:txBody>
              <a:bodyPr lIns="0" tIns="0" rIns="0" bIns="0"/>
              <a:lstStyle/>
              <a:p>
                <a:endParaRPr lang="en-US"/>
              </a:p>
            </p:txBody>
          </p:sp>
          <p:sp>
            <p:nvSpPr>
              <p:cNvPr id="170" name="Freeform 998"/>
              <p:cNvSpPr>
                <a:spLocks/>
              </p:cNvSpPr>
              <p:nvPr/>
            </p:nvSpPr>
            <p:spPr bwMode="auto">
              <a:xfrm>
                <a:off x="3832225" y="3343275"/>
                <a:ext cx="7938" cy="4763"/>
              </a:xfrm>
              <a:custGeom>
                <a:avLst/>
                <a:gdLst>
                  <a:gd name="T0" fmla="*/ 2147483647 w 5"/>
                  <a:gd name="T1" fmla="*/ 0 h 3"/>
                  <a:gd name="T2" fmla="*/ 2147483647 w 5"/>
                  <a:gd name="T3" fmla="*/ 0 h 3"/>
                  <a:gd name="T4" fmla="*/ 2147483647 w 5"/>
                  <a:gd name="T5" fmla="*/ 2147483647 h 3"/>
                  <a:gd name="T6" fmla="*/ 2147483647 w 5"/>
                  <a:gd name="T7" fmla="*/ 2147483647 h 3"/>
                  <a:gd name="T8" fmla="*/ 0 w 5"/>
                  <a:gd name="T9" fmla="*/ 2147483647 h 3"/>
                  <a:gd name="T10" fmla="*/ 0 w 5"/>
                  <a:gd name="T11" fmla="*/ 2147483647 h 3"/>
                  <a:gd name="T12" fmla="*/ 2147483647 w 5"/>
                  <a:gd name="T13" fmla="*/ 0 h 3"/>
                  <a:gd name="T14" fmla="*/ 0 60000 65536"/>
                  <a:gd name="T15" fmla="*/ 0 60000 65536"/>
                  <a:gd name="T16" fmla="*/ 0 60000 65536"/>
                  <a:gd name="T17" fmla="*/ 0 60000 65536"/>
                  <a:gd name="T18" fmla="*/ 0 60000 65536"/>
                  <a:gd name="T19" fmla="*/ 0 60000 65536"/>
                  <a:gd name="T20" fmla="*/ 0 60000 65536"/>
                  <a:gd name="T21" fmla="*/ 0 w 5"/>
                  <a:gd name="T22" fmla="*/ 0 h 3"/>
                  <a:gd name="T23" fmla="*/ 5 w 5"/>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3">
                    <a:moveTo>
                      <a:pt x="2" y="0"/>
                    </a:moveTo>
                    <a:lnTo>
                      <a:pt x="5" y="0"/>
                    </a:lnTo>
                    <a:lnTo>
                      <a:pt x="5" y="2"/>
                    </a:lnTo>
                    <a:lnTo>
                      <a:pt x="3" y="3"/>
                    </a:lnTo>
                    <a:lnTo>
                      <a:pt x="0" y="3"/>
                    </a:lnTo>
                    <a:lnTo>
                      <a:pt x="0" y="2"/>
                    </a:lnTo>
                    <a:lnTo>
                      <a:pt x="2" y="0"/>
                    </a:lnTo>
                    <a:close/>
                  </a:path>
                </a:pathLst>
              </a:custGeom>
              <a:solidFill>
                <a:srgbClr val="00BACF"/>
              </a:solidFill>
              <a:ln w="12700">
                <a:solidFill>
                  <a:srgbClr val="FFFFFF"/>
                </a:solidFill>
                <a:round/>
                <a:headEnd/>
                <a:tailEnd/>
              </a:ln>
            </p:spPr>
            <p:txBody>
              <a:bodyPr lIns="0" tIns="0" rIns="0" bIns="0"/>
              <a:lstStyle/>
              <a:p>
                <a:endParaRPr lang="en-US"/>
              </a:p>
            </p:txBody>
          </p:sp>
          <p:sp>
            <p:nvSpPr>
              <p:cNvPr id="171" name="Freeform 999"/>
              <p:cNvSpPr>
                <a:spLocks/>
              </p:cNvSpPr>
              <p:nvPr/>
            </p:nvSpPr>
            <p:spPr bwMode="auto">
              <a:xfrm>
                <a:off x="3910013" y="3328988"/>
                <a:ext cx="14288" cy="19050"/>
              </a:xfrm>
              <a:custGeom>
                <a:avLst/>
                <a:gdLst>
                  <a:gd name="T0" fmla="*/ 2147483647 w 9"/>
                  <a:gd name="T1" fmla="*/ 0 h 12"/>
                  <a:gd name="T2" fmla="*/ 2147483647 w 9"/>
                  <a:gd name="T3" fmla="*/ 0 h 12"/>
                  <a:gd name="T4" fmla="*/ 2147483647 w 9"/>
                  <a:gd name="T5" fmla="*/ 2147483647 h 12"/>
                  <a:gd name="T6" fmla="*/ 2147483647 w 9"/>
                  <a:gd name="T7" fmla="*/ 2147483647 h 12"/>
                  <a:gd name="T8" fmla="*/ 2147483647 w 9"/>
                  <a:gd name="T9" fmla="*/ 2147483647 h 12"/>
                  <a:gd name="T10" fmla="*/ 2147483647 w 9"/>
                  <a:gd name="T11" fmla="*/ 2147483647 h 12"/>
                  <a:gd name="T12" fmla="*/ 2147483647 w 9"/>
                  <a:gd name="T13" fmla="*/ 2147483647 h 12"/>
                  <a:gd name="T14" fmla="*/ 2147483647 w 9"/>
                  <a:gd name="T15" fmla="*/ 2147483647 h 12"/>
                  <a:gd name="T16" fmla="*/ 0 w 9"/>
                  <a:gd name="T17" fmla="*/ 2147483647 h 12"/>
                  <a:gd name="T18" fmla="*/ 0 w 9"/>
                  <a:gd name="T19" fmla="*/ 2147483647 h 12"/>
                  <a:gd name="T20" fmla="*/ 2147483647 w 9"/>
                  <a:gd name="T21" fmla="*/ 2147483647 h 12"/>
                  <a:gd name="T22" fmla="*/ 2147483647 w 9"/>
                  <a:gd name="T23" fmla="*/ 2147483647 h 12"/>
                  <a:gd name="T24" fmla="*/ 2147483647 w 9"/>
                  <a:gd name="T25" fmla="*/ 2147483647 h 12"/>
                  <a:gd name="T26" fmla="*/ 2147483647 w 9"/>
                  <a:gd name="T27" fmla="*/ 2147483647 h 12"/>
                  <a:gd name="T28" fmla="*/ 2147483647 w 9"/>
                  <a:gd name="T29" fmla="*/ 2147483647 h 12"/>
                  <a:gd name="T30" fmla="*/ 2147483647 w 9"/>
                  <a:gd name="T31" fmla="*/ 0 h 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
                  <a:gd name="T49" fmla="*/ 0 h 12"/>
                  <a:gd name="T50" fmla="*/ 9 w 9"/>
                  <a:gd name="T51" fmla="*/ 12 h 1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 h="12">
                    <a:moveTo>
                      <a:pt x="5" y="0"/>
                    </a:moveTo>
                    <a:lnTo>
                      <a:pt x="7" y="0"/>
                    </a:lnTo>
                    <a:lnTo>
                      <a:pt x="9" y="2"/>
                    </a:lnTo>
                    <a:lnTo>
                      <a:pt x="9" y="4"/>
                    </a:lnTo>
                    <a:lnTo>
                      <a:pt x="7" y="4"/>
                    </a:lnTo>
                    <a:lnTo>
                      <a:pt x="7" y="7"/>
                    </a:lnTo>
                    <a:lnTo>
                      <a:pt x="5" y="9"/>
                    </a:lnTo>
                    <a:lnTo>
                      <a:pt x="3" y="9"/>
                    </a:lnTo>
                    <a:lnTo>
                      <a:pt x="0" y="12"/>
                    </a:lnTo>
                    <a:lnTo>
                      <a:pt x="0" y="9"/>
                    </a:lnTo>
                    <a:lnTo>
                      <a:pt x="2" y="9"/>
                    </a:lnTo>
                    <a:lnTo>
                      <a:pt x="2" y="7"/>
                    </a:lnTo>
                    <a:lnTo>
                      <a:pt x="3" y="5"/>
                    </a:lnTo>
                    <a:lnTo>
                      <a:pt x="3" y="4"/>
                    </a:lnTo>
                    <a:lnTo>
                      <a:pt x="5" y="4"/>
                    </a:lnTo>
                    <a:lnTo>
                      <a:pt x="5" y="0"/>
                    </a:lnTo>
                    <a:close/>
                  </a:path>
                </a:pathLst>
              </a:custGeom>
              <a:solidFill>
                <a:srgbClr val="00BACF"/>
              </a:solidFill>
              <a:ln w="12700">
                <a:solidFill>
                  <a:srgbClr val="FFFFFF"/>
                </a:solidFill>
                <a:round/>
                <a:headEnd/>
                <a:tailEnd/>
              </a:ln>
            </p:spPr>
            <p:txBody>
              <a:bodyPr lIns="0" tIns="0" rIns="0" bIns="0"/>
              <a:lstStyle/>
              <a:p>
                <a:endParaRPr lang="en-US"/>
              </a:p>
            </p:txBody>
          </p:sp>
          <p:sp>
            <p:nvSpPr>
              <p:cNvPr id="172" name="Freeform 1000"/>
              <p:cNvSpPr>
                <a:spLocks/>
              </p:cNvSpPr>
              <p:nvPr/>
            </p:nvSpPr>
            <p:spPr bwMode="auto">
              <a:xfrm>
                <a:off x="3813175" y="3351213"/>
                <a:ext cx="7938" cy="11113"/>
              </a:xfrm>
              <a:custGeom>
                <a:avLst/>
                <a:gdLst>
                  <a:gd name="T0" fmla="*/ 2147483647 w 5"/>
                  <a:gd name="T1" fmla="*/ 0 h 7"/>
                  <a:gd name="T2" fmla="*/ 2147483647 w 5"/>
                  <a:gd name="T3" fmla="*/ 0 h 7"/>
                  <a:gd name="T4" fmla="*/ 2147483647 w 5"/>
                  <a:gd name="T5" fmla="*/ 2147483647 h 7"/>
                  <a:gd name="T6" fmla="*/ 2147483647 w 5"/>
                  <a:gd name="T7" fmla="*/ 2147483647 h 7"/>
                  <a:gd name="T8" fmla="*/ 2147483647 w 5"/>
                  <a:gd name="T9" fmla="*/ 2147483647 h 7"/>
                  <a:gd name="T10" fmla="*/ 0 w 5"/>
                  <a:gd name="T11" fmla="*/ 2147483647 h 7"/>
                  <a:gd name="T12" fmla="*/ 0 w 5"/>
                  <a:gd name="T13" fmla="*/ 2147483647 h 7"/>
                  <a:gd name="T14" fmla="*/ 2147483647 w 5"/>
                  <a:gd name="T15" fmla="*/ 2147483647 h 7"/>
                  <a:gd name="T16" fmla="*/ 2147483647 w 5"/>
                  <a:gd name="T17" fmla="*/ 0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7"/>
                  <a:gd name="T29" fmla="*/ 5 w 5"/>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7">
                    <a:moveTo>
                      <a:pt x="1" y="0"/>
                    </a:moveTo>
                    <a:lnTo>
                      <a:pt x="5" y="0"/>
                    </a:lnTo>
                    <a:lnTo>
                      <a:pt x="5" y="4"/>
                    </a:lnTo>
                    <a:lnTo>
                      <a:pt x="1" y="7"/>
                    </a:lnTo>
                    <a:lnTo>
                      <a:pt x="1" y="5"/>
                    </a:lnTo>
                    <a:lnTo>
                      <a:pt x="0" y="5"/>
                    </a:lnTo>
                    <a:lnTo>
                      <a:pt x="0" y="4"/>
                    </a:lnTo>
                    <a:lnTo>
                      <a:pt x="1" y="4"/>
                    </a:lnTo>
                    <a:lnTo>
                      <a:pt x="1" y="0"/>
                    </a:lnTo>
                    <a:close/>
                  </a:path>
                </a:pathLst>
              </a:custGeom>
              <a:solidFill>
                <a:srgbClr val="00BACF"/>
              </a:solidFill>
              <a:ln w="12700">
                <a:solidFill>
                  <a:srgbClr val="FFFFFF"/>
                </a:solidFill>
                <a:round/>
                <a:headEnd/>
                <a:tailEnd/>
              </a:ln>
            </p:spPr>
            <p:txBody>
              <a:bodyPr lIns="0" tIns="0" rIns="0" bIns="0"/>
              <a:lstStyle/>
              <a:p>
                <a:endParaRPr lang="en-US"/>
              </a:p>
            </p:txBody>
          </p:sp>
          <p:sp>
            <p:nvSpPr>
              <p:cNvPr id="173" name="Freeform 1001"/>
              <p:cNvSpPr>
                <a:spLocks/>
              </p:cNvSpPr>
              <p:nvPr/>
            </p:nvSpPr>
            <p:spPr bwMode="auto">
              <a:xfrm>
                <a:off x="3814763" y="3324225"/>
                <a:ext cx="9525" cy="11113"/>
              </a:xfrm>
              <a:custGeom>
                <a:avLst/>
                <a:gdLst>
                  <a:gd name="T0" fmla="*/ 2147483647 w 6"/>
                  <a:gd name="T1" fmla="*/ 0 h 7"/>
                  <a:gd name="T2" fmla="*/ 2147483647 w 6"/>
                  <a:gd name="T3" fmla="*/ 0 h 7"/>
                  <a:gd name="T4" fmla="*/ 2147483647 w 6"/>
                  <a:gd name="T5" fmla="*/ 2147483647 h 7"/>
                  <a:gd name="T6" fmla="*/ 2147483647 w 6"/>
                  <a:gd name="T7" fmla="*/ 2147483647 h 7"/>
                  <a:gd name="T8" fmla="*/ 2147483647 w 6"/>
                  <a:gd name="T9" fmla="*/ 2147483647 h 7"/>
                  <a:gd name="T10" fmla="*/ 2147483647 w 6"/>
                  <a:gd name="T11" fmla="*/ 2147483647 h 7"/>
                  <a:gd name="T12" fmla="*/ 0 w 6"/>
                  <a:gd name="T13" fmla="*/ 2147483647 h 7"/>
                  <a:gd name="T14" fmla="*/ 0 w 6"/>
                  <a:gd name="T15" fmla="*/ 2147483647 h 7"/>
                  <a:gd name="T16" fmla="*/ 2147483647 w 6"/>
                  <a:gd name="T17" fmla="*/ 2147483647 h 7"/>
                  <a:gd name="T18" fmla="*/ 2147483647 w 6"/>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7"/>
                  <a:gd name="T32" fmla="*/ 6 w 6"/>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7">
                    <a:moveTo>
                      <a:pt x="2" y="0"/>
                    </a:moveTo>
                    <a:lnTo>
                      <a:pt x="4" y="0"/>
                    </a:lnTo>
                    <a:lnTo>
                      <a:pt x="6" y="1"/>
                    </a:lnTo>
                    <a:lnTo>
                      <a:pt x="6" y="7"/>
                    </a:lnTo>
                    <a:lnTo>
                      <a:pt x="2" y="7"/>
                    </a:lnTo>
                    <a:lnTo>
                      <a:pt x="2" y="5"/>
                    </a:lnTo>
                    <a:lnTo>
                      <a:pt x="0" y="5"/>
                    </a:lnTo>
                    <a:lnTo>
                      <a:pt x="0" y="1"/>
                    </a:lnTo>
                    <a:lnTo>
                      <a:pt x="2" y="1"/>
                    </a:lnTo>
                    <a:lnTo>
                      <a:pt x="2" y="0"/>
                    </a:lnTo>
                    <a:close/>
                  </a:path>
                </a:pathLst>
              </a:custGeom>
              <a:solidFill>
                <a:srgbClr val="00BACF"/>
              </a:solidFill>
              <a:ln w="12700">
                <a:solidFill>
                  <a:srgbClr val="FFFFFF"/>
                </a:solidFill>
                <a:round/>
                <a:headEnd/>
                <a:tailEnd/>
              </a:ln>
            </p:spPr>
            <p:txBody>
              <a:bodyPr lIns="0" tIns="0" rIns="0" bIns="0"/>
              <a:lstStyle/>
              <a:p>
                <a:endParaRPr lang="en-US"/>
              </a:p>
            </p:txBody>
          </p:sp>
        </p:grpSp>
      </p:grpSp>
      <p:sp>
        <p:nvSpPr>
          <p:cNvPr id="181" name="Rectangle 48"/>
          <p:cNvSpPr>
            <a:spLocks/>
          </p:cNvSpPr>
          <p:nvPr/>
        </p:nvSpPr>
        <p:spPr bwMode="auto">
          <a:xfrm>
            <a:off x="515241" y="210177"/>
            <a:ext cx="8680530" cy="4603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26788" tIns="26788" rIns="26788" bIns="26788">
            <a:spAutoFit/>
          </a:bodyPr>
          <a:lstStyle/>
          <a:p>
            <a:pPr marL="39688" defTabSz="642938">
              <a:lnSpc>
                <a:spcPct val="110000"/>
              </a:lnSpc>
            </a:pPr>
            <a:r>
              <a:rPr lang="en-GB" sz="2400" b="1" dirty="0">
                <a:solidFill>
                  <a:schemeClr val="accent2">
                    <a:lumMod val="50000"/>
                  </a:schemeClr>
                </a:solidFill>
                <a:latin typeface="Arial" pitchFamily="34" charset="0"/>
                <a:ea typeface="Arial Unicode MS" pitchFamily="34" charset="-128"/>
                <a:cs typeface="Arial" pitchFamily="34" charset="0"/>
                <a:sym typeface="Telefonica Text" pitchFamily="2" charset="0"/>
              </a:rPr>
              <a:t>The best profile to approach the future</a:t>
            </a:r>
          </a:p>
        </p:txBody>
      </p:sp>
      <p:sp>
        <p:nvSpPr>
          <p:cNvPr id="182" name="Rectangle 1"/>
          <p:cNvSpPr>
            <a:spLocks/>
          </p:cNvSpPr>
          <p:nvPr/>
        </p:nvSpPr>
        <p:spPr bwMode="auto">
          <a:xfrm>
            <a:off x="0" y="0"/>
            <a:ext cx="368300" cy="647700"/>
          </a:xfrm>
          <a:prstGeom prst="rect">
            <a:avLst/>
          </a:prstGeom>
          <a:gradFill rotWithShape="0">
            <a:gsLst>
              <a:gs pos="0">
                <a:srgbClr val="0A1519"/>
              </a:gs>
              <a:gs pos="100000">
                <a:srgbClr val="2A5E77"/>
              </a:gs>
            </a:gsLst>
            <a:lin ang="2700000" scaled="1"/>
          </a:gradFill>
          <a:ln>
            <a:noFill/>
          </a:ln>
          <a:extLst>
            <a:ext uri="{91240B29-F687-4F45-9708-019B960494DF}">
              <a14:hiddenLine xmlns:a14="http://schemas.microsoft.com/office/drawing/2010/main" xmlns="" w="12700">
                <a:solidFill>
                  <a:schemeClr val="tx1"/>
                </a:solidFill>
                <a:miter lim="800000"/>
                <a:headEnd/>
                <a:tailEnd/>
              </a14:hiddenLine>
            </a:ext>
          </a:extLst>
        </p:spPr>
        <p:txBody>
          <a:bodyPr lIns="0" tIns="0" rIns="0" bIns="0"/>
          <a:lstStyle/>
          <a:p>
            <a:endParaRPr lang="es-ES">
              <a:cs typeface="Arial" pitchFamily="34" charset="0"/>
            </a:endParaRPr>
          </a:p>
        </p:txBody>
      </p:sp>
      <p:sp>
        <p:nvSpPr>
          <p:cNvPr id="183" name="Rectangle 9"/>
          <p:cNvSpPr>
            <a:spLocks/>
          </p:cNvSpPr>
          <p:nvPr/>
        </p:nvSpPr>
        <p:spPr bwMode="auto">
          <a:xfrm>
            <a:off x="55563" y="334963"/>
            <a:ext cx="339725" cy="357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chemeClr val="tx1"/>
                </a:solidFill>
                <a:miter lim="800000"/>
                <a:headEnd/>
                <a:tailEnd/>
              </a14:hiddenLine>
            </a:ext>
          </a:extLst>
        </p:spPr>
        <p:txBody>
          <a:bodyPr lIns="38100" tIns="38100" rIns="38100" bIns="38100"/>
          <a:lstStyle/>
          <a:p>
            <a:pPr algn="l"/>
            <a:r>
              <a:rPr lang="en-US" sz="1400" dirty="0" smtClean="0">
                <a:solidFill>
                  <a:srgbClr val="44B5CA"/>
                </a:solidFill>
                <a:ea typeface="MS PGothic" pitchFamily="34" charset="-128"/>
                <a:sym typeface="Telefonica Text Bold"/>
              </a:rPr>
              <a:t>00</a:t>
            </a:r>
            <a:endParaRPr lang="en-US" sz="1400" dirty="0">
              <a:solidFill>
                <a:srgbClr val="44B5CA"/>
              </a:solidFill>
              <a:ea typeface="MS PGothic" pitchFamily="34" charset="-128"/>
              <a:sym typeface="Telefonica Text Bold"/>
            </a:endParaRPr>
          </a:p>
        </p:txBody>
      </p:sp>
      <p:pic>
        <p:nvPicPr>
          <p:cNvPr id="184" name="Picture 25" descr="postales"/>
          <p:cNvPicPr>
            <a:picLocks noChangeAspect="1" noChangeArrowheads="1"/>
          </p:cNvPicPr>
          <p:nvPr/>
        </p:nvPicPr>
        <p:blipFill>
          <a:blip r:embed="rId9" cstate="print">
            <a:extLst>
              <a:ext uri="{28A0092B-C50C-407E-A947-70E740481C1C}">
                <a14:useLocalDpi xmlns:a14="http://schemas.microsoft.com/office/drawing/2010/main" xmlns="" val="0"/>
              </a:ext>
            </a:extLst>
          </a:blip>
          <a:srcRect/>
          <a:stretch>
            <a:fillRect/>
          </a:stretch>
        </p:blipFill>
        <p:spPr bwMode="auto">
          <a:xfrm>
            <a:off x="3187146" y="1196754"/>
            <a:ext cx="795200" cy="792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85" name="Text Box 9"/>
          <p:cNvSpPr txBox="1">
            <a:spLocks noChangeArrowheads="1"/>
          </p:cNvSpPr>
          <p:nvPr/>
        </p:nvSpPr>
        <p:spPr bwMode="auto">
          <a:xfrm>
            <a:off x="1641191" y="4000279"/>
            <a:ext cx="1561829" cy="4924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algn="l">
              <a:defRPr sz="2400">
                <a:solidFill>
                  <a:schemeClr val="tx1"/>
                </a:solidFill>
                <a:latin typeface="TheSansCorrespondence" pitchFamily="34" charset="0"/>
              </a:defRPr>
            </a:lvl1pPr>
            <a:lvl2pPr marL="742950" indent="-285750" algn="l">
              <a:defRPr sz="2400">
                <a:solidFill>
                  <a:schemeClr val="tx1"/>
                </a:solidFill>
                <a:latin typeface="TheSansCorrespondence" pitchFamily="34" charset="0"/>
              </a:defRPr>
            </a:lvl2pPr>
            <a:lvl3pPr marL="1143000" indent="-228600" algn="l">
              <a:defRPr sz="2400">
                <a:solidFill>
                  <a:schemeClr val="tx1"/>
                </a:solidFill>
                <a:latin typeface="TheSansCorrespondence" pitchFamily="34" charset="0"/>
              </a:defRPr>
            </a:lvl3pPr>
            <a:lvl4pPr marL="1600200" indent="-228600" algn="l">
              <a:defRPr sz="2400">
                <a:solidFill>
                  <a:schemeClr val="tx1"/>
                </a:solidFill>
                <a:latin typeface="TheSansCorrespondence" pitchFamily="34" charset="0"/>
              </a:defRPr>
            </a:lvl4pPr>
            <a:lvl5pPr marL="2057400" indent="-228600" algn="l">
              <a:defRPr sz="2400">
                <a:solidFill>
                  <a:schemeClr val="tx1"/>
                </a:solidFill>
                <a:latin typeface="TheSansCorrespondence" pitchFamily="34" charset="0"/>
              </a:defRPr>
            </a:lvl5pPr>
            <a:lvl6pPr marL="2514600" indent="-228600" eaLnBrk="0" fontAlgn="base" hangingPunct="0">
              <a:spcBef>
                <a:spcPct val="0"/>
              </a:spcBef>
              <a:spcAft>
                <a:spcPct val="0"/>
              </a:spcAft>
              <a:defRPr sz="2400">
                <a:solidFill>
                  <a:schemeClr val="tx1"/>
                </a:solidFill>
                <a:latin typeface="TheSansCorrespondence" pitchFamily="34" charset="0"/>
              </a:defRPr>
            </a:lvl6pPr>
            <a:lvl7pPr marL="2971800" indent="-228600" eaLnBrk="0" fontAlgn="base" hangingPunct="0">
              <a:spcBef>
                <a:spcPct val="0"/>
              </a:spcBef>
              <a:spcAft>
                <a:spcPct val="0"/>
              </a:spcAft>
              <a:defRPr sz="2400">
                <a:solidFill>
                  <a:schemeClr val="tx1"/>
                </a:solidFill>
                <a:latin typeface="TheSansCorrespondence" pitchFamily="34" charset="0"/>
              </a:defRPr>
            </a:lvl7pPr>
            <a:lvl8pPr marL="3429000" indent="-228600" eaLnBrk="0" fontAlgn="base" hangingPunct="0">
              <a:spcBef>
                <a:spcPct val="0"/>
              </a:spcBef>
              <a:spcAft>
                <a:spcPct val="0"/>
              </a:spcAft>
              <a:defRPr sz="2400">
                <a:solidFill>
                  <a:schemeClr val="tx1"/>
                </a:solidFill>
                <a:latin typeface="TheSansCorrespondence" pitchFamily="34" charset="0"/>
              </a:defRPr>
            </a:lvl8pPr>
            <a:lvl9pPr marL="3886200" indent="-228600" eaLnBrk="0" fontAlgn="base" hangingPunct="0">
              <a:spcBef>
                <a:spcPct val="0"/>
              </a:spcBef>
              <a:spcAft>
                <a:spcPct val="0"/>
              </a:spcAft>
              <a:defRPr sz="2400">
                <a:solidFill>
                  <a:schemeClr val="tx1"/>
                </a:solidFill>
                <a:latin typeface="TheSansCorrespondence" pitchFamily="34" charset="0"/>
              </a:defRPr>
            </a:lvl9pPr>
          </a:lstStyle>
          <a:p>
            <a:pPr algn="ctr"/>
            <a:r>
              <a:rPr lang="es-ES" sz="1400" b="0" dirty="0" err="1">
                <a:latin typeface="Arial Unicode MS" pitchFamily="34" charset="-128"/>
              </a:rPr>
              <a:t>Around</a:t>
            </a:r>
            <a:r>
              <a:rPr lang="es-ES" sz="1400" i="1" dirty="0">
                <a:latin typeface="Arial Unicode MS" pitchFamily="34" charset="-128"/>
              </a:rPr>
              <a:t> </a:t>
            </a:r>
            <a:r>
              <a:rPr lang="es-ES" sz="1800" i="1" dirty="0" smtClean="0">
                <a:latin typeface="Arial Unicode MS" pitchFamily="34" charset="-128"/>
              </a:rPr>
              <a:t>285.000</a:t>
            </a:r>
            <a:r>
              <a:rPr lang="es-ES" sz="1400" i="1" dirty="0" smtClean="0">
                <a:latin typeface="Arial Unicode MS" pitchFamily="34" charset="-128"/>
              </a:rPr>
              <a:t> </a:t>
            </a:r>
            <a:r>
              <a:rPr lang="es-ES" sz="1400" b="0" dirty="0" err="1">
                <a:latin typeface="Arial Unicode MS" pitchFamily="34" charset="-128"/>
              </a:rPr>
              <a:t>professionals</a:t>
            </a:r>
            <a:endParaRPr lang="es-ES" sz="1400" b="0" dirty="0">
              <a:latin typeface="Arial Unicode MS" pitchFamily="34" charset="-128"/>
            </a:endParaRPr>
          </a:p>
        </p:txBody>
      </p:sp>
      <p:sp>
        <p:nvSpPr>
          <p:cNvPr id="186" name="Rectangle 13"/>
          <p:cNvSpPr>
            <a:spLocks noChangeArrowheads="1"/>
          </p:cNvSpPr>
          <p:nvPr/>
        </p:nvSpPr>
        <p:spPr bwMode="auto">
          <a:xfrm>
            <a:off x="180945" y="3847879"/>
            <a:ext cx="1185657" cy="792163"/>
          </a:xfrm>
          <a:prstGeom prst="rect">
            <a:avLst/>
          </a:prstGeom>
          <a:solidFill>
            <a:schemeClr val="accent1"/>
          </a:solidFill>
          <a:ln>
            <a:noFill/>
          </a:ln>
          <a:effectLst>
            <a:prstShdw prst="shdw17" dist="17961" dir="2700000">
              <a:schemeClr val="bg2"/>
            </a:prstShdw>
          </a:effectLst>
          <a:extLst>
            <a:ext uri="{91240B29-F687-4F45-9708-019B960494DF}">
              <a14:hiddenLine xmlns:a14="http://schemas.microsoft.com/office/drawing/2010/main" xmlns="" w="9525">
                <a:solidFill>
                  <a:schemeClr val="bg2"/>
                </a:solidFill>
                <a:miter lim="800000"/>
                <a:headEnd/>
                <a:tailEnd/>
              </a14:hiddenLine>
            </a:ext>
          </a:extLst>
        </p:spPr>
        <p:txBody>
          <a:bodyPr wrap="none" lIns="91436" tIns="45718" rIns="91436" bIns="45718" anchor="ctr"/>
          <a:lstStyle/>
          <a:p>
            <a:r>
              <a:rPr lang="es-ES" sz="1800">
                <a:solidFill>
                  <a:schemeClr val="tx1"/>
                </a:solidFill>
                <a:latin typeface="Arial Unicode MS" pitchFamily="34" charset="-128"/>
              </a:rPr>
              <a:t>Employees</a:t>
            </a:r>
          </a:p>
        </p:txBody>
      </p:sp>
      <p:sp>
        <p:nvSpPr>
          <p:cNvPr id="187" name="Rectangle 14"/>
          <p:cNvSpPr>
            <a:spLocks noChangeArrowheads="1"/>
          </p:cNvSpPr>
          <p:nvPr/>
        </p:nvSpPr>
        <p:spPr bwMode="auto">
          <a:xfrm>
            <a:off x="180945" y="2077814"/>
            <a:ext cx="1185657" cy="792162"/>
          </a:xfrm>
          <a:prstGeom prst="rect">
            <a:avLst/>
          </a:prstGeom>
          <a:solidFill>
            <a:schemeClr val="accent1"/>
          </a:solidFill>
          <a:ln>
            <a:noFill/>
          </a:ln>
          <a:effectLst>
            <a:prstShdw prst="shdw17" dist="17961" dir="2700000">
              <a:schemeClr val="bg2"/>
            </a:prstShdw>
          </a:effectLst>
          <a:extLst>
            <a:ext uri="{91240B29-F687-4F45-9708-019B960494DF}">
              <a14:hiddenLine xmlns:a14="http://schemas.microsoft.com/office/drawing/2010/main" xmlns="" w="9525">
                <a:solidFill>
                  <a:schemeClr val="bg2"/>
                </a:solidFill>
                <a:miter lim="800000"/>
                <a:headEnd/>
                <a:tailEnd/>
              </a14:hiddenLine>
            </a:ext>
          </a:extLst>
        </p:spPr>
        <p:txBody>
          <a:bodyPr wrap="none" lIns="91436" tIns="45718" rIns="91436" bIns="45718" anchor="ctr"/>
          <a:lstStyle/>
          <a:p>
            <a:r>
              <a:rPr lang="es-ES" sz="1800">
                <a:solidFill>
                  <a:schemeClr val="tx1"/>
                </a:solidFill>
                <a:latin typeface="Arial Unicode MS" pitchFamily="34" charset="-128"/>
              </a:rPr>
              <a:t>Services</a:t>
            </a:r>
          </a:p>
        </p:txBody>
      </p:sp>
      <p:sp>
        <p:nvSpPr>
          <p:cNvPr id="188" name="Rectangle 15"/>
          <p:cNvSpPr>
            <a:spLocks noChangeArrowheads="1"/>
          </p:cNvSpPr>
          <p:nvPr/>
        </p:nvSpPr>
        <p:spPr bwMode="auto">
          <a:xfrm>
            <a:off x="180945" y="4738464"/>
            <a:ext cx="1185657" cy="792162"/>
          </a:xfrm>
          <a:prstGeom prst="rect">
            <a:avLst/>
          </a:prstGeom>
          <a:solidFill>
            <a:schemeClr val="accent1"/>
          </a:solidFill>
          <a:ln>
            <a:noFill/>
          </a:ln>
          <a:effectLst>
            <a:prstShdw prst="shdw17" dist="17961" dir="2700000">
              <a:schemeClr val="bg2"/>
            </a:prstShdw>
          </a:effectLst>
          <a:extLst>
            <a:ext uri="{91240B29-F687-4F45-9708-019B960494DF}">
              <a14:hiddenLine xmlns:a14="http://schemas.microsoft.com/office/drawing/2010/main" xmlns="" w="9525">
                <a:solidFill>
                  <a:schemeClr val="bg2"/>
                </a:solidFill>
                <a:miter lim="800000"/>
                <a:headEnd/>
                <a:tailEnd/>
              </a14:hiddenLine>
            </a:ext>
          </a:extLst>
        </p:spPr>
        <p:txBody>
          <a:bodyPr wrap="none" lIns="91436" tIns="45718" rIns="91436" bIns="45718" anchor="ctr"/>
          <a:lstStyle/>
          <a:p>
            <a:r>
              <a:rPr lang="es-ES" sz="1800" dirty="0" smtClean="0">
                <a:solidFill>
                  <a:schemeClr val="tx1"/>
                </a:solidFill>
                <a:latin typeface="Arial Unicode MS" pitchFamily="34" charset="-128"/>
              </a:rPr>
              <a:t>CO2 &amp; </a:t>
            </a:r>
          </a:p>
          <a:p>
            <a:r>
              <a:rPr lang="es-ES" sz="1800" dirty="0" err="1" smtClean="0">
                <a:solidFill>
                  <a:schemeClr val="tx1"/>
                </a:solidFill>
                <a:latin typeface="Arial Unicode MS" pitchFamily="34" charset="-128"/>
              </a:rPr>
              <a:t>Energy</a:t>
            </a:r>
            <a:endParaRPr lang="es-ES" sz="1800" dirty="0">
              <a:solidFill>
                <a:schemeClr val="tx1"/>
              </a:solidFill>
              <a:latin typeface="Arial Unicode MS" pitchFamily="34" charset="-128"/>
            </a:endParaRPr>
          </a:p>
        </p:txBody>
      </p:sp>
      <p:sp>
        <p:nvSpPr>
          <p:cNvPr id="189" name="Text Box 20"/>
          <p:cNvSpPr txBox="1">
            <a:spLocks noChangeArrowheads="1"/>
          </p:cNvSpPr>
          <p:nvPr/>
        </p:nvSpPr>
        <p:spPr bwMode="auto">
          <a:xfrm>
            <a:off x="1618969" y="2154017"/>
            <a:ext cx="1469770"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algn="l">
              <a:defRPr sz="2400">
                <a:solidFill>
                  <a:schemeClr val="tx1"/>
                </a:solidFill>
                <a:latin typeface="TheSansCorrespondence" pitchFamily="34" charset="0"/>
              </a:defRPr>
            </a:lvl1pPr>
            <a:lvl2pPr marL="742950" indent="-285750" algn="l">
              <a:defRPr sz="2400">
                <a:solidFill>
                  <a:schemeClr val="tx1"/>
                </a:solidFill>
                <a:latin typeface="TheSansCorrespondence" pitchFamily="34" charset="0"/>
              </a:defRPr>
            </a:lvl2pPr>
            <a:lvl3pPr marL="1143000" indent="-228600" algn="l">
              <a:defRPr sz="2400">
                <a:solidFill>
                  <a:schemeClr val="tx1"/>
                </a:solidFill>
                <a:latin typeface="TheSansCorrespondence" pitchFamily="34" charset="0"/>
              </a:defRPr>
            </a:lvl3pPr>
            <a:lvl4pPr marL="1600200" indent="-228600" algn="l">
              <a:defRPr sz="2400">
                <a:solidFill>
                  <a:schemeClr val="tx1"/>
                </a:solidFill>
                <a:latin typeface="TheSansCorrespondence" pitchFamily="34" charset="0"/>
              </a:defRPr>
            </a:lvl4pPr>
            <a:lvl5pPr marL="2057400" indent="-228600" algn="l">
              <a:defRPr sz="2400">
                <a:solidFill>
                  <a:schemeClr val="tx1"/>
                </a:solidFill>
                <a:latin typeface="TheSansCorrespondence" pitchFamily="34" charset="0"/>
              </a:defRPr>
            </a:lvl5pPr>
            <a:lvl6pPr marL="2514600" indent="-228600" eaLnBrk="0" fontAlgn="base" hangingPunct="0">
              <a:spcBef>
                <a:spcPct val="0"/>
              </a:spcBef>
              <a:spcAft>
                <a:spcPct val="0"/>
              </a:spcAft>
              <a:defRPr sz="2400">
                <a:solidFill>
                  <a:schemeClr val="tx1"/>
                </a:solidFill>
                <a:latin typeface="TheSansCorrespondence" pitchFamily="34" charset="0"/>
              </a:defRPr>
            </a:lvl6pPr>
            <a:lvl7pPr marL="2971800" indent="-228600" eaLnBrk="0" fontAlgn="base" hangingPunct="0">
              <a:spcBef>
                <a:spcPct val="0"/>
              </a:spcBef>
              <a:spcAft>
                <a:spcPct val="0"/>
              </a:spcAft>
              <a:defRPr sz="2400">
                <a:solidFill>
                  <a:schemeClr val="tx1"/>
                </a:solidFill>
                <a:latin typeface="TheSansCorrespondence" pitchFamily="34" charset="0"/>
              </a:defRPr>
            </a:lvl7pPr>
            <a:lvl8pPr marL="3429000" indent="-228600" eaLnBrk="0" fontAlgn="base" hangingPunct="0">
              <a:spcBef>
                <a:spcPct val="0"/>
              </a:spcBef>
              <a:spcAft>
                <a:spcPct val="0"/>
              </a:spcAft>
              <a:defRPr sz="2400">
                <a:solidFill>
                  <a:schemeClr val="tx1"/>
                </a:solidFill>
                <a:latin typeface="TheSansCorrespondence" pitchFamily="34" charset="0"/>
              </a:defRPr>
            </a:lvl8pPr>
            <a:lvl9pPr marL="3886200" indent="-228600" eaLnBrk="0" fontAlgn="base" hangingPunct="0">
              <a:spcBef>
                <a:spcPct val="0"/>
              </a:spcBef>
              <a:spcAft>
                <a:spcPct val="0"/>
              </a:spcAft>
              <a:defRPr sz="2400">
                <a:solidFill>
                  <a:schemeClr val="tx1"/>
                </a:solidFill>
                <a:latin typeface="TheSansCorrespondence" pitchFamily="34" charset="0"/>
              </a:defRPr>
            </a:lvl9pPr>
          </a:lstStyle>
          <a:p>
            <a:pPr algn="ctr"/>
            <a:r>
              <a:rPr lang="es-ES" sz="1400" i="1">
                <a:latin typeface="Arial Unicode MS" pitchFamily="34" charset="-128"/>
              </a:rPr>
              <a:t>Integrated ICT services for customers</a:t>
            </a:r>
            <a:endParaRPr lang="es-ES" sz="1400" b="0">
              <a:latin typeface="Arial Unicode MS" pitchFamily="34" charset="-128"/>
            </a:endParaRPr>
          </a:p>
        </p:txBody>
      </p:sp>
      <p:sp>
        <p:nvSpPr>
          <p:cNvPr id="190" name="Rectangle 24"/>
          <p:cNvSpPr>
            <a:spLocks noChangeArrowheads="1"/>
          </p:cNvSpPr>
          <p:nvPr/>
        </p:nvSpPr>
        <p:spPr bwMode="auto">
          <a:xfrm>
            <a:off x="180945" y="1196754"/>
            <a:ext cx="1185657" cy="792163"/>
          </a:xfrm>
          <a:prstGeom prst="rect">
            <a:avLst/>
          </a:prstGeom>
          <a:solidFill>
            <a:schemeClr val="accent1"/>
          </a:solidFill>
          <a:ln>
            <a:noFill/>
          </a:ln>
          <a:effectLst>
            <a:prstShdw prst="shdw17" dist="17961" dir="2700000">
              <a:schemeClr val="bg2"/>
            </a:prstShdw>
          </a:effectLst>
          <a:extLst>
            <a:ext uri="{91240B29-F687-4F45-9708-019B960494DF}">
              <a14:hiddenLine xmlns:a14="http://schemas.microsoft.com/office/drawing/2010/main" xmlns="" w="9525" algn="ctr">
                <a:solidFill>
                  <a:schemeClr val="bg2"/>
                </a:solidFill>
                <a:miter lim="800000"/>
                <a:headEnd/>
                <a:tailEnd/>
              </a14:hiddenLine>
            </a:ext>
          </a:extLst>
        </p:spPr>
        <p:txBody>
          <a:bodyPr wrap="none" lIns="91436" tIns="45718" rIns="91436" bIns="45718" anchor="ctr"/>
          <a:lstStyle/>
          <a:p>
            <a:r>
              <a:rPr lang="es-ES" sz="1800">
                <a:solidFill>
                  <a:schemeClr val="tx1"/>
                </a:solidFill>
                <a:latin typeface="Arial Unicode MS" pitchFamily="34" charset="-128"/>
              </a:rPr>
              <a:t>Customers</a:t>
            </a:r>
          </a:p>
        </p:txBody>
      </p:sp>
      <p:sp>
        <p:nvSpPr>
          <p:cNvPr id="191" name="Text Box 27"/>
          <p:cNvSpPr txBox="1">
            <a:spLocks noChangeArrowheads="1"/>
          </p:cNvSpPr>
          <p:nvPr/>
        </p:nvSpPr>
        <p:spPr bwMode="auto">
          <a:xfrm>
            <a:off x="1699919" y="1424391"/>
            <a:ext cx="1422153" cy="4924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algn="l">
              <a:defRPr sz="2400">
                <a:solidFill>
                  <a:schemeClr val="tx1"/>
                </a:solidFill>
                <a:latin typeface="TheSansCorrespondence" pitchFamily="34" charset="0"/>
              </a:defRPr>
            </a:lvl1pPr>
            <a:lvl2pPr marL="742950" indent="-285750" algn="l">
              <a:defRPr sz="2400">
                <a:solidFill>
                  <a:schemeClr val="tx1"/>
                </a:solidFill>
                <a:latin typeface="TheSansCorrespondence" pitchFamily="34" charset="0"/>
              </a:defRPr>
            </a:lvl2pPr>
            <a:lvl3pPr marL="1143000" indent="-228600" algn="l">
              <a:defRPr sz="2400">
                <a:solidFill>
                  <a:schemeClr val="tx1"/>
                </a:solidFill>
                <a:latin typeface="TheSansCorrespondence" pitchFamily="34" charset="0"/>
              </a:defRPr>
            </a:lvl3pPr>
            <a:lvl4pPr marL="1600200" indent="-228600" algn="l">
              <a:defRPr sz="2400">
                <a:solidFill>
                  <a:schemeClr val="tx1"/>
                </a:solidFill>
                <a:latin typeface="TheSansCorrespondence" pitchFamily="34" charset="0"/>
              </a:defRPr>
            </a:lvl4pPr>
            <a:lvl5pPr marL="2057400" indent="-228600" algn="l">
              <a:defRPr sz="2400">
                <a:solidFill>
                  <a:schemeClr val="tx1"/>
                </a:solidFill>
                <a:latin typeface="TheSansCorrespondence" pitchFamily="34" charset="0"/>
              </a:defRPr>
            </a:lvl5pPr>
            <a:lvl6pPr marL="2514600" indent="-228600" eaLnBrk="0" fontAlgn="base" hangingPunct="0">
              <a:spcBef>
                <a:spcPct val="0"/>
              </a:spcBef>
              <a:spcAft>
                <a:spcPct val="0"/>
              </a:spcAft>
              <a:defRPr sz="2400">
                <a:solidFill>
                  <a:schemeClr val="tx1"/>
                </a:solidFill>
                <a:latin typeface="TheSansCorrespondence" pitchFamily="34" charset="0"/>
              </a:defRPr>
            </a:lvl6pPr>
            <a:lvl7pPr marL="2971800" indent="-228600" eaLnBrk="0" fontAlgn="base" hangingPunct="0">
              <a:spcBef>
                <a:spcPct val="0"/>
              </a:spcBef>
              <a:spcAft>
                <a:spcPct val="0"/>
              </a:spcAft>
              <a:defRPr sz="2400">
                <a:solidFill>
                  <a:schemeClr val="tx1"/>
                </a:solidFill>
                <a:latin typeface="TheSansCorrespondence" pitchFamily="34" charset="0"/>
              </a:defRPr>
            </a:lvl7pPr>
            <a:lvl8pPr marL="3429000" indent="-228600" eaLnBrk="0" fontAlgn="base" hangingPunct="0">
              <a:spcBef>
                <a:spcPct val="0"/>
              </a:spcBef>
              <a:spcAft>
                <a:spcPct val="0"/>
              </a:spcAft>
              <a:defRPr sz="2400">
                <a:solidFill>
                  <a:schemeClr val="tx1"/>
                </a:solidFill>
                <a:latin typeface="TheSansCorrespondence" pitchFamily="34" charset="0"/>
              </a:defRPr>
            </a:lvl8pPr>
            <a:lvl9pPr marL="3886200" indent="-228600" eaLnBrk="0" fontAlgn="base" hangingPunct="0">
              <a:spcBef>
                <a:spcPct val="0"/>
              </a:spcBef>
              <a:spcAft>
                <a:spcPct val="0"/>
              </a:spcAft>
              <a:defRPr sz="2400">
                <a:solidFill>
                  <a:schemeClr val="tx1"/>
                </a:solidFill>
                <a:latin typeface="TheSansCorrespondence" pitchFamily="34" charset="0"/>
              </a:defRPr>
            </a:lvl9pPr>
          </a:lstStyle>
          <a:p>
            <a:pPr algn="ctr"/>
            <a:r>
              <a:rPr lang="es-ES" sz="1400" b="0" dirty="0">
                <a:latin typeface="Arial Unicode MS" pitchFamily="34" charset="-128"/>
              </a:rPr>
              <a:t> </a:t>
            </a:r>
            <a:r>
              <a:rPr lang="es-ES" sz="1800" i="1" dirty="0" smtClean="0">
                <a:latin typeface="Arial Unicode MS" pitchFamily="34" charset="-128"/>
              </a:rPr>
              <a:t>312 </a:t>
            </a:r>
            <a:r>
              <a:rPr lang="es-ES" sz="1400" b="0" dirty="0" smtClean="0">
                <a:latin typeface="Arial Unicode MS" pitchFamily="34" charset="-128"/>
              </a:rPr>
              <a:t> </a:t>
            </a:r>
            <a:r>
              <a:rPr lang="es-ES" sz="1400" b="0" dirty="0" err="1">
                <a:latin typeface="Arial Unicode MS" pitchFamily="34" charset="-128"/>
              </a:rPr>
              <a:t>millon</a:t>
            </a:r>
            <a:r>
              <a:rPr lang="es-ES" sz="1400" b="0" dirty="0">
                <a:latin typeface="Arial Unicode MS" pitchFamily="34" charset="-128"/>
              </a:rPr>
              <a:t> </a:t>
            </a:r>
            <a:r>
              <a:rPr lang="es-ES" sz="1400" b="0" dirty="0" err="1">
                <a:latin typeface="Arial Unicode MS" pitchFamily="34" charset="-128"/>
              </a:rPr>
              <a:t>customers</a:t>
            </a:r>
            <a:endParaRPr lang="es-ES" sz="1400" b="0" dirty="0">
              <a:latin typeface="Arial Unicode MS" pitchFamily="34" charset="-128"/>
            </a:endParaRPr>
          </a:p>
        </p:txBody>
      </p:sp>
      <p:pic>
        <p:nvPicPr>
          <p:cNvPr id="192" name="Picture 33"/>
          <p:cNvPicPr>
            <a:picLocks noChangeAspect="1" noChangeArrowheads="1"/>
          </p:cNvPicPr>
          <p:nvPr/>
        </p:nvPicPr>
        <p:blipFill>
          <a:blip r:embed="rId10" cstate="print">
            <a:lum bright="12000" contrast="12000"/>
            <a:extLst>
              <a:ext uri="{28A0092B-C50C-407E-A947-70E740481C1C}">
                <a14:useLocalDpi xmlns:a14="http://schemas.microsoft.com/office/drawing/2010/main" xmlns="" val="0"/>
              </a:ext>
            </a:extLst>
          </a:blip>
          <a:srcRect/>
          <a:stretch>
            <a:fillRect/>
          </a:stretch>
        </p:blipFill>
        <p:spPr bwMode="auto">
          <a:xfrm>
            <a:off x="3195083" y="2992214"/>
            <a:ext cx="717425" cy="730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3" name="Text Box 35"/>
          <p:cNvSpPr txBox="1">
            <a:spLocks noChangeArrowheads="1"/>
          </p:cNvSpPr>
          <p:nvPr/>
        </p:nvSpPr>
        <p:spPr bwMode="auto">
          <a:xfrm>
            <a:off x="1825309" y="3112866"/>
            <a:ext cx="1263431" cy="4924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algn="l">
              <a:defRPr sz="2400">
                <a:solidFill>
                  <a:schemeClr val="tx1"/>
                </a:solidFill>
                <a:latin typeface="TheSansCorrespondence" pitchFamily="34" charset="0"/>
              </a:defRPr>
            </a:lvl1pPr>
            <a:lvl2pPr marL="742950" indent="-285750" algn="l">
              <a:defRPr sz="2400">
                <a:solidFill>
                  <a:schemeClr val="tx1"/>
                </a:solidFill>
                <a:latin typeface="TheSansCorrespondence" pitchFamily="34" charset="0"/>
              </a:defRPr>
            </a:lvl2pPr>
            <a:lvl3pPr marL="1143000" indent="-228600" algn="l">
              <a:defRPr sz="2400">
                <a:solidFill>
                  <a:schemeClr val="tx1"/>
                </a:solidFill>
                <a:latin typeface="TheSansCorrespondence" pitchFamily="34" charset="0"/>
              </a:defRPr>
            </a:lvl3pPr>
            <a:lvl4pPr marL="1600200" indent="-228600" algn="l">
              <a:defRPr sz="2400">
                <a:solidFill>
                  <a:schemeClr val="tx1"/>
                </a:solidFill>
                <a:latin typeface="TheSansCorrespondence" pitchFamily="34" charset="0"/>
              </a:defRPr>
            </a:lvl4pPr>
            <a:lvl5pPr marL="2057400" indent="-228600" algn="l">
              <a:defRPr sz="2400">
                <a:solidFill>
                  <a:schemeClr val="tx1"/>
                </a:solidFill>
                <a:latin typeface="TheSansCorrespondence" pitchFamily="34" charset="0"/>
              </a:defRPr>
            </a:lvl5pPr>
            <a:lvl6pPr marL="2514600" indent="-228600" eaLnBrk="0" fontAlgn="base" hangingPunct="0">
              <a:spcBef>
                <a:spcPct val="0"/>
              </a:spcBef>
              <a:spcAft>
                <a:spcPct val="0"/>
              </a:spcAft>
              <a:defRPr sz="2400">
                <a:solidFill>
                  <a:schemeClr val="tx1"/>
                </a:solidFill>
                <a:latin typeface="TheSansCorrespondence" pitchFamily="34" charset="0"/>
              </a:defRPr>
            </a:lvl6pPr>
            <a:lvl7pPr marL="2971800" indent="-228600" eaLnBrk="0" fontAlgn="base" hangingPunct="0">
              <a:spcBef>
                <a:spcPct val="0"/>
              </a:spcBef>
              <a:spcAft>
                <a:spcPct val="0"/>
              </a:spcAft>
              <a:defRPr sz="2400">
                <a:solidFill>
                  <a:schemeClr val="tx1"/>
                </a:solidFill>
                <a:latin typeface="TheSansCorrespondence" pitchFamily="34" charset="0"/>
              </a:defRPr>
            </a:lvl7pPr>
            <a:lvl8pPr marL="3429000" indent="-228600" eaLnBrk="0" fontAlgn="base" hangingPunct="0">
              <a:spcBef>
                <a:spcPct val="0"/>
              </a:spcBef>
              <a:spcAft>
                <a:spcPct val="0"/>
              </a:spcAft>
              <a:defRPr sz="2400">
                <a:solidFill>
                  <a:schemeClr val="tx1"/>
                </a:solidFill>
                <a:latin typeface="TheSansCorrespondence" pitchFamily="34" charset="0"/>
              </a:defRPr>
            </a:lvl8pPr>
            <a:lvl9pPr marL="3886200" indent="-228600" eaLnBrk="0" fontAlgn="base" hangingPunct="0">
              <a:spcBef>
                <a:spcPct val="0"/>
              </a:spcBef>
              <a:spcAft>
                <a:spcPct val="0"/>
              </a:spcAft>
              <a:defRPr sz="2400">
                <a:solidFill>
                  <a:schemeClr val="tx1"/>
                </a:solidFill>
                <a:latin typeface="TheSansCorrespondence" pitchFamily="34" charset="0"/>
              </a:defRPr>
            </a:lvl9pPr>
          </a:lstStyle>
          <a:p>
            <a:pPr algn="ctr"/>
            <a:r>
              <a:rPr lang="es-ES" sz="1400" b="0" dirty="0" err="1">
                <a:latin typeface="Arial Unicode MS" pitchFamily="34" charset="-128"/>
              </a:rPr>
              <a:t>Presence</a:t>
            </a:r>
            <a:r>
              <a:rPr lang="es-ES" sz="1400" b="0" dirty="0">
                <a:latin typeface="Arial Unicode MS" pitchFamily="34" charset="-128"/>
              </a:rPr>
              <a:t> in</a:t>
            </a:r>
          </a:p>
          <a:p>
            <a:pPr algn="ctr"/>
            <a:r>
              <a:rPr lang="es-ES" sz="1800" i="1" dirty="0" smtClean="0">
                <a:latin typeface="Arial Unicode MS" pitchFamily="34" charset="-128"/>
              </a:rPr>
              <a:t>26</a:t>
            </a:r>
            <a:r>
              <a:rPr lang="es-ES" sz="1400" i="1" dirty="0" smtClean="0">
                <a:latin typeface="Arial Unicode MS" pitchFamily="34" charset="-128"/>
              </a:rPr>
              <a:t> </a:t>
            </a:r>
            <a:r>
              <a:rPr lang="es-ES" sz="1400" i="1" dirty="0" err="1">
                <a:latin typeface="Arial Unicode MS" pitchFamily="34" charset="-128"/>
              </a:rPr>
              <a:t>countries</a:t>
            </a:r>
            <a:endParaRPr lang="es-ES" sz="1400" i="1" dirty="0">
              <a:latin typeface="Arial Unicode MS" pitchFamily="34" charset="-128"/>
            </a:endParaRPr>
          </a:p>
        </p:txBody>
      </p:sp>
      <p:sp>
        <p:nvSpPr>
          <p:cNvPr id="194" name="Rectangle 39"/>
          <p:cNvSpPr>
            <a:spLocks noChangeArrowheads="1"/>
          </p:cNvSpPr>
          <p:nvPr/>
        </p:nvSpPr>
        <p:spPr bwMode="auto">
          <a:xfrm>
            <a:off x="182531" y="2960464"/>
            <a:ext cx="1185656" cy="792162"/>
          </a:xfrm>
          <a:prstGeom prst="rect">
            <a:avLst/>
          </a:prstGeom>
          <a:solidFill>
            <a:schemeClr val="accent1"/>
          </a:solidFill>
          <a:ln>
            <a:noFill/>
          </a:ln>
          <a:effectLst>
            <a:prstShdw prst="shdw17" dist="17961" dir="2700000">
              <a:schemeClr val="bg2"/>
            </a:prstShdw>
          </a:effectLst>
          <a:extLst>
            <a:ext uri="{91240B29-F687-4F45-9708-019B960494DF}">
              <a14:hiddenLine xmlns:a14="http://schemas.microsoft.com/office/drawing/2010/main" xmlns="" w="9525">
                <a:solidFill>
                  <a:schemeClr val="bg2"/>
                </a:solidFill>
                <a:miter lim="800000"/>
                <a:headEnd/>
                <a:tailEnd/>
              </a14:hiddenLine>
            </a:ext>
          </a:extLst>
        </p:spPr>
        <p:txBody>
          <a:bodyPr wrap="none" lIns="91436" tIns="45718" rIns="91436" bIns="45718" anchor="ctr"/>
          <a:lstStyle/>
          <a:p>
            <a:r>
              <a:rPr lang="es-ES" sz="1800">
                <a:solidFill>
                  <a:schemeClr val="tx1"/>
                </a:solidFill>
                <a:latin typeface="Arial Unicode MS" pitchFamily="34" charset="-128"/>
              </a:rPr>
              <a:t>Countries</a:t>
            </a:r>
          </a:p>
        </p:txBody>
      </p:sp>
      <p:grpSp>
        <p:nvGrpSpPr>
          <p:cNvPr id="195" name="Group 76"/>
          <p:cNvGrpSpPr>
            <a:grpSpLocks/>
          </p:cNvGrpSpPr>
          <p:nvPr/>
        </p:nvGrpSpPr>
        <p:grpSpPr bwMode="auto">
          <a:xfrm>
            <a:off x="3282381" y="3901854"/>
            <a:ext cx="584099" cy="682625"/>
            <a:chOff x="-1728" y="460"/>
            <a:chExt cx="1060" cy="1532"/>
          </a:xfrm>
        </p:grpSpPr>
        <p:grpSp>
          <p:nvGrpSpPr>
            <p:cNvPr id="196" name="Group 77"/>
            <p:cNvGrpSpPr>
              <a:grpSpLocks/>
            </p:cNvGrpSpPr>
            <p:nvPr/>
          </p:nvGrpSpPr>
          <p:grpSpPr bwMode="auto">
            <a:xfrm>
              <a:off x="-972" y="508"/>
              <a:ext cx="304" cy="1380"/>
              <a:chOff x="-972" y="508"/>
              <a:chExt cx="304" cy="1380"/>
            </a:xfrm>
          </p:grpSpPr>
          <p:grpSp>
            <p:nvGrpSpPr>
              <p:cNvPr id="267" name="Group 78"/>
              <p:cNvGrpSpPr>
                <a:grpSpLocks/>
              </p:cNvGrpSpPr>
              <p:nvPr/>
            </p:nvGrpSpPr>
            <p:grpSpPr bwMode="auto">
              <a:xfrm>
                <a:off x="-902" y="508"/>
                <a:ext cx="167" cy="221"/>
                <a:chOff x="-902" y="508"/>
                <a:chExt cx="167" cy="221"/>
              </a:xfrm>
            </p:grpSpPr>
            <p:sp>
              <p:nvSpPr>
                <p:cNvPr id="276" name="Freeform 79"/>
                <p:cNvSpPr>
                  <a:spLocks/>
                </p:cNvSpPr>
                <p:nvPr/>
              </p:nvSpPr>
              <p:spPr bwMode="ltGray">
                <a:xfrm>
                  <a:off x="-881" y="518"/>
                  <a:ext cx="129" cy="211"/>
                </a:xfrm>
                <a:custGeom>
                  <a:avLst/>
                  <a:gdLst>
                    <a:gd name="T0" fmla="*/ 30 w 129"/>
                    <a:gd name="T1" fmla="*/ 197 h 211"/>
                    <a:gd name="T2" fmla="*/ 30 w 129"/>
                    <a:gd name="T3" fmla="*/ 165 h 211"/>
                    <a:gd name="T4" fmla="*/ 21 w 129"/>
                    <a:gd name="T5" fmla="*/ 148 h 211"/>
                    <a:gd name="T6" fmla="*/ 15 w 129"/>
                    <a:gd name="T7" fmla="*/ 134 h 211"/>
                    <a:gd name="T8" fmla="*/ 7 w 129"/>
                    <a:gd name="T9" fmla="*/ 117 h 211"/>
                    <a:gd name="T10" fmla="*/ 3 w 129"/>
                    <a:gd name="T11" fmla="*/ 103 h 211"/>
                    <a:gd name="T12" fmla="*/ 1 w 129"/>
                    <a:gd name="T13" fmla="*/ 92 h 211"/>
                    <a:gd name="T14" fmla="*/ 0 w 129"/>
                    <a:gd name="T15" fmla="*/ 64 h 211"/>
                    <a:gd name="T16" fmla="*/ 3 w 129"/>
                    <a:gd name="T17" fmla="*/ 45 h 211"/>
                    <a:gd name="T18" fmla="*/ 11 w 129"/>
                    <a:gd name="T19" fmla="*/ 28 h 211"/>
                    <a:gd name="T20" fmla="*/ 20 w 129"/>
                    <a:gd name="T21" fmla="*/ 16 h 211"/>
                    <a:gd name="T22" fmla="*/ 27 w 129"/>
                    <a:gd name="T23" fmla="*/ 10 h 211"/>
                    <a:gd name="T24" fmla="*/ 40 w 129"/>
                    <a:gd name="T25" fmla="*/ 3 h 211"/>
                    <a:gd name="T26" fmla="*/ 59 w 129"/>
                    <a:gd name="T27" fmla="*/ 0 h 211"/>
                    <a:gd name="T28" fmla="*/ 79 w 129"/>
                    <a:gd name="T29" fmla="*/ 1 h 211"/>
                    <a:gd name="T30" fmla="*/ 94 w 129"/>
                    <a:gd name="T31" fmla="*/ 5 h 211"/>
                    <a:gd name="T32" fmla="*/ 112 w 129"/>
                    <a:gd name="T33" fmla="*/ 17 h 211"/>
                    <a:gd name="T34" fmla="*/ 120 w 129"/>
                    <a:gd name="T35" fmla="*/ 28 h 211"/>
                    <a:gd name="T36" fmla="*/ 126 w 129"/>
                    <a:gd name="T37" fmla="*/ 38 h 211"/>
                    <a:gd name="T38" fmla="*/ 129 w 129"/>
                    <a:gd name="T39" fmla="*/ 52 h 211"/>
                    <a:gd name="T40" fmla="*/ 128 w 129"/>
                    <a:gd name="T41" fmla="*/ 77 h 211"/>
                    <a:gd name="T42" fmla="*/ 123 w 129"/>
                    <a:gd name="T43" fmla="*/ 100 h 211"/>
                    <a:gd name="T44" fmla="*/ 114 w 129"/>
                    <a:gd name="T45" fmla="*/ 122 h 211"/>
                    <a:gd name="T46" fmla="*/ 106 w 129"/>
                    <a:gd name="T47" fmla="*/ 137 h 211"/>
                    <a:gd name="T48" fmla="*/ 100 w 129"/>
                    <a:gd name="T49" fmla="*/ 150 h 211"/>
                    <a:gd name="T50" fmla="*/ 92 w 129"/>
                    <a:gd name="T51" fmla="*/ 165 h 211"/>
                    <a:gd name="T52" fmla="*/ 90 w 129"/>
                    <a:gd name="T53" fmla="*/ 189 h 211"/>
                    <a:gd name="T54" fmla="*/ 89 w 129"/>
                    <a:gd name="T55" fmla="*/ 202 h 211"/>
                    <a:gd name="T56" fmla="*/ 77 w 129"/>
                    <a:gd name="T57" fmla="*/ 209 h 211"/>
                    <a:gd name="T58" fmla="*/ 63 w 129"/>
                    <a:gd name="T59" fmla="*/ 211 h 211"/>
                    <a:gd name="T60" fmla="*/ 46 w 129"/>
                    <a:gd name="T61" fmla="*/ 209 h 211"/>
                    <a:gd name="T62" fmla="*/ 36 w 129"/>
                    <a:gd name="T63" fmla="*/ 204 h 211"/>
                    <a:gd name="T64" fmla="*/ 30 w 129"/>
                    <a:gd name="T65" fmla="*/ 197 h 21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9"/>
                    <a:gd name="T100" fmla="*/ 0 h 211"/>
                    <a:gd name="T101" fmla="*/ 129 w 129"/>
                    <a:gd name="T102" fmla="*/ 211 h 21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9" h="211">
                      <a:moveTo>
                        <a:pt x="30" y="197"/>
                      </a:moveTo>
                      <a:lnTo>
                        <a:pt x="30" y="165"/>
                      </a:lnTo>
                      <a:lnTo>
                        <a:pt x="21" y="148"/>
                      </a:lnTo>
                      <a:lnTo>
                        <a:pt x="15" y="134"/>
                      </a:lnTo>
                      <a:lnTo>
                        <a:pt x="7" y="117"/>
                      </a:lnTo>
                      <a:lnTo>
                        <a:pt x="3" y="103"/>
                      </a:lnTo>
                      <a:lnTo>
                        <a:pt x="1" y="92"/>
                      </a:lnTo>
                      <a:lnTo>
                        <a:pt x="0" y="64"/>
                      </a:lnTo>
                      <a:lnTo>
                        <a:pt x="3" y="45"/>
                      </a:lnTo>
                      <a:lnTo>
                        <a:pt x="11" y="28"/>
                      </a:lnTo>
                      <a:lnTo>
                        <a:pt x="20" y="16"/>
                      </a:lnTo>
                      <a:lnTo>
                        <a:pt x="27" y="10"/>
                      </a:lnTo>
                      <a:lnTo>
                        <a:pt x="40" y="3"/>
                      </a:lnTo>
                      <a:lnTo>
                        <a:pt x="59" y="0"/>
                      </a:lnTo>
                      <a:lnTo>
                        <a:pt x="79" y="1"/>
                      </a:lnTo>
                      <a:lnTo>
                        <a:pt x="94" y="5"/>
                      </a:lnTo>
                      <a:lnTo>
                        <a:pt x="112" y="17"/>
                      </a:lnTo>
                      <a:lnTo>
                        <a:pt x="120" y="28"/>
                      </a:lnTo>
                      <a:lnTo>
                        <a:pt x="126" y="38"/>
                      </a:lnTo>
                      <a:lnTo>
                        <a:pt x="129" y="52"/>
                      </a:lnTo>
                      <a:lnTo>
                        <a:pt x="128" y="77"/>
                      </a:lnTo>
                      <a:lnTo>
                        <a:pt x="123" y="100"/>
                      </a:lnTo>
                      <a:lnTo>
                        <a:pt x="114" y="122"/>
                      </a:lnTo>
                      <a:lnTo>
                        <a:pt x="106" y="137"/>
                      </a:lnTo>
                      <a:lnTo>
                        <a:pt x="100" y="150"/>
                      </a:lnTo>
                      <a:lnTo>
                        <a:pt x="92" y="165"/>
                      </a:lnTo>
                      <a:lnTo>
                        <a:pt x="90" y="189"/>
                      </a:lnTo>
                      <a:lnTo>
                        <a:pt x="89" y="202"/>
                      </a:lnTo>
                      <a:lnTo>
                        <a:pt x="77" y="209"/>
                      </a:lnTo>
                      <a:lnTo>
                        <a:pt x="63" y="211"/>
                      </a:lnTo>
                      <a:lnTo>
                        <a:pt x="46" y="209"/>
                      </a:lnTo>
                      <a:lnTo>
                        <a:pt x="36" y="204"/>
                      </a:lnTo>
                      <a:lnTo>
                        <a:pt x="30" y="197"/>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sp>
              <p:nvSpPr>
                <p:cNvPr id="277" name="Freeform 80"/>
                <p:cNvSpPr>
                  <a:spLocks/>
                </p:cNvSpPr>
                <p:nvPr/>
              </p:nvSpPr>
              <p:spPr bwMode="ltGray">
                <a:xfrm>
                  <a:off x="-902" y="508"/>
                  <a:ext cx="167" cy="144"/>
                </a:xfrm>
                <a:custGeom>
                  <a:avLst/>
                  <a:gdLst>
                    <a:gd name="T0" fmla="*/ 12 w 167"/>
                    <a:gd name="T1" fmla="*/ 124 h 144"/>
                    <a:gd name="T2" fmla="*/ 2 w 167"/>
                    <a:gd name="T3" fmla="*/ 110 h 144"/>
                    <a:gd name="T4" fmla="*/ 0 w 167"/>
                    <a:gd name="T5" fmla="*/ 94 h 144"/>
                    <a:gd name="T6" fmla="*/ 1 w 167"/>
                    <a:gd name="T7" fmla="*/ 74 h 144"/>
                    <a:gd name="T8" fmla="*/ 1 w 167"/>
                    <a:gd name="T9" fmla="*/ 59 h 144"/>
                    <a:gd name="T10" fmla="*/ 9 w 167"/>
                    <a:gd name="T11" fmla="*/ 41 h 144"/>
                    <a:gd name="T12" fmla="*/ 18 w 167"/>
                    <a:gd name="T13" fmla="*/ 29 h 144"/>
                    <a:gd name="T14" fmla="*/ 28 w 167"/>
                    <a:gd name="T15" fmla="*/ 18 h 144"/>
                    <a:gd name="T16" fmla="*/ 44 w 167"/>
                    <a:gd name="T17" fmla="*/ 6 h 144"/>
                    <a:gd name="T18" fmla="*/ 56 w 167"/>
                    <a:gd name="T19" fmla="*/ 2 h 144"/>
                    <a:gd name="T20" fmla="*/ 82 w 167"/>
                    <a:gd name="T21" fmla="*/ 0 h 144"/>
                    <a:gd name="T22" fmla="*/ 104 w 167"/>
                    <a:gd name="T23" fmla="*/ 1 h 144"/>
                    <a:gd name="T24" fmla="*/ 120 w 167"/>
                    <a:gd name="T25" fmla="*/ 6 h 144"/>
                    <a:gd name="T26" fmla="*/ 134 w 167"/>
                    <a:gd name="T27" fmla="*/ 11 h 144"/>
                    <a:gd name="T28" fmla="*/ 146 w 167"/>
                    <a:gd name="T29" fmla="*/ 24 h 144"/>
                    <a:gd name="T30" fmla="*/ 155 w 167"/>
                    <a:gd name="T31" fmla="*/ 36 h 144"/>
                    <a:gd name="T32" fmla="*/ 163 w 167"/>
                    <a:gd name="T33" fmla="*/ 48 h 144"/>
                    <a:gd name="T34" fmla="*/ 167 w 167"/>
                    <a:gd name="T35" fmla="*/ 62 h 144"/>
                    <a:gd name="T36" fmla="*/ 167 w 167"/>
                    <a:gd name="T37" fmla="*/ 88 h 144"/>
                    <a:gd name="T38" fmla="*/ 167 w 167"/>
                    <a:gd name="T39" fmla="*/ 106 h 144"/>
                    <a:gd name="T40" fmla="*/ 161 w 167"/>
                    <a:gd name="T41" fmla="*/ 114 h 144"/>
                    <a:gd name="T42" fmla="*/ 152 w 167"/>
                    <a:gd name="T43" fmla="*/ 126 h 144"/>
                    <a:gd name="T44" fmla="*/ 146 w 167"/>
                    <a:gd name="T45" fmla="*/ 135 h 144"/>
                    <a:gd name="T46" fmla="*/ 130 w 167"/>
                    <a:gd name="T47" fmla="*/ 140 h 144"/>
                    <a:gd name="T48" fmla="*/ 114 w 167"/>
                    <a:gd name="T49" fmla="*/ 144 h 144"/>
                    <a:gd name="T50" fmla="*/ 126 w 167"/>
                    <a:gd name="T51" fmla="*/ 126 h 144"/>
                    <a:gd name="T52" fmla="*/ 139 w 167"/>
                    <a:gd name="T53" fmla="*/ 95 h 144"/>
                    <a:gd name="T54" fmla="*/ 140 w 167"/>
                    <a:gd name="T55" fmla="*/ 83 h 144"/>
                    <a:gd name="T56" fmla="*/ 139 w 167"/>
                    <a:gd name="T57" fmla="*/ 73 h 144"/>
                    <a:gd name="T58" fmla="*/ 134 w 167"/>
                    <a:gd name="T59" fmla="*/ 59 h 144"/>
                    <a:gd name="T60" fmla="*/ 107 w 167"/>
                    <a:gd name="T61" fmla="*/ 67 h 144"/>
                    <a:gd name="T62" fmla="*/ 76 w 167"/>
                    <a:gd name="T63" fmla="*/ 67 h 144"/>
                    <a:gd name="T64" fmla="*/ 54 w 167"/>
                    <a:gd name="T65" fmla="*/ 65 h 144"/>
                    <a:gd name="T66" fmla="*/ 37 w 167"/>
                    <a:gd name="T67" fmla="*/ 61 h 144"/>
                    <a:gd name="T68" fmla="*/ 31 w 167"/>
                    <a:gd name="T69" fmla="*/ 68 h 144"/>
                    <a:gd name="T70" fmla="*/ 27 w 167"/>
                    <a:gd name="T71" fmla="*/ 83 h 144"/>
                    <a:gd name="T72" fmla="*/ 27 w 167"/>
                    <a:gd name="T73" fmla="*/ 97 h 144"/>
                    <a:gd name="T74" fmla="*/ 39 w 167"/>
                    <a:gd name="T75" fmla="*/ 127 h 144"/>
                    <a:gd name="T76" fmla="*/ 46 w 167"/>
                    <a:gd name="T77" fmla="*/ 144 h 144"/>
                    <a:gd name="T78" fmla="*/ 27 w 167"/>
                    <a:gd name="T79" fmla="*/ 134 h 144"/>
                    <a:gd name="T80" fmla="*/ 12 w 167"/>
                    <a:gd name="T81" fmla="*/ 124 h 1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67"/>
                    <a:gd name="T124" fmla="*/ 0 h 144"/>
                    <a:gd name="T125" fmla="*/ 167 w 167"/>
                    <a:gd name="T126" fmla="*/ 144 h 1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67" h="144">
                      <a:moveTo>
                        <a:pt x="12" y="124"/>
                      </a:moveTo>
                      <a:lnTo>
                        <a:pt x="2" y="110"/>
                      </a:lnTo>
                      <a:lnTo>
                        <a:pt x="0" y="94"/>
                      </a:lnTo>
                      <a:lnTo>
                        <a:pt x="1" y="74"/>
                      </a:lnTo>
                      <a:lnTo>
                        <a:pt x="1" y="59"/>
                      </a:lnTo>
                      <a:lnTo>
                        <a:pt x="9" y="41"/>
                      </a:lnTo>
                      <a:lnTo>
                        <a:pt x="18" y="29"/>
                      </a:lnTo>
                      <a:lnTo>
                        <a:pt x="28" y="18"/>
                      </a:lnTo>
                      <a:lnTo>
                        <a:pt x="44" y="6"/>
                      </a:lnTo>
                      <a:lnTo>
                        <a:pt x="56" y="2"/>
                      </a:lnTo>
                      <a:lnTo>
                        <a:pt x="82" y="0"/>
                      </a:lnTo>
                      <a:lnTo>
                        <a:pt x="104" y="1"/>
                      </a:lnTo>
                      <a:lnTo>
                        <a:pt x="120" y="6"/>
                      </a:lnTo>
                      <a:lnTo>
                        <a:pt x="134" y="11"/>
                      </a:lnTo>
                      <a:lnTo>
                        <a:pt x="146" y="24"/>
                      </a:lnTo>
                      <a:lnTo>
                        <a:pt x="155" y="36"/>
                      </a:lnTo>
                      <a:lnTo>
                        <a:pt x="163" y="48"/>
                      </a:lnTo>
                      <a:lnTo>
                        <a:pt x="167" y="62"/>
                      </a:lnTo>
                      <a:lnTo>
                        <a:pt x="167" y="88"/>
                      </a:lnTo>
                      <a:lnTo>
                        <a:pt x="167" y="106"/>
                      </a:lnTo>
                      <a:lnTo>
                        <a:pt x="161" y="114"/>
                      </a:lnTo>
                      <a:lnTo>
                        <a:pt x="152" y="126"/>
                      </a:lnTo>
                      <a:lnTo>
                        <a:pt x="146" y="135"/>
                      </a:lnTo>
                      <a:lnTo>
                        <a:pt x="130" y="140"/>
                      </a:lnTo>
                      <a:lnTo>
                        <a:pt x="114" y="144"/>
                      </a:lnTo>
                      <a:lnTo>
                        <a:pt x="126" y="126"/>
                      </a:lnTo>
                      <a:lnTo>
                        <a:pt x="139" y="95"/>
                      </a:lnTo>
                      <a:lnTo>
                        <a:pt x="140" y="83"/>
                      </a:lnTo>
                      <a:lnTo>
                        <a:pt x="139" y="73"/>
                      </a:lnTo>
                      <a:lnTo>
                        <a:pt x="134" y="59"/>
                      </a:lnTo>
                      <a:lnTo>
                        <a:pt x="107" y="67"/>
                      </a:lnTo>
                      <a:lnTo>
                        <a:pt x="76" y="67"/>
                      </a:lnTo>
                      <a:lnTo>
                        <a:pt x="54" y="65"/>
                      </a:lnTo>
                      <a:lnTo>
                        <a:pt x="37" y="61"/>
                      </a:lnTo>
                      <a:lnTo>
                        <a:pt x="31" y="68"/>
                      </a:lnTo>
                      <a:lnTo>
                        <a:pt x="27" y="83"/>
                      </a:lnTo>
                      <a:lnTo>
                        <a:pt x="27" y="97"/>
                      </a:lnTo>
                      <a:lnTo>
                        <a:pt x="39" y="127"/>
                      </a:lnTo>
                      <a:lnTo>
                        <a:pt x="46" y="144"/>
                      </a:lnTo>
                      <a:lnTo>
                        <a:pt x="27" y="134"/>
                      </a:lnTo>
                      <a:lnTo>
                        <a:pt x="12" y="124"/>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grpSp>
              <p:nvGrpSpPr>
                <p:cNvPr id="278" name="Group 81"/>
                <p:cNvGrpSpPr>
                  <a:grpSpLocks/>
                </p:cNvGrpSpPr>
                <p:nvPr/>
              </p:nvGrpSpPr>
              <p:grpSpPr bwMode="auto">
                <a:xfrm>
                  <a:off x="-884" y="617"/>
                  <a:ext cx="134" cy="23"/>
                  <a:chOff x="-884" y="617"/>
                  <a:chExt cx="134" cy="23"/>
                </a:xfrm>
              </p:grpSpPr>
              <p:sp>
                <p:nvSpPr>
                  <p:cNvPr id="279" name="Oval 82"/>
                  <p:cNvSpPr>
                    <a:spLocks noChangeArrowheads="1"/>
                  </p:cNvSpPr>
                  <p:nvPr/>
                </p:nvSpPr>
                <p:spPr bwMode="ltGray">
                  <a:xfrm>
                    <a:off x="-884" y="617"/>
                    <a:ext cx="18" cy="20"/>
                  </a:xfrm>
                  <a:prstGeom prst="ellipse">
                    <a:avLst/>
                  </a:pr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sp>
                <p:nvSpPr>
                  <p:cNvPr id="280" name="Oval 83"/>
                  <p:cNvSpPr>
                    <a:spLocks noChangeArrowheads="1"/>
                  </p:cNvSpPr>
                  <p:nvPr/>
                </p:nvSpPr>
                <p:spPr bwMode="ltGray">
                  <a:xfrm>
                    <a:off x="-768" y="620"/>
                    <a:ext cx="18" cy="20"/>
                  </a:xfrm>
                  <a:prstGeom prst="ellipse">
                    <a:avLst/>
                  </a:pr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grpSp>
          </p:grpSp>
          <p:sp>
            <p:nvSpPr>
              <p:cNvPr id="268" name="Freeform 84"/>
              <p:cNvSpPr>
                <a:spLocks/>
              </p:cNvSpPr>
              <p:nvPr/>
            </p:nvSpPr>
            <p:spPr bwMode="ltGray">
              <a:xfrm>
                <a:off x="-910" y="1441"/>
                <a:ext cx="160" cy="406"/>
              </a:xfrm>
              <a:custGeom>
                <a:avLst/>
                <a:gdLst>
                  <a:gd name="T0" fmla="*/ 36 w 160"/>
                  <a:gd name="T1" fmla="*/ 0 h 406"/>
                  <a:gd name="T2" fmla="*/ 32 w 160"/>
                  <a:gd name="T3" fmla="*/ 48 h 406"/>
                  <a:gd name="T4" fmla="*/ 29 w 160"/>
                  <a:gd name="T5" fmla="*/ 102 h 406"/>
                  <a:gd name="T6" fmla="*/ 29 w 160"/>
                  <a:gd name="T7" fmla="*/ 156 h 406"/>
                  <a:gd name="T8" fmla="*/ 32 w 160"/>
                  <a:gd name="T9" fmla="*/ 207 h 406"/>
                  <a:gd name="T10" fmla="*/ 33 w 160"/>
                  <a:gd name="T11" fmla="*/ 247 h 406"/>
                  <a:gd name="T12" fmla="*/ 33 w 160"/>
                  <a:gd name="T13" fmla="*/ 298 h 406"/>
                  <a:gd name="T14" fmla="*/ 30 w 160"/>
                  <a:gd name="T15" fmla="*/ 319 h 406"/>
                  <a:gd name="T16" fmla="*/ 8 w 160"/>
                  <a:gd name="T17" fmla="*/ 382 h 406"/>
                  <a:gd name="T18" fmla="*/ 0 w 160"/>
                  <a:gd name="T19" fmla="*/ 405 h 406"/>
                  <a:gd name="T20" fmla="*/ 35 w 160"/>
                  <a:gd name="T21" fmla="*/ 406 h 406"/>
                  <a:gd name="T22" fmla="*/ 50 w 160"/>
                  <a:gd name="T23" fmla="*/ 378 h 406"/>
                  <a:gd name="T24" fmla="*/ 60 w 160"/>
                  <a:gd name="T25" fmla="*/ 346 h 406"/>
                  <a:gd name="T26" fmla="*/ 66 w 160"/>
                  <a:gd name="T27" fmla="*/ 295 h 406"/>
                  <a:gd name="T28" fmla="*/ 86 w 160"/>
                  <a:gd name="T29" fmla="*/ 156 h 406"/>
                  <a:gd name="T30" fmla="*/ 93 w 160"/>
                  <a:gd name="T31" fmla="*/ 117 h 406"/>
                  <a:gd name="T32" fmla="*/ 88 w 160"/>
                  <a:gd name="T33" fmla="*/ 193 h 406"/>
                  <a:gd name="T34" fmla="*/ 94 w 160"/>
                  <a:gd name="T35" fmla="*/ 239 h 406"/>
                  <a:gd name="T36" fmla="*/ 96 w 160"/>
                  <a:gd name="T37" fmla="*/ 282 h 406"/>
                  <a:gd name="T38" fmla="*/ 92 w 160"/>
                  <a:gd name="T39" fmla="*/ 321 h 406"/>
                  <a:gd name="T40" fmla="*/ 95 w 160"/>
                  <a:gd name="T41" fmla="*/ 340 h 406"/>
                  <a:gd name="T42" fmla="*/ 117 w 160"/>
                  <a:gd name="T43" fmla="*/ 399 h 406"/>
                  <a:gd name="T44" fmla="*/ 138 w 160"/>
                  <a:gd name="T45" fmla="*/ 400 h 406"/>
                  <a:gd name="T46" fmla="*/ 148 w 160"/>
                  <a:gd name="T47" fmla="*/ 400 h 406"/>
                  <a:gd name="T48" fmla="*/ 160 w 160"/>
                  <a:gd name="T49" fmla="*/ 388 h 406"/>
                  <a:gd name="T50" fmla="*/ 129 w 160"/>
                  <a:gd name="T51" fmla="*/ 321 h 406"/>
                  <a:gd name="T52" fmla="*/ 145 w 160"/>
                  <a:gd name="T53" fmla="*/ 180 h 406"/>
                  <a:gd name="T54" fmla="*/ 151 w 160"/>
                  <a:gd name="T55" fmla="*/ 114 h 406"/>
                  <a:gd name="T56" fmla="*/ 151 w 160"/>
                  <a:gd name="T57" fmla="*/ 2 h 406"/>
                  <a:gd name="T58" fmla="*/ 36 w 160"/>
                  <a:gd name="T59" fmla="*/ 0 h 40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60"/>
                  <a:gd name="T91" fmla="*/ 0 h 406"/>
                  <a:gd name="T92" fmla="*/ 160 w 160"/>
                  <a:gd name="T93" fmla="*/ 406 h 40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60" h="406">
                    <a:moveTo>
                      <a:pt x="36" y="0"/>
                    </a:moveTo>
                    <a:lnTo>
                      <a:pt x="32" y="48"/>
                    </a:lnTo>
                    <a:lnTo>
                      <a:pt x="29" y="102"/>
                    </a:lnTo>
                    <a:lnTo>
                      <a:pt x="29" y="156"/>
                    </a:lnTo>
                    <a:lnTo>
                      <a:pt x="32" y="207"/>
                    </a:lnTo>
                    <a:lnTo>
                      <a:pt x="33" y="247"/>
                    </a:lnTo>
                    <a:lnTo>
                      <a:pt x="33" y="298"/>
                    </a:lnTo>
                    <a:lnTo>
                      <a:pt x="30" y="319"/>
                    </a:lnTo>
                    <a:lnTo>
                      <a:pt x="8" y="382"/>
                    </a:lnTo>
                    <a:lnTo>
                      <a:pt x="0" y="405"/>
                    </a:lnTo>
                    <a:lnTo>
                      <a:pt x="35" y="406"/>
                    </a:lnTo>
                    <a:lnTo>
                      <a:pt x="50" y="378"/>
                    </a:lnTo>
                    <a:lnTo>
                      <a:pt x="60" y="346"/>
                    </a:lnTo>
                    <a:lnTo>
                      <a:pt x="66" y="295"/>
                    </a:lnTo>
                    <a:lnTo>
                      <a:pt x="86" y="156"/>
                    </a:lnTo>
                    <a:lnTo>
                      <a:pt x="93" y="117"/>
                    </a:lnTo>
                    <a:lnTo>
                      <a:pt x="88" y="193"/>
                    </a:lnTo>
                    <a:lnTo>
                      <a:pt x="94" y="239"/>
                    </a:lnTo>
                    <a:lnTo>
                      <a:pt x="96" y="282"/>
                    </a:lnTo>
                    <a:lnTo>
                      <a:pt x="92" y="321"/>
                    </a:lnTo>
                    <a:lnTo>
                      <a:pt x="95" y="340"/>
                    </a:lnTo>
                    <a:lnTo>
                      <a:pt x="117" y="399"/>
                    </a:lnTo>
                    <a:lnTo>
                      <a:pt x="138" y="400"/>
                    </a:lnTo>
                    <a:lnTo>
                      <a:pt x="148" y="400"/>
                    </a:lnTo>
                    <a:lnTo>
                      <a:pt x="160" y="388"/>
                    </a:lnTo>
                    <a:lnTo>
                      <a:pt x="129" y="321"/>
                    </a:lnTo>
                    <a:lnTo>
                      <a:pt x="145" y="180"/>
                    </a:lnTo>
                    <a:lnTo>
                      <a:pt x="151" y="114"/>
                    </a:lnTo>
                    <a:lnTo>
                      <a:pt x="151" y="2"/>
                    </a:lnTo>
                    <a:lnTo>
                      <a:pt x="36" y="0"/>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grpSp>
            <p:nvGrpSpPr>
              <p:cNvPr id="269" name="Group 85"/>
              <p:cNvGrpSpPr>
                <a:grpSpLocks/>
              </p:cNvGrpSpPr>
              <p:nvPr/>
            </p:nvGrpSpPr>
            <p:grpSpPr bwMode="auto">
              <a:xfrm>
                <a:off x="-968" y="939"/>
                <a:ext cx="294" cy="403"/>
                <a:chOff x="-968" y="939"/>
                <a:chExt cx="294" cy="403"/>
              </a:xfrm>
            </p:grpSpPr>
            <p:sp>
              <p:nvSpPr>
                <p:cNvPr id="274" name="Freeform 86"/>
                <p:cNvSpPr>
                  <a:spLocks/>
                </p:cNvSpPr>
                <p:nvPr/>
              </p:nvSpPr>
              <p:spPr bwMode="ltGray">
                <a:xfrm>
                  <a:off x="-968" y="950"/>
                  <a:ext cx="80" cy="392"/>
                </a:xfrm>
                <a:custGeom>
                  <a:avLst/>
                  <a:gdLst>
                    <a:gd name="T0" fmla="*/ 4 w 80"/>
                    <a:gd name="T1" fmla="*/ 0 h 392"/>
                    <a:gd name="T2" fmla="*/ 0 w 80"/>
                    <a:gd name="T3" fmla="*/ 89 h 392"/>
                    <a:gd name="T4" fmla="*/ 13 w 80"/>
                    <a:gd name="T5" fmla="*/ 210 h 392"/>
                    <a:gd name="T6" fmla="*/ 24 w 80"/>
                    <a:gd name="T7" fmla="*/ 316 h 392"/>
                    <a:gd name="T8" fmla="*/ 44 w 80"/>
                    <a:gd name="T9" fmla="*/ 380 h 392"/>
                    <a:gd name="T10" fmla="*/ 53 w 80"/>
                    <a:gd name="T11" fmla="*/ 392 h 392"/>
                    <a:gd name="T12" fmla="*/ 59 w 80"/>
                    <a:gd name="T13" fmla="*/ 374 h 392"/>
                    <a:gd name="T14" fmla="*/ 62 w 80"/>
                    <a:gd name="T15" fmla="*/ 329 h 392"/>
                    <a:gd name="T16" fmla="*/ 80 w 80"/>
                    <a:gd name="T17" fmla="*/ 317 h 392"/>
                    <a:gd name="T18" fmla="*/ 56 w 80"/>
                    <a:gd name="T19" fmla="*/ 281 h 392"/>
                    <a:gd name="T20" fmla="*/ 40 w 80"/>
                    <a:gd name="T21" fmla="*/ 260 h 392"/>
                    <a:gd name="T22" fmla="*/ 42 w 80"/>
                    <a:gd name="T23" fmla="*/ 80 h 392"/>
                    <a:gd name="T24" fmla="*/ 50 w 80"/>
                    <a:gd name="T25" fmla="*/ 7 h 392"/>
                    <a:gd name="T26" fmla="*/ 4 w 80"/>
                    <a:gd name="T27" fmla="*/ 0 h 39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0"/>
                    <a:gd name="T43" fmla="*/ 0 h 392"/>
                    <a:gd name="T44" fmla="*/ 80 w 80"/>
                    <a:gd name="T45" fmla="*/ 392 h 39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0" h="392">
                      <a:moveTo>
                        <a:pt x="4" y="0"/>
                      </a:moveTo>
                      <a:lnTo>
                        <a:pt x="0" y="89"/>
                      </a:lnTo>
                      <a:lnTo>
                        <a:pt x="13" y="210"/>
                      </a:lnTo>
                      <a:lnTo>
                        <a:pt x="24" y="316"/>
                      </a:lnTo>
                      <a:lnTo>
                        <a:pt x="44" y="380"/>
                      </a:lnTo>
                      <a:lnTo>
                        <a:pt x="53" y="392"/>
                      </a:lnTo>
                      <a:lnTo>
                        <a:pt x="59" y="374"/>
                      </a:lnTo>
                      <a:lnTo>
                        <a:pt x="62" y="329"/>
                      </a:lnTo>
                      <a:lnTo>
                        <a:pt x="80" y="317"/>
                      </a:lnTo>
                      <a:lnTo>
                        <a:pt x="56" y="281"/>
                      </a:lnTo>
                      <a:lnTo>
                        <a:pt x="40" y="260"/>
                      </a:lnTo>
                      <a:lnTo>
                        <a:pt x="42" y="80"/>
                      </a:lnTo>
                      <a:lnTo>
                        <a:pt x="50" y="7"/>
                      </a:lnTo>
                      <a:lnTo>
                        <a:pt x="4" y="0"/>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sp>
              <p:nvSpPr>
                <p:cNvPr id="275" name="Freeform 87"/>
                <p:cNvSpPr>
                  <a:spLocks/>
                </p:cNvSpPr>
                <p:nvPr/>
              </p:nvSpPr>
              <p:spPr bwMode="ltGray">
                <a:xfrm>
                  <a:off x="-743" y="939"/>
                  <a:ext cx="69" cy="366"/>
                </a:xfrm>
                <a:custGeom>
                  <a:avLst/>
                  <a:gdLst>
                    <a:gd name="T0" fmla="*/ 20 w 69"/>
                    <a:gd name="T1" fmla="*/ 10 h 366"/>
                    <a:gd name="T2" fmla="*/ 30 w 69"/>
                    <a:gd name="T3" fmla="*/ 76 h 366"/>
                    <a:gd name="T4" fmla="*/ 29 w 69"/>
                    <a:gd name="T5" fmla="*/ 232 h 366"/>
                    <a:gd name="T6" fmla="*/ 0 w 69"/>
                    <a:gd name="T7" fmla="*/ 298 h 366"/>
                    <a:gd name="T8" fmla="*/ 7 w 69"/>
                    <a:gd name="T9" fmla="*/ 304 h 366"/>
                    <a:gd name="T10" fmla="*/ 0 w 69"/>
                    <a:gd name="T11" fmla="*/ 338 h 366"/>
                    <a:gd name="T12" fmla="*/ 6 w 69"/>
                    <a:gd name="T13" fmla="*/ 366 h 366"/>
                    <a:gd name="T14" fmla="*/ 29 w 69"/>
                    <a:gd name="T15" fmla="*/ 321 h 366"/>
                    <a:gd name="T16" fmla="*/ 50 w 69"/>
                    <a:gd name="T17" fmla="*/ 240 h 366"/>
                    <a:gd name="T18" fmla="*/ 69 w 69"/>
                    <a:gd name="T19" fmla="*/ 61 h 366"/>
                    <a:gd name="T20" fmla="*/ 61 w 69"/>
                    <a:gd name="T21" fmla="*/ 0 h 366"/>
                    <a:gd name="T22" fmla="*/ 20 w 69"/>
                    <a:gd name="T23" fmla="*/ 10 h 36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9"/>
                    <a:gd name="T37" fmla="*/ 0 h 366"/>
                    <a:gd name="T38" fmla="*/ 69 w 69"/>
                    <a:gd name="T39" fmla="*/ 366 h 36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9" h="366">
                      <a:moveTo>
                        <a:pt x="20" y="10"/>
                      </a:moveTo>
                      <a:lnTo>
                        <a:pt x="30" y="76"/>
                      </a:lnTo>
                      <a:lnTo>
                        <a:pt x="29" y="232"/>
                      </a:lnTo>
                      <a:lnTo>
                        <a:pt x="0" y="298"/>
                      </a:lnTo>
                      <a:lnTo>
                        <a:pt x="7" y="304"/>
                      </a:lnTo>
                      <a:lnTo>
                        <a:pt x="0" y="338"/>
                      </a:lnTo>
                      <a:lnTo>
                        <a:pt x="6" y="366"/>
                      </a:lnTo>
                      <a:lnTo>
                        <a:pt x="29" y="321"/>
                      </a:lnTo>
                      <a:lnTo>
                        <a:pt x="50" y="240"/>
                      </a:lnTo>
                      <a:lnTo>
                        <a:pt x="69" y="61"/>
                      </a:lnTo>
                      <a:lnTo>
                        <a:pt x="61" y="0"/>
                      </a:lnTo>
                      <a:lnTo>
                        <a:pt x="20" y="10"/>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grpSp>
          <p:grpSp>
            <p:nvGrpSpPr>
              <p:cNvPr id="270" name="Group 88"/>
              <p:cNvGrpSpPr>
                <a:grpSpLocks/>
              </p:cNvGrpSpPr>
              <p:nvPr/>
            </p:nvGrpSpPr>
            <p:grpSpPr bwMode="auto">
              <a:xfrm>
                <a:off x="-918" y="1766"/>
                <a:ext cx="179" cy="122"/>
                <a:chOff x="-918" y="1766"/>
                <a:chExt cx="179" cy="122"/>
              </a:xfrm>
            </p:grpSpPr>
            <p:sp>
              <p:nvSpPr>
                <p:cNvPr id="272" name="Freeform 89"/>
                <p:cNvSpPr>
                  <a:spLocks/>
                </p:cNvSpPr>
                <p:nvPr/>
              </p:nvSpPr>
              <p:spPr bwMode="ltGray">
                <a:xfrm>
                  <a:off x="-918" y="1777"/>
                  <a:ext cx="70" cy="111"/>
                </a:xfrm>
                <a:custGeom>
                  <a:avLst/>
                  <a:gdLst>
                    <a:gd name="T0" fmla="*/ 13 w 70"/>
                    <a:gd name="T1" fmla="*/ 55 h 111"/>
                    <a:gd name="T2" fmla="*/ 3 w 70"/>
                    <a:gd name="T3" fmla="*/ 72 h 111"/>
                    <a:gd name="T4" fmla="*/ 0 w 70"/>
                    <a:gd name="T5" fmla="*/ 85 h 111"/>
                    <a:gd name="T6" fmla="*/ 0 w 70"/>
                    <a:gd name="T7" fmla="*/ 95 h 111"/>
                    <a:gd name="T8" fmla="*/ 2 w 70"/>
                    <a:gd name="T9" fmla="*/ 102 h 111"/>
                    <a:gd name="T10" fmla="*/ 7 w 70"/>
                    <a:gd name="T11" fmla="*/ 108 h 111"/>
                    <a:gd name="T12" fmla="*/ 16 w 70"/>
                    <a:gd name="T13" fmla="*/ 111 h 111"/>
                    <a:gd name="T14" fmla="*/ 28 w 70"/>
                    <a:gd name="T15" fmla="*/ 110 h 111"/>
                    <a:gd name="T16" fmla="*/ 40 w 70"/>
                    <a:gd name="T17" fmla="*/ 105 h 111"/>
                    <a:gd name="T18" fmla="*/ 49 w 70"/>
                    <a:gd name="T19" fmla="*/ 94 h 111"/>
                    <a:gd name="T20" fmla="*/ 57 w 70"/>
                    <a:gd name="T21" fmla="*/ 79 h 111"/>
                    <a:gd name="T22" fmla="*/ 62 w 70"/>
                    <a:gd name="T23" fmla="*/ 49 h 111"/>
                    <a:gd name="T24" fmla="*/ 70 w 70"/>
                    <a:gd name="T25" fmla="*/ 19 h 111"/>
                    <a:gd name="T26" fmla="*/ 69 w 70"/>
                    <a:gd name="T27" fmla="*/ 0 h 111"/>
                    <a:gd name="T28" fmla="*/ 55 w 70"/>
                    <a:gd name="T29" fmla="*/ 43 h 111"/>
                    <a:gd name="T30" fmla="*/ 43 w 70"/>
                    <a:gd name="T31" fmla="*/ 70 h 111"/>
                    <a:gd name="T32" fmla="*/ 25 w 70"/>
                    <a:gd name="T33" fmla="*/ 70 h 111"/>
                    <a:gd name="T34" fmla="*/ 10 w 70"/>
                    <a:gd name="T35" fmla="*/ 68 h 111"/>
                    <a:gd name="T36" fmla="*/ 13 w 70"/>
                    <a:gd name="T37" fmla="*/ 55 h 1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0"/>
                    <a:gd name="T58" fmla="*/ 0 h 111"/>
                    <a:gd name="T59" fmla="*/ 70 w 70"/>
                    <a:gd name="T60" fmla="*/ 111 h 11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0" h="111">
                      <a:moveTo>
                        <a:pt x="13" y="55"/>
                      </a:moveTo>
                      <a:lnTo>
                        <a:pt x="3" y="72"/>
                      </a:lnTo>
                      <a:lnTo>
                        <a:pt x="0" y="85"/>
                      </a:lnTo>
                      <a:lnTo>
                        <a:pt x="0" y="95"/>
                      </a:lnTo>
                      <a:lnTo>
                        <a:pt x="2" y="102"/>
                      </a:lnTo>
                      <a:lnTo>
                        <a:pt x="7" y="108"/>
                      </a:lnTo>
                      <a:lnTo>
                        <a:pt x="16" y="111"/>
                      </a:lnTo>
                      <a:lnTo>
                        <a:pt x="28" y="110"/>
                      </a:lnTo>
                      <a:lnTo>
                        <a:pt x="40" y="105"/>
                      </a:lnTo>
                      <a:lnTo>
                        <a:pt x="49" y="94"/>
                      </a:lnTo>
                      <a:lnTo>
                        <a:pt x="57" y="79"/>
                      </a:lnTo>
                      <a:lnTo>
                        <a:pt x="62" y="49"/>
                      </a:lnTo>
                      <a:lnTo>
                        <a:pt x="70" y="19"/>
                      </a:lnTo>
                      <a:lnTo>
                        <a:pt x="69" y="0"/>
                      </a:lnTo>
                      <a:lnTo>
                        <a:pt x="55" y="43"/>
                      </a:lnTo>
                      <a:lnTo>
                        <a:pt x="43" y="70"/>
                      </a:lnTo>
                      <a:lnTo>
                        <a:pt x="25" y="70"/>
                      </a:lnTo>
                      <a:lnTo>
                        <a:pt x="10" y="68"/>
                      </a:lnTo>
                      <a:lnTo>
                        <a:pt x="13" y="55"/>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sp>
              <p:nvSpPr>
                <p:cNvPr id="273" name="Freeform 90"/>
                <p:cNvSpPr>
                  <a:spLocks/>
                </p:cNvSpPr>
                <p:nvPr/>
              </p:nvSpPr>
              <p:spPr bwMode="ltGray">
                <a:xfrm>
                  <a:off x="-819" y="1766"/>
                  <a:ext cx="80" cy="121"/>
                </a:xfrm>
                <a:custGeom>
                  <a:avLst/>
                  <a:gdLst>
                    <a:gd name="T0" fmla="*/ 1 w 80"/>
                    <a:gd name="T1" fmla="*/ 0 h 121"/>
                    <a:gd name="T2" fmla="*/ 0 w 80"/>
                    <a:gd name="T3" fmla="*/ 12 h 121"/>
                    <a:gd name="T4" fmla="*/ 10 w 80"/>
                    <a:gd name="T5" fmla="*/ 43 h 121"/>
                    <a:gd name="T6" fmla="*/ 17 w 80"/>
                    <a:gd name="T7" fmla="*/ 68 h 121"/>
                    <a:gd name="T8" fmla="*/ 25 w 80"/>
                    <a:gd name="T9" fmla="*/ 92 h 121"/>
                    <a:gd name="T10" fmla="*/ 33 w 80"/>
                    <a:gd name="T11" fmla="*/ 105 h 121"/>
                    <a:gd name="T12" fmla="*/ 41 w 80"/>
                    <a:gd name="T13" fmla="*/ 115 h 121"/>
                    <a:gd name="T14" fmla="*/ 53 w 80"/>
                    <a:gd name="T15" fmla="*/ 119 h 121"/>
                    <a:gd name="T16" fmla="*/ 65 w 80"/>
                    <a:gd name="T17" fmla="*/ 121 h 121"/>
                    <a:gd name="T18" fmla="*/ 71 w 80"/>
                    <a:gd name="T19" fmla="*/ 117 h 121"/>
                    <a:gd name="T20" fmla="*/ 77 w 80"/>
                    <a:gd name="T21" fmla="*/ 114 h 121"/>
                    <a:gd name="T22" fmla="*/ 80 w 80"/>
                    <a:gd name="T23" fmla="*/ 102 h 121"/>
                    <a:gd name="T24" fmla="*/ 78 w 80"/>
                    <a:gd name="T25" fmla="*/ 86 h 121"/>
                    <a:gd name="T26" fmla="*/ 71 w 80"/>
                    <a:gd name="T27" fmla="*/ 67 h 121"/>
                    <a:gd name="T28" fmla="*/ 66 w 80"/>
                    <a:gd name="T29" fmla="*/ 57 h 121"/>
                    <a:gd name="T30" fmla="*/ 64 w 80"/>
                    <a:gd name="T31" fmla="*/ 66 h 121"/>
                    <a:gd name="T32" fmla="*/ 61 w 80"/>
                    <a:gd name="T33" fmla="*/ 70 h 121"/>
                    <a:gd name="T34" fmla="*/ 51 w 80"/>
                    <a:gd name="T35" fmla="*/ 73 h 121"/>
                    <a:gd name="T36" fmla="*/ 42 w 80"/>
                    <a:gd name="T37" fmla="*/ 74 h 121"/>
                    <a:gd name="T38" fmla="*/ 26 w 80"/>
                    <a:gd name="T39" fmla="*/ 71 h 121"/>
                    <a:gd name="T40" fmla="*/ 10 w 80"/>
                    <a:gd name="T41" fmla="*/ 24 h 121"/>
                    <a:gd name="T42" fmla="*/ 1 w 80"/>
                    <a:gd name="T43" fmla="*/ 0 h 12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0"/>
                    <a:gd name="T67" fmla="*/ 0 h 121"/>
                    <a:gd name="T68" fmla="*/ 80 w 80"/>
                    <a:gd name="T69" fmla="*/ 121 h 12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0" h="121">
                      <a:moveTo>
                        <a:pt x="1" y="0"/>
                      </a:moveTo>
                      <a:lnTo>
                        <a:pt x="0" y="12"/>
                      </a:lnTo>
                      <a:lnTo>
                        <a:pt x="10" y="43"/>
                      </a:lnTo>
                      <a:lnTo>
                        <a:pt x="17" y="68"/>
                      </a:lnTo>
                      <a:lnTo>
                        <a:pt x="25" y="92"/>
                      </a:lnTo>
                      <a:lnTo>
                        <a:pt x="33" y="105"/>
                      </a:lnTo>
                      <a:lnTo>
                        <a:pt x="41" y="115"/>
                      </a:lnTo>
                      <a:lnTo>
                        <a:pt x="53" y="119"/>
                      </a:lnTo>
                      <a:lnTo>
                        <a:pt x="65" y="121"/>
                      </a:lnTo>
                      <a:lnTo>
                        <a:pt x="71" y="117"/>
                      </a:lnTo>
                      <a:lnTo>
                        <a:pt x="77" y="114"/>
                      </a:lnTo>
                      <a:lnTo>
                        <a:pt x="80" y="102"/>
                      </a:lnTo>
                      <a:lnTo>
                        <a:pt x="78" y="86"/>
                      </a:lnTo>
                      <a:lnTo>
                        <a:pt x="71" y="67"/>
                      </a:lnTo>
                      <a:lnTo>
                        <a:pt x="66" y="57"/>
                      </a:lnTo>
                      <a:lnTo>
                        <a:pt x="64" y="66"/>
                      </a:lnTo>
                      <a:lnTo>
                        <a:pt x="61" y="70"/>
                      </a:lnTo>
                      <a:lnTo>
                        <a:pt x="51" y="73"/>
                      </a:lnTo>
                      <a:lnTo>
                        <a:pt x="42" y="74"/>
                      </a:lnTo>
                      <a:lnTo>
                        <a:pt x="26" y="71"/>
                      </a:lnTo>
                      <a:lnTo>
                        <a:pt x="10" y="24"/>
                      </a:lnTo>
                      <a:lnTo>
                        <a:pt x="1" y="0"/>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grpSp>
          <p:sp>
            <p:nvSpPr>
              <p:cNvPr id="271" name="Freeform 91"/>
              <p:cNvSpPr>
                <a:spLocks/>
              </p:cNvSpPr>
              <p:nvPr/>
            </p:nvSpPr>
            <p:spPr bwMode="ltGray">
              <a:xfrm>
                <a:off x="-972" y="708"/>
                <a:ext cx="304" cy="772"/>
              </a:xfrm>
              <a:custGeom>
                <a:avLst/>
                <a:gdLst>
                  <a:gd name="T0" fmla="*/ 120 w 304"/>
                  <a:gd name="T1" fmla="*/ 0 h 772"/>
                  <a:gd name="T2" fmla="*/ 48 w 304"/>
                  <a:gd name="T3" fmla="*/ 40 h 772"/>
                  <a:gd name="T4" fmla="*/ 39 w 304"/>
                  <a:gd name="T5" fmla="*/ 53 h 772"/>
                  <a:gd name="T6" fmla="*/ 0 w 304"/>
                  <a:gd name="T7" fmla="*/ 244 h 772"/>
                  <a:gd name="T8" fmla="*/ 58 w 304"/>
                  <a:gd name="T9" fmla="*/ 252 h 772"/>
                  <a:gd name="T10" fmla="*/ 66 w 304"/>
                  <a:gd name="T11" fmla="*/ 204 h 772"/>
                  <a:gd name="T12" fmla="*/ 88 w 304"/>
                  <a:gd name="T13" fmla="*/ 305 h 772"/>
                  <a:gd name="T14" fmla="*/ 51 w 304"/>
                  <a:gd name="T15" fmla="*/ 434 h 772"/>
                  <a:gd name="T16" fmla="*/ 51 w 304"/>
                  <a:gd name="T17" fmla="*/ 528 h 772"/>
                  <a:gd name="T18" fmla="*/ 58 w 304"/>
                  <a:gd name="T19" fmla="*/ 594 h 772"/>
                  <a:gd name="T20" fmla="*/ 77 w 304"/>
                  <a:gd name="T21" fmla="*/ 689 h 772"/>
                  <a:gd name="T22" fmla="*/ 94 w 304"/>
                  <a:gd name="T23" fmla="*/ 761 h 772"/>
                  <a:gd name="T24" fmla="*/ 150 w 304"/>
                  <a:gd name="T25" fmla="*/ 772 h 772"/>
                  <a:gd name="T26" fmla="*/ 156 w 304"/>
                  <a:gd name="T27" fmla="*/ 760 h 772"/>
                  <a:gd name="T28" fmla="*/ 210 w 304"/>
                  <a:gd name="T29" fmla="*/ 758 h 772"/>
                  <a:gd name="T30" fmla="*/ 228 w 304"/>
                  <a:gd name="T31" fmla="*/ 668 h 772"/>
                  <a:gd name="T32" fmla="*/ 245 w 304"/>
                  <a:gd name="T33" fmla="*/ 550 h 772"/>
                  <a:gd name="T34" fmla="*/ 258 w 304"/>
                  <a:gd name="T35" fmla="*/ 430 h 772"/>
                  <a:gd name="T36" fmla="*/ 224 w 304"/>
                  <a:gd name="T37" fmla="*/ 294 h 772"/>
                  <a:gd name="T38" fmla="*/ 237 w 304"/>
                  <a:gd name="T39" fmla="*/ 218 h 772"/>
                  <a:gd name="T40" fmla="*/ 245 w 304"/>
                  <a:gd name="T41" fmla="*/ 246 h 772"/>
                  <a:gd name="T42" fmla="*/ 304 w 304"/>
                  <a:gd name="T43" fmla="*/ 230 h 772"/>
                  <a:gd name="T44" fmla="*/ 259 w 304"/>
                  <a:gd name="T45" fmla="*/ 51 h 772"/>
                  <a:gd name="T46" fmla="*/ 181 w 304"/>
                  <a:gd name="T47" fmla="*/ 0 h 772"/>
                  <a:gd name="T48" fmla="*/ 179 w 304"/>
                  <a:gd name="T49" fmla="*/ 6 h 772"/>
                  <a:gd name="T50" fmla="*/ 169 w 304"/>
                  <a:gd name="T51" fmla="*/ 13 h 772"/>
                  <a:gd name="T52" fmla="*/ 161 w 304"/>
                  <a:gd name="T53" fmla="*/ 15 h 772"/>
                  <a:gd name="T54" fmla="*/ 153 w 304"/>
                  <a:gd name="T55" fmla="*/ 15 h 772"/>
                  <a:gd name="T56" fmla="*/ 143 w 304"/>
                  <a:gd name="T57" fmla="*/ 14 h 772"/>
                  <a:gd name="T58" fmla="*/ 134 w 304"/>
                  <a:gd name="T59" fmla="*/ 12 h 772"/>
                  <a:gd name="T60" fmla="*/ 124 w 304"/>
                  <a:gd name="T61" fmla="*/ 6 h 772"/>
                  <a:gd name="T62" fmla="*/ 120 w 304"/>
                  <a:gd name="T63" fmla="*/ 0 h 77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04"/>
                  <a:gd name="T97" fmla="*/ 0 h 772"/>
                  <a:gd name="T98" fmla="*/ 304 w 304"/>
                  <a:gd name="T99" fmla="*/ 772 h 77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04" h="772">
                    <a:moveTo>
                      <a:pt x="120" y="0"/>
                    </a:moveTo>
                    <a:lnTo>
                      <a:pt x="48" y="40"/>
                    </a:lnTo>
                    <a:lnTo>
                      <a:pt x="39" y="53"/>
                    </a:lnTo>
                    <a:lnTo>
                      <a:pt x="0" y="244"/>
                    </a:lnTo>
                    <a:lnTo>
                      <a:pt x="58" y="252"/>
                    </a:lnTo>
                    <a:lnTo>
                      <a:pt x="66" y="204"/>
                    </a:lnTo>
                    <a:lnTo>
                      <a:pt x="88" y="305"/>
                    </a:lnTo>
                    <a:lnTo>
                      <a:pt x="51" y="434"/>
                    </a:lnTo>
                    <a:lnTo>
                      <a:pt x="51" y="528"/>
                    </a:lnTo>
                    <a:lnTo>
                      <a:pt x="58" y="594"/>
                    </a:lnTo>
                    <a:lnTo>
                      <a:pt x="77" y="689"/>
                    </a:lnTo>
                    <a:lnTo>
                      <a:pt x="94" y="761"/>
                    </a:lnTo>
                    <a:lnTo>
                      <a:pt x="150" y="772"/>
                    </a:lnTo>
                    <a:lnTo>
                      <a:pt x="156" y="760"/>
                    </a:lnTo>
                    <a:lnTo>
                      <a:pt x="210" y="758"/>
                    </a:lnTo>
                    <a:lnTo>
                      <a:pt x="228" y="668"/>
                    </a:lnTo>
                    <a:lnTo>
                      <a:pt x="245" y="550"/>
                    </a:lnTo>
                    <a:lnTo>
                      <a:pt x="258" y="430"/>
                    </a:lnTo>
                    <a:lnTo>
                      <a:pt x="224" y="294"/>
                    </a:lnTo>
                    <a:lnTo>
                      <a:pt x="237" y="218"/>
                    </a:lnTo>
                    <a:lnTo>
                      <a:pt x="245" y="246"/>
                    </a:lnTo>
                    <a:lnTo>
                      <a:pt x="304" y="230"/>
                    </a:lnTo>
                    <a:lnTo>
                      <a:pt x="259" y="51"/>
                    </a:lnTo>
                    <a:lnTo>
                      <a:pt x="181" y="0"/>
                    </a:lnTo>
                    <a:lnTo>
                      <a:pt x="179" y="6"/>
                    </a:lnTo>
                    <a:lnTo>
                      <a:pt x="169" y="13"/>
                    </a:lnTo>
                    <a:lnTo>
                      <a:pt x="161" y="15"/>
                    </a:lnTo>
                    <a:lnTo>
                      <a:pt x="153" y="15"/>
                    </a:lnTo>
                    <a:lnTo>
                      <a:pt x="143" y="14"/>
                    </a:lnTo>
                    <a:lnTo>
                      <a:pt x="134" y="12"/>
                    </a:lnTo>
                    <a:lnTo>
                      <a:pt x="124" y="6"/>
                    </a:lnTo>
                    <a:lnTo>
                      <a:pt x="120" y="0"/>
                    </a:lnTo>
                    <a:close/>
                  </a:path>
                </a:pathLst>
              </a:custGeom>
              <a:solidFill>
                <a:srgbClr val="DDDDDD"/>
              </a:solidFill>
              <a:ln w="12700">
                <a:solidFill>
                  <a:schemeClr val="tx1"/>
                </a:solidFill>
                <a:round/>
                <a:headEnd/>
                <a:tailEnd/>
              </a:ln>
            </p:spPr>
            <p:txBody>
              <a:bodyPr/>
              <a:lstStyle/>
              <a:p>
                <a:pPr eaLnBrk="1" hangingPunct="1"/>
                <a:endParaRPr lang="es-ES" sz="1800">
                  <a:latin typeface="Arial Unicode MS" pitchFamily="34" charset="-128"/>
                </a:endParaRPr>
              </a:p>
            </p:txBody>
          </p:sp>
        </p:grpSp>
        <p:grpSp>
          <p:nvGrpSpPr>
            <p:cNvPr id="197" name="Group 92"/>
            <p:cNvGrpSpPr>
              <a:grpSpLocks/>
            </p:cNvGrpSpPr>
            <p:nvPr/>
          </p:nvGrpSpPr>
          <p:grpSpPr bwMode="auto">
            <a:xfrm>
              <a:off x="-1728" y="576"/>
              <a:ext cx="303" cy="1377"/>
              <a:chOff x="-1728" y="576"/>
              <a:chExt cx="303" cy="1377"/>
            </a:xfrm>
          </p:grpSpPr>
          <p:grpSp>
            <p:nvGrpSpPr>
              <p:cNvPr id="248" name="Group 93"/>
              <p:cNvGrpSpPr>
                <a:grpSpLocks/>
              </p:cNvGrpSpPr>
              <p:nvPr/>
            </p:nvGrpSpPr>
            <p:grpSpPr bwMode="auto">
              <a:xfrm>
                <a:off x="-1724" y="1005"/>
                <a:ext cx="293" cy="402"/>
                <a:chOff x="-1724" y="1005"/>
                <a:chExt cx="293" cy="402"/>
              </a:xfrm>
            </p:grpSpPr>
            <p:sp>
              <p:nvSpPr>
                <p:cNvPr id="265" name="Freeform 94"/>
                <p:cNvSpPr>
                  <a:spLocks/>
                </p:cNvSpPr>
                <p:nvPr/>
              </p:nvSpPr>
              <p:spPr bwMode="ltGray">
                <a:xfrm>
                  <a:off x="-1724" y="1016"/>
                  <a:ext cx="80" cy="391"/>
                </a:xfrm>
                <a:custGeom>
                  <a:avLst/>
                  <a:gdLst>
                    <a:gd name="T0" fmla="*/ 4 w 80"/>
                    <a:gd name="T1" fmla="*/ 0 h 391"/>
                    <a:gd name="T2" fmla="*/ 0 w 80"/>
                    <a:gd name="T3" fmla="*/ 88 h 391"/>
                    <a:gd name="T4" fmla="*/ 13 w 80"/>
                    <a:gd name="T5" fmla="*/ 210 h 391"/>
                    <a:gd name="T6" fmla="*/ 24 w 80"/>
                    <a:gd name="T7" fmla="*/ 316 h 391"/>
                    <a:gd name="T8" fmla="*/ 44 w 80"/>
                    <a:gd name="T9" fmla="*/ 379 h 391"/>
                    <a:gd name="T10" fmla="*/ 53 w 80"/>
                    <a:gd name="T11" fmla="*/ 391 h 391"/>
                    <a:gd name="T12" fmla="*/ 59 w 80"/>
                    <a:gd name="T13" fmla="*/ 373 h 391"/>
                    <a:gd name="T14" fmla="*/ 62 w 80"/>
                    <a:gd name="T15" fmla="*/ 329 h 391"/>
                    <a:gd name="T16" fmla="*/ 80 w 80"/>
                    <a:gd name="T17" fmla="*/ 317 h 391"/>
                    <a:gd name="T18" fmla="*/ 56 w 80"/>
                    <a:gd name="T19" fmla="*/ 281 h 391"/>
                    <a:gd name="T20" fmla="*/ 40 w 80"/>
                    <a:gd name="T21" fmla="*/ 260 h 391"/>
                    <a:gd name="T22" fmla="*/ 42 w 80"/>
                    <a:gd name="T23" fmla="*/ 79 h 391"/>
                    <a:gd name="T24" fmla="*/ 50 w 80"/>
                    <a:gd name="T25" fmla="*/ 7 h 391"/>
                    <a:gd name="T26" fmla="*/ 4 w 80"/>
                    <a:gd name="T27" fmla="*/ 0 h 39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0"/>
                    <a:gd name="T43" fmla="*/ 0 h 391"/>
                    <a:gd name="T44" fmla="*/ 80 w 80"/>
                    <a:gd name="T45" fmla="*/ 391 h 39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0" h="391">
                      <a:moveTo>
                        <a:pt x="4" y="0"/>
                      </a:moveTo>
                      <a:lnTo>
                        <a:pt x="0" y="88"/>
                      </a:lnTo>
                      <a:lnTo>
                        <a:pt x="13" y="210"/>
                      </a:lnTo>
                      <a:lnTo>
                        <a:pt x="24" y="316"/>
                      </a:lnTo>
                      <a:lnTo>
                        <a:pt x="44" y="379"/>
                      </a:lnTo>
                      <a:lnTo>
                        <a:pt x="53" y="391"/>
                      </a:lnTo>
                      <a:lnTo>
                        <a:pt x="59" y="373"/>
                      </a:lnTo>
                      <a:lnTo>
                        <a:pt x="62" y="329"/>
                      </a:lnTo>
                      <a:lnTo>
                        <a:pt x="80" y="317"/>
                      </a:lnTo>
                      <a:lnTo>
                        <a:pt x="56" y="281"/>
                      </a:lnTo>
                      <a:lnTo>
                        <a:pt x="40" y="260"/>
                      </a:lnTo>
                      <a:lnTo>
                        <a:pt x="42" y="79"/>
                      </a:lnTo>
                      <a:lnTo>
                        <a:pt x="50" y="7"/>
                      </a:lnTo>
                      <a:lnTo>
                        <a:pt x="4" y="0"/>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sp>
              <p:nvSpPr>
                <p:cNvPr id="266" name="Freeform 95"/>
                <p:cNvSpPr>
                  <a:spLocks/>
                </p:cNvSpPr>
                <p:nvPr/>
              </p:nvSpPr>
              <p:spPr bwMode="ltGray">
                <a:xfrm>
                  <a:off x="-1501" y="1005"/>
                  <a:ext cx="70" cy="365"/>
                </a:xfrm>
                <a:custGeom>
                  <a:avLst/>
                  <a:gdLst>
                    <a:gd name="T0" fmla="*/ 20 w 70"/>
                    <a:gd name="T1" fmla="*/ 10 h 365"/>
                    <a:gd name="T2" fmla="*/ 30 w 70"/>
                    <a:gd name="T3" fmla="*/ 76 h 365"/>
                    <a:gd name="T4" fmla="*/ 29 w 70"/>
                    <a:gd name="T5" fmla="*/ 232 h 365"/>
                    <a:gd name="T6" fmla="*/ 0 w 70"/>
                    <a:gd name="T7" fmla="*/ 298 h 365"/>
                    <a:gd name="T8" fmla="*/ 7 w 70"/>
                    <a:gd name="T9" fmla="*/ 304 h 365"/>
                    <a:gd name="T10" fmla="*/ 0 w 70"/>
                    <a:gd name="T11" fmla="*/ 338 h 365"/>
                    <a:gd name="T12" fmla="*/ 6 w 70"/>
                    <a:gd name="T13" fmla="*/ 365 h 365"/>
                    <a:gd name="T14" fmla="*/ 29 w 70"/>
                    <a:gd name="T15" fmla="*/ 321 h 365"/>
                    <a:gd name="T16" fmla="*/ 50 w 70"/>
                    <a:gd name="T17" fmla="*/ 240 h 365"/>
                    <a:gd name="T18" fmla="*/ 70 w 70"/>
                    <a:gd name="T19" fmla="*/ 61 h 365"/>
                    <a:gd name="T20" fmla="*/ 61 w 70"/>
                    <a:gd name="T21" fmla="*/ 0 h 365"/>
                    <a:gd name="T22" fmla="*/ 20 w 70"/>
                    <a:gd name="T23" fmla="*/ 10 h 3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0"/>
                    <a:gd name="T37" fmla="*/ 0 h 365"/>
                    <a:gd name="T38" fmla="*/ 70 w 70"/>
                    <a:gd name="T39" fmla="*/ 365 h 36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0" h="365">
                      <a:moveTo>
                        <a:pt x="20" y="10"/>
                      </a:moveTo>
                      <a:lnTo>
                        <a:pt x="30" y="76"/>
                      </a:lnTo>
                      <a:lnTo>
                        <a:pt x="29" y="232"/>
                      </a:lnTo>
                      <a:lnTo>
                        <a:pt x="0" y="298"/>
                      </a:lnTo>
                      <a:lnTo>
                        <a:pt x="7" y="304"/>
                      </a:lnTo>
                      <a:lnTo>
                        <a:pt x="0" y="338"/>
                      </a:lnTo>
                      <a:lnTo>
                        <a:pt x="6" y="365"/>
                      </a:lnTo>
                      <a:lnTo>
                        <a:pt x="29" y="321"/>
                      </a:lnTo>
                      <a:lnTo>
                        <a:pt x="50" y="240"/>
                      </a:lnTo>
                      <a:lnTo>
                        <a:pt x="70" y="61"/>
                      </a:lnTo>
                      <a:lnTo>
                        <a:pt x="61" y="0"/>
                      </a:lnTo>
                      <a:lnTo>
                        <a:pt x="20" y="10"/>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grpSp>
          <p:sp>
            <p:nvSpPr>
              <p:cNvPr id="249" name="Freeform 96"/>
              <p:cNvSpPr>
                <a:spLocks/>
              </p:cNvSpPr>
              <p:nvPr/>
            </p:nvSpPr>
            <p:spPr bwMode="ltGray">
              <a:xfrm>
                <a:off x="-1728" y="774"/>
                <a:ext cx="303" cy="593"/>
              </a:xfrm>
              <a:custGeom>
                <a:avLst/>
                <a:gdLst>
                  <a:gd name="T0" fmla="*/ 123 w 303"/>
                  <a:gd name="T1" fmla="*/ 0 h 593"/>
                  <a:gd name="T2" fmla="*/ 48 w 303"/>
                  <a:gd name="T3" fmla="*/ 40 h 593"/>
                  <a:gd name="T4" fmla="*/ 39 w 303"/>
                  <a:gd name="T5" fmla="*/ 54 h 593"/>
                  <a:gd name="T6" fmla="*/ 0 w 303"/>
                  <a:gd name="T7" fmla="*/ 244 h 593"/>
                  <a:gd name="T8" fmla="*/ 6 w 303"/>
                  <a:gd name="T9" fmla="*/ 445 h 593"/>
                  <a:gd name="T10" fmla="*/ 54 w 303"/>
                  <a:gd name="T11" fmla="*/ 430 h 593"/>
                  <a:gd name="T12" fmla="*/ 58 w 303"/>
                  <a:gd name="T13" fmla="*/ 252 h 593"/>
                  <a:gd name="T14" fmla="*/ 66 w 303"/>
                  <a:gd name="T15" fmla="*/ 204 h 593"/>
                  <a:gd name="T16" fmla="*/ 67 w 303"/>
                  <a:gd name="T17" fmla="*/ 308 h 593"/>
                  <a:gd name="T18" fmla="*/ 54 w 303"/>
                  <a:gd name="T19" fmla="*/ 489 h 593"/>
                  <a:gd name="T20" fmla="*/ 76 w 303"/>
                  <a:gd name="T21" fmla="*/ 490 h 593"/>
                  <a:gd name="T22" fmla="*/ 74 w 303"/>
                  <a:gd name="T23" fmla="*/ 552 h 593"/>
                  <a:gd name="T24" fmla="*/ 76 w 303"/>
                  <a:gd name="T25" fmla="*/ 587 h 593"/>
                  <a:gd name="T26" fmla="*/ 155 w 303"/>
                  <a:gd name="T27" fmla="*/ 593 h 593"/>
                  <a:gd name="T28" fmla="*/ 218 w 303"/>
                  <a:gd name="T29" fmla="*/ 579 h 593"/>
                  <a:gd name="T30" fmla="*/ 255 w 303"/>
                  <a:gd name="T31" fmla="*/ 577 h 593"/>
                  <a:gd name="T32" fmla="*/ 251 w 303"/>
                  <a:gd name="T33" fmla="*/ 478 h 593"/>
                  <a:gd name="T34" fmla="*/ 256 w 303"/>
                  <a:gd name="T35" fmla="*/ 430 h 593"/>
                  <a:gd name="T36" fmla="*/ 237 w 303"/>
                  <a:gd name="T37" fmla="*/ 291 h 593"/>
                  <a:gd name="T38" fmla="*/ 235 w 303"/>
                  <a:gd name="T39" fmla="*/ 218 h 593"/>
                  <a:gd name="T40" fmla="*/ 243 w 303"/>
                  <a:gd name="T41" fmla="*/ 246 h 593"/>
                  <a:gd name="T42" fmla="*/ 251 w 303"/>
                  <a:gd name="T43" fmla="*/ 406 h 593"/>
                  <a:gd name="T44" fmla="*/ 290 w 303"/>
                  <a:gd name="T45" fmla="*/ 415 h 593"/>
                  <a:gd name="T46" fmla="*/ 303 w 303"/>
                  <a:gd name="T47" fmla="*/ 230 h 593"/>
                  <a:gd name="T48" fmla="*/ 257 w 303"/>
                  <a:gd name="T49" fmla="*/ 51 h 593"/>
                  <a:gd name="T50" fmla="*/ 181 w 303"/>
                  <a:gd name="T51" fmla="*/ 0 h 593"/>
                  <a:gd name="T52" fmla="*/ 123 w 303"/>
                  <a:gd name="T53" fmla="*/ 0 h 5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03"/>
                  <a:gd name="T82" fmla="*/ 0 h 593"/>
                  <a:gd name="T83" fmla="*/ 303 w 303"/>
                  <a:gd name="T84" fmla="*/ 593 h 59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03" h="593">
                    <a:moveTo>
                      <a:pt x="123" y="0"/>
                    </a:moveTo>
                    <a:lnTo>
                      <a:pt x="48" y="40"/>
                    </a:lnTo>
                    <a:lnTo>
                      <a:pt x="39" y="54"/>
                    </a:lnTo>
                    <a:lnTo>
                      <a:pt x="0" y="244"/>
                    </a:lnTo>
                    <a:lnTo>
                      <a:pt x="6" y="445"/>
                    </a:lnTo>
                    <a:lnTo>
                      <a:pt x="54" y="430"/>
                    </a:lnTo>
                    <a:lnTo>
                      <a:pt x="58" y="252"/>
                    </a:lnTo>
                    <a:lnTo>
                      <a:pt x="66" y="204"/>
                    </a:lnTo>
                    <a:lnTo>
                      <a:pt x="67" y="308"/>
                    </a:lnTo>
                    <a:lnTo>
                      <a:pt x="54" y="489"/>
                    </a:lnTo>
                    <a:lnTo>
                      <a:pt x="76" y="490"/>
                    </a:lnTo>
                    <a:lnTo>
                      <a:pt x="74" y="552"/>
                    </a:lnTo>
                    <a:lnTo>
                      <a:pt x="76" y="587"/>
                    </a:lnTo>
                    <a:lnTo>
                      <a:pt x="155" y="593"/>
                    </a:lnTo>
                    <a:lnTo>
                      <a:pt x="218" y="579"/>
                    </a:lnTo>
                    <a:lnTo>
                      <a:pt x="255" y="577"/>
                    </a:lnTo>
                    <a:lnTo>
                      <a:pt x="251" y="478"/>
                    </a:lnTo>
                    <a:lnTo>
                      <a:pt x="256" y="430"/>
                    </a:lnTo>
                    <a:lnTo>
                      <a:pt x="237" y="291"/>
                    </a:lnTo>
                    <a:lnTo>
                      <a:pt x="235" y="218"/>
                    </a:lnTo>
                    <a:lnTo>
                      <a:pt x="243" y="246"/>
                    </a:lnTo>
                    <a:lnTo>
                      <a:pt x="251" y="406"/>
                    </a:lnTo>
                    <a:lnTo>
                      <a:pt x="290" y="415"/>
                    </a:lnTo>
                    <a:lnTo>
                      <a:pt x="303" y="230"/>
                    </a:lnTo>
                    <a:lnTo>
                      <a:pt x="257" y="51"/>
                    </a:lnTo>
                    <a:lnTo>
                      <a:pt x="181" y="0"/>
                    </a:lnTo>
                    <a:lnTo>
                      <a:pt x="123" y="0"/>
                    </a:lnTo>
                    <a:close/>
                  </a:path>
                </a:pathLst>
              </a:custGeom>
              <a:solidFill>
                <a:srgbClr val="DDDDDD"/>
              </a:solidFill>
              <a:ln w="12700">
                <a:solidFill>
                  <a:schemeClr val="tx1"/>
                </a:solidFill>
                <a:round/>
                <a:headEnd/>
                <a:tailEnd/>
              </a:ln>
            </p:spPr>
            <p:txBody>
              <a:bodyPr/>
              <a:lstStyle/>
              <a:p>
                <a:pPr eaLnBrk="1" hangingPunct="1"/>
                <a:endParaRPr lang="es-ES" sz="1800">
                  <a:latin typeface="Arial Unicode MS" pitchFamily="34" charset="-128"/>
                </a:endParaRPr>
              </a:p>
            </p:txBody>
          </p:sp>
          <p:grpSp>
            <p:nvGrpSpPr>
              <p:cNvPr id="250" name="Group 97"/>
              <p:cNvGrpSpPr>
                <a:grpSpLocks/>
              </p:cNvGrpSpPr>
              <p:nvPr/>
            </p:nvGrpSpPr>
            <p:grpSpPr bwMode="auto">
              <a:xfrm>
                <a:off x="-1674" y="576"/>
                <a:ext cx="187" cy="1377"/>
                <a:chOff x="-1674" y="576"/>
                <a:chExt cx="187" cy="1377"/>
              </a:xfrm>
            </p:grpSpPr>
            <p:sp>
              <p:nvSpPr>
                <p:cNvPr id="251" name="Freeform 98"/>
                <p:cNvSpPr>
                  <a:spLocks/>
                </p:cNvSpPr>
                <p:nvPr/>
              </p:nvSpPr>
              <p:spPr bwMode="ltGray">
                <a:xfrm>
                  <a:off x="-1666" y="1349"/>
                  <a:ext cx="176" cy="563"/>
                </a:xfrm>
                <a:custGeom>
                  <a:avLst/>
                  <a:gdLst>
                    <a:gd name="T0" fmla="*/ 24 w 176"/>
                    <a:gd name="T1" fmla="*/ 9 h 563"/>
                    <a:gd name="T2" fmla="*/ 32 w 176"/>
                    <a:gd name="T3" fmla="*/ 206 h 563"/>
                    <a:gd name="T4" fmla="*/ 29 w 176"/>
                    <a:gd name="T5" fmla="*/ 260 h 563"/>
                    <a:gd name="T6" fmla="*/ 29 w 176"/>
                    <a:gd name="T7" fmla="*/ 315 h 563"/>
                    <a:gd name="T8" fmla="*/ 32 w 176"/>
                    <a:gd name="T9" fmla="*/ 365 h 563"/>
                    <a:gd name="T10" fmla="*/ 33 w 176"/>
                    <a:gd name="T11" fmla="*/ 405 h 563"/>
                    <a:gd name="T12" fmla="*/ 33 w 176"/>
                    <a:gd name="T13" fmla="*/ 456 h 563"/>
                    <a:gd name="T14" fmla="*/ 30 w 176"/>
                    <a:gd name="T15" fmla="*/ 477 h 563"/>
                    <a:gd name="T16" fmla="*/ 8 w 176"/>
                    <a:gd name="T17" fmla="*/ 540 h 563"/>
                    <a:gd name="T18" fmla="*/ 0 w 176"/>
                    <a:gd name="T19" fmla="*/ 562 h 563"/>
                    <a:gd name="T20" fmla="*/ 35 w 176"/>
                    <a:gd name="T21" fmla="*/ 563 h 563"/>
                    <a:gd name="T22" fmla="*/ 50 w 176"/>
                    <a:gd name="T23" fmla="*/ 536 h 563"/>
                    <a:gd name="T24" fmla="*/ 60 w 176"/>
                    <a:gd name="T25" fmla="*/ 504 h 563"/>
                    <a:gd name="T26" fmla="*/ 66 w 176"/>
                    <a:gd name="T27" fmla="*/ 453 h 563"/>
                    <a:gd name="T28" fmla="*/ 86 w 176"/>
                    <a:gd name="T29" fmla="*/ 315 h 563"/>
                    <a:gd name="T30" fmla="*/ 93 w 176"/>
                    <a:gd name="T31" fmla="*/ 276 h 563"/>
                    <a:gd name="T32" fmla="*/ 88 w 176"/>
                    <a:gd name="T33" fmla="*/ 351 h 563"/>
                    <a:gd name="T34" fmla="*/ 94 w 176"/>
                    <a:gd name="T35" fmla="*/ 397 h 563"/>
                    <a:gd name="T36" fmla="*/ 96 w 176"/>
                    <a:gd name="T37" fmla="*/ 440 h 563"/>
                    <a:gd name="T38" fmla="*/ 92 w 176"/>
                    <a:gd name="T39" fmla="*/ 479 h 563"/>
                    <a:gd name="T40" fmla="*/ 95 w 176"/>
                    <a:gd name="T41" fmla="*/ 498 h 563"/>
                    <a:gd name="T42" fmla="*/ 117 w 176"/>
                    <a:gd name="T43" fmla="*/ 556 h 563"/>
                    <a:gd name="T44" fmla="*/ 137 w 176"/>
                    <a:gd name="T45" fmla="*/ 557 h 563"/>
                    <a:gd name="T46" fmla="*/ 146 w 176"/>
                    <a:gd name="T47" fmla="*/ 557 h 563"/>
                    <a:gd name="T48" fmla="*/ 158 w 176"/>
                    <a:gd name="T49" fmla="*/ 545 h 563"/>
                    <a:gd name="T50" fmla="*/ 129 w 176"/>
                    <a:gd name="T51" fmla="*/ 479 h 563"/>
                    <a:gd name="T52" fmla="*/ 143 w 176"/>
                    <a:gd name="T53" fmla="*/ 339 h 563"/>
                    <a:gd name="T54" fmla="*/ 149 w 176"/>
                    <a:gd name="T55" fmla="*/ 272 h 563"/>
                    <a:gd name="T56" fmla="*/ 176 w 176"/>
                    <a:gd name="T57" fmla="*/ 0 h 563"/>
                    <a:gd name="T58" fmla="*/ 24 w 176"/>
                    <a:gd name="T59" fmla="*/ 9 h 56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6"/>
                    <a:gd name="T91" fmla="*/ 0 h 563"/>
                    <a:gd name="T92" fmla="*/ 176 w 176"/>
                    <a:gd name="T93" fmla="*/ 563 h 56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6" h="563">
                      <a:moveTo>
                        <a:pt x="24" y="9"/>
                      </a:moveTo>
                      <a:lnTo>
                        <a:pt x="32" y="206"/>
                      </a:lnTo>
                      <a:lnTo>
                        <a:pt x="29" y="260"/>
                      </a:lnTo>
                      <a:lnTo>
                        <a:pt x="29" y="315"/>
                      </a:lnTo>
                      <a:lnTo>
                        <a:pt x="32" y="365"/>
                      </a:lnTo>
                      <a:lnTo>
                        <a:pt x="33" y="405"/>
                      </a:lnTo>
                      <a:lnTo>
                        <a:pt x="33" y="456"/>
                      </a:lnTo>
                      <a:lnTo>
                        <a:pt x="30" y="477"/>
                      </a:lnTo>
                      <a:lnTo>
                        <a:pt x="8" y="540"/>
                      </a:lnTo>
                      <a:lnTo>
                        <a:pt x="0" y="562"/>
                      </a:lnTo>
                      <a:lnTo>
                        <a:pt x="35" y="563"/>
                      </a:lnTo>
                      <a:lnTo>
                        <a:pt x="50" y="536"/>
                      </a:lnTo>
                      <a:lnTo>
                        <a:pt x="60" y="504"/>
                      </a:lnTo>
                      <a:lnTo>
                        <a:pt x="66" y="453"/>
                      </a:lnTo>
                      <a:lnTo>
                        <a:pt x="86" y="315"/>
                      </a:lnTo>
                      <a:lnTo>
                        <a:pt x="93" y="276"/>
                      </a:lnTo>
                      <a:lnTo>
                        <a:pt x="88" y="351"/>
                      </a:lnTo>
                      <a:lnTo>
                        <a:pt x="94" y="397"/>
                      </a:lnTo>
                      <a:lnTo>
                        <a:pt x="96" y="440"/>
                      </a:lnTo>
                      <a:lnTo>
                        <a:pt x="92" y="479"/>
                      </a:lnTo>
                      <a:lnTo>
                        <a:pt x="95" y="498"/>
                      </a:lnTo>
                      <a:lnTo>
                        <a:pt x="117" y="556"/>
                      </a:lnTo>
                      <a:lnTo>
                        <a:pt x="137" y="557"/>
                      </a:lnTo>
                      <a:lnTo>
                        <a:pt x="146" y="557"/>
                      </a:lnTo>
                      <a:lnTo>
                        <a:pt x="158" y="545"/>
                      </a:lnTo>
                      <a:lnTo>
                        <a:pt x="129" y="479"/>
                      </a:lnTo>
                      <a:lnTo>
                        <a:pt x="143" y="339"/>
                      </a:lnTo>
                      <a:lnTo>
                        <a:pt x="149" y="272"/>
                      </a:lnTo>
                      <a:lnTo>
                        <a:pt x="176" y="0"/>
                      </a:lnTo>
                      <a:lnTo>
                        <a:pt x="24" y="9"/>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grpSp>
              <p:nvGrpSpPr>
                <p:cNvPr id="252" name="Group 99"/>
                <p:cNvGrpSpPr>
                  <a:grpSpLocks/>
                </p:cNvGrpSpPr>
                <p:nvPr/>
              </p:nvGrpSpPr>
              <p:grpSpPr bwMode="auto">
                <a:xfrm>
                  <a:off x="-1639" y="776"/>
                  <a:ext cx="131" cy="316"/>
                  <a:chOff x="-1639" y="776"/>
                  <a:chExt cx="131" cy="316"/>
                </a:xfrm>
              </p:grpSpPr>
              <p:sp>
                <p:nvSpPr>
                  <p:cNvPr id="262" name="Freeform 100"/>
                  <p:cNvSpPr>
                    <a:spLocks/>
                  </p:cNvSpPr>
                  <p:nvPr/>
                </p:nvSpPr>
                <p:spPr bwMode="ltGray">
                  <a:xfrm>
                    <a:off x="-1609" y="776"/>
                    <a:ext cx="68" cy="35"/>
                  </a:xfrm>
                  <a:custGeom>
                    <a:avLst/>
                    <a:gdLst>
                      <a:gd name="T0" fmla="*/ 0 w 68"/>
                      <a:gd name="T1" fmla="*/ 3 h 35"/>
                      <a:gd name="T2" fmla="*/ 15 w 68"/>
                      <a:gd name="T3" fmla="*/ 35 h 35"/>
                      <a:gd name="T4" fmla="*/ 35 w 68"/>
                      <a:gd name="T5" fmla="*/ 0 h 35"/>
                      <a:gd name="T6" fmla="*/ 55 w 68"/>
                      <a:gd name="T7" fmla="*/ 35 h 35"/>
                      <a:gd name="T8" fmla="*/ 68 w 68"/>
                      <a:gd name="T9" fmla="*/ 4 h 35"/>
                      <a:gd name="T10" fmla="*/ 0 60000 65536"/>
                      <a:gd name="T11" fmla="*/ 0 60000 65536"/>
                      <a:gd name="T12" fmla="*/ 0 60000 65536"/>
                      <a:gd name="T13" fmla="*/ 0 60000 65536"/>
                      <a:gd name="T14" fmla="*/ 0 60000 65536"/>
                      <a:gd name="T15" fmla="*/ 0 w 68"/>
                      <a:gd name="T16" fmla="*/ 0 h 35"/>
                      <a:gd name="T17" fmla="*/ 68 w 68"/>
                      <a:gd name="T18" fmla="*/ 35 h 35"/>
                    </a:gdLst>
                    <a:ahLst/>
                    <a:cxnLst>
                      <a:cxn ang="T10">
                        <a:pos x="T0" y="T1"/>
                      </a:cxn>
                      <a:cxn ang="T11">
                        <a:pos x="T2" y="T3"/>
                      </a:cxn>
                      <a:cxn ang="T12">
                        <a:pos x="T4" y="T5"/>
                      </a:cxn>
                      <a:cxn ang="T13">
                        <a:pos x="T6" y="T7"/>
                      </a:cxn>
                      <a:cxn ang="T14">
                        <a:pos x="T8" y="T9"/>
                      </a:cxn>
                    </a:cxnLst>
                    <a:rect l="T15" t="T16" r="T17" b="T18"/>
                    <a:pathLst>
                      <a:path w="68" h="35">
                        <a:moveTo>
                          <a:pt x="0" y="3"/>
                        </a:moveTo>
                        <a:lnTo>
                          <a:pt x="15" y="35"/>
                        </a:lnTo>
                        <a:lnTo>
                          <a:pt x="35" y="0"/>
                        </a:lnTo>
                        <a:lnTo>
                          <a:pt x="55" y="35"/>
                        </a:lnTo>
                        <a:lnTo>
                          <a:pt x="68" y="4"/>
                        </a:lnTo>
                      </a:path>
                    </a:pathLst>
                  </a:custGeom>
                  <a:solidFill>
                    <a:srgbClr val="DDDDDD"/>
                  </a:solidFill>
                  <a:ln w="12700">
                    <a:solidFill>
                      <a:schemeClr val="tx1"/>
                    </a:solidFill>
                    <a:round/>
                    <a:headEnd/>
                    <a:tailEnd/>
                  </a:ln>
                </p:spPr>
                <p:txBody>
                  <a:bodyPr/>
                  <a:lstStyle/>
                  <a:p>
                    <a:pPr eaLnBrk="1" hangingPunct="1"/>
                    <a:endParaRPr lang="es-ES" sz="1800">
                      <a:latin typeface="Arial Unicode MS" pitchFamily="34" charset="-128"/>
                    </a:endParaRPr>
                  </a:p>
                </p:txBody>
              </p:sp>
              <p:sp>
                <p:nvSpPr>
                  <p:cNvPr id="263" name="Freeform 101"/>
                  <p:cNvSpPr>
                    <a:spLocks/>
                  </p:cNvSpPr>
                  <p:nvPr/>
                </p:nvSpPr>
                <p:spPr bwMode="ltGray">
                  <a:xfrm>
                    <a:off x="-1572" y="784"/>
                    <a:ext cx="16" cy="292"/>
                  </a:xfrm>
                  <a:custGeom>
                    <a:avLst/>
                    <a:gdLst>
                      <a:gd name="T0" fmla="*/ 0 w 16"/>
                      <a:gd name="T1" fmla="*/ 0 h 292"/>
                      <a:gd name="T2" fmla="*/ 16 w 16"/>
                      <a:gd name="T3" fmla="*/ 121 h 292"/>
                      <a:gd name="T4" fmla="*/ 16 w 16"/>
                      <a:gd name="T5" fmla="*/ 292 h 292"/>
                      <a:gd name="T6" fmla="*/ 0 60000 65536"/>
                      <a:gd name="T7" fmla="*/ 0 60000 65536"/>
                      <a:gd name="T8" fmla="*/ 0 60000 65536"/>
                      <a:gd name="T9" fmla="*/ 0 w 16"/>
                      <a:gd name="T10" fmla="*/ 0 h 292"/>
                      <a:gd name="T11" fmla="*/ 16 w 16"/>
                      <a:gd name="T12" fmla="*/ 292 h 292"/>
                    </a:gdLst>
                    <a:ahLst/>
                    <a:cxnLst>
                      <a:cxn ang="T6">
                        <a:pos x="T0" y="T1"/>
                      </a:cxn>
                      <a:cxn ang="T7">
                        <a:pos x="T2" y="T3"/>
                      </a:cxn>
                      <a:cxn ang="T8">
                        <a:pos x="T4" y="T5"/>
                      </a:cxn>
                    </a:cxnLst>
                    <a:rect l="T9" t="T10" r="T11" b="T12"/>
                    <a:pathLst>
                      <a:path w="16" h="292">
                        <a:moveTo>
                          <a:pt x="0" y="0"/>
                        </a:moveTo>
                        <a:lnTo>
                          <a:pt x="16" y="121"/>
                        </a:lnTo>
                        <a:lnTo>
                          <a:pt x="16" y="292"/>
                        </a:lnTo>
                      </a:path>
                    </a:pathLst>
                  </a:custGeom>
                  <a:solidFill>
                    <a:srgbClr val="DDDDDD"/>
                  </a:solidFill>
                  <a:ln w="12700">
                    <a:solidFill>
                      <a:schemeClr val="tx1"/>
                    </a:solidFill>
                    <a:round/>
                    <a:headEnd/>
                    <a:tailEnd/>
                  </a:ln>
                </p:spPr>
                <p:txBody>
                  <a:bodyPr/>
                  <a:lstStyle/>
                  <a:p>
                    <a:pPr eaLnBrk="1" hangingPunct="1"/>
                    <a:endParaRPr lang="es-ES" sz="1800">
                      <a:latin typeface="Arial Unicode MS" pitchFamily="34" charset="-128"/>
                    </a:endParaRPr>
                  </a:p>
                </p:txBody>
              </p:sp>
              <p:sp>
                <p:nvSpPr>
                  <p:cNvPr id="264" name="Freeform 102"/>
                  <p:cNvSpPr>
                    <a:spLocks/>
                  </p:cNvSpPr>
                  <p:nvPr/>
                </p:nvSpPr>
                <p:spPr bwMode="ltGray">
                  <a:xfrm>
                    <a:off x="-1639" y="1076"/>
                    <a:ext cx="131" cy="16"/>
                  </a:xfrm>
                  <a:custGeom>
                    <a:avLst/>
                    <a:gdLst>
                      <a:gd name="T0" fmla="*/ 0 w 131"/>
                      <a:gd name="T1" fmla="*/ 16 h 16"/>
                      <a:gd name="T2" fmla="*/ 72 w 131"/>
                      <a:gd name="T3" fmla="*/ 0 h 16"/>
                      <a:gd name="T4" fmla="*/ 131 w 131"/>
                      <a:gd name="T5" fmla="*/ 6 h 16"/>
                      <a:gd name="T6" fmla="*/ 0 60000 65536"/>
                      <a:gd name="T7" fmla="*/ 0 60000 65536"/>
                      <a:gd name="T8" fmla="*/ 0 60000 65536"/>
                      <a:gd name="T9" fmla="*/ 0 w 131"/>
                      <a:gd name="T10" fmla="*/ 0 h 16"/>
                      <a:gd name="T11" fmla="*/ 131 w 131"/>
                      <a:gd name="T12" fmla="*/ 16 h 16"/>
                    </a:gdLst>
                    <a:ahLst/>
                    <a:cxnLst>
                      <a:cxn ang="T6">
                        <a:pos x="T0" y="T1"/>
                      </a:cxn>
                      <a:cxn ang="T7">
                        <a:pos x="T2" y="T3"/>
                      </a:cxn>
                      <a:cxn ang="T8">
                        <a:pos x="T4" y="T5"/>
                      </a:cxn>
                    </a:cxnLst>
                    <a:rect l="T9" t="T10" r="T11" b="T12"/>
                    <a:pathLst>
                      <a:path w="131" h="16">
                        <a:moveTo>
                          <a:pt x="0" y="16"/>
                        </a:moveTo>
                        <a:lnTo>
                          <a:pt x="72" y="0"/>
                        </a:lnTo>
                        <a:lnTo>
                          <a:pt x="131" y="6"/>
                        </a:lnTo>
                      </a:path>
                    </a:pathLst>
                  </a:custGeom>
                  <a:solidFill>
                    <a:srgbClr val="DDDDDD"/>
                  </a:solidFill>
                  <a:ln w="12700">
                    <a:solidFill>
                      <a:schemeClr val="tx1"/>
                    </a:solidFill>
                    <a:round/>
                    <a:headEnd/>
                    <a:tailEnd/>
                  </a:ln>
                </p:spPr>
                <p:txBody>
                  <a:bodyPr/>
                  <a:lstStyle/>
                  <a:p>
                    <a:pPr eaLnBrk="1" hangingPunct="1"/>
                    <a:endParaRPr lang="es-ES" sz="1800">
                      <a:latin typeface="Arial Unicode MS" pitchFamily="34" charset="-128"/>
                    </a:endParaRPr>
                  </a:p>
                </p:txBody>
              </p:sp>
            </p:grpSp>
            <p:grpSp>
              <p:nvGrpSpPr>
                <p:cNvPr id="253" name="Group 103"/>
                <p:cNvGrpSpPr>
                  <a:grpSpLocks/>
                </p:cNvGrpSpPr>
                <p:nvPr/>
              </p:nvGrpSpPr>
              <p:grpSpPr bwMode="auto">
                <a:xfrm>
                  <a:off x="-1674" y="1832"/>
                  <a:ext cx="177" cy="121"/>
                  <a:chOff x="-1674" y="1832"/>
                  <a:chExt cx="177" cy="121"/>
                </a:xfrm>
              </p:grpSpPr>
              <p:sp>
                <p:nvSpPr>
                  <p:cNvPr id="260" name="Freeform 104"/>
                  <p:cNvSpPr>
                    <a:spLocks/>
                  </p:cNvSpPr>
                  <p:nvPr/>
                </p:nvSpPr>
                <p:spPr bwMode="ltGray">
                  <a:xfrm>
                    <a:off x="-1674" y="1843"/>
                    <a:ext cx="70" cy="110"/>
                  </a:xfrm>
                  <a:custGeom>
                    <a:avLst/>
                    <a:gdLst>
                      <a:gd name="T0" fmla="*/ 13 w 70"/>
                      <a:gd name="T1" fmla="*/ 54 h 110"/>
                      <a:gd name="T2" fmla="*/ 3 w 70"/>
                      <a:gd name="T3" fmla="*/ 71 h 110"/>
                      <a:gd name="T4" fmla="*/ 0 w 70"/>
                      <a:gd name="T5" fmla="*/ 84 h 110"/>
                      <a:gd name="T6" fmla="*/ 0 w 70"/>
                      <a:gd name="T7" fmla="*/ 94 h 110"/>
                      <a:gd name="T8" fmla="*/ 2 w 70"/>
                      <a:gd name="T9" fmla="*/ 101 h 110"/>
                      <a:gd name="T10" fmla="*/ 7 w 70"/>
                      <a:gd name="T11" fmla="*/ 107 h 110"/>
                      <a:gd name="T12" fmla="*/ 16 w 70"/>
                      <a:gd name="T13" fmla="*/ 110 h 110"/>
                      <a:gd name="T14" fmla="*/ 28 w 70"/>
                      <a:gd name="T15" fmla="*/ 109 h 110"/>
                      <a:gd name="T16" fmla="*/ 40 w 70"/>
                      <a:gd name="T17" fmla="*/ 104 h 110"/>
                      <a:gd name="T18" fmla="*/ 49 w 70"/>
                      <a:gd name="T19" fmla="*/ 93 h 110"/>
                      <a:gd name="T20" fmla="*/ 57 w 70"/>
                      <a:gd name="T21" fmla="*/ 78 h 110"/>
                      <a:gd name="T22" fmla="*/ 62 w 70"/>
                      <a:gd name="T23" fmla="*/ 49 h 110"/>
                      <a:gd name="T24" fmla="*/ 70 w 70"/>
                      <a:gd name="T25" fmla="*/ 19 h 110"/>
                      <a:gd name="T26" fmla="*/ 69 w 70"/>
                      <a:gd name="T27" fmla="*/ 0 h 110"/>
                      <a:gd name="T28" fmla="*/ 55 w 70"/>
                      <a:gd name="T29" fmla="*/ 43 h 110"/>
                      <a:gd name="T30" fmla="*/ 43 w 70"/>
                      <a:gd name="T31" fmla="*/ 69 h 110"/>
                      <a:gd name="T32" fmla="*/ 25 w 70"/>
                      <a:gd name="T33" fmla="*/ 69 h 110"/>
                      <a:gd name="T34" fmla="*/ 10 w 70"/>
                      <a:gd name="T35" fmla="*/ 67 h 110"/>
                      <a:gd name="T36" fmla="*/ 13 w 70"/>
                      <a:gd name="T37" fmla="*/ 54 h 11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0"/>
                      <a:gd name="T58" fmla="*/ 0 h 110"/>
                      <a:gd name="T59" fmla="*/ 70 w 70"/>
                      <a:gd name="T60" fmla="*/ 110 h 11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0" h="110">
                        <a:moveTo>
                          <a:pt x="13" y="54"/>
                        </a:moveTo>
                        <a:lnTo>
                          <a:pt x="3" y="71"/>
                        </a:lnTo>
                        <a:lnTo>
                          <a:pt x="0" y="84"/>
                        </a:lnTo>
                        <a:lnTo>
                          <a:pt x="0" y="94"/>
                        </a:lnTo>
                        <a:lnTo>
                          <a:pt x="2" y="101"/>
                        </a:lnTo>
                        <a:lnTo>
                          <a:pt x="7" y="107"/>
                        </a:lnTo>
                        <a:lnTo>
                          <a:pt x="16" y="110"/>
                        </a:lnTo>
                        <a:lnTo>
                          <a:pt x="28" y="109"/>
                        </a:lnTo>
                        <a:lnTo>
                          <a:pt x="40" y="104"/>
                        </a:lnTo>
                        <a:lnTo>
                          <a:pt x="49" y="93"/>
                        </a:lnTo>
                        <a:lnTo>
                          <a:pt x="57" y="78"/>
                        </a:lnTo>
                        <a:lnTo>
                          <a:pt x="62" y="49"/>
                        </a:lnTo>
                        <a:lnTo>
                          <a:pt x="70" y="19"/>
                        </a:lnTo>
                        <a:lnTo>
                          <a:pt x="69" y="0"/>
                        </a:lnTo>
                        <a:lnTo>
                          <a:pt x="55" y="43"/>
                        </a:lnTo>
                        <a:lnTo>
                          <a:pt x="43" y="69"/>
                        </a:lnTo>
                        <a:lnTo>
                          <a:pt x="25" y="69"/>
                        </a:lnTo>
                        <a:lnTo>
                          <a:pt x="10" y="67"/>
                        </a:lnTo>
                        <a:lnTo>
                          <a:pt x="13" y="54"/>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sp>
                <p:nvSpPr>
                  <p:cNvPr id="261" name="Freeform 105"/>
                  <p:cNvSpPr>
                    <a:spLocks/>
                  </p:cNvSpPr>
                  <p:nvPr/>
                </p:nvSpPr>
                <p:spPr bwMode="ltGray">
                  <a:xfrm>
                    <a:off x="-1575" y="1832"/>
                    <a:ext cx="78" cy="120"/>
                  </a:xfrm>
                  <a:custGeom>
                    <a:avLst/>
                    <a:gdLst>
                      <a:gd name="T0" fmla="*/ 1 w 78"/>
                      <a:gd name="T1" fmla="*/ 0 h 120"/>
                      <a:gd name="T2" fmla="*/ 0 w 78"/>
                      <a:gd name="T3" fmla="*/ 12 h 120"/>
                      <a:gd name="T4" fmla="*/ 10 w 78"/>
                      <a:gd name="T5" fmla="*/ 43 h 120"/>
                      <a:gd name="T6" fmla="*/ 17 w 78"/>
                      <a:gd name="T7" fmla="*/ 67 h 120"/>
                      <a:gd name="T8" fmla="*/ 25 w 78"/>
                      <a:gd name="T9" fmla="*/ 91 h 120"/>
                      <a:gd name="T10" fmla="*/ 33 w 78"/>
                      <a:gd name="T11" fmla="*/ 104 h 120"/>
                      <a:gd name="T12" fmla="*/ 41 w 78"/>
                      <a:gd name="T13" fmla="*/ 114 h 120"/>
                      <a:gd name="T14" fmla="*/ 51 w 78"/>
                      <a:gd name="T15" fmla="*/ 118 h 120"/>
                      <a:gd name="T16" fmla="*/ 63 w 78"/>
                      <a:gd name="T17" fmla="*/ 120 h 120"/>
                      <a:gd name="T18" fmla="*/ 69 w 78"/>
                      <a:gd name="T19" fmla="*/ 116 h 120"/>
                      <a:gd name="T20" fmla="*/ 75 w 78"/>
                      <a:gd name="T21" fmla="*/ 113 h 120"/>
                      <a:gd name="T22" fmla="*/ 78 w 78"/>
                      <a:gd name="T23" fmla="*/ 101 h 120"/>
                      <a:gd name="T24" fmla="*/ 76 w 78"/>
                      <a:gd name="T25" fmla="*/ 85 h 120"/>
                      <a:gd name="T26" fmla="*/ 69 w 78"/>
                      <a:gd name="T27" fmla="*/ 66 h 120"/>
                      <a:gd name="T28" fmla="*/ 64 w 78"/>
                      <a:gd name="T29" fmla="*/ 57 h 120"/>
                      <a:gd name="T30" fmla="*/ 62 w 78"/>
                      <a:gd name="T31" fmla="*/ 65 h 120"/>
                      <a:gd name="T32" fmla="*/ 59 w 78"/>
                      <a:gd name="T33" fmla="*/ 69 h 120"/>
                      <a:gd name="T34" fmla="*/ 49 w 78"/>
                      <a:gd name="T35" fmla="*/ 72 h 120"/>
                      <a:gd name="T36" fmla="*/ 42 w 78"/>
                      <a:gd name="T37" fmla="*/ 73 h 120"/>
                      <a:gd name="T38" fmla="*/ 26 w 78"/>
                      <a:gd name="T39" fmla="*/ 70 h 120"/>
                      <a:gd name="T40" fmla="*/ 10 w 78"/>
                      <a:gd name="T41" fmla="*/ 24 h 120"/>
                      <a:gd name="T42" fmla="*/ 1 w 78"/>
                      <a:gd name="T43" fmla="*/ 0 h 12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8"/>
                      <a:gd name="T67" fmla="*/ 0 h 120"/>
                      <a:gd name="T68" fmla="*/ 78 w 78"/>
                      <a:gd name="T69" fmla="*/ 120 h 12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8" h="120">
                        <a:moveTo>
                          <a:pt x="1" y="0"/>
                        </a:moveTo>
                        <a:lnTo>
                          <a:pt x="0" y="12"/>
                        </a:lnTo>
                        <a:lnTo>
                          <a:pt x="10" y="43"/>
                        </a:lnTo>
                        <a:lnTo>
                          <a:pt x="17" y="67"/>
                        </a:lnTo>
                        <a:lnTo>
                          <a:pt x="25" y="91"/>
                        </a:lnTo>
                        <a:lnTo>
                          <a:pt x="33" y="104"/>
                        </a:lnTo>
                        <a:lnTo>
                          <a:pt x="41" y="114"/>
                        </a:lnTo>
                        <a:lnTo>
                          <a:pt x="51" y="118"/>
                        </a:lnTo>
                        <a:lnTo>
                          <a:pt x="63" y="120"/>
                        </a:lnTo>
                        <a:lnTo>
                          <a:pt x="69" y="116"/>
                        </a:lnTo>
                        <a:lnTo>
                          <a:pt x="75" y="113"/>
                        </a:lnTo>
                        <a:lnTo>
                          <a:pt x="78" y="101"/>
                        </a:lnTo>
                        <a:lnTo>
                          <a:pt x="76" y="85"/>
                        </a:lnTo>
                        <a:lnTo>
                          <a:pt x="69" y="66"/>
                        </a:lnTo>
                        <a:lnTo>
                          <a:pt x="64" y="57"/>
                        </a:lnTo>
                        <a:lnTo>
                          <a:pt x="62" y="65"/>
                        </a:lnTo>
                        <a:lnTo>
                          <a:pt x="59" y="69"/>
                        </a:lnTo>
                        <a:lnTo>
                          <a:pt x="49" y="72"/>
                        </a:lnTo>
                        <a:lnTo>
                          <a:pt x="42" y="73"/>
                        </a:lnTo>
                        <a:lnTo>
                          <a:pt x="26" y="70"/>
                        </a:lnTo>
                        <a:lnTo>
                          <a:pt x="10" y="24"/>
                        </a:lnTo>
                        <a:lnTo>
                          <a:pt x="1" y="0"/>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grpSp>
            <p:grpSp>
              <p:nvGrpSpPr>
                <p:cNvPr id="254" name="Group 106"/>
                <p:cNvGrpSpPr>
                  <a:grpSpLocks/>
                </p:cNvGrpSpPr>
                <p:nvPr/>
              </p:nvGrpSpPr>
              <p:grpSpPr bwMode="auto">
                <a:xfrm>
                  <a:off x="-1652" y="576"/>
                  <a:ext cx="165" cy="200"/>
                  <a:chOff x="-1652" y="576"/>
                  <a:chExt cx="165" cy="200"/>
                </a:xfrm>
              </p:grpSpPr>
              <p:sp>
                <p:nvSpPr>
                  <p:cNvPr id="255" name="Freeform 107"/>
                  <p:cNvSpPr>
                    <a:spLocks/>
                  </p:cNvSpPr>
                  <p:nvPr/>
                </p:nvSpPr>
                <p:spPr bwMode="ltGray">
                  <a:xfrm>
                    <a:off x="-1632" y="590"/>
                    <a:ext cx="121" cy="186"/>
                  </a:xfrm>
                  <a:custGeom>
                    <a:avLst/>
                    <a:gdLst>
                      <a:gd name="T0" fmla="*/ 30 w 121"/>
                      <a:gd name="T1" fmla="*/ 185 h 186"/>
                      <a:gd name="T2" fmla="*/ 30 w 121"/>
                      <a:gd name="T3" fmla="*/ 157 h 186"/>
                      <a:gd name="T4" fmla="*/ 20 w 121"/>
                      <a:gd name="T5" fmla="*/ 136 h 186"/>
                      <a:gd name="T6" fmla="*/ 10 w 121"/>
                      <a:gd name="T7" fmla="*/ 121 h 186"/>
                      <a:gd name="T8" fmla="*/ 6 w 121"/>
                      <a:gd name="T9" fmla="*/ 97 h 186"/>
                      <a:gd name="T10" fmla="*/ 1 w 121"/>
                      <a:gd name="T11" fmla="*/ 86 h 186"/>
                      <a:gd name="T12" fmla="*/ 0 w 121"/>
                      <a:gd name="T13" fmla="*/ 58 h 186"/>
                      <a:gd name="T14" fmla="*/ 10 w 121"/>
                      <a:gd name="T15" fmla="*/ 26 h 186"/>
                      <a:gd name="T16" fmla="*/ 29 w 121"/>
                      <a:gd name="T17" fmla="*/ 9 h 186"/>
                      <a:gd name="T18" fmla="*/ 50 w 121"/>
                      <a:gd name="T19" fmla="*/ 0 h 186"/>
                      <a:gd name="T20" fmla="*/ 75 w 121"/>
                      <a:gd name="T21" fmla="*/ 0 h 186"/>
                      <a:gd name="T22" fmla="*/ 98 w 121"/>
                      <a:gd name="T23" fmla="*/ 8 h 186"/>
                      <a:gd name="T24" fmla="*/ 114 w 121"/>
                      <a:gd name="T25" fmla="*/ 24 h 186"/>
                      <a:gd name="T26" fmla="*/ 121 w 121"/>
                      <a:gd name="T27" fmla="*/ 47 h 186"/>
                      <a:gd name="T28" fmla="*/ 121 w 121"/>
                      <a:gd name="T29" fmla="*/ 71 h 186"/>
                      <a:gd name="T30" fmla="*/ 118 w 121"/>
                      <a:gd name="T31" fmla="*/ 94 h 186"/>
                      <a:gd name="T32" fmla="*/ 106 w 121"/>
                      <a:gd name="T33" fmla="*/ 122 h 186"/>
                      <a:gd name="T34" fmla="*/ 101 w 121"/>
                      <a:gd name="T35" fmla="*/ 133 h 186"/>
                      <a:gd name="T36" fmla="*/ 96 w 121"/>
                      <a:gd name="T37" fmla="*/ 145 h 186"/>
                      <a:gd name="T38" fmla="*/ 94 w 121"/>
                      <a:gd name="T39" fmla="*/ 158 h 186"/>
                      <a:gd name="T40" fmla="*/ 89 w 121"/>
                      <a:gd name="T41" fmla="*/ 186 h 186"/>
                      <a:gd name="T42" fmla="*/ 30 w 121"/>
                      <a:gd name="T43" fmla="*/ 185 h 18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1"/>
                      <a:gd name="T67" fmla="*/ 0 h 186"/>
                      <a:gd name="T68" fmla="*/ 121 w 121"/>
                      <a:gd name="T69" fmla="*/ 186 h 18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1" h="186">
                        <a:moveTo>
                          <a:pt x="30" y="185"/>
                        </a:moveTo>
                        <a:lnTo>
                          <a:pt x="30" y="157"/>
                        </a:lnTo>
                        <a:lnTo>
                          <a:pt x="20" y="136"/>
                        </a:lnTo>
                        <a:lnTo>
                          <a:pt x="10" y="121"/>
                        </a:lnTo>
                        <a:lnTo>
                          <a:pt x="6" y="97"/>
                        </a:lnTo>
                        <a:lnTo>
                          <a:pt x="1" y="86"/>
                        </a:lnTo>
                        <a:lnTo>
                          <a:pt x="0" y="58"/>
                        </a:lnTo>
                        <a:lnTo>
                          <a:pt x="10" y="26"/>
                        </a:lnTo>
                        <a:lnTo>
                          <a:pt x="29" y="9"/>
                        </a:lnTo>
                        <a:lnTo>
                          <a:pt x="50" y="0"/>
                        </a:lnTo>
                        <a:lnTo>
                          <a:pt x="75" y="0"/>
                        </a:lnTo>
                        <a:lnTo>
                          <a:pt x="98" y="8"/>
                        </a:lnTo>
                        <a:lnTo>
                          <a:pt x="114" y="24"/>
                        </a:lnTo>
                        <a:lnTo>
                          <a:pt x="121" y="47"/>
                        </a:lnTo>
                        <a:lnTo>
                          <a:pt x="121" y="71"/>
                        </a:lnTo>
                        <a:lnTo>
                          <a:pt x="118" y="94"/>
                        </a:lnTo>
                        <a:lnTo>
                          <a:pt x="106" y="122"/>
                        </a:lnTo>
                        <a:lnTo>
                          <a:pt x="101" y="133"/>
                        </a:lnTo>
                        <a:lnTo>
                          <a:pt x="96" y="145"/>
                        </a:lnTo>
                        <a:lnTo>
                          <a:pt x="94" y="158"/>
                        </a:lnTo>
                        <a:lnTo>
                          <a:pt x="89" y="186"/>
                        </a:lnTo>
                        <a:lnTo>
                          <a:pt x="30" y="185"/>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sp>
                <p:nvSpPr>
                  <p:cNvPr id="256" name="Freeform 108"/>
                  <p:cNvSpPr>
                    <a:spLocks/>
                  </p:cNvSpPr>
                  <p:nvPr/>
                </p:nvSpPr>
                <p:spPr bwMode="ltGray">
                  <a:xfrm>
                    <a:off x="-1652" y="576"/>
                    <a:ext cx="165" cy="145"/>
                  </a:xfrm>
                  <a:custGeom>
                    <a:avLst/>
                    <a:gdLst>
                      <a:gd name="T0" fmla="*/ 12 w 165"/>
                      <a:gd name="T1" fmla="*/ 125 h 145"/>
                      <a:gd name="T2" fmla="*/ 2 w 165"/>
                      <a:gd name="T3" fmla="*/ 111 h 145"/>
                      <a:gd name="T4" fmla="*/ 0 w 165"/>
                      <a:gd name="T5" fmla="*/ 95 h 145"/>
                      <a:gd name="T6" fmla="*/ 1 w 165"/>
                      <a:gd name="T7" fmla="*/ 75 h 145"/>
                      <a:gd name="T8" fmla="*/ 6 w 165"/>
                      <a:gd name="T9" fmla="*/ 59 h 145"/>
                      <a:gd name="T10" fmla="*/ 12 w 165"/>
                      <a:gd name="T11" fmla="*/ 41 h 145"/>
                      <a:gd name="T12" fmla="*/ 21 w 165"/>
                      <a:gd name="T13" fmla="*/ 32 h 145"/>
                      <a:gd name="T14" fmla="*/ 28 w 165"/>
                      <a:gd name="T15" fmla="*/ 18 h 145"/>
                      <a:gd name="T16" fmla="*/ 44 w 165"/>
                      <a:gd name="T17" fmla="*/ 6 h 145"/>
                      <a:gd name="T18" fmla="*/ 56 w 165"/>
                      <a:gd name="T19" fmla="*/ 2 h 145"/>
                      <a:gd name="T20" fmla="*/ 82 w 165"/>
                      <a:gd name="T21" fmla="*/ 0 h 145"/>
                      <a:gd name="T22" fmla="*/ 104 w 165"/>
                      <a:gd name="T23" fmla="*/ 1 h 145"/>
                      <a:gd name="T24" fmla="*/ 120 w 165"/>
                      <a:gd name="T25" fmla="*/ 6 h 145"/>
                      <a:gd name="T26" fmla="*/ 132 w 165"/>
                      <a:gd name="T27" fmla="*/ 11 h 145"/>
                      <a:gd name="T28" fmla="*/ 144 w 165"/>
                      <a:gd name="T29" fmla="*/ 24 h 145"/>
                      <a:gd name="T30" fmla="*/ 153 w 165"/>
                      <a:gd name="T31" fmla="*/ 36 h 145"/>
                      <a:gd name="T32" fmla="*/ 161 w 165"/>
                      <a:gd name="T33" fmla="*/ 48 h 145"/>
                      <a:gd name="T34" fmla="*/ 165 w 165"/>
                      <a:gd name="T35" fmla="*/ 63 h 145"/>
                      <a:gd name="T36" fmla="*/ 165 w 165"/>
                      <a:gd name="T37" fmla="*/ 89 h 145"/>
                      <a:gd name="T38" fmla="*/ 165 w 165"/>
                      <a:gd name="T39" fmla="*/ 107 h 145"/>
                      <a:gd name="T40" fmla="*/ 159 w 165"/>
                      <a:gd name="T41" fmla="*/ 115 h 145"/>
                      <a:gd name="T42" fmla="*/ 150 w 165"/>
                      <a:gd name="T43" fmla="*/ 127 h 145"/>
                      <a:gd name="T44" fmla="*/ 144 w 165"/>
                      <a:gd name="T45" fmla="*/ 136 h 145"/>
                      <a:gd name="T46" fmla="*/ 128 w 165"/>
                      <a:gd name="T47" fmla="*/ 141 h 145"/>
                      <a:gd name="T48" fmla="*/ 114 w 165"/>
                      <a:gd name="T49" fmla="*/ 145 h 145"/>
                      <a:gd name="T50" fmla="*/ 126 w 165"/>
                      <a:gd name="T51" fmla="*/ 127 h 145"/>
                      <a:gd name="T52" fmla="*/ 137 w 165"/>
                      <a:gd name="T53" fmla="*/ 96 h 145"/>
                      <a:gd name="T54" fmla="*/ 132 w 165"/>
                      <a:gd name="T55" fmla="*/ 60 h 145"/>
                      <a:gd name="T56" fmla="*/ 107 w 165"/>
                      <a:gd name="T57" fmla="*/ 68 h 145"/>
                      <a:gd name="T58" fmla="*/ 76 w 165"/>
                      <a:gd name="T59" fmla="*/ 68 h 145"/>
                      <a:gd name="T60" fmla="*/ 54 w 165"/>
                      <a:gd name="T61" fmla="*/ 66 h 145"/>
                      <a:gd name="T62" fmla="*/ 37 w 165"/>
                      <a:gd name="T63" fmla="*/ 62 h 145"/>
                      <a:gd name="T64" fmla="*/ 35 w 165"/>
                      <a:gd name="T65" fmla="*/ 72 h 145"/>
                      <a:gd name="T66" fmla="*/ 27 w 165"/>
                      <a:gd name="T67" fmla="*/ 98 h 145"/>
                      <a:gd name="T68" fmla="*/ 39 w 165"/>
                      <a:gd name="T69" fmla="*/ 128 h 145"/>
                      <a:gd name="T70" fmla="*/ 46 w 165"/>
                      <a:gd name="T71" fmla="*/ 145 h 145"/>
                      <a:gd name="T72" fmla="*/ 27 w 165"/>
                      <a:gd name="T73" fmla="*/ 135 h 145"/>
                      <a:gd name="T74" fmla="*/ 12 w 165"/>
                      <a:gd name="T75" fmla="*/ 125 h 14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5"/>
                      <a:gd name="T115" fmla="*/ 0 h 145"/>
                      <a:gd name="T116" fmla="*/ 165 w 165"/>
                      <a:gd name="T117" fmla="*/ 145 h 14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5" h="145">
                        <a:moveTo>
                          <a:pt x="12" y="125"/>
                        </a:moveTo>
                        <a:lnTo>
                          <a:pt x="2" y="111"/>
                        </a:lnTo>
                        <a:lnTo>
                          <a:pt x="0" y="95"/>
                        </a:lnTo>
                        <a:lnTo>
                          <a:pt x="1" y="75"/>
                        </a:lnTo>
                        <a:lnTo>
                          <a:pt x="6" y="59"/>
                        </a:lnTo>
                        <a:lnTo>
                          <a:pt x="12" y="41"/>
                        </a:lnTo>
                        <a:lnTo>
                          <a:pt x="21" y="32"/>
                        </a:lnTo>
                        <a:lnTo>
                          <a:pt x="28" y="18"/>
                        </a:lnTo>
                        <a:lnTo>
                          <a:pt x="44" y="6"/>
                        </a:lnTo>
                        <a:lnTo>
                          <a:pt x="56" y="2"/>
                        </a:lnTo>
                        <a:lnTo>
                          <a:pt x="82" y="0"/>
                        </a:lnTo>
                        <a:lnTo>
                          <a:pt x="104" y="1"/>
                        </a:lnTo>
                        <a:lnTo>
                          <a:pt x="120" y="6"/>
                        </a:lnTo>
                        <a:lnTo>
                          <a:pt x="132" y="11"/>
                        </a:lnTo>
                        <a:lnTo>
                          <a:pt x="144" y="24"/>
                        </a:lnTo>
                        <a:lnTo>
                          <a:pt x="153" y="36"/>
                        </a:lnTo>
                        <a:lnTo>
                          <a:pt x="161" y="48"/>
                        </a:lnTo>
                        <a:lnTo>
                          <a:pt x="165" y="63"/>
                        </a:lnTo>
                        <a:lnTo>
                          <a:pt x="165" y="89"/>
                        </a:lnTo>
                        <a:lnTo>
                          <a:pt x="165" y="107"/>
                        </a:lnTo>
                        <a:lnTo>
                          <a:pt x="159" y="115"/>
                        </a:lnTo>
                        <a:lnTo>
                          <a:pt x="150" y="127"/>
                        </a:lnTo>
                        <a:lnTo>
                          <a:pt x="144" y="136"/>
                        </a:lnTo>
                        <a:lnTo>
                          <a:pt x="128" y="141"/>
                        </a:lnTo>
                        <a:lnTo>
                          <a:pt x="114" y="145"/>
                        </a:lnTo>
                        <a:lnTo>
                          <a:pt x="126" y="127"/>
                        </a:lnTo>
                        <a:lnTo>
                          <a:pt x="137" y="96"/>
                        </a:lnTo>
                        <a:lnTo>
                          <a:pt x="132" y="60"/>
                        </a:lnTo>
                        <a:lnTo>
                          <a:pt x="107" y="68"/>
                        </a:lnTo>
                        <a:lnTo>
                          <a:pt x="76" y="68"/>
                        </a:lnTo>
                        <a:lnTo>
                          <a:pt x="54" y="66"/>
                        </a:lnTo>
                        <a:lnTo>
                          <a:pt x="37" y="62"/>
                        </a:lnTo>
                        <a:lnTo>
                          <a:pt x="35" y="72"/>
                        </a:lnTo>
                        <a:lnTo>
                          <a:pt x="27" y="98"/>
                        </a:lnTo>
                        <a:lnTo>
                          <a:pt x="39" y="128"/>
                        </a:lnTo>
                        <a:lnTo>
                          <a:pt x="46" y="145"/>
                        </a:lnTo>
                        <a:lnTo>
                          <a:pt x="27" y="135"/>
                        </a:lnTo>
                        <a:lnTo>
                          <a:pt x="12" y="125"/>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grpSp>
                <p:nvGrpSpPr>
                  <p:cNvPr id="257" name="Group 109"/>
                  <p:cNvGrpSpPr>
                    <a:grpSpLocks/>
                  </p:cNvGrpSpPr>
                  <p:nvPr/>
                </p:nvGrpSpPr>
                <p:grpSpPr bwMode="auto">
                  <a:xfrm>
                    <a:off x="-1634" y="680"/>
                    <a:ext cx="132" cy="23"/>
                    <a:chOff x="-1634" y="680"/>
                    <a:chExt cx="132" cy="23"/>
                  </a:xfrm>
                </p:grpSpPr>
                <p:sp>
                  <p:nvSpPr>
                    <p:cNvPr id="258" name="Oval 110"/>
                    <p:cNvSpPr>
                      <a:spLocks noChangeArrowheads="1"/>
                    </p:cNvSpPr>
                    <p:nvPr/>
                  </p:nvSpPr>
                  <p:spPr bwMode="ltGray">
                    <a:xfrm>
                      <a:off x="-1634" y="680"/>
                      <a:ext cx="18" cy="20"/>
                    </a:xfrm>
                    <a:prstGeom prst="ellipse">
                      <a:avLst/>
                    </a:pr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sp>
                  <p:nvSpPr>
                    <p:cNvPr id="259" name="Oval 111"/>
                    <p:cNvSpPr>
                      <a:spLocks noChangeArrowheads="1"/>
                    </p:cNvSpPr>
                    <p:nvPr/>
                  </p:nvSpPr>
                  <p:spPr bwMode="ltGray">
                    <a:xfrm>
                      <a:off x="-1520" y="683"/>
                      <a:ext cx="18" cy="20"/>
                    </a:xfrm>
                    <a:prstGeom prst="ellipse">
                      <a:avLst/>
                    </a:pr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grpSp>
            </p:grpSp>
          </p:grpSp>
        </p:grpSp>
        <p:grpSp>
          <p:nvGrpSpPr>
            <p:cNvPr id="198" name="Group 112"/>
            <p:cNvGrpSpPr>
              <a:grpSpLocks/>
            </p:cNvGrpSpPr>
            <p:nvPr/>
          </p:nvGrpSpPr>
          <p:grpSpPr bwMode="auto">
            <a:xfrm>
              <a:off x="-1264" y="460"/>
              <a:ext cx="370" cy="1532"/>
              <a:chOff x="-1264" y="460"/>
              <a:chExt cx="370" cy="1532"/>
            </a:xfrm>
          </p:grpSpPr>
          <p:grpSp>
            <p:nvGrpSpPr>
              <p:cNvPr id="229" name="Group 113"/>
              <p:cNvGrpSpPr>
                <a:grpSpLocks/>
              </p:cNvGrpSpPr>
              <p:nvPr/>
            </p:nvGrpSpPr>
            <p:grpSpPr bwMode="auto">
              <a:xfrm>
                <a:off x="-1264" y="1843"/>
                <a:ext cx="363" cy="149"/>
                <a:chOff x="-1264" y="1843"/>
                <a:chExt cx="363" cy="149"/>
              </a:xfrm>
            </p:grpSpPr>
            <p:sp>
              <p:nvSpPr>
                <p:cNvPr id="246" name="Freeform 114"/>
                <p:cNvSpPr>
                  <a:spLocks/>
                </p:cNvSpPr>
                <p:nvPr/>
              </p:nvSpPr>
              <p:spPr bwMode="ltGray">
                <a:xfrm>
                  <a:off x="-1264" y="1843"/>
                  <a:ext cx="151" cy="92"/>
                </a:xfrm>
                <a:custGeom>
                  <a:avLst/>
                  <a:gdLst>
                    <a:gd name="T0" fmla="*/ 76 w 151"/>
                    <a:gd name="T1" fmla="*/ 0 h 92"/>
                    <a:gd name="T2" fmla="*/ 52 w 151"/>
                    <a:gd name="T3" fmla="*/ 24 h 92"/>
                    <a:gd name="T4" fmla="*/ 31 w 151"/>
                    <a:gd name="T5" fmla="*/ 50 h 92"/>
                    <a:gd name="T6" fmla="*/ 3 w 151"/>
                    <a:gd name="T7" fmla="*/ 73 h 92"/>
                    <a:gd name="T8" fmla="*/ 0 w 151"/>
                    <a:gd name="T9" fmla="*/ 85 h 92"/>
                    <a:gd name="T10" fmla="*/ 27 w 151"/>
                    <a:gd name="T11" fmla="*/ 92 h 92"/>
                    <a:gd name="T12" fmla="*/ 55 w 151"/>
                    <a:gd name="T13" fmla="*/ 89 h 92"/>
                    <a:gd name="T14" fmla="*/ 90 w 151"/>
                    <a:gd name="T15" fmla="*/ 73 h 92"/>
                    <a:gd name="T16" fmla="*/ 115 w 151"/>
                    <a:gd name="T17" fmla="*/ 58 h 92"/>
                    <a:gd name="T18" fmla="*/ 142 w 151"/>
                    <a:gd name="T19" fmla="*/ 55 h 92"/>
                    <a:gd name="T20" fmla="*/ 151 w 151"/>
                    <a:gd name="T21" fmla="*/ 48 h 92"/>
                    <a:gd name="T22" fmla="*/ 148 w 151"/>
                    <a:gd name="T23" fmla="*/ 5 h 92"/>
                    <a:gd name="T24" fmla="*/ 76 w 151"/>
                    <a:gd name="T25" fmla="*/ 0 h 9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1"/>
                    <a:gd name="T40" fmla="*/ 0 h 92"/>
                    <a:gd name="T41" fmla="*/ 151 w 151"/>
                    <a:gd name="T42" fmla="*/ 92 h 9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1" h="92">
                      <a:moveTo>
                        <a:pt x="76" y="0"/>
                      </a:moveTo>
                      <a:lnTo>
                        <a:pt x="52" y="24"/>
                      </a:lnTo>
                      <a:lnTo>
                        <a:pt x="31" y="50"/>
                      </a:lnTo>
                      <a:lnTo>
                        <a:pt x="3" y="73"/>
                      </a:lnTo>
                      <a:lnTo>
                        <a:pt x="0" y="85"/>
                      </a:lnTo>
                      <a:lnTo>
                        <a:pt x="27" y="92"/>
                      </a:lnTo>
                      <a:lnTo>
                        <a:pt x="55" y="89"/>
                      </a:lnTo>
                      <a:lnTo>
                        <a:pt x="90" y="73"/>
                      </a:lnTo>
                      <a:lnTo>
                        <a:pt x="115" y="58"/>
                      </a:lnTo>
                      <a:lnTo>
                        <a:pt x="142" y="55"/>
                      </a:lnTo>
                      <a:lnTo>
                        <a:pt x="151" y="48"/>
                      </a:lnTo>
                      <a:lnTo>
                        <a:pt x="148" y="5"/>
                      </a:lnTo>
                      <a:lnTo>
                        <a:pt x="76" y="0"/>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sp>
              <p:nvSpPr>
                <p:cNvPr id="247" name="Freeform 115"/>
                <p:cNvSpPr>
                  <a:spLocks/>
                </p:cNvSpPr>
                <p:nvPr/>
              </p:nvSpPr>
              <p:spPr bwMode="ltGray">
                <a:xfrm>
                  <a:off x="-995" y="1890"/>
                  <a:ext cx="94" cy="102"/>
                </a:xfrm>
                <a:custGeom>
                  <a:avLst/>
                  <a:gdLst>
                    <a:gd name="T0" fmla="*/ 1 w 94"/>
                    <a:gd name="T1" fmla="*/ 2 h 102"/>
                    <a:gd name="T2" fmla="*/ 0 w 94"/>
                    <a:gd name="T3" fmla="*/ 28 h 102"/>
                    <a:gd name="T4" fmla="*/ 13 w 94"/>
                    <a:gd name="T5" fmla="*/ 42 h 102"/>
                    <a:gd name="T6" fmla="*/ 16 w 94"/>
                    <a:gd name="T7" fmla="*/ 65 h 102"/>
                    <a:gd name="T8" fmla="*/ 37 w 94"/>
                    <a:gd name="T9" fmla="*/ 87 h 102"/>
                    <a:gd name="T10" fmla="*/ 55 w 94"/>
                    <a:gd name="T11" fmla="*/ 99 h 102"/>
                    <a:gd name="T12" fmla="*/ 71 w 94"/>
                    <a:gd name="T13" fmla="*/ 102 h 102"/>
                    <a:gd name="T14" fmla="*/ 86 w 94"/>
                    <a:gd name="T15" fmla="*/ 101 h 102"/>
                    <a:gd name="T16" fmla="*/ 94 w 94"/>
                    <a:gd name="T17" fmla="*/ 85 h 102"/>
                    <a:gd name="T18" fmla="*/ 92 w 94"/>
                    <a:gd name="T19" fmla="*/ 62 h 102"/>
                    <a:gd name="T20" fmla="*/ 76 w 94"/>
                    <a:gd name="T21" fmla="*/ 36 h 102"/>
                    <a:gd name="T22" fmla="*/ 53 w 94"/>
                    <a:gd name="T23" fmla="*/ 8 h 102"/>
                    <a:gd name="T24" fmla="*/ 52 w 94"/>
                    <a:gd name="T25" fmla="*/ 0 h 102"/>
                    <a:gd name="T26" fmla="*/ 1 w 94"/>
                    <a:gd name="T27" fmla="*/ 2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4"/>
                    <a:gd name="T43" fmla="*/ 0 h 102"/>
                    <a:gd name="T44" fmla="*/ 94 w 94"/>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4" h="102">
                      <a:moveTo>
                        <a:pt x="1" y="2"/>
                      </a:moveTo>
                      <a:lnTo>
                        <a:pt x="0" y="28"/>
                      </a:lnTo>
                      <a:lnTo>
                        <a:pt x="13" y="42"/>
                      </a:lnTo>
                      <a:lnTo>
                        <a:pt x="16" y="65"/>
                      </a:lnTo>
                      <a:lnTo>
                        <a:pt x="37" y="87"/>
                      </a:lnTo>
                      <a:lnTo>
                        <a:pt x="55" y="99"/>
                      </a:lnTo>
                      <a:lnTo>
                        <a:pt x="71" y="102"/>
                      </a:lnTo>
                      <a:lnTo>
                        <a:pt x="86" y="101"/>
                      </a:lnTo>
                      <a:lnTo>
                        <a:pt x="94" y="85"/>
                      </a:lnTo>
                      <a:lnTo>
                        <a:pt x="92" y="62"/>
                      </a:lnTo>
                      <a:lnTo>
                        <a:pt x="76" y="36"/>
                      </a:lnTo>
                      <a:lnTo>
                        <a:pt x="53" y="8"/>
                      </a:lnTo>
                      <a:lnTo>
                        <a:pt x="52" y="0"/>
                      </a:lnTo>
                      <a:lnTo>
                        <a:pt x="1" y="2"/>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grpSp>
          <p:grpSp>
            <p:nvGrpSpPr>
              <p:cNvPr id="230" name="Group 116"/>
              <p:cNvGrpSpPr>
                <a:grpSpLocks/>
              </p:cNvGrpSpPr>
              <p:nvPr/>
            </p:nvGrpSpPr>
            <p:grpSpPr bwMode="auto">
              <a:xfrm>
                <a:off x="-1227" y="653"/>
                <a:ext cx="333" cy="1239"/>
                <a:chOff x="-1227" y="653"/>
                <a:chExt cx="333" cy="1239"/>
              </a:xfrm>
            </p:grpSpPr>
            <p:sp>
              <p:nvSpPr>
                <p:cNvPr id="235" name="Freeform 117"/>
                <p:cNvSpPr>
                  <a:spLocks/>
                </p:cNvSpPr>
                <p:nvPr/>
              </p:nvSpPr>
              <p:spPr bwMode="ltGray">
                <a:xfrm>
                  <a:off x="-1219" y="1294"/>
                  <a:ext cx="45" cy="114"/>
                </a:xfrm>
                <a:custGeom>
                  <a:avLst/>
                  <a:gdLst>
                    <a:gd name="T0" fmla="*/ 2 w 45"/>
                    <a:gd name="T1" fmla="*/ 1 h 114"/>
                    <a:gd name="T2" fmla="*/ 0 w 45"/>
                    <a:gd name="T3" fmla="*/ 64 h 114"/>
                    <a:gd name="T4" fmla="*/ 23 w 45"/>
                    <a:gd name="T5" fmla="*/ 102 h 114"/>
                    <a:gd name="T6" fmla="*/ 35 w 45"/>
                    <a:gd name="T7" fmla="*/ 114 h 114"/>
                    <a:gd name="T8" fmla="*/ 33 w 45"/>
                    <a:gd name="T9" fmla="*/ 60 h 114"/>
                    <a:gd name="T10" fmla="*/ 38 w 45"/>
                    <a:gd name="T11" fmla="*/ 66 h 114"/>
                    <a:gd name="T12" fmla="*/ 44 w 45"/>
                    <a:gd name="T13" fmla="*/ 83 h 114"/>
                    <a:gd name="T14" fmla="*/ 45 w 45"/>
                    <a:gd name="T15" fmla="*/ 64 h 114"/>
                    <a:gd name="T16" fmla="*/ 39 w 45"/>
                    <a:gd name="T17" fmla="*/ 30 h 114"/>
                    <a:gd name="T18" fmla="*/ 24 w 45"/>
                    <a:gd name="T19" fmla="*/ 0 h 114"/>
                    <a:gd name="T20" fmla="*/ 2 w 45"/>
                    <a:gd name="T21" fmla="*/ 1 h 1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5"/>
                    <a:gd name="T34" fmla="*/ 0 h 114"/>
                    <a:gd name="T35" fmla="*/ 45 w 45"/>
                    <a:gd name="T36" fmla="*/ 114 h 1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5" h="114">
                      <a:moveTo>
                        <a:pt x="2" y="1"/>
                      </a:moveTo>
                      <a:lnTo>
                        <a:pt x="0" y="64"/>
                      </a:lnTo>
                      <a:lnTo>
                        <a:pt x="23" y="102"/>
                      </a:lnTo>
                      <a:lnTo>
                        <a:pt x="35" y="114"/>
                      </a:lnTo>
                      <a:lnTo>
                        <a:pt x="33" y="60"/>
                      </a:lnTo>
                      <a:lnTo>
                        <a:pt x="38" y="66"/>
                      </a:lnTo>
                      <a:lnTo>
                        <a:pt x="44" y="83"/>
                      </a:lnTo>
                      <a:lnTo>
                        <a:pt x="45" y="64"/>
                      </a:lnTo>
                      <a:lnTo>
                        <a:pt x="39" y="30"/>
                      </a:lnTo>
                      <a:lnTo>
                        <a:pt x="24" y="0"/>
                      </a:lnTo>
                      <a:lnTo>
                        <a:pt x="2" y="1"/>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sp>
              <p:nvSpPr>
                <p:cNvPr id="236" name="Freeform 118"/>
                <p:cNvSpPr>
                  <a:spLocks/>
                </p:cNvSpPr>
                <p:nvPr/>
              </p:nvSpPr>
              <p:spPr bwMode="ltGray">
                <a:xfrm>
                  <a:off x="-1197" y="1044"/>
                  <a:ext cx="261" cy="848"/>
                </a:xfrm>
                <a:custGeom>
                  <a:avLst/>
                  <a:gdLst>
                    <a:gd name="T0" fmla="*/ 3 w 261"/>
                    <a:gd name="T1" fmla="*/ 0 h 848"/>
                    <a:gd name="T2" fmla="*/ 0 w 261"/>
                    <a:gd name="T3" fmla="*/ 460 h 848"/>
                    <a:gd name="T4" fmla="*/ 3 w 261"/>
                    <a:gd name="T5" fmla="*/ 803 h 848"/>
                    <a:gd name="T6" fmla="*/ 81 w 261"/>
                    <a:gd name="T7" fmla="*/ 818 h 848"/>
                    <a:gd name="T8" fmla="*/ 93 w 261"/>
                    <a:gd name="T9" fmla="*/ 538 h 848"/>
                    <a:gd name="T10" fmla="*/ 84 w 261"/>
                    <a:gd name="T11" fmla="*/ 511 h 848"/>
                    <a:gd name="T12" fmla="*/ 93 w 261"/>
                    <a:gd name="T13" fmla="*/ 496 h 848"/>
                    <a:gd name="T14" fmla="*/ 93 w 261"/>
                    <a:gd name="T15" fmla="*/ 325 h 848"/>
                    <a:gd name="T16" fmla="*/ 111 w 261"/>
                    <a:gd name="T17" fmla="*/ 379 h 848"/>
                    <a:gd name="T18" fmla="*/ 156 w 261"/>
                    <a:gd name="T19" fmla="*/ 611 h 848"/>
                    <a:gd name="T20" fmla="*/ 195 w 261"/>
                    <a:gd name="T21" fmla="*/ 848 h 848"/>
                    <a:gd name="T22" fmla="*/ 261 w 261"/>
                    <a:gd name="T23" fmla="*/ 848 h 848"/>
                    <a:gd name="T24" fmla="*/ 231 w 261"/>
                    <a:gd name="T25" fmla="*/ 529 h 848"/>
                    <a:gd name="T26" fmla="*/ 219 w 261"/>
                    <a:gd name="T27" fmla="*/ 260 h 848"/>
                    <a:gd name="T28" fmla="*/ 225 w 261"/>
                    <a:gd name="T29" fmla="*/ 6 h 848"/>
                    <a:gd name="T30" fmla="*/ 3 w 261"/>
                    <a:gd name="T31" fmla="*/ 0 h 84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61"/>
                    <a:gd name="T49" fmla="*/ 0 h 848"/>
                    <a:gd name="T50" fmla="*/ 261 w 261"/>
                    <a:gd name="T51" fmla="*/ 848 h 84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61" h="848">
                      <a:moveTo>
                        <a:pt x="3" y="0"/>
                      </a:moveTo>
                      <a:lnTo>
                        <a:pt x="0" y="460"/>
                      </a:lnTo>
                      <a:lnTo>
                        <a:pt x="3" y="803"/>
                      </a:lnTo>
                      <a:lnTo>
                        <a:pt x="81" y="818"/>
                      </a:lnTo>
                      <a:lnTo>
                        <a:pt x="93" y="538"/>
                      </a:lnTo>
                      <a:lnTo>
                        <a:pt x="84" y="511"/>
                      </a:lnTo>
                      <a:lnTo>
                        <a:pt x="93" y="496"/>
                      </a:lnTo>
                      <a:lnTo>
                        <a:pt x="93" y="325"/>
                      </a:lnTo>
                      <a:lnTo>
                        <a:pt x="111" y="379"/>
                      </a:lnTo>
                      <a:lnTo>
                        <a:pt x="156" y="611"/>
                      </a:lnTo>
                      <a:lnTo>
                        <a:pt x="195" y="848"/>
                      </a:lnTo>
                      <a:lnTo>
                        <a:pt x="261" y="848"/>
                      </a:lnTo>
                      <a:lnTo>
                        <a:pt x="231" y="529"/>
                      </a:lnTo>
                      <a:lnTo>
                        <a:pt x="219" y="260"/>
                      </a:lnTo>
                      <a:lnTo>
                        <a:pt x="225" y="6"/>
                      </a:lnTo>
                      <a:lnTo>
                        <a:pt x="3" y="0"/>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sp>
              <p:nvSpPr>
                <p:cNvPr id="237" name="Freeform 119"/>
                <p:cNvSpPr>
                  <a:spLocks/>
                </p:cNvSpPr>
                <p:nvPr/>
              </p:nvSpPr>
              <p:spPr bwMode="ltGray">
                <a:xfrm>
                  <a:off x="-1227" y="653"/>
                  <a:ext cx="333" cy="648"/>
                </a:xfrm>
                <a:custGeom>
                  <a:avLst/>
                  <a:gdLst>
                    <a:gd name="T0" fmla="*/ 110 w 333"/>
                    <a:gd name="T1" fmla="*/ 8 h 648"/>
                    <a:gd name="T2" fmla="*/ 9 w 333"/>
                    <a:gd name="T3" fmla="*/ 87 h 648"/>
                    <a:gd name="T4" fmla="*/ 2 w 333"/>
                    <a:gd name="T5" fmla="*/ 295 h 648"/>
                    <a:gd name="T6" fmla="*/ 0 w 333"/>
                    <a:gd name="T7" fmla="*/ 400 h 648"/>
                    <a:gd name="T8" fmla="*/ 6 w 333"/>
                    <a:gd name="T9" fmla="*/ 648 h 648"/>
                    <a:gd name="T10" fmla="*/ 29 w 333"/>
                    <a:gd name="T11" fmla="*/ 648 h 648"/>
                    <a:gd name="T12" fmla="*/ 40 w 333"/>
                    <a:gd name="T13" fmla="*/ 394 h 648"/>
                    <a:gd name="T14" fmla="*/ 253 w 333"/>
                    <a:gd name="T15" fmla="*/ 394 h 648"/>
                    <a:gd name="T16" fmla="*/ 259 w 333"/>
                    <a:gd name="T17" fmla="*/ 330 h 648"/>
                    <a:gd name="T18" fmla="*/ 266 w 333"/>
                    <a:gd name="T19" fmla="*/ 375 h 648"/>
                    <a:gd name="T20" fmla="*/ 251 w 333"/>
                    <a:gd name="T21" fmla="*/ 471 h 648"/>
                    <a:gd name="T22" fmla="*/ 237 w 333"/>
                    <a:gd name="T23" fmla="*/ 615 h 648"/>
                    <a:gd name="T24" fmla="*/ 273 w 333"/>
                    <a:gd name="T25" fmla="*/ 624 h 648"/>
                    <a:gd name="T26" fmla="*/ 333 w 333"/>
                    <a:gd name="T27" fmla="*/ 371 h 648"/>
                    <a:gd name="T28" fmla="*/ 295 w 333"/>
                    <a:gd name="T29" fmla="*/ 73 h 648"/>
                    <a:gd name="T30" fmla="*/ 181 w 333"/>
                    <a:gd name="T31" fmla="*/ 0 h 648"/>
                    <a:gd name="T32" fmla="*/ 131 w 333"/>
                    <a:gd name="T33" fmla="*/ 33 h 648"/>
                    <a:gd name="T34" fmla="*/ 110 w 333"/>
                    <a:gd name="T35" fmla="*/ 8 h 64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3"/>
                    <a:gd name="T55" fmla="*/ 0 h 648"/>
                    <a:gd name="T56" fmla="*/ 333 w 333"/>
                    <a:gd name="T57" fmla="*/ 648 h 64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3" h="648">
                      <a:moveTo>
                        <a:pt x="110" y="8"/>
                      </a:moveTo>
                      <a:lnTo>
                        <a:pt x="9" y="87"/>
                      </a:lnTo>
                      <a:lnTo>
                        <a:pt x="2" y="295"/>
                      </a:lnTo>
                      <a:lnTo>
                        <a:pt x="0" y="400"/>
                      </a:lnTo>
                      <a:lnTo>
                        <a:pt x="6" y="648"/>
                      </a:lnTo>
                      <a:lnTo>
                        <a:pt x="29" y="648"/>
                      </a:lnTo>
                      <a:lnTo>
                        <a:pt x="40" y="394"/>
                      </a:lnTo>
                      <a:lnTo>
                        <a:pt x="253" y="394"/>
                      </a:lnTo>
                      <a:lnTo>
                        <a:pt x="259" y="330"/>
                      </a:lnTo>
                      <a:lnTo>
                        <a:pt x="266" y="375"/>
                      </a:lnTo>
                      <a:lnTo>
                        <a:pt x="251" y="471"/>
                      </a:lnTo>
                      <a:lnTo>
                        <a:pt x="237" y="615"/>
                      </a:lnTo>
                      <a:lnTo>
                        <a:pt x="273" y="624"/>
                      </a:lnTo>
                      <a:lnTo>
                        <a:pt x="333" y="371"/>
                      </a:lnTo>
                      <a:lnTo>
                        <a:pt x="295" y="73"/>
                      </a:lnTo>
                      <a:lnTo>
                        <a:pt x="181" y="0"/>
                      </a:lnTo>
                      <a:lnTo>
                        <a:pt x="131" y="33"/>
                      </a:lnTo>
                      <a:lnTo>
                        <a:pt x="110" y="8"/>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sp>
              <p:nvSpPr>
                <p:cNvPr id="238" name="Freeform 120"/>
                <p:cNvSpPr>
                  <a:spLocks/>
                </p:cNvSpPr>
                <p:nvPr/>
              </p:nvSpPr>
              <p:spPr bwMode="ltGray">
                <a:xfrm>
                  <a:off x="-1000" y="1264"/>
                  <a:ext cx="50" cy="108"/>
                </a:xfrm>
                <a:custGeom>
                  <a:avLst/>
                  <a:gdLst>
                    <a:gd name="T0" fmla="*/ 15 w 50"/>
                    <a:gd name="T1" fmla="*/ 0 h 108"/>
                    <a:gd name="T2" fmla="*/ 0 w 50"/>
                    <a:gd name="T3" fmla="*/ 57 h 108"/>
                    <a:gd name="T4" fmla="*/ 26 w 50"/>
                    <a:gd name="T5" fmla="*/ 108 h 108"/>
                    <a:gd name="T6" fmla="*/ 35 w 50"/>
                    <a:gd name="T7" fmla="*/ 102 h 108"/>
                    <a:gd name="T8" fmla="*/ 50 w 50"/>
                    <a:gd name="T9" fmla="*/ 97 h 108"/>
                    <a:gd name="T10" fmla="*/ 44 w 50"/>
                    <a:gd name="T11" fmla="*/ 81 h 108"/>
                    <a:gd name="T12" fmla="*/ 42 w 50"/>
                    <a:gd name="T13" fmla="*/ 61 h 108"/>
                    <a:gd name="T14" fmla="*/ 50 w 50"/>
                    <a:gd name="T15" fmla="*/ 40 h 108"/>
                    <a:gd name="T16" fmla="*/ 44 w 50"/>
                    <a:gd name="T17" fmla="*/ 4 h 108"/>
                    <a:gd name="T18" fmla="*/ 15 w 50"/>
                    <a:gd name="T19" fmla="*/ 0 h 10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0"/>
                    <a:gd name="T31" fmla="*/ 0 h 108"/>
                    <a:gd name="T32" fmla="*/ 50 w 50"/>
                    <a:gd name="T33" fmla="*/ 108 h 10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0" h="108">
                      <a:moveTo>
                        <a:pt x="15" y="0"/>
                      </a:moveTo>
                      <a:lnTo>
                        <a:pt x="0" y="57"/>
                      </a:lnTo>
                      <a:lnTo>
                        <a:pt x="26" y="108"/>
                      </a:lnTo>
                      <a:lnTo>
                        <a:pt x="35" y="102"/>
                      </a:lnTo>
                      <a:lnTo>
                        <a:pt x="50" y="97"/>
                      </a:lnTo>
                      <a:lnTo>
                        <a:pt x="44" y="81"/>
                      </a:lnTo>
                      <a:lnTo>
                        <a:pt x="42" y="61"/>
                      </a:lnTo>
                      <a:lnTo>
                        <a:pt x="50" y="40"/>
                      </a:lnTo>
                      <a:lnTo>
                        <a:pt x="44" y="4"/>
                      </a:lnTo>
                      <a:lnTo>
                        <a:pt x="15" y="0"/>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grpSp>
              <p:nvGrpSpPr>
                <p:cNvPr id="239" name="Group 121"/>
                <p:cNvGrpSpPr>
                  <a:grpSpLocks/>
                </p:cNvGrpSpPr>
                <p:nvPr/>
              </p:nvGrpSpPr>
              <p:grpSpPr bwMode="auto">
                <a:xfrm>
                  <a:off x="-1187" y="666"/>
                  <a:ext cx="215" cy="403"/>
                  <a:chOff x="-1187" y="666"/>
                  <a:chExt cx="215" cy="403"/>
                </a:xfrm>
              </p:grpSpPr>
              <p:grpSp>
                <p:nvGrpSpPr>
                  <p:cNvPr id="240" name="Group 122"/>
                  <p:cNvGrpSpPr>
                    <a:grpSpLocks/>
                  </p:cNvGrpSpPr>
                  <p:nvPr/>
                </p:nvGrpSpPr>
                <p:grpSpPr bwMode="auto">
                  <a:xfrm>
                    <a:off x="-1187" y="666"/>
                    <a:ext cx="215" cy="403"/>
                    <a:chOff x="-1187" y="666"/>
                    <a:chExt cx="215" cy="403"/>
                  </a:xfrm>
                </p:grpSpPr>
                <p:grpSp>
                  <p:nvGrpSpPr>
                    <p:cNvPr id="242" name="Group 123"/>
                    <p:cNvGrpSpPr>
                      <a:grpSpLocks/>
                    </p:cNvGrpSpPr>
                    <p:nvPr/>
                  </p:nvGrpSpPr>
                  <p:grpSpPr bwMode="auto">
                    <a:xfrm>
                      <a:off x="-1187" y="1049"/>
                      <a:ext cx="215" cy="20"/>
                      <a:chOff x="-1187" y="1049"/>
                      <a:chExt cx="215" cy="20"/>
                    </a:xfrm>
                  </p:grpSpPr>
                  <p:sp>
                    <p:nvSpPr>
                      <p:cNvPr id="244" name="Line 124"/>
                      <p:cNvSpPr>
                        <a:spLocks noChangeShapeType="1"/>
                      </p:cNvSpPr>
                      <p:nvPr/>
                    </p:nvSpPr>
                    <p:spPr bwMode="ltGray">
                      <a:xfrm>
                        <a:off x="-1187" y="1068"/>
                        <a:ext cx="215" cy="1"/>
                      </a:xfrm>
                      <a:prstGeom prst="line">
                        <a:avLst/>
                      </a:prstGeom>
                      <a:noFill/>
                      <a:ln w="12700">
                        <a:solidFill>
                          <a:schemeClr val="tx1"/>
                        </a:solidFill>
                        <a:round/>
                        <a:headEnd/>
                        <a:tailEnd/>
                      </a:ln>
                      <a:extLst>
                        <a:ext uri="{909E8E84-426E-40DD-AFC4-6F175D3DCCD1}">
                          <a14:hiddenFill xmlns:a14="http://schemas.microsoft.com/office/drawing/2010/main" xmlns="">
                            <a:noFill/>
                          </a14:hiddenFill>
                        </a:ext>
                      </a:extLst>
                    </p:spPr>
                    <p:txBody>
                      <a:bodyPr/>
                      <a:lstStyle/>
                      <a:p>
                        <a:endParaRPr lang="es-ES_tradnl"/>
                      </a:p>
                    </p:txBody>
                  </p:sp>
                  <p:sp>
                    <p:nvSpPr>
                      <p:cNvPr id="245" name="Line 125"/>
                      <p:cNvSpPr>
                        <a:spLocks noChangeShapeType="1"/>
                      </p:cNvSpPr>
                      <p:nvPr/>
                    </p:nvSpPr>
                    <p:spPr bwMode="ltGray">
                      <a:xfrm>
                        <a:off x="-1187" y="1049"/>
                        <a:ext cx="215" cy="1"/>
                      </a:xfrm>
                      <a:prstGeom prst="line">
                        <a:avLst/>
                      </a:prstGeom>
                      <a:noFill/>
                      <a:ln w="12700">
                        <a:solidFill>
                          <a:schemeClr val="tx1"/>
                        </a:solidFill>
                        <a:round/>
                        <a:headEnd/>
                        <a:tailEnd/>
                      </a:ln>
                      <a:extLst>
                        <a:ext uri="{909E8E84-426E-40DD-AFC4-6F175D3DCCD1}">
                          <a14:hiddenFill xmlns:a14="http://schemas.microsoft.com/office/drawing/2010/main" xmlns="">
                            <a:noFill/>
                          </a14:hiddenFill>
                        </a:ext>
                      </a:extLst>
                    </p:spPr>
                    <p:txBody>
                      <a:bodyPr/>
                      <a:lstStyle/>
                      <a:p>
                        <a:endParaRPr lang="es-ES_tradnl"/>
                      </a:p>
                    </p:txBody>
                  </p:sp>
                </p:grpSp>
                <p:sp>
                  <p:nvSpPr>
                    <p:cNvPr id="243" name="Freeform 126"/>
                    <p:cNvSpPr>
                      <a:spLocks/>
                    </p:cNvSpPr>
                    <p:nvPr/>
                  </p:nvSpPr>
                  <p:spPr bwMode="ltGray">
                    <a:xfrm>
                      <a:off x="-1128" y="666"/>
                      <a:ext cx="98" cy="58"/>
                    </a:xfrm>
                    <a:custGeom>
                      <a:avLst/>
                      <a:gdLst>
                        <a:gd name="T0" fmla="*/ 0 w 98"/>
                        <a:gd name="T1" fmla="*/ 7 h 58"/>
                        <a:gd name="T2" fmla="*/ 4 w 98"/>
                        <a:gd name="T3" fmla="*/ 58 h 58"/>
                        <a:gd name="T4" fmla="*/ 31 w 98"/>
                        <a:gd name="T5" fmla="*/ 21 h 58"/>
                        <a:gd name="T6" fmla="*/ 50 w 98"/>
                        <a:gd name="T7" fmla="*/ 57 h 58"/>
                        <a:gd name="T8" fmla="*/ 98 w 98"/>
                        <a:gd name="T9" fmla="*/ 0 h 58"/>
                        <a:gd name="T10" fmla="*/ 0 60000 65536"/>
                        <a:gd name="T11" fmla="*/ 0 60000 65536"/>
                        <a:gd name="T12" fmla="*/ 0 60000 65536"/>
                        <a:gd name="T13" fmla="*/ 0 60000 65536"/>
                        <a:gd name="T14" fmla="*/ 0 60000 65536"/>
                        <a:gd name="T15" fmla="*/ 0 w 98"/>
                        <a:gd name="T16" fmla="*/ 0 h 58"/>
                        <a:gd name="T17" fmla="*/ 98 w 98"/>
                        <a:gd name="T18" fmla="*/ 58 h 58"/>
                      </a:gdLst>
                      <a:ahLst/>
                      <a:cxnLst>
                        <a:cxn ang="T10">
                          <a:pos x="T0" y="T1"/>
                        </a:cxn>
                        <a:cxn ang="T11">
                          <a:pos x="T2" y="T3"/>
                        </a:cxn>
                        <a:cxn ang="T12">
                          <a:pos x="T4" y="T5"/>
                        </a:cxn>
                        <a:cxn ang="T13">
                          <a:pos x="T6" y="T7"/>
                        </a:cxn>
                        <a:cxn ang="T14">
                          <a:pos x="T8" y="T9"/>
                        </a:cxn>
                      </a:cxnLst>
                      <a:rect l="T15" t="T16" r="T17" b="T18"/>
                      <a:pathLst>
                        <a:path w="98" h="58">
                          <a:moveTo>
                            <a:pt x="0" y="7"/>
                          </a:moveTo>
                          <a:lnTo>
                            <a:pt x="4" y="58"/>
                          </a:lnTo>
                          <a:lnTo>
                            <a:pt x="31" y="21"/>
                          </a:lnTo>
                          <a:lnTo>
                            <a:pt x="50" y="57"/>
                          </a:lnTo>
                          <a:lnTo>
                            <a:pt x="98" y="0"/>
                          </a:lnTo>
                        </a:path>
                      </a:pathLst>
                    </a:custGeom>
                    <a:solidFill>
                      <a:srgbClr val="DDDDDD"/>
                    </a:solidFill>
                    <a:ln w="12700">
                      <a:solidFill>
                        <a:schemeClr val="tx1"/>
                      </a:solidFill>
                      <a:round/>
                      <a:headEnd/>
                      <a:tailEnd/>
                    </a:ln>
                  </p:spPr>
                  <p:txBody>
                    <a:bodyPr/>
                    <a:lstStyle/>
                    <a:p>
                      <a:pPr eaLnBrk="1" hangingPunct="1"/>
                      <a:endParaRPr lang="es-ES" sz="1800">
                        <a:latin typeface="Arial Unicode MS" pitchFamily="34" charset="-128"/>
                      </a:endParaRPr>
                    </a:p>
                  </p:txBody>
                </p:sp>
              </p:grpSp>
              <p:sp>
                <p:nvSpPr>
                  <p:cNvPr id="241" name="Line 127"/>
                  <p:cNvSpPr>
                    <a:spLocks noChangeShapeType="1"/>
                  </p:cNvSpPr>
                  <p:nvPr/>
                </p:nvSpPr>
                <p:spPr bwMode="ltGray">
                  <a:xfrm>
                    <a:off x="-1098" y="694"/>
                    <a:ext cx="1" cy="375"/>
                  </a:xfrm>
                  <a:prstGeom prst="line">
                    <a:avLst/>
                  </a:prstGeom>
                  <a:noFill/>
                  <a:ln w="12700">
                    <a:solidFill>
                      <a:schemeClr val="tx1"/>
                    </a:solidFill>
                    <a:round/>
                    <a:headEnd/>
                    <a:tailEnd/>
                  </a:ln>
                  <a:extLst>
                    <a:ext uri="{909E8E84-426E-40DD-AFC4-6F175D3DCCD1}">
                      <a14:hiddenFill xmlns:a14="http://schemas.microsoft.com/office/drawing/2010/main" xmlns="">
                        <a:noFill/>
                      </a14:hiddenFill>
                    </a:ext>
                  </a:extLst>
                </p:spPr>
                <p:txBody>
                  <a:bodyPr/>
                  <a:lstStyle/>
                  <a:p>
                    <a:endParaRPr lang="es-ES_tradnl"/>
                  </a:p>
                </p:txBody>
              </p:sp>
            </p:grpSp>
          </p:grpSp>
          <p:grpSp>
            <p:nvGrpSpPr>
              <p:cNvPr id="231" name="Group 128"/>
              <p:cNvGrpSpPr>
                <a:grpSpLocks/>
              </p:cNvGrpSpPr>
              <p:nvPr/>
            </p:nvGrpSpPr>
            <p:grpSpPr bwMode="auto">
              <a:xfrm>
                <a:off x="-1159" y="460"/>
                <a:ext cx="139" cy="227"/>
                <a:chOff x="-1159" y="460"/>
                <a:chExt cx="139" cy="227"/>
              </a:xfrm>
            </p:grpSpPr>
            <p:sp>
              <p:nvSpPr>
                <p:cNvPr id="232" name="Freeform 129"/>
                <p:cNvSpPr>
                  <a:spLocks/>
                </p:cNvSpPr>
                <p:nvPr/>
              </p:nvSpPr>
              <p:spPr bwMode="ltGray">
                <a:xfrm>
                  <a:off x="-1155" y="471"/>
                  <a:ext cx="129" cy="216"/>
                </a:xfrm>
                <a:custGeom>
                  <a:avLst/>
                  <a:gdLst>
                    <a:gd name="T0" fmla="*/ 5 w 129"/>
                    <a:gd name="T1" fmla="*/ 39 h 216"/>
                    <a:gd name="T2" fmla="*/ 2 w 129"/>
                    <a:gd name="T3" fmla="*/ 61 h 216"/>
                    <a:gd name="T4" fmla="*/ 1 w 129"/>
                    <a:gd name="T5" fmla="*/ 69 h 216"/>
                    <a:gd name="T6" fmla="*/ 5 w 129"/>
                    <a:gd name="T7" fmla="*/ 77 h 216"/>
                    <a:gd name="T8" fmla="*/ 0 w 129"/>
                    <a:gd name="T9" fmla="*/ 93 h 216"/>
                    <a:gd name="T10" fmla="*/ 3 w 129"/>
                    <a:gd name="T11" fmla="*/ 118 h 216"/>
                    <a:gd name="T12" fmla="*/ 6 w 129"/>
                    <a:gd name="T13" fmla="*/ 131 h 216"/>
                    <a:gd name="T14" fmla="*/ 9 w 129"/>
                    <a:gd name="T15" fmla="*/ 143 h 216"/>
                    <a:gd name="T16" fmla="*/ 13 w 129"/>
                    <a:gd name="T17" fmla="*/ 155 h 216"/>
                    <a:gd name="T18" fmla="*/ 18 w 129"/>
                    <a:gd name="T19" fmla="*/ 168 h 216"/>
                    <a:gd name="T20" fmla="*/ 28 w 129"/>
                    <a:gd name="T21" fmla="*/ 171 h 216"/>
                    <a:gd name="T22" fmla="*/ 38 w 129"/>
                    <a:gd name="T23" fmla="*/ 174 h 216"/>
                    <a:gd name="T24" fmla="*/ 38 w 129"/>
                    <a:gd name="T25" fmla="*/ 184 h 216"/>
                    <a:gd name="T26" fmla="*/ 37 w 129"/>
                    <a:gd name="T27" fmla="*/ 191 h 216"/>
                    <a:gd name="T28" fmla="*/ 57 w 129"/>
                    <a:gd name="T29" fmla="*/ 216 h 216"/>
                    <a:gd name="T30" fmla="*/ 110 w 129"/>
                    <a:gd name="T31" fmla="*/ 184 h 216"/>
                    <a:gd name="T32" fmla="*/ 112 w 129"/>
                    <a:gd name="T33" fmla="*/ 124 h 216"/>
                    <a:gd name="T34" fmla="*/ 119 w 129"/>
                    <a:gd name="T35" fmla="*/ 107 h 216"/>
                    <a:gd name="T36" fmla="*/ 123 w 129"/>
                    <a:gd name="T37" fmla="*/ 94 h 216"/>
                    <a:gd name="T38" fmla="*/ 127 w 129"/>
                    <a:gd name="T39" fmla="*/ 78 h 216"/>
                    <a:gd name="T40" fmla="*/ 129 w 129"/>
                    <a:gd name="T41" fmla="*/ 64 h 216"/>
                    <a:gd name="T42" fmla="*/ 128 w 129"/>
                    <a:gd name="T43" fmla="*/ 51 h 216"/>
                    <a:gd name="T44" fmla="*/ 126 w 129"/>
                    <a:gd name="T45" fmla="*/ 37 h 216"/>
                    <a:gd name="T46" fmla="*/ 123 w 129"/>
                    <a:gd name="T47" fmla="*/ 26 h 216"/>
                    <a:gd name="T48" fmla="*/ 118 w 129"/>
                    <a:gd name="T49" fmla="*/ 17 h 216"/>
                    <a:gd name="T50" fmla="*/ 110 w 129"/>
                    <a:gd name="T51" fmla="*/ 10 h 216"/>
                    <a:gd name="T52" fmla="*/ 101 w 129"/>
                    <a:gd name="T53" fmla="*/ 6 h 216"/>
                    <a:gd name="T54" fmla="*/ 90 w 129"/>
                    <a:gd name="T55" fmla="*/ 3 h 216"/>
                    <a:gd name="T56" fmla="*/ 78 w 129"/>
                    <a:gd name="T57" fmla="*/ 1 h 216"/>
                    <a:gd name="T58" fmla="*/ 63 w 129"/>
                    <a:gd name="T59" fmla="*/ 0 h 216"/>
                    <a:gd name="T60" fmla="*/ 49 w 129"/>
                    <a:gd name="T61" fmla="*/ 1 h 216"/>
                    <a:gd name="T62" fmla="*/ 33 w 129"/>
                    <a:gd name="T63" fmla="*/ 5 h 216"/>
                    <a:gd name="T64" fmla="*/ 24 w 129"/>
                    <a:gd name="T65" fmla="*/ 11 h 216"/>
                    <a:gd name="T66" fmla="*/ 15 w 129"/>
                    <a:gd name="T67" fmla="*/ 17 h 216"/>
                    <a:gd name="T68" fmla="*/ 9 w 129"/>
                    <a:gd name="T69" fmla="*/ 27 h 216"/>
                    <a:gd name="T70" fmla="*/ 5 w 129"/>
                    <a:gd name="T71" fmla="*/ 39 h 2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29"/>
                    <a:gd name="T109" fmla="*/ 0 h 216"/>
                    <a:gd name="T110" fmla="*/ 129 w 129"/>
                    <a:gd name="T111" fmla="*/ 216 h 21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29" h="216">
                      <a:moveTo>
                        <a:pt x="5" y="39"/>
                      </a:moveTo>
                      <a:lnTo>
                        <a:pt x="2" y="61"/>
                      </a:lnTo>
                      <a:lnTo>
                        <a:pt x="1" y="69"/>
                      </a:lnTo>
                      <a:lnTo>
                        <a:pt x="5" y="77"/>
                      </a:lnTo>
                      <a:lnTo>
                        <a:pt x="0" y="93"/>
                      </a:lnTo>
                      <a:lnTo>
                        <a:pt x="3" y="118"/>
                      </a:lnTo>
                      <a:lnTo>
                        <a:pt x="6" y="131"/>
                      </a:lnTo>
                      <a:lnTo>
                        <a:pt x="9" y="143"/>
                      </a:lnTo>
                      <a:lnTo>
                        <a:pt x="13" y="155"/>
                      </a:lnTo>
                      <a:lnTo>
                        <a:pt x="18" y="168"/>
                      </a:lnTo>
                      <a:lnTo>
                        <a:pt x="28" y="171"/>
                      </a:lnTo>
                      <a:lnTo>
                        <a:pt x="38" y="174"/>
                      </a:lnTo>
                      <a:lnTo>
                        <a:pt x="38" y="184"/>
                      </a:lnTo>
                      <a:lnTo>
                        <a:pt x="37" y="191"/>
                      </a:lnTo>
                      <a:lnTo>
                        <a:pt x="57" y="216"/>
                      </a:lnTo>
                      <a:lnTo>
                        <a:pt x="110" y="184"/>
                      </a:lnTo>
                      <a:lnTo>
                        <a:pt x="112" y="124"/>
                      </a:lnTo>
                      <a:lnTo>
                        <a:pt x="119" y="107"/>
                      </a:lnTo>
                      <a:lnTo>
                        <a:pt x="123" y="94"/>
                      </a:lnTo>
                      <a:lnTo>
                        <a:pt x="127" y="78"/>
                      </a:lnTo>
                      <a:lnTo>
                        <a:pt x="129" y="64"/>
                      </a:lnTo>
                      <a:lnTo>
                        <a:pt x="128" y="51"/>
                      </a:lnTo>
                      <a:lnTo>
                        <a:pt x="126" y="37"/>
                      </a:lnTo>
                      <a:lnTo>
                        <a:pt x="123" y="26"/>
                      </a:lnTo>
                      <a:lnTo>
                        <a:pt x="118" y="17"/>
                      </a:lnTo>
                      <a:lnTo>
                        <a:pt x="110" y="10"/>
                      </a:lnTo>
                      <a:lnTo>
                        <a:pt x="101" y="6"/>
                      </a:lnTo>
                      <a:lnTo>
                        <a:pt x="90" y="3"/>
                      </a:lnTo>
                      <a:lnTo>
                        <a:pt x="78" y="1"/>
                      </a:lnTo>
                      <a:lnTo>
                        <a:pt x="63" y="0"/>
                      </a:lnTo>
                      <a:lnTo>
                        <a:pt x="49" y="1"/>
                      </a:lnTo>
                      <a:lnTo>
                        <a:pt x="33" y="5"/>
                      </a:lnTo>
                      <a:lnTo>
                        <a:pt x="24" y="11"/>
                      </a:lnTo>
                      <a:lnTo>
                        <a:pt x="15" y="17"/>
                      </a:lnTo>
                      <a:lnTo>
                        <a:pt x="9" y="27"/>
                      </a:lnTo>
                      <a:lnTo>
                        <a:pt x="5" y="39"/>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sp>
              <p:nvSpPr>
                <p:cNvPr id="233" name="Freeform 130"/>
                <p:cNvSpPr>
                  <a:spLocks/>
                </p:cNvSpPr>
                <p:nvPr/>
              </p:nvSpPr>
              <p:spPr bwMode="ltGray">
                <a:xfrm>
                  <a:off x="-1109" y="588"/>
                  <a:ext cx="65" cy="67"/>
                </a:xfrm>
                <a:custGeom>
                  <a:avLst/>
                  <a:gdLst>
                    <a:gd name="T0" fmla="*/ 54 w 65"/>
                    <a:gd name="T1" fmla="*/ 18 h 67"/>
                    <a:gd name="T2" fmla="*/ 48 w 65"/>
                    <a:gd name="T3" fmla="*/ 34 h 67"/>
                    <a:gd name="T4" fmla="*/ 0 w 65"/>
                    <a:gd name="T5" fmla="*/ 58 h 67"/>
                    <a:gd name="T6" fmla="*/ 25 w 65"/>
                    <a:gd name="T7" fmla="*/ 52 h 67"/>
                    <a:gd name="T8" fmla="*/ 36 w 65"/>
                    <a:gd name="T9" fmla="*/ 49 h 67"/>
                    <a:gd name="T10" fmla="*/ 49 w 65"/>
                    <a:gd name="T11" fmla="*/ 51 h 67"/>
                    <a:gd name="T12" fmla="*/ 59 w 65"/>
                    <a:gd name="T13" fmla="*/ 55 h 67"/>
                    <a:gd name="T14" fmla="*/ 64 w 65"/>
                    <a:gd name="T15" fmla="*/ 67 h 67"/>
                    <a:gd name="T16" fmla="*/ 65 w 65"/>
                    <a:gd name="T17" fmla="*/ 20 h 67"/>
                    <a:gd name="T18" fmla="*/ 63 w 65"/>
                    <a:gd name="T19" fmla="*/ 10 h 67"/>
                    <a:gd name="T20" fmla="*/ 56 w 65"/>
                    <a:gd name="T21" fmla="*/ 0 h 67"/>
                    <a:gd name="T22" fmla="*/ 54 w 65"/>
                    <a:gd name="T23" fmla="*/ 18 h 6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5"/>
                    <a:gd name="T37" fmla="*/ 0 h 67"/>
                    <a:gd name="T38" fmla="*/ 65 w 65"/>
                    <a:gd name="T39" fmla="*/ 67 h 6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5" h="67">
                      <a:moveTo>
                        <a:pt x="54" y="18"/>
                      </a:moveTo>
                      <a:lnTo>
                        <a:pt x="48" y="34"/>
                      </a:lnTo>
                      <a:lnTo>
                        <a:pt x="0" y="58"/>
                      </a:lnTo>
                      <a:lnTo>
                        <a:pt x="25" y="52"/>
                      </a:lnTo>
                      <a:lnTo>
                        <a:pt x="36" y="49"/>
                      </a:lnTo>
                      <a:lnTo>
                        <a:pt x="49" y="51"/>
                      </a:lnTo>
                      <a:lnTo>
                        <a:pt x="59" y="55"/>
                      </a:lnTo>
                      <a:lnTo>
                        <a:pt x="64" y="67"/>
                      </a:lnTo>
                      <a:lnTo>
                        <a:pt x="65" y="20"/>
                      </a:lnTo>
                      <a:lnTo>
                        <a:pt x="63" y="10"/>
                      </a:lnTo>
                      <a:lnTo>
                        <a:pt x="56" y="0"/>
                      </a:lnTo>
                      <a:lnTo>
                        <a:pt x="54" y="18"/>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sp>
              <p:nvSpPr>
                <p:cNvPr id="234" name="Freeform 131"/>
                <p:cNvSpPr>
                  <a:spLocks/>
                </p:cNvSpPr>
                <p:nvPr/>
              </p:nvSpPr>
              <p:spPr bwMode="ltGray">
                <a:xfrm>
                  <a:off x="-1159" y="460"/>
                  <a:ext cx="139" cy="156"/>
                </a:xfrm>
                <a:custGeom>
                  <a:avLst/>
                  <a:gdLst>
                    <a:gd name="T0" fmla="*/ 25 w 139"/>
                    <a:gd name="T1" fmla="*/ 13 h 156"/>
                    <a:gd name="T2" fmla="*/ 37 w 139"/>
                    <a:gd name="T3" fmla="*/ 7 h 156"/>
                    <a:gd name="T4" fmla="*/ 47 w 139"/>
                    <a:gd name="T5" fmla="*/ 4 h 156"/>
                    <a:gd name="T6" fmla="*/ 64 w 139"/>
                    <a:gd name="T7" fmla="*/ 0 h 156"/>
                    <a:gd name="T8" fmla="*/ 76 w 139"/>
                    <a:gd name="T9" fmla="*/ 0 h 156"/>
                    <a:gd name="T10" fmla="*/ 89 w 139"/>
                    <a:gd name="T11" fmla="*/ 0 h 156"/>
                    <a:gd name="T12" fmla="*/ 102 w 139"/>
                    <a:gd name="T13" fmla="*/ 3 h 156"/>
                    <a:gd name="T14" fmla="*/ 111 w 139"/>
                    <a:gd name="T15" fmla="*/ 3 h 156"/>
                    <a:gd name="T16" fmla="*/ 120 w 139"/>
                    <a:gd name="T17" fmla="*/ 6 h 156"/>
                    <a:gd name="T18" fmla="*/ 128 w 139"/>
                    <a:gd name="T19" fmla="*/ 13 h 156"/>
                    <a:gd name="T20" fmla="*/ 134 w 139"/>
                    <a:gd name="T21" fmla="*/ 21 h 156"/>
                    <a:gd name="T22" fmla="*/ 135 w 139"/>
                    <a:gd name="T23" fmla="*/ 33 h 156"/>
                    <a:gd name="T24" fmla="*/ 137 w 139"/>
                    <a:gd name="T25" fmla="*/ 48 h 156"/>
                    <a:gd name="T26" fmla="*/ 139 w 139"/>
                    <a:gd name="T27" fmla="*/ 69 h 156"/>
                    <a:gd name="T28" fmla="*/ 138 w 139"/>
                    <a:gd name="T29" fmla="*/ 87 h 156"/>
                    <a:gd name="T30" fmla="*/ 134 w 139"/>
                    <a:gd name="T31" fmla="*/ 103 h 156"/>
                    <a:gd name="T32" fmla="*/ 131 w 139"/>
                    <a:gd name="T33" fmla="*/ 117 h 156"/>
                    <a:gd name="T34" fmla="*/ 127 w 139"/>
                    <a:gd name="T35" fmla="*/ 127 h 156"/>
                    <a:gd name="T36" fmla="*/ 123 w 139"/>
                    <a:gd name="T37" fmla="*/ 137 h 156"/>
                    <a:gd name="T38" fmla="*/ 119 w 139"/>
                    <a:gd name="T39" fmla="*/ 146 h 156"/>
                    <a:gd name="T40" fmla="*/ 114 w 139"/>
                    <a:gd name="T41" fmla="*/ 156 h 156"/>
                    <a:gd name="T42" fmla="*/ 109 w 139"/>
                    <a:gd name="T43" fmla="*/ 156 h 156"/>
                    <a:gd name="T44" fmla="*/ 111 w 139"/>
                    <a:gd name="T45" fmla="*/ 142 h 156"/>
                    <a:gd name="T46" fmla="*/ 108 w 139"/>
                    <a:gd name="T47" fmla="*/ 133 h 156"/>
                    <a:gd name="T48" fmla="*/ 106 w 139"/>
                    <a:gd name="T49" fmla="*/ 127 h 156"/>
                    <a:gd name="T50" fmla="*/ 109 w 139"/>
                    <a:gd name="T51" fmla="*/ 118 h 156"/>
                    <a:gd name="T52" fmla="*/ 111 w 139"/>
                    <a:gd name="T53" fmla="*/ 103 h 156"/>
                    <a:gd name="T54" fmla="*/ 107 w 139"/>
                    <a:gd name="T55" fmla="*/ 99 h 156"/>
                    <a:gd name="T56" fmla="*/ 101 w 139"/>
                    <a:gd name="T57" fmla="*/ 106 h 156"/>
                    <a:gd name="T58" fmla="*/ 96 w 139"/>
                    <a:gd name="T59" fmla="*/ 114 h 156"/>
                    <a:gd name="T60" fmla="*/ 97 w 139"/>
                    <a:gd name="T61" fmla="*/ 99 h 156"/>
                    <a:gd name="T62" fmla="*/ 94 w 139"/>
                    <a:gd name="T63" fmla="*/ 80 h 156"/>
                    <a:gd name="T64" fmla="*/ 94 w 139"/>
                    <a:gd name="T65" fmla="*/ 60 h 156"/>
                    <a:gd name="T66" fmla="*/ 93 w 139"/>
                    <a:gd name="T67" fmla="*/ 49 h 156"/>
                    <a:gd name="T68" fmla="*/ 98 w 139"/>
                    <a:gd name="T69" fmla="*/ 44 h 156"/>
                    <a:gd name="T70" fmla="*/ 88 w 139"/>
                    <a:gd name="T71" fmla="*/ 47 h 156"/>
                    <a:gd name="T72" fmla="*/ 80 w 139"/>
                    <a:gd name="T73" fmla="*/ 50 h 156"/>
                    <a:gd name="T74" fmla="*/ 73 w 139"/>
                    <a:gd name="T75" fmla="*/ 51 h 156"/>
                    <a:gd name="T76" fmla="*/ 59 w 139"/>
                    <a:gd name="T77" fmla="*/ 53 h 156"/>
                    <a:gd name="T78" fmla="*/ 51 w 139"/>
                    <a:gd name="T79" fmla="*/ 56 h 156"/>
                    <a:gd name="T80" fmla="*/ 63 w 139"/>
                    <a:gd name="T81" fmla="*/ 50 h 156"/>
                    <a:gd name="T82" fmla="*/ 56 w 139"/>
                    <a:gd name="T83" fmla="*/ 50 h 156"/>
                    <a:gd name="T84" fmla="*/ 40 w 139"/>
                    <a:gd name="T85" fmla="*/ 50 h 156"/>
                    <a:gd name="T86" fmla="*/ 28 w 139"/>
                    <a:gd name="T87" fmla="*/ 48 h 156"/>
                    <a:gd name="T88" fmla="*/ 13 w 139"/>
                    <a:gd name="T89" fmla="*/ 49 h 156"/>
                    <a:gd name="T90" fmla="*/ 9 w 139"/>
                    <a:gd name="T91" fmla="*/ 59 h 156"/>
                    <a:gd name="T92" fmla="*/ 7 w 139"/>
                    <a:gd name="T93" fmla="*/ 71 h 156"/>
                    <a:gd name="T94" fmla="*/ 4 w 139"/>
                    <a:gd name="T95" fmla="*/ 56 h 156"/>
                    <a:gd name="T96" fmla="*/ 0 w 139"/>
                    <a:gd name="T97" fmla="*/ 39 h 156"/>
                    <a:gd name="T98" fmla="*/ 7 w 139"/>
                    <a:gd name="T99" fmla="*/ 27 h 156"/>
                    <a:gd name="T100" fmla="*/ 15 w 139"/>
                    <a:gd name="T101" fmla="*/ 19 h 156"/>
                    <a:gd name="T102" fmla="*/ 25 w 139"/>
                    <a:gd name="T103" fmla="*/ 13 h 15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9"/>
                    <a:gd name="T157" fmla="*/ 0 h 156"/>
                    <a:gd name="T158" fmla="*/ 139 w 139"/>
                    <a:gd name="T159" fmla="*/ 156 h 15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9" h="156">
                      <a:moveTo>
                        <a:pt x="25" y="13"/>
                      </a:moveTo>
                      <a:lnTo>
                        <a:pt x="37" y="7"/>
                      </a:lnTo>
                      <a:lnTo>
                        <a:pt x="47" y="4"/>
                      </a:lnTo>
                      <a:lnTo>
                        <a:pt x="64" y="0"/>
                      </a:lnTo>
                      <a:lnTo>
                        <a:pt x="76" y="0"/>
                      </a:lnTo>
                      <a:lnTo>
                        <a:pt x="89" y="0"/>
                      </a:lnTo>
                      <a:lnTo>
                        <a:pt x="102" y="3"/>
                      </a:lnTo>
                      <a:lnTo>
                        <a:pt x="111" y="3"/>
                      </a:lnTo>
                      <a:lnTo>
                        <a:pt x="120" y="6"/>
                      </a:lnTo>
                      <a:lnTo>
                        <a:pt x="128" y="13"/>
                      </a:lnTo>
                      <a:lnTo>
                        <a:pt x="134" y="21"/>
                      </a:lnTo>
                      <a:lnTo>
                        <a:pt x="135" y="33"/>
                      </a:lnTo>
                      <a:lnTo>
                        <a:pt x="137" y="48"/>
                      </a:lnTo>
                      <a:lnTo>
                        <a:pt x="139" y="69"/>
                      </a:lnTo>
                      <a:lnTo>
                        <a:pt x="138" y="87"/>
                      </a:lnTo>
                      <a:lnTo>
                        <a:pt x="134" y="103"/>
                      </a:lnTo>
                      <a:lnTo>
                        <a:pt x="131" y="117"/>
                      </a:lnTo>
                      <a:lnTo>
                        <a:pt x="127" y="127"/>
                      </a:lnTo>
                      <a:lnTo>
                        <a:pt x="123" y="137"/>
                      </a:lnTo>
                      <a:lnTo>
                        <a:pt x="119" y="146"/>
                      </a:lnTo>
                      <a:lnTo>
                        <a:pt x="114" y="156"/>
                      </a:lnTo>
                      <a:lnTo>
                        <a:pt x="109" y="156"/>
                      </a:lnTo>
                      <a:lnTo>
                        <a:pt x="111" y="142"/>
                      </a:lnTo>
                      <a:lnTo>
                        <a:pt x="108" y="133"/>
                      </a:lnTo>
                      <a:lnTo>
                        <a:pt x="106" y="127"/>
                      </a:lnTo>
                      <a:lnTo>
                        <a:pt x="109" y="118"/>
                      </a:lnTo>
                      <a:lnTo>
                        <a:pt x="111" y="103"/>
                      </a:lnTo>
                      <a:lnTo>
                        <a:pt x="107" y="99"/>
                      </a:lnTo>
                      <a:lnTo>
                        <a:pt x="101" y="106"/>
                      </a:lnTo>
                      <a:lnTo>
                        <a:pt x="96" y="114"/>
                      </a:lnTo>
                      <a:lnTo>
                        <a:pt x="97" y="99"/>
                      </a:lnTo>
                      <a:lnTo>
                        <a:pt x="94" y="80"/>
                      </a:lnTo>
                      <a:lnTo>
                        <a:pt x="94" y="60"/>
                      </a:lnTo>
                      <a:lnTo>
                        <a:pt x="93" y="49"/>
                      </a:lnTo>
                      <a:lnTo>
                        <a:pt x="98" y="44"/>
                      </a:lnTo>
                      <a:lnTo>
                        <a:pt x="88" y="47"/>
                      </a:lnTo>
                      <a:lnTo>
                        <a:pt x="80" y="50"/>
                      </a:lnTo>
                      <a:lnTo>
                        <a:pt x="73" y="51"/>
                      </a:lnTo>
                      <a:lnTo>
                        <a:pt x="59" y="53"/>
                      </a:lnTo>
                      <a:lnTo>
                        <a:pt x="51" y="56"/>
                      </a:lnTo>
                      <a:lnTo>
                        <a:pt x="63" y="50"/>
                      </a:lnTo>
                      <a:lnTo>
                        <a:pt x="56" y="50"/>
                      </a:lnTo>
                      <a:lnTo>
                        <a:pt x="40" y="50"/>
                      </a:lnTo>
                      <a:lnTo>
                        <a:pt x="28" y="48"/>
                      </a:lnTo>
                      <a:lnTo>
                        <a:pt x="13" y="49"/>
                      </a:lnTo>
                      <a:lnTo>
                        <a:pt x="9" y="59"/>
                      </a:lnTo>
                      <a:lnTo>
                        <a:pt x="7" y="71"/>
                      </a:lnTo>
                      <a:lnTo>
                        <a:pt x="4" y="56"/>
                      </a:lnTo>
                      <a:lnTo>
                        <a:pt x="0" y="39"/>
                      </a:lnTo>
                      <a:lnTo>
                        <a:pt x="7" y="27"/>
                      </a:lnTo>
                      <a:lnTo>
                        <a:pt x="15" y="19"/>
                      </a:lnTo>
                      <a:lnTo>
                        <a:pt x="25" y="13"/>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grpSp>
        </p:grpSp>
        <p:grpSp>
          <p:nvGrpSpPr>
            <p:cNvPr id="199" name="Group 132"/>
            <p:cNvGrpSpPr>
              <a:grpSpLocks/>
            </p:cNvGrpSpPr>
            <p:nvPr/>
          </p:nvGrpSpPr>
          <p:grpSpPr bwMode="auto">
            <a:xfrm>
              <a:off x="-1479" y="496"/>
              <a:ext cx="319" cy="1476"/>
              <a:chOff x="-1479" y="496"/>
              <a:chExt cx="319" cy="1476"/>
            </a:xfrm>
          </p:grpSpPr>
          <p:grpSp>
            <p:nvGrpSpPr>
              <p:cNvPr id="200" name="Group 133"/>
              <p:cNvGrpSpPr>
                <a:grpSpLocks/>
              </p:cNvGrpSpPr>
              <p:nvPr/>
            </p:nvGrpSpPr>
            <p:grpSpPr bwMode="auto">
              <a:xfrm>
                <a:off x="-1411" y="496"/>
                <a:ext cx="169" cy="256"/>
                <a:chOff x="-1411" y="496"/>
                <a:chExt cx="169" cy="256"/>
              </a:xfrm>
            </p:grpSpPr>
            <p:sp>
              <p:nvSpPr>
                <p:cNvPr id="220" name="Freeform 134"/>
                <p:cNvSpPr>
                  <a:spLocks/>
                </p:cNvSpPr>
                <p:nvPr/>
              </p:nvSpPr>
              <p:spPr bwMode="ltGray">
                <a:xfrm>
                  <a:off x="-1411" y="496"/>
                  <a:ext cx="169" cy="199"/>
                </a:xfrm>
                <a:custGeom>
                  <a:avLst/>
                  <a:gdLst>
                    <a:gd name="T0" fmla="*/ 65 w 169"/>
                    <a:gd name="T1" fmla="*/ 2 h 199"/>
                    <a:gd name="T2" fmla="*/ 46 w 169"/>
                    <a:gd name="T3" fmla="*/ 12 h 199"/>
                    <a:gd name="T4" fmla="*/ 35 w 169"/>
                    <a:gd name="T5" fmla="*/ 23 h 199"/>
                    <a:gd name="T6" fmla="*/ 26 w 169"/>
                    <a:gd name="T7" fmla="*/ 37 h 199"/>
                    <a:gd name="T8" fmla="*/ 17 w 169"/>
                    <a:gd name="T9" fmla="*/ 65 h 199"/>
                    <a:gd name="T10" fmla="*/ 7 w 169"/>
                    <a:gd name="T11" fmla="*/ 105 h 199"/>
                    <a:gd name="T12" fmla="*/ 0 w 169"/>
                    <a:gd name="T13" fmla="*/ 141 h 199"/>
                    <a:gd name="T14" fmla="*/ 2 w 169"/>
                    <a:gd name="T15" fmla="*/ 157 h 199"/>
                    <a:gd name="T16" fmla="*/ 5 w 169"/>
                    <a:gd name="T17" fmla="*/ 172 h 199"/>
                    <a:gd name="T18" fmla="*/ 8 w 169"/>
                    <a:gd name="T19" fmla="*/ 189 h 199"/>
                    <a:gd name="T20" fmla="*/ 8 w 169"/>
                    <a:gd name="T21" fmla="*/ 196 h 199"/>
                    <a:gd name="T22" fmla="*/ 14 w 169"/>
                    <a:gd name="T23" fmla="*/ 196 h 199"/>
                    <a:gd name="T24" fmla="*/ 24 w 169"/>
                    <a:gd name="T25" fmla="*/ 193 h 199"/>
                    <a:gd name="T26" fmla="*/ 35 w 169"/>
                    <a:gd name="T27" fmla="*/ 194 h 199"/>
                    <a:gd name="T28" fmla="*/ 50 w 169"/>
                    <a:gd name="T29" fmla="*/ 198 h 199"/>
                    <a:gd name="T30" fmla="*/ 59 w 169"/>
                    <a:gd name="T31" fmla="*/ 199 h 199"/>
                    <a:gd name="T32" fmla="*/ 59 w 169"/>
                    <a:gd name="T33" fmla="*/ 186 h 199"/>
                    <a:gd name="T34" fmla="*/ 47 w 169"/>
                    <a:gd name="T35" fmla="*/ 158 h 199"/>
                    <a:gd name="T36" fmla="*/ 44 w 169"/>
                    <a:gd name="T37" fmla="*/ 114 h 199"/>
                    <a:gd name="T38" fmla="*/ 47 w 169"/>
                    <a:gd name="T39" fmla="*/ 74 h 199"/>
                    <a:gd name="T40" fmla="*/ 70 w 169"/>
                    <a:gd name="T41" fmla="*/ 50 h 199"/>
                    <a:gd name="T42" fmla="*/ 110 w 169"/>
                    <a:gd name="T43" fmla="*/ 46 h 199"/>
                    <a:gd name="T44" fmla="*/ 129 w 169"/>
                    <a:gd name="T45" fmla="*/ 70 h 199"/>
                    <a:gd name="T46" fmla="*/ 127 w 169"/>
                    <a:gd name="T47" fmla="*/ 154 h 199"/>
                    <a:gd name="T48" fmla="*/ 110 w 169"/>
                    <a:gd name="T49" fmla="*/ 187 h 199"/>
                    <a:gd name="T50" fmla="*/ 110 w 169"/>
                    <a:gd name="T51" fmla="*/ 198 h 199"/>
                    <a:gd name="T52" fmla="*/ 120 w 169"/>
                    <a:gd name="T53" fmla="*/ 198 h 199"/>
                    <a:gd name="T54" fmla="*/ 132 w 169"/>
                    <a:gd name="T55" fmla="*/ 196 h 199"/>
                    <a:gd name="T56" fmla="*/ 143 w 169"/>
                    <a:gd name="T57" fmla="*/ 195 h 199"/>
                    <a:gd name="T58" fmla="*/ 152 w 169"/>
                    <a:gd name="T59" fmla="*/ 197 h 199"/>
                    <a:gd name="T60" fmla="*/ 157 w 169"/>
                    <a:gd name="T61" fmla="*/ 198 h 199"/>
                    <a:gd name="T62" fmla="*/ 159 w 169"/>
                    <a:gd name="T63" fmla="*/ 185 h 199"/>
                    <a:gd name="T64" fmla="*/ 165 w 169"/>
                    <a:gd name="T65" fmla="*/ 166 h 199"/>
                    <a:gd name="T66" fmla="*/ 168 w 169"/>
                    <a:gd name="T67" fmla="*/ 147 h 199"/>
                    <a:gd name="T68" fmla="*/ 169 w 169"/>
                    <a:gd name="T69" fmla="*/ 132 h 199"/>
                    <a:gd name="T70" fmla="*/ 168 w 169"/>
                    <a:gd name="T71" fmla="*/ 114 h 199"/>
                    <a:gd name="T72" fmla="*/ 165 w 169"/>
                    <a:gd name="T73" fmla="*/ 101 h 199"/>
                    <a:gd name="T74" fmla="*/ 161 w 169"/>
                    <a:gd name="T75" fmla="*/ 87 h 199"/>
                    <a:gd name="T76" fmla="*/ 158 w 169"/>
                    <a:gd name="T77" fmla="*/ 73 h 199"/>
                    <a:gd name="T78" fmla="*/ 158 w 169"/>
                    <a:gd name="T79" fmla="*/ 64 h 199"/>
                    <a:gd name="T80" fmla="*/ 155 w 169"/>
                    <a:gd name="T81" fmla="*/ 49 h 199"/>
                    <a:gd name="T82" fmla="*/ 151 w 169"/>
                    <a:gd name="T83" fmla="*/ 31 h 199"/>
                    <a:gd name="T84" fmla="*/ 139 w 169"/>
                    <a:gd name="T85" fmla="*/ 15 h 199"/>
                    <a:gd name="T86" fmla="*/ 122 w 169"/>
                    <a:gd name="T87" fmla="*/ 4 h 199"/>
                    <a:gd name="T88" fmla="*/ 104 w 169"/>
                    <a:gd name="T89" fmla="*/ 0 h 199"/>
                    <a:gd name="T90" fmla="*/ 88 w 169"/>
                    <a:gd name="T91" fmla="*/ 0 h 199"/>
                    <a:gd name="T92" fmla="*/ 65 w 169"/>
                    <a:gd name="T93" fmla="*/ 2 h 19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9"/>
                    <a:gd name="T142" fmla="*/ 0 h 199"/>
                    <a:gd name="T143" fmla="*/ 169 w 169"/>
                    <a:gd name="T144" fmla="*/ 199 h 19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9" h="199">
                      <a:moveTo>
                        <a:pt x="65" y="2"/>
                      </a:moveTo>
                      <a:lnTo>
                        <a:pt x="46" y="12"/>
                      </a:lnTo>
                      <a:lnTo>
                        <a:pt x="35" y="23"/>
                      </a:lnTo>
                      <a:lnTo>
                        <a:pt x="26" y="37"/>
                      </a:lnTo>
                      <a:lnTo>
                        <a:pt x="17" y="65"/>
                      </a:lnTo>
                      <a:lnTo>
                        <a:pt x="7" y="105"/>
                      </a:lnTo>
                      <a:lnTo>
                        <a:pt x="0" y="141"/>
                      </a:lnTo>
                      <a:lnTo>
                        <a:pt x="2" y="157"/>
                      </a:lnTo>
                      <a:lnTo>
                        <a:pt x="5" y="172"/>
                      </a:lnTo>
                      <a:lnTo>
                        <a:pt x="8" y="189"/>
                      </a:lnTo>
                      <a:lnTo>
                        <a:pt x="8" y="196"/>
                      </a:lnTo>
                      <a:lnTo>
                        <a:pt x="14" y="196"/>
                      </a:lnTo>
                      <a:lnTo>
                        <a:pt x="24" y="193"/>
                      </a:lnTo>
                      <a:lnTo>
                        <a:pt x="35" y="194"/>
                      </a:lnTo>
                      <a:lnTo>
                        <a:pt x="50" y="198"/>
                      </a:lnTo>
                      <a:lnTo>
                        <a:pt x="59" y="199"/>
                      </a:lnTo>
                      <a:lnTo>
                        <a:pt x="59" y="186"/>
                      </a:lnTo>
                      <a:lnTo>
                        <a:pt x="47" y="158"/>
                      </a:lnTo>
                      <a:lnTo>
                        <a:pt x="44" y="114"/>
                      </a:lnTo>
                      <a:lnTo>
                        <a:pt x="47" y="74"/>
                      </a:lnTo>
                      <a:lnTo>
                        <a:pt x="70" y="50"/>
                      </a:lnTo>
                      <a:lnTo>
                        <a:pt x="110" y="46"/>
                      </a:lnTo>
                      <a:lnTo>
                        <a:pt x="129" y="70"/>
                      </a:lnTo>
                      <a:lnTo>
                        <a:pt x="127" y="154"/>
                      </a:lnTo>
                      <a:lnTo>
                        <a:pt x="110" y="187"/>
                      </a:lnTo>
                      <a:lnTo>
                        <a:pt x="110" y="198"/>
                      </a:lnTo>
                      <a:lnTo>
                        <a:pt x="120" y="198"/>
                      </a:lnTo>
                      <a:lnTo>
                        <a:pt x="132" y="196"/>
                      </a:lnTo>
                      <a:lnTo>
                        <a:pt x="143" y="195"/>
                      </a:lnTo>
                      <a:lnTo>
                        <a:pt x="152" y="197"/>
                      </a:lnTo>
                      <a:lnTo>
                        <a:pt x="157" y="198"/>
                      </a:lnTo>
                      <a:lnTo>
                        <a:pt x="159" y="185"/>
                      </a:lnTo>
                      <a:lnTo>
                        <a:pt x="165" y="166"/>
                      </a:lnTo>
                      <a:lnTo>
                        <a:pt x="168" y="147"/>
                      </a:lnTo>
                      <a:lnTo>
                        <a:pt x="169" y="132"/>
                      </a:lnTo>
                      <a:lnTo>
                        <a:pt x="168" y="114"/>
                      </a:lnTo>
                      <a:lnTo>
                        <a:pt x="165" y="101"/>
                      </a:lnTo>
                      <a:lnTo>
                        <a:pt x="161" y="87"/>
                      </a:lnTo>
                      <a:lnTo>
                        <a:pt x="158" y="73"/>
                      </a:lnTo>
                      <a:lnTo>
                        <a:pt x="158" y="64"/>
                      </a:lnTo>
                      <a:lnTo>
                        <a:pt x="155" y="49"/>
                      </a:lnTo>
                      <a:lnTo>
                        <a:pt x="151" y="31"/>
                      </a:lnTo>
                      <a:lnTo>
                        <a:pt x="139" y="15"/>
                      </a:lnTo>
                      <a:lnTo>
                        <a:pt x="122" y="4"/>
                      </a:lnTo>
                      <a:lnTo>
                        <a:pt x="104" y="0"/>
                      </a:lnTo>
                      <a:lnTo>
                        <a:pt x="88" y="0"/>
                      </a:lnTo>
                      <a:lnTo>
                        <a:pt x="65" y="2"/>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sp>
              <p:nvSpPr>
                <p:cNvPr id="221" name="Freeform 135"/>
                <p:cNvSpPr>
                  <a:spLocks/>
                </p:cNvSpPr>
                <p:nvPr/>
              </p:nvSpPr>
              <p:spPr bwMode="ltGray">
                <a:xfrm>
                  <a:off x="-1373" y="534"/>
                  <a:ext cx="97" cy="218"/>
                </a:xfrm>
                <a:custGeom>
                  <a:avLst/>
                  <a:gdLst>
                    <a:gd name="T0" fmla="*/ 9 w 97"/>
                    <a:gd name="T1" fmla="*/ 23 h 218"/>
                    <a:gd name="T2" fmla="*/ 3 w 97"/>
                    <a:gd name="T3" fmla="*/ 37 h 218"/>
                    <a:gd name="T4" fmla="*/ 1 w 97"/>
                    <a:gd name="T5" fmla="*/ 55 h 218"/>
                    <a:gd name="T6" fmla="*/ 0 w 97"/>
                    <a:gd name="T7" fmla="*/ 74 h 218"/>
                    <a:gd name="T8" fmla="*/ 1 w 97"/>
                    <a:gd name="T9" fmla="*/ 89 h 218"/>
                    <a:gd name="T10" fmla="*/ 3 w 97"/>
                    <a:gd name="T11" fmla="*/ 104 h 218"/>
                    <a:gd name="T12" fmla="*/ 21 w 97"/>
                    <a:gd name="T13" fmla="*/ 149 h 218"/>
                    <a:gd name="T14" fmla="*/ 21 w 97"/>
                    <a:gd name="T15" fmla="*/ 191 h 218"/>
                    <a:gd name="T16" fmla="*/ 50 w 97"/>
                    <a:gd name="T17" fmla="*/ 218 h 218"/>
                    <a:gd name="T18" fmla="*/ 72 w 97"/>
                    <a:gd name="T19" fmla="*/ 187 h 218"/>
                    <a:gd name="T20" fmla="*/ 72 w 97"/>
                    <a:gd name="T21" fmla="*/ 150 h 218"/>
                    <a:gd name="T22" fmla="*/ 92 w 97"/>
                    <a:gd name="T23" fmla="*/ 113 h 218"/>
                    <a:gd name="T24" fmla="*/ 95 w 97"/>
                    <a:gd name="T25" fmla="*/ 91 h 218"/>
                    <a:gd name="T26" fmla="*/ 97 w 97"/>
                    <a:gd name="T27" fmla="*/ 74 h 218"/>
                    <a:gd name="T28" fmla="*/ 96 w 97"/>
                    <a:gd name="T29" fmla="*/ 58 h 218"/>
                    <a:gd name="T30" fmla="*/ 95 w 97"/>
                    <a:gd name="T31" fmla="*/ 45 h 218"/>
                    <a:gd name="T32" fmla="*/ 92 w 97"/>
                    <a:gd name="T33" fmla="*/ 29 h 218"/>
                    <a:gd name="T34" fmla="*/ 85 w 97"/>
                    <a:gd name="T35" fmla="*/ 15 h 218"/>
                    <a:gd name="T36" fmla="*/ 76 w 97"/>
                    <a:gd name="T37" fmla="*/ 7 h 218"/>
                    <a:gd name="T38" fmla="*/ 60 w 97"/>
                    <a:gd name="T39" fmla="*/ 2 h 218"/>
                    <a:gd name="T40" fmla="*/ 44 w 97"/>
                    <a:gd name="T41" fmla="*/ 0 h 218"/>
                    <a:gd name="T42" fmla="*/ 30 w 97"/>
                    <a:gd name="T43" fmla="*/ 3 h 218"/>
                    <a:gd name="T44" fmla="*/ 18 w 97"/>
                    <a:gd name="T45" fmla="*/ 11 h 218"/>
                    <a:gd name="T46" fmla="*/ 9 w 97"/>
                    <a:gd name="T47" fmla="*/ 23 h 21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7"/>
                    <a:gd name="T73" fmla="*/ 0 h 218"/>
                    <a:gd name="T74" fmla="*/ 97 w 97"/>
                    <a:gd name="T75" fmla="*/ 218 h 21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7" h="218">
                      <a:moveTo>
                        <a:pt x="9" y="23"/>
                      </a:moveTo>
                      <a:lnTo>
                        <a:pt x="3" y="37"/>
                      </a:lnTo>
                      <a:lnTo>
                        <a:pt x="1" y="55"/>
                      </a:lnTo>
                      <a:lnTo>
                        <a:pt x="0" y="74"/>
                      </a:lnTo>
                      <a:lnTo>
                        <a:pt x="1" y="89"/>
                      </a:lnTo>
                      <a:lnTo>
                        <a:pt x="3" y="104"/>
                      </a:lnTo>
                      <a:lnTo>
                        <a:pt x="21" y="149"/>
                      </a:lnTo>
                      <a:lnTo>
                        <a:pt x="21" y="191"/>
                      </a:lnTo>
                      <a:lnTo>
                        <a:pt x="50" y="218"/>
                      </a:lnTo>
                      <a:lnTo>
                        <a:pt x="72" y="187"/>
                      </a:lnTo>
                      <a:lnTo>
                        <a:pt x="72" y="150"/>
                      </a:lnTo>
                      <a:lnTo>
                        <a:pt x="92" y="113"/>
                      </a:lnTo>
                      <a:lnTo>
                        <a:pt x="95" y="91"/>
                      </a:lnTo>
                      <a:lnTo>
                        <a:pt x="97" y="74"/>
                      </a:lnTo>
                      <a:lnTo>
                        <a:pt x="96" y="58"/>
                      </a:lnTo>
                      <a:lnTo>
                        <a:pt x="95" y="45"/>
                      </a:lnTo>
                      <a:lnTo>
                        <a:pt x="92" y="29"/>
                      </a:lnTo>
                      <a:lnTo>
                        <a:pt x="85" y="15"/>
                      </a:lnTo>
                      <a:lnTo>
                        <a:pt x="76" y="7"/>
                      </a:lnTo>
                      <a:lnTo>
                        <a:pt x="60" y="2"/>
                      </a:lnTo>
                      <a:lnTo>
                        <a:pt x="44" y="0"/>
                      </a:lnTo>
                      <a:lnTo>
                        <a:pt x="30" y="3"/>
                      </a:lnTo>
                      <a:lnTo>
                        <a:pt x="18" y="11"/>
                      </a:lnTo>
                      <a:lnTo>
                        <a:pt x="9" y="23"/>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grpSp>
              <p:nvGrpSpPr>
                <p:cNvPr id="222" name="Group 136"/>
                <p:cNvGrpSpPr>
                  <a:grpSpLocks/>
                </p:cNvGrpSpPr>
                <p:nvPr/>
              </p:nvGrpSpPr>
              <p:grpSpPr bwMode="auto">
                <a:xfrm>
                  <a:off x="-1382" y="628"/>
                  <a:ext cx="115" cy="31"/>
                  <a:chOff x="-1382" y="628"/>
                  <a:chExt cx="115" cy="31"/>
                </a:xfrm>
              </p:grpSpPr>
              <p:grpSp>
                <p:nvGrpSpPr>
                  <p:cNvPr id="223" name="Group 137"/>
                  <p:cNvGrpSpPr>
                    <a:grpSpLocks/>
                  </p:cNvGrpSpPr>
                  <p:nvPr/>
                </p:nvGrpSpPr>
                <p:grpSpPr bwMode="auto">
                  <a:xfrm>
                    <a:off x="-1382" y="628"/>
                    <a:ext cx="20" cy="31"/>
                    <a:chOff x="-1382" y="628"/>
                    <a:chExt cx="20" cy="31"/>
                  </a:xfrm>
                </p:grpSpPr>
                <p:sp>
                  <p:nvSpPr>
                    <p:cNvPr id="227" name="Oval 138"/>
                    <p:cNvSpPr>
                      <a:spLocks noChangeArrowheads="1"/>
                    </p:cNvSpPr>
                    <p:nvPr/>
                  </p:nvSpPr>
                  <p:spPr bwMode="ltGray">
                    <a:xfrm>
                      <a:off x="-1382" y="628"/>
                      <a:ext cx="20" cy="31"/>
                    </a:xfrm>
                    <a:prstGeom prst="ellipse">
                      <a:avLst/>
                    </a:pr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sp>
                  <p:nvSpPr>
                    <p:cNvPr id="228" name="Oval 139"/>
                    <p:cNvSpPr>
                      <a:spLocks noChangeArrowheads="1"/>
                    </p:cNvSpPr>
                    <p:nvPr/>
                  </p:nvSpPr>
                  <p:spPr bwMode="ltGray">
                    <a:xfrm>
                      <a:off x="-1380" y="630"/>
                      <a:ext cx="15" cy="26"/>
                    </a:xfrm>
                    <a:prstGeom prst="ellipse">
                      <a:avLst/>
                    </a:pr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grpSp>
              <p:grpSp>
                <p:nvGrpSpPr>
                  <p:cNvPr id="224" name="Group 140"/>
                  <p:cNvGrpSpPr>
                    <a:grpSpLocks/>
                  </p:cNvGrpSpPr>
                  <p:nvPr/>
                </p:nvGrpSpPr>
                <p:grpSpPr bwMode="auto">
                  <a:xfrm>
                    <a:off x="-1287" y="628"/>
                    <a:ext cx="20" cy="31"/>
                    <a:chOff x="-1287" y="628"/>
                    <a:chExt cx="20" cy="31"/>
                  </a:xfrm>
                </p:grpSpPr>
                <p:sp>
                  <p:nvSpPr>
                    <p:cNvPr id="225" name="Oval 141"/>
                    <p:cNvSpPr>
                      <a:spLocks noChangeArrowheads="1"/>
                    </p:cNvSpPr>
                    <p:nvPr/>
                  </p:nvSpPr>
                  <p:spPr bwMode="ltGray">
                    <a:xfrm>
                      <a:off x="-1287" y="628"/>
                      <a:ext cx="20" cy="31"/>
                    </a:xfrm>
                    <a:prstGeom prst="ellipse">
                      <a:avLst/>
                    </a:pr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sp>
                  <p:nvSpPr>
                    <p:cNvPr id="226" name="Oval 142"/>
                    <p:cNvSpPr>
                      <a:spLocks noChangeArrowheads="1"/>
                    </p:cNvSpPr>
                    <p:nvPr/>
                  </p:nvSpPr>
                  <p:spPr bwMode="ltGray">
                    <a:xfrm>
                      <a:off x="-1284" y="630"/>
                      <a:ext cx="15" cy="26"/>
                    </a:xfrm>
                    <a:prstGeom prst="ellipse">
                      <a:avLst/>
                    </a:pr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grpSp>
            </p:grpSp>
          </p:grpSp>
          <p:grpSp>
            <p:nvGrpSpPr>
              <p:cNvPr id="201" name="Group 143"/>
              <p:cNvGrpSpPr>
                <a:grpSpLocks/>
              </p:cNvGrpSpPr>
              <p:nvPr/>
            </p:nvGrpSpPr>
            <p:grpSpPr bwMode="auto">
              <a:xfrm>
                <a:off x="-1428" y="1208"/>
                <a:ext cx="262" cy="700"/>
                <a:chOff x="-1428" y="1208"/>
                <a:chExt cx="262" cy="700"/>
              </a:xfrm>
            </p:grpSpPr>
            <p:grpSp>
              <p:nvGrpSpPr>
                <p:cNvPr id="216" name="Group 144"/>
                <p:cNvGrpSpPr>
                  <a:grpSpLocks/>
                </p:cNvGrpSpPr>
                <p:nvPr/>
              </p:nvGrpSpPr>
              <p:grpSpPr bwMode="auto">
                <a:xfrm>
                  <a:off x="-1428" y="1208"/>
                  <a:ext cx="262" cy="700"/>
                  <a:chOff x="-1428" y="1208"/>
                  <a:chExt cx="262" cy="700"/>
                </a:xfrm>
              </p:grpSpPr>
              <p:sp>
                <p:nvSpPr>
                  <p:cNvPr id="218" name="Freeform 145"/>
                  <p:cNvSpPr>
                    <a:spLocks/>
                  </p:cNvSpPr>
                  <p:nvPr/>
                </p:nvSpPr>
                <p:spPr bwMode="ltGray">
                  <a:xfrm>
                    <a:off x="-1428" y="1360"/>
                    <a:ext cx="188" cy="548"/>
                  </a:xfrm>
                  <a:custGeom>
                    <a:avLst/>
                    <a:gdLst>
                      <a:gd name="T0" fmla="*/ 35 w 188"/>
                      <a:gd name="T1" fmla="*/ 11 h 548"/>
                      <a:gd name="T2" fmla="*/ 37 w 188"/>
                      <a:gd name="T3" fmla="*/ 169 h 548"/>
                      <a:gd name="T4" fmla="*/ 36 w 188"/>
                      <a:gd name="T5" fmla="*/ 303 h 548"/>
                      <a:gd name="T6" fmla="*/ 44 w 188"/>
                      <a:gd name="T7" fmla="*/ 432 h 548"/>
                      <a:gd name="T8" fmla="*/ 23 w 188"/>
                      <a:gd name="T9" fmla="*/ 488 h 548"/>
                      <a:gd name="T10" fmla="*/ 5 w 188"/>
                      <a:gd name="T11" fmla="*/ 525 h 548"/>
                      <a:gd name="T12" fmla="*/ 0 w 188"/>
                      <a:gd name="T13" fmla="*/ 535 h 548"/>
                      <a:gd name="T14" fmla="*/ 8 w 188"/>
                      <a:gd name="T15" fmla="*/ 548 h 548"/>
                      <a:gd name="T16" fmla="*/ 42 w 188"/>
                      <a:gd name="T17" fmla="*/ 546 h 548"/>
                      <a:gd name="T18" fmla="*/ 72 w 188"/>
                      <a:gd name="T19" fmla="*/ 474 h 548"/>
                      <a:gd name="T20" fmla="*/ 74 w 188"/>
                      <a:gd name="T21" fmla="*/ 428 h 548"/>
                      <a:gd name="T22" fmla="*/ 96 w 188"/>
                      <a:gd name="T23" fmla="*/ 276 h 548"/>
                      <a:gd name="T24" fmla="*/ 99 w 188"/>
                      <a:gd name="T25" fmla="*/ 240 h 548"/>
                      <a:gd name="T26" fmla="*/ 98 w 188"/>
                      <a:gd name="T27" fmla="*/ 312 h 548"/>
                      <a:gd name="T28" fmla="*/ 108 w 188"/>
                      <a:gd name="T29" fmla="*/ 413 h 548"/>
                      <a:gd name="T30" fmla="*/ 105 w 188"/>
                      <a:gd name="T31" fmla="*/ 460 h 548"/>
                      <a:gd name="T32" fmla="*/ 120 w 188"/>
                      <a:gd name="T33" fmla="*/ 507 h 548"/>
                      <a:gd name="T34" fmla="*/ 140 w 188"/>
                      <a:gd name="T35" fmla="*/ 540 h 548"/>
                      <a:gd name="T36" fmla="*/ 170 w 188"/>
                      <a:gd name="T37" fmla="*/ 542 h 548"/>
                      <a:gd name="T38" fmla="*/ 179 w 188"/>
                      <a:gd name="T39" fmla="*/ 531 h 548"/>
                      <a:gd name="T40" fmla="*/ 147 w 188"/>
                      <a:gd name="T41" fmla="*/ 458 h 548"/>
                      <a:gd name="T42" fmla="*/ 144 w 188"/>
                      <a:gd name="T43" fmla="*/ 424 h 548"/>
                      <a:gd name="T44" fmla="*/ 150 w 188"/>
                      <a:gd name="T45" fmla="*/ 351 h 548"/>
                      <a:gd name="T46" fmla="*/ 162 w 188"/>
                      <a:gd name="T47" fmla="*/ 230 h 548"/>
                      <a:gd name="T48" fmla="*/ 188 w 188"/>
                      <a:gd name="T49" fmla="*/ 0 h 548"/>
                      <a:gd name="T50" fmla="*/ 35 w 188"/>
                      <a:gd name="T51" fmla="*/ 11 h 54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88"/>
                      <a:gd name="T79" fmla="*/ 0 h 548"/>
                      <a:gd name="T80" fmla="*/ 188 w 188"/>
                      <a:gd name="T81" fmla="*/ 548 h 54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88" h="548">
                        <a:moveTo>
                          <a:pt x="35" y="11"/>
                        </a:moveTo>
                        <a:lnTo>
                          <a:pt x="37" y="169"/>
                        </a:lnTo>
                        <a:lnTo>
                          <a:pt x="36" y="303"/>
                        </a:lnTo>
                        <a:lnTo>
                          <a:pt x="44" y="432"/>
                        </a:lnTo>
                        <a:lnTo>
                          <a:pt x="23" y="488"/>
                        </a:lnTo>
                        <a:lnTo>
                          <a:pt x="5" y="525"/>
                        </a:lnTo>
                        <a:lnTo>
                          <a:pt x="0" y="535"/>
                        </a:lnTo>
                        <a:lnTo>
                          <a:pt x="8" y="548"/>
                        </a:lnTo>
                        <a:lnTo>
                          <a:pt x="42" y="546"/>
                        </a:lnTo>
                        <a:lnTo>
                          <a:pt x="72" y="474"/>
                        </a:lnTo>
                        <a:lnTo>
                          <a:pt x="74" y="428"/>
                        </a:lnTo>
                        <a:lnTo>
                          <a:pt x="96" y="276"/>
                        </a:lnTo>
                        <a:lnTo>
                          <a:pt x="99" y="240"/>
                        </a:lnTo>
                        <a:lnTo>
                          <a:pt x="98" y="312"/>
                        </a:lnTo>
                        <a:lnTo>
                          <a:pt x="108" y="413"/>
                        </a:lnTo>
                        <a:lnTo>
                          <a:pt x="105" y="460"/>
                        </a:lnTo>
                        <a:lnTo>
                          <a:pt x="120" y="507"/>
                        </a:lnTo>
                        <a:lnTo>
                          <a:pt x="140" y="540"/>
                        </a:lnTo>
                        <a:lnTo>
                          <a:pt x="170" y="542"/>
                        </a:lnTo>
                        <a:lnTo>
                          <a:pt x="179" y="531"/>
                        </a:lnTo>
                        <a:lnTo>
                          <a:pt x="147" y="458"/>
                        </a:lnTo>
                        <a:lnTo>
                          <a:pt x="144" y="424"/>
                        </a:lnTo>
                        <a:lnTo>
                          <a:pt x="150" y="351"/>
                        </a:lnTo>
                        <a:lnTo>
                          <a:pt x="162" y="230"/>
                        </a:lnTo>
                        <a:lnTo>
                          <a:pt x="188" y="0"/>
                        </a:lnTo>
                        <a:lnTo>
                          <a:pt x="35" y="11"/>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sp>
                <p:nvSpPr>
                  <p:cNvPr id="219" name="Freeform 146"/>
                  <p:cNvSpPr>
                    <a:spLocks/>
                  </p:cNvSpPr>
                  <p:nvPr/>
                </p:nvSpPr>
                <p:spPr bwMode="ltGray">
                  <a:xfrm>
                    <a:off x="-1210" y="1208"/>
                    <a:ext cx="44" cy="69"/>
                  </a:xfrm>
                  <a:custGeom>
                    <a:avLst/>
                    <a:gdLst>
                      <a:gd name="T0" fmla="*/ 44 w 44"/>
                      <a:gd name="T1" fmla="*/ 0 h 69"/>
                      <a:gd name="T2" fmla="*/ 44 w 44"/>
                      <a:gd name="T3" fmla="*/ 36 h 69"/>
                      <a:gd name="T4" fmla="*/ 0 w 44"/>
                      <a:gd name="T5" fmla="*/ 69 h 69"/>
                      <a:gd name="T6" fmla="*/ 20 w 44"/>
                      <a:gd name="T7" fmla="*/ 5 h 69"/>
                      <a:gd name="T8" fmla="*/ 44 w 44"/>
                      <a:gd name="T9" fmla="*/ 0 h 69"/>
                      <a:gd name="T10" fmla="*/ 0 60000 65536"/>
                      <a:gd name="T11" fmla="*/ 0 60000 65536"/>
                      <a:gd name="T12" fmla="*/ 0 60000 65536"/>
                      <a:gd name="T13" fmla="*/ 0 60000 65536"/>
                      <a:gd name="T14" fmla="*/ 0 60000 65536"/>
                      <a:gd name="T15" fmla="*/ 0 w 44"/>
                      <a:gd name="T16" fmla="*/ 0 h 69"/>
                      <a:gd name="T17" fmla="*/ 44 w 44"/>
                      <a:gd name="T18" fmla="*/ 69 h 69"/>
                    </a:gdLst>
                    <a:ahLst/>
                    <a:cxnLst>
                      <a:cxn ang="T10">
                        <a:pos x="T0" y="T1"/>
                      </a:cxn>
                      <a:cxn ang="T11">
                        <a:pos x="T2" y="T3"/>
                      </a:cxn>
                      <a:cxn ang="T12">
                        <a:pos x="T4" y="T5"/>
                      </a:cxn>
                      <a:cxn ang="T13">
                        <a:pos x="T6" y="T7"/>
                      </a:cxn>
                      <a:cxn ang="T14">
                        <a:pos x="T8" y="T9"/>
                      </a:cxn>
                    </a:cxnLst>
                    <a:rect l="T15" t="T16" r="T17" b="T18"/>
                    <a:pathLst>
                      <a:path w="44" h="69">
                        <a:moveTo>
                          <a:pt x="44" y="0"/>
                        </a:moveTo>
                        <a:lnTo>
                          <a:pt x="44" y="36"/>
                        </a:lnTo>
                        <a:lnTo>
                          <a:pt x="0" y="69"/>
                        </a:lnTo>
                        <a:lnTo>
                          <a:pt x="20" y="5"/>
                        </a:lnTo>
                        <a:lnTo>
                          <a:pt x="44" y="0"/>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grpSp>
            <p:sp>
              <p:nvSpPr>
                <p:cNvPr id="217" name="Freeform 147"/>
                <p:cNvSpPr>
                  <a:spLocks/>
                </p:cNvSpPr>
                <p:nvPr/>
              </p:nvSpPr>
              <p:spPr bwMode="ltGray">
                <a:xfrm>
                  <a:off x="-1330" y="1364"/>
                  <a:ext cx="16" cy="243"/>
                </a:xfrm>
                <a:custGeom>
                  <a:avLst/>
                  <a:gdLst>
                    <a:gd name="T0" fmla="*/ 16 w 16"/>
                    <a:gd name="T1" fmla="*/ 0 h 243"/>
                    <a:gd name="T2" fmla="*/ 16 w 16"/>
                    <a:gd name="T3" fmla="*/ 81 h 243"/>
                    <a:gd name="T4" fmla="*/ 13 w 16"/>
                    <a:gd name="T5" fmla="*/ 129 h 243"/>
                    <a:gd name="T6" fmla="*/ 9 w 16"/>
                    <a:gd name="T7" fmla="*/ 181 h 243"/>
                    <a:gd name="T8" fmla="*/ 0 w 16"/>
                    <a:gd name="T9" fmla="*/ 231 h 243"/>
                    <a:gd name="T10" fmla="*/ 2 w 16"/>
                    <a:gd name="T11" fmla="*/ 243 h 243"/>
                    <a:gd name="T12" fmla="*/ 16 w 16"/>
                    <a:gd name="T13" fmla="*/ 0 h 243"/>
                    <a:gd name="T14" fmla="*/ 0 60000 65536"/>
                    <a:gd name="T15" fmla="*/ 0 60000 65536"/>
                    <a:gd name="T16" fmla="*/ 0 60000 65536"/>
                    <a:gd name="T17" fmla="*/ 0 60000 65536"/>
                    <a:gd name="T18" fmla="*/ 0 60000 65536"/>
                    <a:gd name="T19" fmla="*/ 0 60000 65536"/>
                    <a:gd name="T20" fmla="*/ 0 60000 65536"/>
                    <a:gd name="T21" fmla="*/ 0 w 16"/>
                    <a:gd name="T22" fmla="*/ 0 h 243"/>
                    <a:gd name="T23" fmla="*/ 16 w 16"/>
                    <a:gd name="T24" fmla="*/ 243 h 24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243">
                      <a:moveTo>
                        <a:pt x="16" y="0"/>
                      </a:moveTo>
                      <a:lnTo>
                        <a:pt x="16" y="81"/>
                      </a:lnTo>
                      <a:lnTo>
                        <a:pt x="13" y="129"/>
                      </a:lnTo>
                      <a:lnTo>
                        <a:pt x="9" y="181"/>
                      </a:lnTo>
                      <a:lnTo>
                        <a:pt x="0" y="231"/>
                      </a:lnTo>
                      <a:lnTo>
                        <a:pt x="2" y="243"/>
                      </a:lnTo>
                      <a:lnTo>
                        <a:pt x="16" y="0"/>
                      </a:lnTo>
                      <a:close/>
                    </a:path>
                  </a:pathLst>
                </a:custGeom>
                <a:solidFill>
                  <a:srgbClr val="DDDDDD"/>
                </a:solidFill>
                <a:ln w="12700">
                  <a:solidFill>
                    <a:schemeClr val="tx1"/>
                  </a:solidFill>
                  <a:round/>
                  <a:headEnd/>
                  <a:tailEnd/>
                </a:ln>
              </p:spPr>
              <p:txBody>
                <a:bodyPr/>
                <a:lstStyle/>
                <a:p>
                  <a:pPr eaLnBrk="1" hangingPunct="1"/>
                  <a:endParaRPr lang="es-ES" sz="1800">
                    <a:latin typeface="Arial Unicode MS" pitchFamily="34" charset="-128"/>
                  </a:endParaRPr>
                </a:p>
              </p:txBody>
            </p:sp>
          </p:grpSp>
          <p:grpSp>
            <p:nvGrpSpPr>
              <p:cNvPr id="202" name="Group 148"/>
              <p:cNvGrpSpPr>
                <a:grpSpLocks/>
              </p:cNvGrpSpPr>
              <p:nvPr/>
            </p:nvGrpSpPr>
            <p:grpSpPr bwMode="auto">
              <a:xfrm>
                <a:off x="-1479" y="719"/>
                <a:ext cx="319" cy="660"/>
                <a:chOff x="-1479" y="719"/>
                <a:chExt cx="319" cy="660"/>
              </a:xfrm>
            </p:grpSpPr>
            <p:sp>
              <p:nvSpPr>
                <p:cNvPr id="206" name="Freeform 149"/>
                <p:cNvSpPr>
                  <a:spLocks/>
                </p:cNvSpPr>
                <p:nvPr/>
              </p:nvSpPr>
              <p:spPr bwMode="ltGray">
                <a:xfrm>
                  <a:off x="-1479" y="719"/>
                  <a:ext cx="319" cy="660"/>
                </a:xfrm>
                <a:custGeom>
                  <a:avLst/>
                  <a:gdLst>
                    <a:gd name="T0" fmla="*/ 127 w 319"/>
                    <a:gd name="T1" fmla="*/ 5 h 660"/>
                    <a:gd name="T2" fmla="*/ 28 w 319"/>
                    <a:gd name="T3" fmla="*/ 67 h 660"/>
                    <a:gd name="T4" fmla="*/ 12 w 319"/>
                    <a:gd name="T5" fmla="*/ 96 h 660"/>
                    <a:gd name="T6" fmla="*/ 0 w 319"/>
                    <a:gd name="T7" fmla="*/ 344 h 660"/>
                    <a:gd name="T8" fmla="*/ 5 w 319"/>
                    <a:gd name="T9" fmla="*/ 402 h 660"/>
                    <a:gd name="T10" fmla="*/ 43 w 319"/>
                    <a:gd name="T11" fmla="*/ 397 h 660"/>
                    <a:gd name="T12" fmla="*/ 41 w 319"/>
                    <a:gd name="T13" fmla="*/ 543 h 660"/>
                    <a:gd name="T14" fmla="*/ 59 w 319"/>
                    <a:gd name="T15" fmla="*/ 543 h 660"/>
                    <a:gd name="T16" fmla="*/ 77 w 319"/>
                    <a:gd name="T17" fmla="*/ 656 h 660"/>
                    <a:gd name="T18" fmla="*/ 144 w 319"/>
                    <a:gd name="T19" fmla="*/ 657 h 660"/>
                    <a:gd name="T20" fmla="*/ 200 w 319"/>
                    <a:gd name="T21" fmla="*/ 651 h 660"/>
                    <a:gd name="T22" fmla="*/ 239 w 319"/>
                    <a:gd name="T23" fmla="*/ 660 h 660"/>
                    <a:gd name="T24" fmla="*/ 294 w 319"/>
                    <a:gd name="T25" fmla="*/ 496 h 660"/>
                    <a:gd name="T26" fmla="*/ 319 w 319"/>
                    <a:gd name="T27" fmla="*/ 493 h 660"/>
                    <a:gd name="T28" fmla="*/ 296 w 319"/>
                    <a:gd name="T29" fmla="*/ 265 h 660"/>
                    <a:gd name="T30" fmla="*/ 295 w 319"/>
                    <a:gd name="T31" fmla="*/ 85 h 660"/>
                    <a:gd name="T32" fmla="*/ 281 w 319"/>
                    <a:gd name="T33" fmla="*/ 65 h 660"/>
                    <a:gd name="T34" fmla="*/ 176 w 319"/>
                    <a:gd name="T35" fmla="*/ 0 h 660"/>
                    <a:gd name="T36" fmla="*/ 156 w 319"/>
                    <a:gd name="T37" fmla="*/ 27 h 660"/>
                    <a:gd name="T38" fmla="*/ 127 w 319"/>
                    <a:gd name="T39" fmla="*/ 5 h 66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19"/>
                    <a:gd name="T61" fmla="*/ 0 h 660"/>
                    <a:gd name="T62" fmla="*/ 319 w 319"/>
                    <a:gd name="T63" fmla="*/ 660 h 66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19" h="660">
                      <a:moveTo>
                        <a:pt x="127" y="5"/>
                      </a:moveTo>
                      <a:lnTo>
                        <a:pt x="28" y="67"/>
                      </a:lnTo>
                      <a:lnTo>
                        <a:pt x="12" y="96"/>
                      </a:lnTo>
                      <a:lnTo>
                        <a:pt x="0" y="344"/>
                      </a:lnTo>
                      <a:lnTo>
                        <a:pt x="5" y="402"/>
                      </a:lnTo>
                      <a:lnTo>
                        <a:pt x="43" y="397"/>
                      </a:lnTo>
                      <a:lnTo>
                        <a:pt x="41" y="543"/>
                      </a:lnTo>
                      <a:lnTo>
                        <a:pt x="59" y="543"/>
                      </a:lnTo>
                      <a:lnTo>
                        <a:pt x="77" y="656"/>
                      </a:lnTo>
                      <a:lnTo>
                        <a:pt x="144" y="657"/>
                      </a:lnTo>
                      <a:lnTo>
                        <a:pt x="200" y="651"/>
                      </a:lnTo>
                      <a:lnTo>
                        <a:pt x="239" y="660"/>
                      </a:lnTo>
                      <a:lnTo>
                        <a:pt x="294" y="496"/>
                      </a:lnTo>
                      <a:lnTo>
                        <a:pt x="319" y="493"/>
                      </a:lnTo>
                      <a:lnTo>
                        <a:pt x="296" y="265"/>
                      </a:lnTo>
                      <a:lnTo>
                        <a:pt x="295" y="85"/>
                      </a:lnTo>
                      <a:lnTo>
                        <a:pt x="281" y="65"/>
                      </a:lnTo>
                      <a:lnTo>
                        <a:pt x="176" y="0"/>
                      </a:lnTo>
                      <a:lnTo>
                        <a:pt x="156" y="27"/>
                      </a:lnTo>
                      <a:lnTo>
                        <a:pt x="127" y="5"/>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grpSp>
              <p:nvGrpSpPr>
                <p:cNvPr id="207" name="Group 150"/>
                <p:cNvGrpSpPr>
                  <a:grpSpLocks/>
                </p:cNvGrpSpPr>
                <p:nvPr/>
              </p:nvGrpSpPr>
              <p:grpSpPr bwMode="auto">
                <a:xfrm>
                  <a:off x="-1437" y="852"/>
                  <a:ext cx="197" cy="410"/>
                  <a:chOff x="-1437" y="852"/>
                  <a:chExt cx="197" cy="410"/>
                </a:xfrm>
              </p:grpSpPr>
              <p:grpSp>
                <p:nvGrpSpPr>
                  <p:cNvPr id="208" name="Group 151"/>
                  <p:cNvGrpSpPr>
                    <a:grpSpLocks/>
                  </p:cNvGrpSpPr>
                  <p:nvPr/>
                </p:nvGrpSpPr>
                <p:grpSpPr bwMode="auto">
                  <a:xfrm>
                    <a:off x="-1431" y="1037"/>
                    <a:ext cx="140" cy="225"/>
                    <a:chOff x="-1431" y="1037"/>
                    <a:chExt cx="140" cy="225"/>
                  </a:xfrm>
                </p:grpSpPr>
                <p:sp>
                  <p:nvSpPr>
                    <p:cNvPr id="214" name="Freeform 152"/>
                    <p:cNvSpPr>
                      <a:spLocks/>
                    </p:cNvSpPr>
                    <p:nvPr/>
                  </p:nvSpPr>
                  <p:spPr bwMode="ltGray">
                    <a:xfrm>
                      <a:off x="-1413" y="1037"/>
                      <a:ext cx="122" cy="225"/>
                    </a:xfrm>
                    <a:custGeom>
                      <a:avLst/>
                      <a:gdLst>
                        <a:gd name="T0" fmla="*/ 0 w 122"/>
                        <a:gd name="T1" fmla="*/ 225 h 225"/>
                        <a:gd name="T2" fmla="*/ 119 w 122"/>
                        <a:gd name="T3" fmla="*/ 213 h 225"/>
                        <a:gd name="T4" fmla="*/ 122 w 122"/>
                        <a:gd name="T5" fmla="*/ 0 h 225"/>
                        <a:gd name="T6" fmla="*/ 0 60000 65536"/>
                        <a:gd name="T7" fmla="*/ 0 60000 65536"/>
                        <a:gd name="T8" fmla="*/ 0 60000 65536"/>
                        <a:gd name="T9" fmla="*/ 0 w 122"/>
                        <a:gd name="T10" fmla="*/ 0 h 225"/>
                        <a:gd name="T11" fmla="*/ 122 w 122"/>
                        <a:gd name="T12" fmla="*/ 225 h 225"/>
                      </a:gdLst>
                      <a:ahLst/>
                      <a:cxnLst>
                        <a:cxn ang="T6">
                          <a:pos x="T0" y="T1"/>
                        </a:cxn>
                        <a:cxn ang="T7">
                          <a:pos x="T2" y="T3"/>
                        </a:cxn>
                        <a:cxn ang="T8">
                          <a:pos x="T4" y="T5"/>
                        </a:cxn>
                      </a:cxnLst>
                      <a:rect l="T9" t="T10" r="T11" b="T12"/>
                      <a:pathLst>
                        <a:path w="122" h="225">
                          <a:moveTo>
                            <a:pt x="0" y="225"/>
                          </a:moveTo>
                          <a:lnTo>
                            <a:pt x="119" y="213"/>
                          </a:lnTo>
                          <a:lnTo>
                            <a:pt x="122" y="0"/>
                          </a:lnTo>
                        </a:path>
                      </a:pathLst>
                    </a:custGeom>
                    <a:solidFill>
                      <a:srgbClr val="DDDDDD"/>
                    </a:solidFill>
                    <a:ln w="12700">
                      <a:solidFill>
                        <a:schemeClr val="tx1"/>
                      </a:solidFill>
                      <a:round/>
                      <a:headEnd/>
                      <a:tailEnd/>
                    </a:ln>
                  </p:spPr>
                  <p:txBody>
                    <a:bodyPr/>
                    <a:lstStyle/>
                    <a:p>
                      <a:pPr eaLnBrk="1" hangingPunct="1"/>
                      <a:endParaRPr lang="es-ES" sz="1800">
                        <a:latin typeface="Arial Unicode MS" pitchFamily="34" charset="-128"/>
                      </a:endParaRPr>
                    </a:p>
                  </p:txBody>
                </p:sp>
                <p:sp>
                  <p:nvSpPr>
                    <p:cNvPr id="215" name="Freeform 153"/>
                    <p:cNvSpPr>
                      <a:spLocks/>
                    </p:cNvSpPr>
                    <p:nvPr/>
                  </p:nvSpPr>
                  <p:spPr bwMode="ltGray">
                    <a:xfrm>
                      <a:off x="-1431" y="1064"/>
                      <a:ext cx="137" cy="56"/>
                    </a:xfrm>
                    <a:custGeom>
                      <a:avLst/>
                      <a:gdLst>
                        <a:gd name="T0" fmla="*/ 0 w 137"/>
                        <a:gd name="T1" fmla="*/ 56 h 56"/>
                        <a:gd name="T2" fmla="*/ 49 w 137"/>
                        <a:gd name="T3" fmla="*/ 40 h 56"/>
                        <a:gd name="T4" fmla="*/ 137 w 137"/>
                        <a:gd name="T5" fmla="*/ 0 h 56"/>
                        <a:gd name="T6" fmla="*/ 0 60000 65536"/>
                        <a:gd name="T7" fmla="*/ 0 60000 65536"/>
                        <a:gd name="T8" fmla="*/ 0 60000 65536"/>
                        <a:gd name="T9" fmla="*/ 0 w 137"/>
                        <a:gd name="T10" fmla="*/ 0 h 56"/>
                        <a:gd name="T11" fmla="*/ 137 w 137"/>
                        <a:gd name="T12" fmla="*/ 56 h 56"/>
                      </a:gdLst>
                      <a:ahLst/>
                      <a:cxnLst>
                        <a:cxn ang="T6">
                          <a:pos x="T0" y="T1"/>
                        </a:cxn>
                        <a:cxn ang="T7">
                          <a:pos x="T2" y="T3"/>
                        </a:cxn>
                        <a:cxn ang="T8">
                          <a:pos x="T4" y="T5"/>
                        </a:cxn>
                      </a:cxnLst>
                      <a:rect l="T9" t="T10" r="T11" b="T12"/>
                      <a:pathLst>
                        <a:path w="137" h="56">
                          <a:moveTo>
                            <a:pt x="0" y="56"/>
                          </a:moveTo>
                          <a:lnTo>
                            <a:pt x="49" y="40"/>
                          </a:lnTo>
                          <a:lnTo>
                            <a:pt x="137" y="0"/>
                          </a:lnTo>
                        </a:path>
                      </a:pathLst>
                    </a:custGeom>
                    <a:solidFill>
                      <a:srgbClr val="DDDDDD"/>
                    </a:solidFill>
                    <a:ln w="12700">
                      <a:solidFill>
                        <a:schemeClr val="tx1"/>
                      </a:solidFill>
                      <a:round/>
                      <a:headEnd/>
                      <a:tailEnd/>
                    </a:ln>
                  </p:spPr>
                  <p:txBody>
                    <a:bodyPr/>
                    <a:lstStyle/>
                    <a:p>
                      <a:pPr eaLnBrk="1" hangingPunct="1"/>
                      <a:endParaRPr lang="es-ES" sz="1800">
                        <a:latin typeface="Arial Unicode MS" pitchFamily="34" charset="-128"/>
                      </a:endParaRPr>
                    </a:p>
                  </p:txBody>
                </p:sp>
              </p:grpSp>
              <p:grpSp>
                <p:nvGrpSpPr>
                  <p:cNvPr id="209" name="Group 154"/>
                  <p:cNvGrpSpPr>
                    <a:grpSpLocks/>
                  </p:cNvGrpSpPr>
                  <p:nvPr/>
                </p:nvGrpSpPr>
                <p:grpSpPr bwMode="auto">
                  <a:xfrm>
                    <a:off x="-1437" y="852"/>
                    <a:ext cx="197" cy="265"/>
                    <a:chOff x="-1437" y="852"/>
                    <a:chExt cx="197" cy="265"/>
                  </a:xfrm>
                </p:grpSpPr>
                <p:sp>
                  <p:nvSpPr>
                    <p:cNvPr id="210" name="Freeform 155"/>
                    <p:cNvSpPr>
                      <a:spLocks/>
                    </p:cNvSpPr>
                    <p:nvPr/>
                  </p:nvSpPr>
                  <p:spPr bwMode="ltGray">
                    <a:xfrm>
                      <a:off x="-1422" y="852"/>
                      <a:ext cx="169" cy="201"/>
                    </a:xfrm>
                    <a:custGeom>
                      <a:avLst/>
                      <a:gdLst>
                        <a:gd name="T0" fmla="*/ 0 w 169"/>
                        <a:gd name="T1" fmla="*/ 71 h 201"/>
                        <a:gd name="T2" fmla="*/ 109 w 169"/>
                        <a:gd name="T3" fmla="*/ 0 h 201"/>
                        <a:gd name="T4" fmla="*/ 169 w 169"/>
                        <a:gd name="T5" fmla="*/ 135 h 201"/>
                        <a:gd name="T6" fmla="*/ 61 w 169"/>
                        <a:gd name="T7" fmla="*/ 201 h 201"/>
                        <a:gd name="T8" fmla="*/ 0 w 169"/>
                        <a:gd name="T9" fmla="*/ 71 h 201"/>
                        <a:gd name="T10" fmla="*/ 0 60000 65536"/>
                        <a:gd name="T11" fmla="*/ 0 60000 65536"/>
                        <a:gd name="T12" fmla="*/ 0 60000 65536"/>
                        <a:gd name="T13" fmla="*/ 0 60000 65536"/>
                        <a:gd name="T14" fmla="*/ 0 60000 65536"/>
                        <a:gd name="T15" fmla="*/ 0 w 169"/>
                        <a:gd name="T16" fmla="*/ 0 h 201"/>
                        <a:gd name="T17" fmla="*/ 169 w 169"/>
                        <a:gd name="T18" fmla="*/ 201 h 201"/>
                      </a:gdLst>
                      <a:ahLst/>
                      <a:cxnLst>
                        <a:cxn ang="T10">
                          <a:pos x="T0" y="T1"/>
                        </a:cxn>
                        <a:cxn ang="T11">
                          <a:pos x="T2" y="T3"/>
                        </a:cxn>
                        <a:cxn ang="T12">
                          <a:pos x="T4" y="T5"/>
                        </a:cxn>
                        <a:cxn ang="T13">
                          <a:pos x="T6" y="T7"/>
                        </a:cxn>
                        <a:cxn ang="T14">
                          <a:pos x="T8" y="T9"/>
                        </a:cxn>
                      </a:cxnLst>
                      <a:rect l="T15" t="T16" r="T17" b="T18"/>
                      <a:pathLst>
                        <a:path w="169" h="201">
                          <a:moveTo>
                            <a:pt x="0" y="71"/>
                          </a:moveTo>
                          <a:lnTo>
                            <a:pt x="109" y="0"/>
                          </a:lnTo>
                          <a:lnTo>
                            <a:pt x="169" y="135"/>
                          </a:lnTo>
                          <a:lnTo>
                            <a:pt x="61" y="201"/>
                          </a:lnTo>
                          <a:lnTo>
                            <a:pt x="0" y="71"/>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grpSp>
                  <p:nvGrpSpPr>
                    <p:cNvPr id="211" name="Group 156"/>
                    <p:cNvGrpSpPr>
                      <a:grpSpLocks/>
                    </p:cNvGrpSpPr>
                    <p:nvPr/>
                  </p:nvGrpSpPr>
                  <p:grpSpPr bwMode="auto">
                    <a:xfrm>
                      <a:off x="-1437" y="936"/>
                      <a:ext cx="197" cy="181"/>
                      <a:chOff x="-1437" y="936"/>
                      <a:chExt cx="197" cy="181"/>
                    </a:xfrm>
                  </p:grpSpPr>
                  <p:sp>
                    <p:nvSpPr>
                      <p:cNvPr id="212" name="Freeform 157"/>
                      <p:cNvSpPr>
                        <a:spLocks/>
                      </p:cNvSpPr>
                      <p:nvPr/>
                    </p:nvSpPr>
                    <p:spPr bwMode="ltGray">
                      <a:xfrm>
                        <a:off x="-1313" y="936"/>
                        <a:ext cx="73" cy="108"/>
                      </a:xfrm>
                      <a:custGeom>
                        <a:avLst/>
                        <a:gdLst>
                          <a:gd name="T0" fmla="*/ 0 w 73"/>
                          <a:gd name="T1" fmla="*/ 66 h 108"/>
                          <a:gd name="T2" fmla="*/ 18 w 73"/>
                          <a:gd name="T3" fmla="*/ 50 h 108"/>
                          <a:gd name="T4" fmla="*/ 28 w 73"/>
                          <a:gd name="T5" fmla="*/ 18 h 108"/>
                          <a:gd name="T6" fmla="*/ 42 w 73"/>
                          <a:gd name="T7" fmla="*/ 8 h 108"/>
                          <a:gd name="T8" fmla="*/ 49 w 73"/>
                          <a:gd name="T9" fmla="*/ 0 h 108"/>
                          <a:gd name="T10" fmla="*/ 54 w 73"/>
                          <a:gd name="T11" fmla="*/ 3 h 108"/>
                          <a:gd name="T12" fmla="*/ 55 w 73"/>
                          <a:gd name="T13" fmla="*/ 11 h 108"/>
                          <a:gd name="T14" fmla="*/ 69 w 73"/>
                          <a:gd name="T15" fmla="*/ 26 h 108"/>
                          <a:gd name="T16" fmla="*/ 73 w 73"/>
                          <a:gd name="T17" fmla="*/ 53 h 108"/>
                          <a:gd name="T18" fmla="*/ 69 w 73"/>
                          <a:gd name="T19" fmla="*/ 72 h 108"/>
                          <a:gd name="T20" fmla="*/ 48 w 73"/>
                          <a:gd name="T21" fmla="*/ 93 h 108"/>
                          <a:gd name="T22" fmla="*/ 7 w 73"/>
                          <a:gd name="T23" fmla="*/ 108 h 108"/>
                          <a:gd name="T24" fmla="*/ 0 w 73"/>
                          <a:gd name="T25" fmla="*/ 66 h 10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3"/>
                          <a:gd name="T40" fmla="*/ 0 h 108"/>
                          <a:gd name="T41" fmla="*/ 73 w 73"/>
                          <a:gd name="T42" fmla="*/ 108 h 10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3" h="108">
                            <a:moveTo>
                              <a:pt x="0" y="66"/>
                            </a:moveTo>
                            <a:lnTo>
                              <a:pt x="18" y="50"/>
                            </a:lnTo>
                            <a:lnTo>
                              <a:pt x="28" y="18"/>
                            </a:lnTo>
                            <a:lnTo>
                              <a:pt x="42" y="8"/>
                            </a:lnTo>
                            <a:lnTo>
                              <a:pt x="49" y="0"/>
                            </a:lnTo>
                            <a:lnTo>
                              <a:pt x="54" y="3"/>
                            </a:lnTo>
                            <a:lnTo>
                              <a:pt x="55" y="11"/>
                            </a:lnTo>
                            <a:lnTo>
                              <a:pt x="69" y="26"/>
                            </a:lnTo>
                            <a:lnTo>
                              <a:pt x="73" y="53"/>
                            </a:lnTo>
                            <a:lnTo>
                              <a:pt x="69" y="72"/>
                            </a:lnTo>
                            <a:lnTo>
                              <a:pt x="48" y="93"/>
                            </a:lnTo>
                            <a:lnTo>
                              <a:pt x="7" y="108"/>
                            </a:lnTo>
                            <a:lnTo>
                              <a:pt x="0" y="66"/>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sp>
                    <p:nvSpPr>
                      <p:cNvPr id="213" name="Freeform 158"/>
                      <p:cNvSpPr>
                        <a:spLocks/>
                      </p:cNvSpPr>
                      <p:nvPr/>
                    </p:nvSpPr>
                    <p:spPr bwMode="ltGray">
                      <a:xfrm>
                        <a:off x="-1437" y="998"/>
                        <a:ext cx="137" cy="119"/>
                      </a:xfrm>
                      <a:custGeom>
                        <a:avLst/>
                        <a:gdLst>
                          <a:gd name="T0" fmla="*/ 0 w 137"/>
                          <a:gd name="T1" fmla="*/ 119 h 119"/>
                          <a:gd name="T2" fmla="*/ 56 w 137"/>
                          <a:gd name="T3" fmla="*/ 98 h 119"/>
                          <a:gd name="T4" fmla="*/ 98 w 137"/>
                          <a:gd name="T5" fmla="*/ 75 h 119"/>
                          <a:gd name="T6" fmla="*/ 137 w 137"/>
                          <a:gd name="T7" fmla="*/ 52 h 119"/>
                          <a:gd name="T8" fmla="*/ 122 w 137"/>
                          <a:gd name="T9" fmla="*/ 0 h 119"/>
                          <a:gd name="T10" fmla="*/ 50 w 137"/>
                          <a:gd name="T11" fmla="*/ 33 h 119"/>
                          <a:gd name="T12" fmla="*/ 6 w 137"/>
                          <a:gd name="T13" fmla="*/ 49 h 119"/>
                          <a:gd name="T14" fmla="*/ 4 w 137"/>
                          <a:gd name="T15" fmla="*/ 40 h 119"/>
                          <a:gd name="T16" fmla="*/ 0 w 137"/>
                          <a:gd name="T17" fmla="*/ 119 h 1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7"/>
                          <a:gd name="T28" fmla="*/ 0 h 119"/>
                          <a:gd name="T29" fmla="*/ 137 w 137"/>
                          <a:gd name="T30" fmla="*/ 119 h 1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7" h="119">
                            <a:moveTo>
                              <a:pt x="0" y="119"/>
                            </a:moveTo>
                            <a:lnTo>
                              <a:pt x="56" y="98"/>
                            </a:lnTo>
                            <a:lnTo>
                              <a:pt x="98" y="75"/>
                            </a:lnTo>
                            <a:lnTo>
                              <a:pt x="137" y="52"/>
                            </a:lnTo>
                            <a:lnTo>
                              <a:pt x="122" y="0"/>
                            </a:lnTo>
                            <a:lnTo>
                              <a:pt x="50" y="33"/>
                            </a:lnTo>
                            <a:lnTo>
                              <a:pt x="6" y="49"/>
                            </a:lnTo>
                            <a:lnTo>
                              <a:pt x="4" y="40"/>
                            </a:lnTo>
                            <a:lnTo>
                              <a:pt x="0" y="119"/>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grpSp>
              </p:grpSp>
            </p:grpSp>
          </p:grpSp>
          <p:grpSp>
            <p:nvGrpSpPr>
              <p:cNvPr id="203" name="Group 159"/>
              <p:cNvGrpSpPr>
                <a:grpSpLocks/>
              </p:cNvGrpSpPr>
              <p:nvPr/>
            </p:nvGrpSpPr>
            <p:grpSpPr bwMode="auto">
              <a:xfrm>
                <a:off x="-1438" y="1819"/>
                <a:ext cx="200" cy="153"/>
                <a:chOff x="-1438" y="1819"/>
                <a:chExt cx="200" cy="153"/>
              </a:xfrm>
            </p:grpSpPr>
            <p:sp>
              <p:nvSpPr>
                <p:cNvPr id="204" name="Freeform 160"/>
                <p:cNvSpPr>
                  <a:spLocks/>
                </p:cNvSpPr>
                <p:nvPr/>
              </p:nvSpPr>
              <p:spPr bwMode="ltGray">
                <a:xfrm>
                  <a:off x="-1328" y="1819"/>
                  <a:ext cx="90" cy="145"/>
                </a:xfrm>
                <a:custGeom>
                  <a:avLst/>
                  <a:gdLst>
                    <a:gd name="T0" fmla="*/ 6 w 90"/>
                    <a:gd name="T1" fmla="*/ 0 h 145"/>
                    <a:gd name="T2" fmla="*/ 0 w 90"/>
                    <a:gd name="T3" fmla="*/ 22 h 145"/>
                    <a:gd name="T4" fmla="*/ 0 w 90"/>
                    <a:gd name="T5" fmla="*/ 65 h 145"/>
                    <a:gd name="T6" fmla="*/ 9 w 90"/>
                    <a:gd name="T7" fmla="*/ 49 h 145"/>
                    <a:gd name="T8" fmla="*/ 19 w 90"/>
                    <a:gd name="T9" fmla="*/ 70 h 145"/>
                    <a:gd name="T10" fmla="*/ 22 w 90"/>
                    <a:gd name="T11" fmla="*/ 99 h 145"/>
                    <a:gd name="T12" fmla="*/ 36 w 90"/>
                    <a:gd name="T13" fmla="*/ 126 h 145"/>
                    <a:gd name="T14" fmla="*/ 58 w 90"/>
                    <a:gd name="T15" fmla="*/ 141 h 145"/>
                    <a:gd name="T16" fmla="*/ 75 w 90"/>
                    <a:gd name="T17" fmla="*/ 145 h 145"/>
                    <a:gd name="T18" fmla="*/ 90 w 90"/>
                    <a:gd name="T19" fmla="*/ 142 h 145"/>
                    <a:gd name="T20" fmla="*/ 90 w 90"/>
                    <a:gd name="T21" fmla="*/ 113 h 145"/>
                    <a:gd name="T22" fmla="*/ 78 w 90"/>
                    <a:gd name="T23" fmla="*/ 71 h 145"/>
                    <a:gd name="T24" fmla="*/ 71 w 90"/>
                    <a:gd name="T25" fmla="*/ 81 h 145"/>
                    <a:gd name="T26" fmla="*/ 58 w 90"/>
                    <a:gd name="T27" fmla="*/ 81 h 145"/>
                    <a:gd name="T28" fmla="*/ 40 w 90"/>
                    <a:gd name="T29" fmla="*/ 79 h 145"/>
                    <a:gd name="T30" fmla="*/ 28 w 90"/>
                    <a:gd name="T31" fmla="*/ 61 h 145"/>
                    <a:gd name="T32" fmla="*/ 17 w 90"/>
                    <a:gd name="T33" fmla="*/ 38 h 145"/>
                    <a:gd name="T34" fmla="*/ 6 w 90"/>
                    <a:gd name="T35" fmla="*/ 0 h 14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0"/>
                    <a:gd name="T55" fmla="*/ 0 h 145"/>
                    <a:gd name="T56" fmla="*/ 90 w 90"/>
                    <a:gd name="T57" fmla="*/ 145 h 14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0" h="145">
                      <a:moveTo>
                        <a:pt x="6" y="0"/>
                      </a:moveTo>
                      <a:lnTo>
                        <a:pt x="0" y="22"/>
                      </a:lnTo>
                      <a:lnTo>
                        <a:pt x="0" y="65"/>
                      </a:lnTo>
                      <a:lnTo>
                        <a:pt x="9" y="49"/>
                      </a:lnTo>
                      <a:lnTo>
                        <a:pt x="19" y="70"/>
                      </a:lnTo>
                      <a:lnTo>
                        <a:pt x="22" y="99"/>
                      </a:lnTo>
                      <a:lnTo>
                        <a:pt x="36" y="126"/>
                      </a:lnTo>
                      <a:lnTo>
                        <a:pt x="58" y="141"/>
                      </a:lnTo>
                      <a:lnTo>
                        <a:pt x="75" y="145"/>
                      </a:lnTo>
                      <a:lnTo>
                        <a:pt x="90" y="142"/>
                      </a:lnTo>
                      <a:lnTo>
                        <a:pt x="90" y="113"/>
                      </a:lnTo>
                      <a:lnTo>
                        <a:pt x="78" y="71"/>
                      </a:lnTo>
                      <a:lnTo>
                        <a:pt x="71" y="81"/>
                      </a:lnTo>
                      <a:lnTo>
                        <a:pt x="58" y="81"/>
                      </a:lnTo>
                      <a:lnTo>
                        <a:pt x="40" y="79"/>
                      </a:lnTo>
                      <a:lnTo>
                        <a:pt x="28" y="61"/>
                      </a:lnTo>
                      <a:lnTo>
                        <a:pt x="17" y="38"/>
                      </a:lnTo>
                      <a:lnTo>
                        <a:pt x="6" y="0"/>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sp>
              <p:nvSpPr>
                <p:cNvPr id="205" name="Freeform 161"/>
                <p:cNvSpPr>
                  <a:spLocks/>
                </p:cNvSpPr>
                <p:nvPr/>
              </p:nvSpPr>
              <p:spPr bwMode="ltGray">
                <a:xfrm>
                  <a:off x="-1438" y="1822"/>
                  <a:ext cx="84" cy="150"/>
                </a:xfrm>
                <a:custGeom>
                  <a:avLst/>
                  <a:gdLst>
                    <a:gd name="T0" fmla="*/ 83 w 84"/>
                    <a:gd name="T1" fmla="*/ 0 h 150"/>
                    <a:gd name="T2" fmla="*/ 84 w 84"/>
                    <a:gd name="T3" fmla="*/ 60 h 150"/>
                    <a:gd name="T4" fmla="*/ 79 w 84"/>
                    <a:gd name="T5" fmla="*/ 45 h 150"/>
                    <a:gd name="T6" fmla="*/ 72 w 84"/>
                    <a:gd name="T7" fmla="*/ 64 h 150"/>
                    <a:gd name="T8" fmla="*/ 66 w 84"/>
                    <a:gd name="T9" fmla="*/ 92 h 150"/>
                    <a:gd name="T10" fmla="*/ 59 w 84"/>
                    <a:gd name="T11" fmla="*/ 116 h 150"/>
                    <a:gd name="T12" fmla="*/ 42 w 84"/>
                    <a:gd name="T13" fmla="*/ 135 h 150"/>
                    <a:gd name="T14" fmla="*/ 26 w 84"/>
                    <a:gd name="T15" fmla="*/ 146 h 150"/>
                    <a:gd name="T16" fmla="*/ 11 w 84"/>
                    <a:gd name="T17" fmla="*/ 150 h 150"/>
                    <a:gd name="T18" fmla="*/ 6 w 84"/>
                    <a:gd name="T19" fmla="*/ 143 h 150"/>
                    <a:gd name="T20" fmla="*/ 1 w 84"/>
                    <a:gd name="T21" fmla="*/ 129 h 150"/>
                    <a:gd name="T22" fmla="*/ 0 w 84"/>
                    <a:gd name="T23" fmla="*/ 114 h 150"/>
                    <a:gd name="T24" fmla="*/ 2 w 84"/>
                    <a:gd name="T25" fmla="*/ 99 h 150"/>
                    <a:gd name="T26" fmla="*/ 9 w 84"/>
                    <a:gd name="T27" fmla="*/ 73 h 150"/>
                    <a:gd name="T28" fmla="*/ 21 w 84"/>
                    <a:gd name="T29" fmla="*/ 82 h 150"/>
                    <a:gd name="T30" fmla="*/ 40 w 84"/>
                    <a:gd name="T31" fmla="*/ 82 h 150"/>
                    <a:gd name="T32" fmla="*/ 52 w 84"/>
                    <a:gd name="T33" fmla="*/ 81 h 150"/>
                    <a:gd name="T34" fmla="*/ 74 w 84"/>
                    <a:gd name="T35" fmla="*/ 31 h 150"/>
                    <a:gd name="T36" fmla="*/ 83 w 84"/>
                    <a:gd name="T37" fmla="*/ 0 h 15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4"/>
                    <a:gd name="T58" fmla="*/ 0 h 150"/>
                    <a:gd name="T59" fmla="*/ 84 w 84"/>
                    <a:gd name="T60" fmla="*/ 150 h 15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4" h="150">
                      <a:moveTo>
                        <a:pt x="83" y="0"/>
                      </a:moveTo>
                      <a:lnTo>
                        <a:pt x="84" y="60"/>
                      </a:lnTo>
                      <a:lnTo>
                        <a:pt x="79" y="45"/>
                      </a:lnTo>
                      <a:lnTo>
                        <a:pt x="72" y="64"/>
                      </a:lnTo>
                      <a:lnTo>
                        <a:pt x="66" y="92"/>
                      </a:lnTo>
                      <a:lnTo>
                        <a:pt x="59" y="116"/>
                      </a:lnTo>
                      <a:lnTo>
                        <a:pt x="42" y="135"/>
                      </a:lnTo>
                      <a:lnTo>
                        <a:pt x="26" y="146"/>
                      </a:lnTo>
                      <a:lnTo>
                        <a:pt x="11" y="150"/>
                      </a:lnTo>
                      <a:lnTo>
                        <a:pt x="6" y="143"/>
                      </a:lnTo>
                      <a:lnTo>
                        <a:pt x="1" y="129"/>
                      </a:lnTo>
                      <a:lnTo>
                        <a:pt x="0" y="114"/>
                      </a:lnTo>
                      <a:lnTo>
                        <a:pt x="2" y="99"/>
                      </a:lnTo>
                      <a:lnTo>
                        <a:pt x="9" y="73"/>
                      </a:lnTo>
                      <a:lnTo>
                        <a:pt x="21" y="82"/>
                      </a:lnTo>
                      <a:lnTo>
                        <a:pt x="40" y="82"/>
                      </a:lnTo>
                      <a:lnTo>
                        <a:pt x="52" y="81"/>
                      </a:lnTo>
                      <a:lnTo>
                        <a:pt x="74" y="31"/>
                      </a:lnTo>
                      <a:lnTo>
                        <a:pt x="83" y="0"/>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grpSp>
        </p:grpSp>
      </p:grpSp>
      <p:sp>
        <p:nvSpPr>
          <p:cNvPr id="281" name="Text Box 162"/>
          <p:cNvSpPr txBox="1">
            <a:spLocks noChangeArrowheads="1"/>
          </p:cNvSpPr>
          <p:nvPr/>
        </p:nvSpPr>
        <p:spPr bwMode="auto">
          <a:xfrm>
            <a:off x="1765649" y="4852764"/>
            <a:ext cx="1479572" cy="5047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lvl1pPr algn="l">
              <a:defRPr sz="2400">
                <a:solidFill>
                  <a:schemeClr val="tx1"/>
                </a:solidFill>
                <a:latin typeface="TheSansCorrespondence" pitchFamily="34" charset="0"/>
              </a:defRPr>
            </a:lvl1pPr>
            <a:lvl2pPr marL="742950" indent="-285750" algn="l">
              <a:defRPr sz="2400">
                <a:solidFill>
                  <a:schemeClr val="tx1"/>
                </a:solidFill>
                <a:latin typeface="TheSansCorrespondence" pitchFamily="34" charset="0"/>
              </a:defRPr>
            </a:lvl2pPr>
            <a:lvl3pPr marL="1143000" indent="-228600" algn="l">
              <a:defRPr sz="2400">
                <a:solidFill>
                  <a:schemeClr val="tx1"/>
                </a:solidFill>
                <a:latin typeface="TheSansCorrespondence" pitchFamily="34" charset="0"/>
              </a:defRPr>
            </a:lvl3pPr>
            <a:lvl4pPr marL="1600200" indent="-228600" algn="l">
              <a:defRPr sz="2400">
                <a:solidFill>
                  <a:schemeClr val="tx1"/>
                </a:solidFill>
                <a:latin typeface="TheSansCorrespondence" pitchFamily="34" charset="0"/>
              </a:defRPr>
            </a:lvl4pPr>
            <a:lvl5pPr marL="2057400" indent="-228600" algn="l">
              <a:defRPr sz="2400">
                <a:solidFill>
                  <a:schemeClr val="tx1"/>
                </a:solidFill>
                <a:latin typeface="TheSansCorrespondence" pitchFamily="34" charset="0"/>
              </a:defRPr>
            </a:lvl5pPr>
            <a:lvl6pPr marL="2514600" indent="-228600" eaLnBrk="0" fontAlgn="base" hangingPunct="0">
              <a:spcBef>
                <a:spcPct val="0"/>
              </a:spcBef>
              <a:spcAft>
                <a:spcPct val="0"/>
              </a:spcAft>
              <a:defRPr sz="2400">
                <a:solidFill>
                  <a:schemeClr val="tx1"/>
                </a:solidFill>
                <a:latin typeface="TheSansCorrespondence" pitchFamily="34" charset="0"/>
              </a:defRPr>
            </a:lvl6pPr>
            <a:lvl7pPr marL="2971800" indent="-228600" eaLnBrk="0" fontAlgn="base" hangingPunct="0">
              <a:spcBef>
                <a:spcPct val="0"/>
              </a:spcBef>
              <a:spcAft>
                <a:spcPct val="0"/>
              </a:spcAft>
              <a:defRPr sz="2400">
                <a:solidFill>
                  <a:schemeClr val="tx1"/>
                </a:solidFill>
                <a:latin typeface="TheSansCorrespondence" pitchFamily="34" charset="0"/>
              </a:defRPr>
            </a:lvl7pPr>
            <a:lvl8pPr marL="3429000" indent="-228600" eaLnBrk="0" fontAlgn="base" hangingPunct="0">
              <a:spcBef>
                <a:spcPct val="0"/>
              </a:spcBef>
              <a:spcAft>
                <a:spcPct val="0"/>
              </a:spcAft>
              <a:defRPr sz="2400">
                <a:solidFill>
                  <a:schemeClr val="tx1"/>
                </a:solidFill>
                <a:latin typeface="TheSansCorrespondence" pitchFamily="34" charset="0"/>
              </a:defRPr>
            </a:lvl8pPr>
            <a:lvl9pPr marL="3886200" indent="-228600" eaLnBrk="0" fontAlgn="base" hangingPunct="0">
              <a:spcBef>
                <a:spcPct val="0"/>
              </a:spcBef>
              <a:spcAft>
                <a:spcPct val="0"/>
              </a:spcAft>
              <a:defRPr sz="2400">
                <a:solidFill>
                  <a:schemeClr val="tx1"/>
                </a:solidFill>
                <a:latin typeface="TheSansCorrespondence" pitchFamily="34" charset="0"/>
              </a:defRPr>
            </a:lvl9pPr>
          </a:lstStyle>
          <a:p>
            <a:pPr algn="ctr">
              <a:spcBef>
                <a:spcPct val="5000"/>
              </a:spcBef>
            </a:pPr>
            <a:r>
              <a:rPr lang="es-ES" sz="1200" b="0" dirty="0">
                <a:latin typeface="Arial Unicode MS" pitchFamily="34" charset="-128"/>
              </a:rPr>
              <a:t> </a:t>
            </a:r>
            <a:r>
              <a:rPr lang="es-ES" sz="1200" b="0" dirty="0" err="1" smtClean="0">
                <a:latin typeface="Arial Unicode MS" pitchFamily="34" charset="-128"/>
              </a:rPr>
              <a:t>Energy</a:t>
            </a:r>
            <a:r>
              <a:rPr lang="es-ES" sz="1200" b="0" dirty="0" smtClean="0">
                <a:latin typeface="Arial Unicode MS" pitchFamily="34" charset="-128"/>
              </a:rPr>
              <a:t>: </a:t>
            </a:r>
            <a:r>
              <a:rPr lang="es-ES" sz="1600" i="1" dirty="0" smtClean="0">
                <a:latin typeface="Arial Unicode MS" pitchFamily="34" charset="-128"/>
              </a:rPr>
              <a:t>4,2 </a:t>
            </a:r>
            <a:r>
              <a:rPr lang="es-ES" sz="1600" i="1" dirty="0" err="1" smtClean="0">
                <a:latin typeface="Arial Unicode MS" pitchFamily="34" charset="-128"/>
              </a:rPr>
              <a:t>TWh</a:t>
            </a:r>
            <a:r>
              <a:rPr lang="es-ES" sz="1200" b="0" dirty="0" smtClean="0">
                <a:latin typeface="Arial Unicode MS" pitchFamily="34" charset="-128"/>
              </a:rPr>
              <a:t>€</a:t>
            </a:r>
            <a:endParaRPr lang="es-ES" sz="1200" b="0" dirty="0">
              <a:latin typeface="Arial Unicode MS" pitchFamily="34" charset="-128"/>
            </a:endParaRPr>
          </a:p>
          <a:p>
            <a:pPr algn="ctr">
              <a:spcBef>
                <a:spcPct val="5000"/>
              </a:spcBef>
            </a:pPr>
            <a:r>
              <a:rPr lang="es-ES" sz="1200" b="0" dirty="0">
                <a:latin typeface="Arial Unicode MS" pitchFamily="34" charset="-128"/>
              </a:rPr>
              <a:t> </a:t>
            </a:r>
            <a:r>
              <a:rPr lang="es-ES" sz="1600" i="1" dirty="0" smtClean="0">
                <a:latin typeface="Arial Unicode MS" pitchFamily="34" charset="-128"/>
              </a:rPr>
              <a:t>1,8 </a:t>
            </a:r>
            <a:r>
              <a:rPr lang="es-ES" sz="1600" i="1" dirty="0" err="1" smtClean="0">
                <a:latin typeface="Arial Unicode MS" pitchFamily="34" charset="-128"/>
              </a:rPr>
              <a:t>mT</a:t>
            </a:r>
            <a:r>
              <a:rPr lang="es-ES" sz="1600" i="1" dirty="0" smtClean="0">
                <a:latin typeface="Arial Unicode MS" pitchFamily="34" charset="-128"/>
              </a:rPr>
              <a:t> CO2 e</a:t>
            </a:r>
            <a:endParaRPr lang="es-ES" sz="1200" b="0" dirty="0">
              <a:latin typeface="Arial Unicode MS" pitchFamily="34" charset="-128"/>
            </a:endParaRPr>
          </a:p>
        </p:txBody>
      </p:sp>
      <p:grpSp>
        <p:nvGrpSpPr>
          <p:cNvPr id="282" name="Group 252"/>
          <p:cNvGrpSpPr>
            <a:grpSpLocks/>
          </p:cNvGrpSpPr>
          <p:nvPr/>
        </p:nvGrpSpPr>
        <p:grpSpPr bwMode="auto">
          <a:xfrm>
            <a:off x="3283969" y="2139729"/>
            <a:ext cx="614255" cy="669925"/>
            <a:chOff x="5281" y="1668"/>
            <a:chExt cx="387" cy="422"/>
          </a:xfrm>
        </p:grpSpPr>
        <p:pic>
          <p:nvPicPr>
            <p:cNvPr id="283" name="Picture 188" descr="652">
              <a:hlinkClick r:id="rId11"/>
            </p:cNvPr>
            <p:cNvPicPr>
              <a:picLocks noChangeAspect="1" noChangeArrowheads="1"/>
            </p:cNvPicPr>
            <p:nvPr>
              <p:custDataLst>
                <p:tags r:id="rId3"/>
              </p:custDataLst>
            </p:nvPr>
          </p:nvPicPr>
          <p:blipFill>
            <a:blip r:embed="rId12" cstate="print">
              <a:clrChange>
                <a:clrFrom>
                  <a:srgbClr val="FEFEFE"/>
                </a:clrFrom>
                <a:clrTo>
                  <a:srgbClr val="FEFEFE">
                    <a:alpha val="0"/>
                  </a:srgbClr>
                </a:clrTo>
              </a:clrChange>
              <a:extLst>
                <a:ext uri="{28A0092B-C50C-407E-A947-70E740481C1C}">
                  <a14:useLocalDpi xmlns:a14="http://schemas.microsoft.com/office/drawing/2010/main" xmlns="" val="0"/>
                </a:ext>
              </a:extLst>
            </a:blip>
            <a:srcRect r="1764" b="20975"/>
            <a:stretch>
              <a:fillRect/>
            </a:stretch>
          </p:blipFill>
          <p:spPr bwMode="gray">
            <a:xfrm>
              <a:off x="5281" y="1892"/>
              <a:ext cx="162" cy="1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84" name="Picture 189" descr="tv-plasma"/>
            <p:cNvPicPr>
              <a:picLocks noChangeAspect="1" noChangeArrowheads="1"/>
            </p:cNvPicPr>
            <p:nvPr>
              <p:custDataLst>
                <p:tags r:id="rId4"/>
              </p:custDataLst>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gray">
            <a:xfrm>
              <a:off x="5499" y="1904"/>
              <a:ext cx="161" cy="1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285" name="Object 190"/>
            <p:cNvGraphicFramePr>
              <a:graphicFrameLocks noChangeAspect="1"/>
            </p:cNvGraphicFramePr>
            <p:nvPr/>
          </p:nvGraphicFramePr>
          <p:xfrm>
            <a:off x="5336" y="1702"/>
            <a:ext cx="166" cy="185"/>
          </p:xfrm>
          <a:graphic>
            <a:graphicData uri="http://schemas.openxmlformats.org/presentationml/2006/ole">
              <p:oleObj spid="_x0000_s2082" name="Foto de Photo Editor" r:id="rId14" imgW="1542857" imgH="1257476" progId="">
                <p:embed/>
              </p:oleObj>
            </a:graphicData>
          </a:graphic>
        </p:graphicFrame>
        <p:pic>
          <p:nvPicPr>
            <p:cNvPr id="286" name="Picture 191"/>
            <p:cNvPicPr>
              <a:picLocks noChangeAspect="1" noChangeArrowheads="1"/>
            </p:cNvPicPr>
            <p:nvPr/>
          </p:nvPicPr>
          <p:blipFill>
            <a:blip r:embed="rId15" cstate="print">
              <a:extLst>
                <a:ext uri="{28A0092B-C50C-407E-A947-70E740481C1C}">
                  <a14:useLocalDpi xmlns:a14="http://schemas.microsoft.com/office/drawing/2010/main" xmlns="" val="0"/>
                </a:ext>
              </a:extLst>
            </a:blip>
            <a:srcRect/>
            <a:stretch>
              <a:fillRect/>
            </a:stretch>
          </p:blipFill>
          <p:spPr bwMode="auto">
            <a:xfrm>
              <a:off x="5559" y="1668"/>
              <a:ext cx="109" cy="1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287" name="Rectangle 203"/>
          <p:cNvSpPr>
            <a:spLocks noChangeArrowheads="1"/>
          </p:cNvSpPr>
          <p:nvPr/>
        </p:nvSpPr>
        <p:spPr bwMode="auto">
          <a:xfrm>
            <a:off x="1620558" y="900907"/>
            <a:ext cx="2339569" cy="449262"/>
          </a:xfrm>
          <a:prstGeom prst="rect">
            <a:avLst/>
          </a:prstGeom>
          <a:solidFill>
            <a:schemeClr val="accent1"/>
          </a:solidFill>
          <a:ln>
            <a:noFill/>
          </a:ln>
          <a:extLst>
            <a:ext uri="{91240B29-F687-4F45-9708-019B960494DF}">
              <a14:hiddenLine xmlns:a14="http://schemas.microsoft.com/office/drawing/2010/main" xmlns="" w="28575" algn="ctr">
                <a:solidFill>
                  <a:schemeClr val="bg2"/>
                </a:solidFill>
                <a:miter lim="800000"/>
                <a:headEnd/>
                <a:tailEnd/>
              </a14:hiddenLine>
            </a:ext>
          </a:extLst>
        </p:spPr>
        <p:txBody>
          <a:bodyPr wrap="none" anchor="ctr"/>
          <a:lstStyle/>
          <a:p>
            <a:pPr algn="ctr"/>
            <a:r>
              <a:rPr lang="es-ES" sz="2000" dirty="0" smtClean="0">
                <a:solidFill>
                  <a:schemeClr val="bg1"/>
                </a:solidFill>
                <a:latin typeface="Arial Unicode MS" pitchFamily="34" charset="-128"/>
              </a:rPr>
              <a:t>2012</a:t>
            </a:r>
            <a:endParaRPr lang="es-ES" sz="2000" dirty="0">
              <a:solidFill>
                <a:schemeClr val="bg1"/>
              </a:solidFill>
              <a:latin typeface="Arial Unicode MS" pitchFamily="34" charset="-128"/>
            </a:endParaRPr>
          </a:p>
        </p:txBody>
      </p:sp>
      <p:sp>
        <p:nvSpPr>
          <p:cNvPr id="288" name="Rectangle 205"/>
          <p:cNvSpPr>
            <a:spLocks noChangeArrowheads="1"/>
          </p:cNvSpPr>
          <p:nvPr/>
        </p:nvSpPr>
        <p:spPr bwMode="auto">
          <a:xfrm>
            <a:off x="1620558" y="2077814"/>
            <a:ext cx="2339569" cy="792162"/>
          </a:xfrm>
          <a:prstGeom prst="rect">
            <a:avLst/>
          </a:prstGeom>
          <a:noFill/>
          <a:ln w="28575">
            <a:solidFill>
              <a:schemeClr val="bg2"/>
            </a:solidFill>
            <a:miter lim="800000"/>
            <a:headEnd/>
            <a:tailEnd/>
          </a:ln>
          <a:extLst>
            <a:ext uri="{909E8E84-426E-40DD-AFC4-6F175D3DCCD1}">
              <a14:hiddenFill xmlns:a14="http://schemas.microsoft.com/office/drawing/2010/main" xmlns="">
                <a:solidFill>
                  <a:srgbClr val="FFFFFF"/>
                </a:solidFill>
              </a14:hiddenFill>
            </a:ext>
          </a:extLst>
        </p:spPr>
        <p:txBody>
          <a:bodyPr wrap="none" anchor="ctr"/>
          <a:lstStyle/>
          <a:p>
            <a:pPr defTabSz="933450" eaLnBrk="1" hangingPunct="1"/>
            <a:endParaRPr lang="es-ES" sz="1600" b="0" i="1">
              <a:latin typeface="Arial Unicode MS" pitchFamily="34" charset="-128"/>
            </a:endParaRPr>
          </a:p>
        </p:txBody>
      </p:sp>
      <p:sp>
        <p:nvSpPr>
          <p:cNvPr id="289" name="Rectangle 206"/>
          <p:cNvSpPr>
            <a:spLocks noChangeArrowheads="1"/>
          </p:cNvSpPr>
          <p:nvPr/>
        </p:nvSpPr>
        <p:spPr bwMode="auto">
          <a:xfrm>
            <a:off x="1620558" y="2960464"/>
            <a:ext cx="2339569" cy="792162"/>
          </a:xfrm>
          <a:prstGeom prst="rect">
            <a:avLst/>
          </a:prstGeom>
          <a:noFill/>
          <a:ln w="28575">
            <a:solidFill>
              <a:schemeClr val="bg2"/>
            </a:solidFill>
            <a:miter lim="800000"/>
            <a:headEnd/>
            <a:tailEnd/>
          </a:ln>
          <a:extLst>
            <a:ext uri="{909E8E84-426E-40DD-AFC4-6F175D3DCCD1}">
              <a14:hiddenFill xmlns:a14="http://schemas.microsoft.com/office/drawing/2010/main" xmlns="">
                <a:solidFill>
                  <a:srgbClr val="FFFFFF"/>
                </a:solidFill>
              </a14:hiddenFill>
            </a:ext>
          </a:extLst>
        </p:spPr>
        <p:txBody>
          <a:bodyPr wrap="none" anchor="ctr"/>
          <a:lstStyle/>
          <a:p>
            <a:pPr defTabSz="933450" eaLnBrk="1" hangingPunct="1"/>
            <a:endParaRPr lang="es-ES" sz="1600" b="0" i="1">
              <a:latin typeface="Arial Unicode MS" pitchFamily="34" charset="-128"/>
            </a:endParaRPr>
          </a:p>
        </p:txBody>
      </p:sp>
      <p:sp>
        <p:nvSpPr>
          <p:cNvPr id="290" name="Rectangle 207"/>
          <p:cNvSpPr>
            <a:spLocks noChangeArrowheads="1"/>
          </p:cNvSpPr>
          <p:nvPr/>
        </p:nvSpPr>
        <p:spPr bwMode="auto">
          <a:xfrm>
            <a:off x="1620558" y="3847879"/>
            <a:ext cx="2339569" cy="792163"/>
          </a:xfrm>
          <a:prstGeom prst="rect">
            <a:avLst/>
          </a:prstGeom>
          <a:noFill/>
          <a:ln w="28575">
            <a:solidFill>
              <a:schemeClr val="bg2"/>
            </a:solidFill>
            <a:miter lim="800000"/>
            <a:headEnd/>
            <a:tailEnd/>
          </a:ln>
          <a:extLst>
            <a:ext uri="{909E8E84-426E-40DD-AFC4-6F175D3DCCD1}">
              <a14:hiddenFill xmlns:a14="http://schemas.microsoft.com/office/drawing/2010/main" xmlns="">
                <a:solidFill>
                  <a:srgbClr val="FFFFFF"/>
                </a:solidFill>
              </a14:hiddenFill>
            </a:ext>
          </a:extLst>
        </p:spPr>
        <p:txBody>
          <a:bodyPr wrap="none" anchor="ctr"/>
          <a:lstStyle/>
          <a:p>
            <a:pPr defTabSz="933450" eaLnBrk="1" hangingPunct="1"/>
            <a:endParaRPr lang="es-ES" sz="1600" b="0" i="1">
              <a:latin typeface="Arial Unicode MS" pitchFamily="34" charset="-128"/>
            </a:endParaRPr>
          </a:p>
        </p:txBody>
      </p:sp>
      <p:sp>
        <p:nvSpPr>
          <p:cNvPr id="291" name="Rectangle 204"/>
          <p:cNvSpPr>
            <a:spLocks noChangeArrowheads="1"/>
          </p:cNvSpPr>
          <p:nvPr/>
        </p:nvSpPr>
        <p:spPr bwMode="auto">
          <a:xfrm>
            <a:off x="1620558" y="1196754"/>
            <a:ext cx="2339569" cy="792163"/>
          </a:xfrm>
          <a:prstGeom prst="rect">
            <a:avLst/>
          </a:prstGeom>
          <a:noFill/>
          <a:ln w="28575">
            <a:solidFill>
              <a:schemeClr val="bg2"/>
            </a:solidFill>
            <a:miter lim="800000"/>
            <a:headEnd/>
            <a:tailEnd/>
          </a:ln>
          <a:extLst>
            <a:ext uri="{909E8E84-426E-40DD-AFC4-6F175D3DCCD1}">
              <a14:hiddenFill xmlns:a14="http://schemas.microsoft.com/office/drawing/2010/main" xmlns="">
                <a:solidFill>
                  <a:srgbClr val="FFFFFF"/>
                </a:solidFill>
              </a14:hiddenFill>
            </a:ext>
          </a:extLst>
        </p:spPr>
        <p:txBody>
          <a:bodyPr wrap="none" anchor="ctr"/>
          <a:lstStyle/>
          <a:p>
            <a:pPr defTabSz="933450" eaLnBrk="1" hangingPunct="1"/>
            <a:endParaRPr lang="es-ES" sz="1600" b="0" i="1">
              <a:latin typeface="Arial Unicode MS" pitchFamily="34" charset="-128"/>
            </a:endParaRPr>
          </a:p>
        </p:txBody>
      </p:sp>
      <p:sp>
        <p:nvSpPr>
          <p:cNvPr id="292" name="Rectangle 208"/>
          <p:cNvSpPr>
            <a:spLocks noChangeArrowheads="1"/>
          </p:cNvSpPr>
          <p:nvPr/>
        </p:nvSpPr>
        <p:spPr bwMode="auto">
          <a:xfrm>
            <a:off x="1620558" y="4738464"/>
            <a:ext cx="2339569" cy="792162"/>
          </a:xfrm>
          <a:prstGeom prst="rect">
            <a:avLst/>
          </a:prstGeom>
          <a:noFill/>
          <a:ln w="28575">
            <a:solidFill>
              <a:schemeClr val="bg2"/>
            </a:solidFill>
            <a:miter lim="800000"/>
            <a:headEnd/>
            <a:tailEnd/>
          </a:ln>
          <a:extLst>
            <a:ext uri="{909E8E84-426E-40DD-AFC4-6F175D3DCCD1}">
              <a14:hiddenFill xmlns:a14="http://schemas.microsoft.com/office/drawing/2010/main" xmlns="">
                <a:solidFill>
                  <a:srgbClr val="FFFFFF"/>
                </a:solidFill>
              </a14:hiddenFill>
            </a:ext>
          </a:extLst>
        </p:spPr>
        <p:txBody>
          <a:bodyPr wrap="none" anchor="ctr"/>
          <a:lstStyle/>
          <a:p>
            <a:pPr defTabSz="933450" eaLnBrk="1" hangingPunct="1"/>
            <a:endParaRPr lang="es-ES" sz="1400" b="0" i="1">
              <a:latin typeface="Arial Unicode MS" pitchFamily="34" charset="-128"/>
            </a:endParaRPr>
          </a:p>
        </p:txBody>
      </p:sp>
      <p:pic>
        <p:nvPicPr>
          <p:cNvPr id="293" name="Picture 261" descr="PANEL 2"/>
          <p:cNvPicPr>
            <a:picLocks noChangeAspect="1" noChangeArrowheads="1"/>
          </p:cNvPicPr>
          <p:nvPr/>
        </p:nvPicPr>
        <p:blipFill>
          <a:blip r:embed="rId16" cstate="print">
            <a:extLst>
              <a:ext uri="{28A0092B-C50C-407E-A947-70E740481C1C}">
                <a14:useLocalDpi xmlns:a14="http://schemas.microsoft.com/office/drawing/2010/main" xmlns="" val="0"/>
              </a:ext>
            </a:extLst>
          </a:blip>
          <a:srcRect/>
          <a:stretch>
            <a:fillRect/>
          </a:stretch>
        </p:blipFill>
        <p:spPr bwMode="auto">
          <a:xfrm>
            <a:off x="3445866" y="4740054"/>
            <a:ext cx="499975" cy="790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95" name="Imagen 6" descr="TFN_Logo Port_Azul.png"/>
          <p:cNvPicPr>
            <a:picLocks noChangeAspect="1"/>
          </p:cNvPicPr>
          <p:nvPr/>
        </p:nvPicPr>
        <p:blipFill>
          <a:blip r:embed="rId17" cstate="print">
            <a:extLst>
              <a:ext uri="{28A0092B-C50C-407E-A947-70E740481C1C}">
                <a14:useLocalDpi xmlns:a14="http://schemas.microsoft.com/office/drawing/2010/main" xmlns="" val="0"/>
              </a:ext>
            </a:extLst>
          </a:blip>
          <a:srcRect/>
          <a:stretch>
            <a:fillRect/>
          </a:stretch>
        </p:blipFill>
        <p:spPr bwMode="auto">
          <a:xfrm>
            <a:off x="4715644" y="2015184"/>
            <a:ext cx="1807848" cy="493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98" name="Picture 117"/>
          <p:cNvPicPr>
            <a:picLocks noChangeAspect="1" noChangeArrowheads="1"/>
          </p:cNvPicPr>
          <p:nvPr/>
        </p:nvPicPr>
        <p:blipFill>
          <a:blip r:embed="rId18" cstate="print">
            <a:extLst>
              <a:ext uri="{28A0092B-C50C-407E-A947-70E740481C1C}">
                <a14:useLocalDpi xmlns:a14="http://schemas.microsoft.com/office/drawing/2010/main" xmlns="" val="0"/>
              </a:ext>
            </a:extLst>
          </a:blip>
          <a:srcRect/>
          <a:stretch>
            <a:fillRect/>
          </a:stretch>
        </p:blipFill>
        <p:spPr bwMode="auto">
          <a:xfrm>
            <a:off x="4475885" y="1029024"/>
            <a:ext cx="4428356" cy="16383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spTree>
    <p:extLst>
      <p:ext uri="{BB962C8B-B14F-4D97-AF65-F5344CB8AC3E}">
        <p14:creationId xmlns:p14="http://schemas.microsoft.com/office/powerpoint/2010/main" xmlns="" val="4009875657"/>
      </p:ext>
    </p:extLst>
  </p:cSld>
  <p:clrMapOvr>
    <a:overrideClrMapping bg1="lt1" tx1="dk1" bg2="lt2" tx2="dk2" accent1="accent1" accent2="accent2" accent3="accent3" accent4="accent4" accent5="accent5" accent6="accent6" hlink="hlink" folHlink="folHlink"/>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658" name="Imagen 5" descr="TFN_Logo Cierre_Azul.png"/>
          <p:cNvPicPr>
            <a:picLocks noChangeAspect="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250782" y="2133600"/>
            <a:ext cx="8778938" cy="23939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3477841213"/>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Number Placeholder 3"/>
          <p:cNvSpPr>
            <a:spLocks noGrp="1"/>
          </p:cNvSpPr>
          <p:nvPr>
            <p:ph type="sldNum" sz="quarter" idx="4294967295"/>
          </p:nvPr>
        </p:nvSpPr>
        <p:spPr>
          <a:xfrm>
            <a:off x="8769350" y="6403975"/>
            <a:ext cx="339725" cy="244475"/>
          </a:xfrm>
          <a:prstGeom prst="rect">
            <a:avLst/>
          </a:prstGeom>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000">
                <a:solidFill>
                  <a:srgbClr val="646464"/>
                </a:solidFill>
                <a:latin typeface="Verdana" pitchFamily="34" charset="0"/>
                <a:cs typeface="Arial" pitchFamily="34" charset="0"/>
              </a:defRPr>
            </a:lvl1pPr>
            <a:lvl2pPr marL="742950" indent="-285750" eaLnBrk="0" hangingPunct="0">
              <a:defRPr sz="2000">
                <a:solidFill>
                  <a:srgbClr val="646464"/>
                </a:solidFill>
                <a:latin typeface="Verdana" pitchFamily="34" charset="0"/>
                <a:cs typeface="Arial" pitchFamily="34" charset="0"/>
              </a:defRPr>
            </a:lvl2pPr>
            <a:lvl3pPr marL="1143000" indent="-228600" eaLnBrk="0" hangingPunct="0">
              <a:defRPr sz="2000">
                <a:solidFill>
                  <a:srgbClr val="646464"/>
                </a:solidFill>
                <a:latin typeface="Verdana" pitchFamily="34" charset="0"/>
                <a:cs typeface="Arial" pitchFamily="34" charset="0"/>
              </a:defRPr>
            </a:lvl3pPr>
            <a:lvl4pPr marL="1600200" indent="-228600" eaLnBrk="0" hangingPunct="0">
              <a:defRPr sz="2000">
                <a:solidFill>
                  <a:srgbClr val="646464"/>
                </a:solidFill>
                <a:latin typeface="Verdana" pitchFamily="34" charset="0"/>
                <a:cs typeface="Arial" pitchFamily="34" charset="0"/>
              </a:defRPr>
            </a:lvl4pPr>
            <a:lvl5pPr marL="2057400" indent="-228600" eaLnBrk="0" hangingPunct="0">
              <a:defRPr sz="2000">
                <a:solidFill>
                  <a:srgbClr val="646464"/>
                </a:solidFill>
                <a:latin typeface="Verdana" pitchFamily="34" charset="0"/>
                <a:cs typeface="Arial" pitchFamily="34" charset="0"/>
              </a:defRPr>
            </a:lvl5pPr>
            <a:lvl6pPr marL="2514600" indent="-228600" eaLnBrk="0" fontAlgn="base" hangingPunct="0">
              <a:spcBef>
                <a:spcPct val="0"/>
              </a:spcBef>
              <a:spcAft>
                <a:spcPct val="0"/>
              </a:spcAft>
              <a:defRPr sz="2000">
                <a:solidFill>
                  <a:srgbClr val="646464"/>
                </a:solidFill>
                <a:latin typeface="Verdana" pitchFamily="34" charset="0"/>
                <a:cs typeface="Arial" pitchFamily="34" charset="0"/>
              </a:defRPr>
            </a:lvl6pPr>
            <a:lvl7pPr marL="2971800" indent="-228600" eaLnBrk="0" fontAlgn="base" hangingPunct="0">
              <a:spcBef>
                <a:spcPct val="0"/>
              </a:spcBef>
              <a:spcAft>
                <a:spcPct val="0"/>
              </a:spcAft>
              <a:defRPr sz="2000">
                <a:solidFill>
                  <a:srgbClr val="646464"/>
                </a:solidFill>
                <a:latin typeface="Verdana" pitchFamily="34" charset="0"/>
                <a:cs typeface="Arial" pitchFamily="34" charset="0"/>
              </a:defRPr>
            </a:lvl7pPr>
            <a:lvl8pPr marL="3429000" indent="-228600" eaLnBrk="0" fontAlgn="base" hangingPunct="0">
              <a:spcBef>
                <a:spcPct val="0"/>
              </a:spcBef>
              <a:spcAft>
                <a:spcPct val="0"/>
              </a:spcAft>
              <a:defRPr sz="2000">
                <a:solidFill>
                  <a:srgbClr val="646464"/>
                </a:solidFill>
                <a:latin typeface="Verdana" pitchFamily="34" charset="0"/>
                <a:cs typeface="Arial" pitchFamily="34" charset="0"/>
              </a:defRPr>
            </a:lvl8pPr>
            <a:lvl9pPr marL="3886200" indent="-228600" eaLnBrk="0" fontAlgn="base" hangingPunct="0">
              <a:spcBef>
                <a:spcPct val="0"/>
              </a:spcBef>
              <a:spcAft>
                <a:spcPct val="0"/>
              </a:spcAft>
              <a:defRPr sz="2000">
                <a:solidFill>
                  <a:srgbClr val="646464"/>
                </a:solidFill>
                <a:latin typeface="Verdana" pitchFamily="34" charset="0"/>
                <a:cs typeface="Arial" pitchFamily="34" charset="0"/>
              </a:defRPr>
            </a:lvl9pPr>
          </a:lstStyle>
          <a:p>
            <a:pPr eaLnBrk="1" hangingPunct="1"/>
            <a:fld id="{5C7FC0E3-25B1-4BF9-A66D-A52A9674682C}" type="slidenum">
              <a:rPr lang="en-US" sz="1000" smtClean="0">
                <a:solidFill>
                  <a:srgbClr val="0E438A"/>
                </a:solidFill>
                <a:latin typeface="Zurich BT"/>
                <a:cs typeface="Times New Roman" pitchFamily="18" charset="0"/>
              </a:rPr>
              <a:pPr eaLnBrk="1" hangingPunct="1"/>
              <a:t>21</a:t>
            </a:fld>
            <a:endParaRPr lang="en-US" sz="1000" smtClean="0">
              <a:solidFill>
                <a:srgbClr val="0E438A"/>
              </a:solidFill>
              <a:latin typeface="Zurich BT"/>
              <a:cs typeface="Times New Roman" pitchFamily="18" charset="0"/>
            </a:endParaRPr>
          </a:p>
        </p:txBody>
      </p:sp>
      <p:sp>
        <p:nvSpPr>
          <p:cNvPr id="22531" name="Title 1"/>
          <p:cNvSpPr>
            <a:spLocks noGrp="1"/>
          </p:cNvSpPr>
          <p:nvPr>
            <p:ph type="title"/>
          </p:nvPr>
        </p:nvSpPr>
        <p:spPr>
          <a:xfrm>
            <a:off x="827088" y="2852738"/>
            <a:ext cx="7445375" cy="1077912"/>
          </a:xfrm>
          <a:gradFill rotWithShape="1">
            <a:gsLst>
              <a:gs pos="0">
                <a:srgbClr val="BEF397"/>
              </a:gs>
              <a:gs pos="50000">
                <a:srgbClr val="D5F6C0"/>
              </a:gs>
              <a:gs pos="100000">
                <a:srgbClr val="EAFAE0"/>
              </a:gs>
            </a:gsLst>
            <a:lin ang="13500000" scaled="1"/>
          </a:gradFill>
          <a:ln w="38100">
            <a:solidFill>
              <a:srgbClr val="1B5BA2"/>
            </a:solidFill>
            <a:miter lim="800000"/>
            <a:headEnd/>
            <a:tailEnd/>
          </a:ln>
        </p:spPr>
        <p:txBody>
          <a:bodyPr/>
          <a:lstStyle/>
          <a:p>
            <a:r>
              <a:rPr lang="en-US" altLang="ja-JP" sz="3200" smtClean="0">
                <a:ea typeface="MS PGothic" pitchFamily="34" charset="-128"/>
              </a:rPr>
              <a:t>Focus Group on</a:t>
            </a:r>
            <a:br>
              <a:rPr lang="en-US" altLang="ja-JP" sz="3200" smtClean="0">
                <a:ea typeface="MS PGothic" pitchFamily="34" charset="-128"/>
              </a:rPr>
            </a:br>
            <a:r>
              <a:rPr lang="en-US" altLang="ja-JP" sz="3200" smtClean="0">
                <a:ea typeface="MS PGothic" pitchFamily="34" charset="-128"/>
              </a:rPr>
              <a:t>Smart Sustainable Cities</a:t>
            </a:r>
            <a:endParaRPr lang="en-US" smtClean="0"/>
          </a:p>
        </p:txBody>
      </p:sp>
      <p:pic>
        <p:nvPicPr>
          <p:cNvPr id="22532" name="Picture 2" descr="C:\Documents and Settings\bueti\My Documents\My Pictures\itu-cc.gif"/>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0" y="115888"/>
            <a:ext cx="2317750" cy="936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50" name="Picture 2" descr="C:\Users\bueti\Pictures\stock-vector-green-city-inside-the-leaf-116821840.jp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7092280" y="116632"/>
            <a:ext cx="1659632" cy="17326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520670706"/>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a:spLocks noGrp="1"/>
          </p:cNvSpPr>
          <p:nvPr>
            <p:ph type="title"/>
          </p:nvPr>
        </p:nvSpPr>
        <p:spPr>
          <a:xfrm>
            <a:off x="363859" y="86509"/>
            <a:ext cx="8456613" cy="954107"/>
          </a:xfrm>
        </p:spPr>
        <p:txBody>
          <a:bodyPr/>
          <a:lstStyle/>
          <a:p>
            <a:r>
              <a:rPr lang="en-US" sz="2800" dirty="0" smtClean="0"/>
              <a:t>Focus Group on Smart Sustainable Cities</a:t>
            </a:r>
            <a:endParaRPr lang="en-US" sz="2800" b="0" dirty="0" smtClean="0"/>
          </a:p>
        </p:txBody>
      </p:sp>
      <p:sp>
        <p:nvSpPr>
          <p:cNvPr id="24579" name="Content Placeholder 2"/>
          <p:cNvSpPr>
            <a:spLocks noGrp="1"/>
          </p:cNvSpPr>
          <p:nvPr>
            <p:ph sz="half" idx="1"/>
          </p:nvPr>
        </p:nvSpPr>
        <p:spPr>
          <a:xfrm>
            <a:off x="467544" y="1413171"/>
            <a:ext cx="3095898" cy="3455989"/>
          </a:xfrm>
        </p:spPr>
        <p:txBody>
          <a:bodyPr/>
          <a:lstStyle/>
          <a:p>
            <a:r>
              <a:rPr lang="en-US" sz="1600" dirty="0" smtClean="0">
                <a:solidFill>
                  <a:srgbClr val="2E2E2E"/>
                </a:solidFill>
              </a:rPr>
              <a:t>Established at SG5 meeting in Geneva, 29 January to 7 February 2013</a:t>
            </a:r>
          </a:p>
          <a:p>
            <a:endParaRPr lang="en-US" sz="1600" dirty="0" smtClean="0">
              <a:solidFill>
                <a:srgbClr val="2E2E2E"/>
              </a:solidFill>
            </a:endParaRPr>
          </a:p>
          <a:p>
            <a:r>
              <a:rPr lang="en-US" sz="1600" dirty="0" smtClean="0">
                <a:solidFill>
                  <a:srgbClr val="2E2E2E"/>
                </a:solidFill>
              </a:rPr>
              <a:t>As an open platform for smart-city stakeholders </a:t>
            </a:r>
          </a:p>
          <a:p>
            <a:endParaRPr lang="en-US" sz="1600" dirty="0" smtClean="0">
              <a:solidFill>
                <a:srgbClr val="2E2E2E"/>
              </a:solidFill>
            </a:endParaRPr>
          </a:p>
          <a:p>
            <a:r>
              <a:rPr lang="en-US" sz="1600" b="1" dirty="0" smtClean="0">
                <a:solidFill>
                  <a:srgbClr val="00B050"/>
                </a:solidFill>
              </a:rPr>
              <a:t>1</a:t>
            </a:r>
            <a:r>
              <a:rPr lang="en-US" sz="1600" b="1" baseline="30000" dirty="0" smtClean="0">
                <a:solidFill>
                  <a:srgbClr val="00B050"/>
                </a:solidFill>
              </a:rPr>
              <a:t>st</a:t>
            </a:r>
            <a:r>
              <a:rPr lang="en-US" sz="1600" b="1" dirty="0" smtClean="0">
                <a:solidFill>
                  <a:srgbClr val="00B050"/>
                </a:solidFill>
              </a:rPr>
              <a:t> meeting to be held on 8 May 2013 in Turin, Italy </a:t>
            </a:r>
            <a:r>
              <a:rPr lang="en-US" sz="1600" dirty="0" smtClean="0">
                <a:solidFill>
                  <a:srgbClr val="00B050"/>
                </a:solidFill>
              </a:rPr>
              <a:t>back to back with 8</a:t>
            </a:r>
            <a:r>
              <a:rPr lang="en-US" sz="1600" baseline="30000" dirty="0" smtClean="0">
                <a:solidFill>
                  <a:srgbClr val="00B050"/>
                </a:solidFill>
              </a:rPr>
              <a:t>th</a:t>
            </a:r>
            <a:r>
              <a:rPr lang="en-US" sz="1600" dirty="0" smtClean="0">
                <a:solidFill>
                  <a:srgbClr val="00B050"/>
                </a:solidFill>
              </a:rPr>
              <a:t> Symposium on ICTs, Environment and climate Change (6-7 May 2013) </a:t>
            </a:r>
          </a:p>
        </p:txBody>
      </p:sp>
      <p:sp>
        <p:nvSpPr>
          <p:cNvPr id="24581" name="Slide Number Placeholder 3"/>
          <p:cNvSpPr>
            <a:spLocks noGrp="1"/>
          </p:cNvSpPr>
          <p:nvPr>
            <p:ph type="sldNum" sz="quarter" idx="4294967295"/>
          </p:nvPr>
        </p:nvSpPr>
        <p:spPr>
          <a:xfrm>
            <a:off x="8769350" y="6403975"/>
            <a:ext cx="339725" cy="244475"/>
          </a:xfrm>
          <a:prstGeom prst="rect">
            <a:avLst/>
          </a:prstGeom>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000">
                <a:solidFill>
                  <a:srgbClr val="646464"/>
                </a:solidFill>
                <a:latin typeface="Verdana" pitchFamily="34" charset="0"/>
                <a:cs typeface="Arial" pitchFamily="34" charset="0"/>
              </a:defRPr>
            </a:lvl1pPr>
            <a:lvl2pPr marL="742950" indent="-285750" eaLnBrk="0" hangingPunct="0">
              <a:defRPr sz="2000">
                <a:solidFill>
                  <a:srgbClr val="646464"/>
                </a:solidFill>
                <a:latin typeface="Verdana" pitchFamily="34" charset="0"/>
                <a:cs typeface="Arial" pitchFamily="34" charset="0"/>
              </a:defRPr>
            </a:lvl2pPr>
            <a:lvl3pPr marL="1143000" indent="-228600" eaLnBrk="0" hangingPunct="0">
              <a:defRPr sz="2000">
                <a:solidFill>
                  <a:srgbClr val="646464"/>
                </a:solidFill>
                <a:latin typeface="Verdana" pitchFamily="34" charset="0"/>
                <a:cs typeface="Arial" pitchFamily="34" charset="0"/>
              </a:defRPr>
            </a:lvl3pPr>
            <a:lvl4pPr marL="1600200" indent="-228600" eaLnBrk="0" hangingPunct="0">
              <a:defRPr sz="2000">
                <a:solidFill>
                  <a:srgbClr val="646464"/>
                </a:solidFill>
                <a:latin typeface="Verdana" pitchFamily="34" charset="0"/>
                <a:cs typeface="Arial" pitchFamily="34" charset="0"/>
              </a:defRPr>
            </a:lvl4pPr>
            <a:lvl5pPr marL="2057400" indent="-228600" eaLnBrk="0" hangingPunct="0">
              <a:defRPr sz="2000">
                <a:solidFill>
                  <a:srgbClr val="646464"/>
                </a:solidFill>
                <a:latin typeface="Verdana" pitchFamily="34" charset="0"/>
                <a:cs typeface="Arial" pitchFamily="34" charset="0"/>
              </a:defRPr>
            </a:lvl5pPr>
            <a:lvl6pPr marL="2514600" indent="-228600" eaLnBrk="0" fontAlgn="base" hangingPunct="0">
              <a:spcBef>
                <a:spcPct val="0"/>
              </a:spcBef>
              <a:spcAft>
                <a:spcPct val="0"/>
              </a:spcAft>
              <a:defRPr sz="2000">
                <a:solidFill>
                  <a:srgbClr val="646464"/>
                </a:solidFill>
                <a:latin typeface="Verdana" pitchFamily="34" charset="0"/>
                <a:cs typeface="Arial" pitchFamily="34" charset="0"/>
              </a:defRPr>
            </a:lvl6pPr>
            <a:lvl7pPr marL="2971800" indent="-228600" eaLnBrk="0" fontAlgn="base" hangingPunct="0">
              <a:spcBef>
                <a:spcPct val="0"/>
              </a:spcBef>
              <a:spcAft>
                <a:spcPct val="0"/>
              </a:spcAft>
              <a:defRPr sz="2000">
                <a:solidFill>
                  <a:srgbClr val="646464"/>
                </a:solidFill>
                <a:latin typeface="Verdana" pitchFamily="34" charset="0"/>
                <a:cs typeface="Arial" pitchFamily="34" charset="0"/>
              </a:defRPr>
            </a:lvl7pPr>
            <a:lvl8pPr marL="3429000" indent="-228600" eaLnBrk="0" fontAlgn="base" hangingPunct="0">
              <a:spcBef>
                <a:spcPct val="0"/>
              </a:spcBef>
              <a:spcAft>
                <a:spcPct val="0"/>
              </a:spcAft>
              <a:defRPr sz="2000">
                <a:solidFill>
                  <a:srgbClr val="646464"/>
                </a:solidFill>
                <a:latin typeface="Verdana" pitchFamily="34" charset="0"/>
                <a:cs typeface="Arial" pitchFamily="34" charset="0"/>
              </a:defRPr>
            </a:lvl8pPr>
            <a:lvl9pPr marL="3886200" indent="-228600" eaLnBrk="0" fontAlgn="base" hangingPunct="0">
              <a:spcBef>
                <a:spcPct val="0"/>
              </a:spcBef>
              <a:spcAft>
                <a:spcPct val="0"/>
              </a:spcAft>
              <a:defRPr sz="2000">
                <a:solidFill>
                  <a:srgbClr val="646464"/>
                </a:solidFill>
                <a:latin typeface="Verdana" pitchFamily="34" charset="0"/>
                <a:cs typeface="Arial" pitchFamily="34" charset="0"/>
              </a:defRPr>
            </a:lvl9pPr>
          </a:lstStyle>
          <a:p>
            <a:pPr eaLnBrk="1" hangingPunct="1"/>
            <a:fld id="{9B7C00CF-B986-406E-B82A-E04D2C740836}" type="slidenum">
              <a:rPr lang="en-US" sz="1000" smtClean="0">
                <a:solidFill>
                  <a:srgbClr val="0E438A"/>
                </a:solidFill>
                <a:latin typeface="Zurich BT"/>
                <a:cs typeface="Times New Roman" pitchFamily="18" charset="0"/>
              </a:rPr>
              <a:pPr eaLnBrk="1" hangingPunct="1"/>
              <a:t>22</a:t>
            </a:fld>
            <a:endParaRPr lang="en-US" sz="1000" smtClean="0">
              <a:solidFill>
                <a:srgbClr val="0E438A"/>
              </a:solidFill>
              <a:latin typeface="Zurich BT"/>
              <a:cs typeface="Times New Roman" pitchFamily="18" charset="0"/>
            </a:endParaRPr>
          </a:p>
        </p:txBody>
      </p:sp>
      <p:sp>
        <p:nvSpPr>
          <p:cNvPr id="8" name="Content Placeholder 2"/>
          <p:cNvSpPr>
            <a:spLocks noGrp="1"/>
          </p:cNvSpPr>
          <p:nvPr>
            <p:ph sz="half" idx="1"/>
          </p:nvPr>
        </p:nvSpPr>
        <p:spPr>
          <a:xfrm>
            <a:off x="3923928" y="1053132"/>
            <a:ext cx="5184576" cy="4320084"/>
          </a:xfrm>
          <a:solidFill>
            <a:srgbClr val="92D050"/>
          </a:solidFill>
        </p:spPr>
        <p:txBody>
          <a:bodyPr/>
          <a:lstStyle/>
          <a:p>
            <a:r>
              <a:rPr lang="en-US" sz="1600" b="1" i="1" dirty="0">
                <a:solidFill>
                  <a:schemeClr val="accent5">
                    <a:lumMod val="95000"/>
                  </a:schemeClr>
                </a:solidFill>
              </a:rPr>
              <a:t>Chairman</a:t>
            </a:r>
            <a:r>
              <a:rPr lang="en-US" sz="1600" b="1" dirty="0">
                <a:solidFill>
                  <a:schemeClr val="accent5">
                    <a:lumMod val="95000"/>
                  </a:schemeClr>
                </a:solidFill>
              </a:rPr>
              <a:t> </a:t>
            </a:r>
            <a:br>
              <a:rPr lang="en-US" sz="1600" b="1" dirty="0">
                <a:solidFill>
                  <a:schemeClr val="accent5">
                    <a:lumMod val="95000"/>
                  </a:schemeClr>
                </a:solidFill>
              </a:rPr>
            </a:br>
            <a:r>
              <a:rPr lang="en-US" sz="1600" b="1" dirty="0">
                <a:solidFill>
                  <a:schemeClr val="accent5">
                    <a:lumMod val="95000"/>
                  </a:schemeClr>
                </a:solidFill>
              </a:rPr>
              <a:t>   -    Silvia Guzman, </a:t>
            </a:r>
            <a:r>
              <a:rPr lang="en-US" sz="1600" b="1" dirty="0" err="1" smtClean="0">
                <a:solidFill>
                  <a:schemeClr val="accent5">
                    <a:lumMod val="95000"/>
                  </a:schemeClr>
                </a:solidFill>
              </a:rPr>
              <a:t>Telefónica</a:t>
            </a:r>
            <a:r>
              <a:rPr lang="en-US" sz="1600" b="1" dirty="0" smtClean="0">
                <a:solidFill>
                  <a:schemeClr val="accent5">
                    <a:lumMod val="95000"/>
                  </a:schemeClr>
                </a:solidFill>
              </a:rPr>
              <a:t/>
            </a:r>
            <a:br>
              <a:rPr lang="en-US" sz="1600" b="1" dirty="0" smtClean="0">
                <a:solidFill>
                  <a:schemeClr val="accent5">
                    <a:lumMod val="95000"/>
                  </a:schemeClr>
                </a:solidFill>
              </a:rPr>
            </a:br>
            <a:endParaRPr lang="en-US" sz="1600" b="1" dirty="0">
              <a:solidFill>
                <a:schemeClr val="accent5">
                  <a:lumMod val="95000"/>
                </a:schemeClr>
              </a:solidFill>
            </a:endParaRPr>
          </a:p>
          <a:p>
            <a:r>
              <a:rPr lang="en-US" sz="1600" b="1" i="1" dirty="0">
                <a:solidFill>
                  <a:schemeClr val="accent5">
                    <a:lumMod val="95000"/>
                  </a:schemeClr>
                </a:solidFill>
              </a:rPr>
              <a:t>Vice-Chairmen </a:t>
            </a:r>
            <a:r>
              <a:rPr lang="en-US" sz="1600" b="1" i="1" dirty="0" smtClean="0">
                <a:solidFill>
                  <a:schemeClr val="accent5">
                    <a:lumMod val="95000"/>
                  </a:schemeClr>
                </a:solidFill>
              </a:rPr>
              <a:t/>
            </a:r>
            <a:br>
              <a:rPr lang="en-US" sz="1600" b="1" i="1" dirty="0" smtClean="0">
                <a:solidFill>
                  <a:schemeClr val="accent5">
                    <a:lumMod val="95000"/>
                  </a:schemeClr>
                </a:solidFill>
              </a:rPr>
            </a:br>
            <a:r>
              <a:rPr lang="en-US" sz="1600" b="1" i="1" dirty="0">
                <a:solidFill>
                  <a:schemeClr val="accent5">
                    <a:lumMod val="95000"/>
                  </a:schemeClr>
                </a:solidFill>
              </a:rPr>
              <a:t/>
            </a:r>
            <a:br>
              <a:rPr lang="en-US" sz="1600" b="1" i="1" dirty="0">
                <a:solidFill>
                  <a:schemeClr val="accent5">
                    <a:lumMod val="95000"/>
                  </a:schemeClr>
                </a:solidFill>
              </a:rPr>
            </a:br>
            <a:r>
              <a:rPr lang="en-US" sz="1600" b="1" dirty="0">
                <a:solidFill>
                  <a:schemeClr val="accent5">
                    <a:lumMod val="95000"/>
                  </a:schemeClr>
                </a:solidFill>
              </a:rPr>
              <a:t>   -    Pablo Bilbao, Federation Argentina de </a:t>
            </a:r>
            <a:r>
              <a:rPr lang="en-US" sz="1600" b="1" dirty="0" err="1">
                <a:solidFill>
                  <a:schemeClr val="accent5">
                    <a:lumMod val="95000"/>
                  </a:schemeClr>
                </a:solidFill>
              </a:rPr>
              <a:t>Municipios</a:t>
            </a:r>
            <a:endParaRPr lang="en-US" sz="1600" b="1" dirty="0">
              <a:solidFill>
                <a:schemeClr val="accent5">
                  <a:lumMod val="95000"/>
                </a:schemeClr>
              </a:solidFill>
            </a:endParaRPr>
          </a:p>
          <a:p>
            <a:r>
              <a:rPr lang="en-US" sz="1600" b="1" dirty="0">
                <a:solidFill>
                  <a:schemeClr val="accent5">
                    <a:lumMod val="95000"/>
                  </a:schemeClr>
                </a:solidFill>
              </a:rPr>
              <a:t>   -    Flavio Cucchietti, Telecom Italia</a:t>
            </a:r>
          </a:p>
          <a:p>
            <a:r>
              <a:rPr lang="en-US" sz="1600" b="1" dirty="0">
                <a:solidFill>
                  <a:schemeClr val="accent5">
                    <a:lumMod val="95000"/>
                  </a:schemeClr>
                </a:solidFill>
              </a:rPr>
              <a:t>   -    </a:t>
            </a:r>
            <a:r>
              <a:rPr lang="en-US" sz="1600" b="1" dirty="0" err="1">
                <a:solidFill>
                  <a:schemeClr val="accent5">
                    <a:lumMod val="95000"/>
                  </a:schemeClr>
                </a:solidFill>
              </a:rPr>
              <a:t>Sekhar</a:t>
            </a:r>
            <a:r>
              <a:rPr lang="en-US" sz="1600" b="1" dirty="0">
                <a:solidFill>
                  <a:schemeClr val="accent5">
                    <a:lumMod val="95000"/>
                  </a:schemeClr>
                </a:solidFill>
              </a:rPr>
              <a:t> </a:t>
            </a:r>
            <a:r>
              <a:rPr lang="en-US" sz="1600" b="1" dirty="0" err="1">
                <a:solidFill>
                  <a:schemeClr val="accent5">
                    <a:lumMod val="95000"/>
                  </a:schemeClr>
                </a:solidFill>
              </a:rPr>
              <a:t>Kondepudi</a:t>
            </a:r>
            <a:r>
              <a:rPr lang="en-US" sz="1600" b="1" dirty="0">
                <a:solidFill>
                  <a:schemeClr val="accent5">
                    <a:lumMod val="95000"/>
                  </a:schemeClr>
                </a:solidFill>
              </a:rPr>
              <a:t>, National University of Singapore</a:t>
            </a:r>
          </a:p>
          <a:p>
            <a:r>
              <a:rPr lang="en-US" sz="1600" b="1" dirty="0">
                <a:solidFill>
                  <a:schemeClr val="accent5">
                    <a:lumMod val="95000"/>
                  </a:schemeClr>
                </a:solidFill>
              </a:rPr>
              <a:t>   -    Nasser </a:t>
            </a:r>
            <a:r>
              <a:rPr lang="en-US" sz="1600" b="1" dirty="0" err="1">
                <a:solidFill>
                  <a:schemeClr val="accent5">
                    <a:lumMod val="95000"/>
                  </a:schemeClr>
                </a:solidFill>
              </a:rPr>
              <a:t>Saleh</a:t>
            </a:r>
            <a:r>
              <a:rPr lang="en-US" sz="1600" b="1" dirty="0">
                <a:solidFill>
                  <a:schemeClr val="accent5">
                    <a:lumMod val="95000"/>
                  </a:schemeClr>
                </a:solidFill>
              </a:rPr>
              <a:t> Al </a:t>
            </a:r>
            <a:r>
              <a:rPr lang="en-US" sz="1600" b="1" dirty="0" err="1">
                <a:solidFill>
                  <a:schemeClr val="accent5">
                    <a:lumMod val="95000"/>
                  </a:schemeClr>
                </a:solidFill>
              </a:rPr>
              <a:t>Marzouqi</a:t>
            </a:r>
            <a:r>
              <a:rPr lang="en-US" sz="1600" b="1" dirty="0">
                <a:solidFill>
                  <a:schemeClr val="accent5">
                    <a:lumMod val="95000"/>
                  </a:schemeClr>
                </a:solidFill>
              </a:rPr>
              <a:t>, UAE</a:t>
            </a:r>
          </a:p>
          <a:p>
            <a:r>
              <a:rPr lang="en-US" sz="1600" b="1" dirty="0">
                <a:solidFill>
                  <a:schemeClr val="accent5">
                    <a:lumMod val="95000"/>
                  </a:schemeClr>
                </a:solidFill>
              </a:rPr>
              <a:t>   -    Franz Zichy, USA</a:t>
            </a:r>
          </a:p>
          <a:p>
            <a:r>
              <a:rPr lang="en-US" sz="1600" b="1" dirty="0">
                <a:solidFill>
                  <a:schemeClr val="accent5">
                    <a:lumMod val="95000"/>
                  </a:schemeClr>
                </a:solidFill>
              </a:rPr>
              <a:t>   -    </a:t>
            </a:r>
            <a:r>
              <a:rPr lang="en-US" sz="1600" b="1" dirty="0" err="1">
                <a:solidFill>
                  <a:schemeClr val="accent5">
                    <a:lumMod val="95000"/>
                  </a:schemeClr>
                </a:solidFill>
              </a:rPr>
              <a:t>Ziqin</a:t>
            </a:r>
            <a:r>
              <a:rPr lang="en-US" sz="1600" b="1" dirty="0">
                <a:solidFill>
                  <a:schemeClr val="accent5">
                    <a:lumMod val="95000"/>
                  </a:schemeClr>
                </a:solidFill>
              </a:rPr>
              <a:t> Sang, </a:t>
            </a:r>
            <a:r>
              <a:rPr lang="en-US" sz="1600" b="1" dirty="0" err="1">
                <a:solidFill>
                  <a:schemeClr val="accent5">
                    <a:lumMod val="95000"/>
                  </a:schemeClr>
                </a:solidFill>
              </a:rPr>
              <a:t>Fiberhome</a:t>
            </a:r>
            <a:r>
              <a:rPr lang="en-US" sz="1600" b="1" dirty="0">
                <a:solidFill>
                  <a:schemeClr val="accent5">
                    <a:lumMod val="95000"/>
                  </a:schemeClr>
                </a:solidFill>
              </a:rPr>
              <a:t> Technologies Group</a:t>
            </a:r>
          </a:p>
          <a:p>
            <a:endParaRPr lang="en-US" sz="1600" b="1" dirty="0" smtClean="0">
              <a:solidFill>
                <a:srgbClr val="00B050"/>
              </a:solidFill>
            </a:endParaRPr>
          </a:p>
        </p:txBody>
      </p:sp>
    </p:spTree>
    <p:extLst>
      <p:ext uri="{BB962C8B-B14F-4D97-AF65-F5344CB8AC3E}">
        <p14:creationId xmlns:p14="http://schemas.microsoft.com/office/powerpoint/2010/main" xmlns="" val="2034752355"/>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335558"/>
            <a:ext cx="7772400" cy="954107"/>
          </a:xfrm>
        </p:spPr>
        <p:txBody>
          <a:bodyPr/>
          <a:lstStyle/>
          <a:p>
            <a:r>
              <a:rPr lang="en-US" sz="2800" dirty="0"/>
              <a:t>Main </a:t>
            </a:r>
            <a:r>
              <a:rPr lang="en-US" sz="2800" dirty="0" smtClean="0"/>
              <a:t>Tasks </a:t>
            </a:r>
            <a:r>
              <a:rPr lang="en-US" sz="2800" dirty="0"/>
              <a:t>and D</a:t>
            </a:r>
            <a:r>
              <a:rPr lang="en-US" sz="2800" dirty="0" smtClean="0"/>
              <a:t>eliverables</a:t>
            </a:r>
            <a:r>
              <a:rPr lang="en-US" sz="2800" dirty="0"/>
              <a:t/>
            </a:r>
            <a:br>
              <a:rPr lang="en-US" sz="2800" dirty="0"/>
            </a:br>
            <a:endParaRPr lang="en-US" sz="2800" dirty="0"/>
          </a:p>
        </p:txBody>
      </p:sp>
      <p:sp>
        <p:nvSpPr>
          <p:cNvPr id="3" name="Content Placeholder 2"/>
          <p:cNvSpPr>
            <a:spLocks noGrp="1"/>
          </p:cNvSpPr>
          <p:nvPr>
            <p:ph idx="1"/>
          </p:nvPr>
        </p:nvSpPr>
        <p:spPr/>
        <p:txBody>
          <a:bodyPr/>
          <a:lstStyle/>
          <a:p>
            <a:endParaRPr lang="en-US" dirty="0"/>
          </a:p>
        </p:txBody>
      </p:sp>
      <p:sp>
        <p:nvSpPr>
          <p:cNvPr id="4" name="Slide Number Placeholder 3"/>
          <p:cNvSpPr>
            <a:spLocks noGrp="1"/>
          </p:cNvSpPr>
          <p:nvPr>
            <p:ph type="sldNum" sz="quarter" idx="4294967295"/>
          </p:nvPr>
        </p:nvSpPr>
        <p:spPr>
          <a:xfrm>
            <a:off x="8769350" y="6403975"/>
            <a:ext cx="339725" cy="244475"/>
          </a:xfrm>
          <a:prstGeom prst="rect">
            <a:avLst/>
          </a:prstGeom>
        </p:spPr>
        <p:txBody>
          <a:bodyPr/>
          <a:lstStyle/>
          <a:p>
            <a:pPr>
              <a:defRPr/>
            </a:pPr>
            <a:fld id="{38D22100-0CF0-4355-8EF2-A6A653504129}" type="slidenum">
              <a:rPr lang="en-US" smtClean="0"/>
              <a:pPr>
                <a:defRPr/>
              </a:pPr>
              <a:t>23</a:t>
            </a:fld>
            <a:endParaRPr lang="en-US"/>
          </a:p>
        </p:txBody>
      </p:sp>
      <p:sp>
        <p:nvSpPr>
          <p:cNvPr id="5" name="Content Placeholder 4"/>
          <p:cNvSpPr txBox="1">
            <a:spLocks/>
          </p:cNvSpPr>
          <p:nvPr/>
        </p:nvSpPr>
        <p:spPr>
          <a:xfrm>
            <a:off x="683568" y="1341115"/>
            <a:ext cx="7848872" cy="4464149"/>
          </a:xfrm>
          <a:prstGeom prst="rect">
            <a:avLst/>
          </a:prstGeom>
          <a:gradFill rotWithShape="1">
            <a:gsLst>
              <a:gs pos="0">
                <a:srgbClr val="BEF397"/>
              </a:gs>
              <a:gs pos="50000">
                <a:srgbClr val="D5F6C0"/>
              </a:gs>
              <a:gs pos="100000">
                <a:srgbClr val="EAFAE0"/>
              </a:gs>
            </a:gsLst>
            <a:lin ang="2700000" scaled="1"/>
          </a:gradFill>
        </p:spPr>
        <p:txBody>
          <a:bodyPr/>
          <a:lstStyle>
            <a:lvl1pPr marL="342900" indent="-342900" algn="l" rtl="0" eaLnBrk="0" fontAlgn="base" hangingPunct="0">
              <a:spcBef>
                <a:spcPct val="20000"/>
              </a:spcBef>
              <a:spcAft>
                <a:spcPct val="0"/>
              </a:spcAft>
              <a:buClr>
                <a:srgbClr val="0E438A"/>
              </a:buClr>
              <a:buSzPct val="110000"/>
              <a:buFont typeface="Wingdings" pitchFamily="2" charset="2"/>
              <a:buChar char="§"/>
              <a:defRPr sz="3200">
                <a:solidFill>
                  <a:srgbClr val="5C5C5C"/>
                </a:solidFill>
                <a:latin typeface="+mn-lt"/>
                <a:ea typeface="+mn-ea"/>
                <a:cs typeface="+mn-cs"/>
              </a:defRPr>
            </a:lvl1pPr>
            <a:lvl2pPr marL="742950" indent="-285750" algn="l" rtl="0" eaLnBrk="0" fontAlgn="base" hangingPunct="0">
              <a:spcBef>
                <a:spcPct val="20000"/>
              </a:spcBef>
              <a:spcAft>
                <a:spcPct val="0"/>
              </a:spcAft>
              <a:buClr>
                <a:srgbClr val="0099CC"/>
              </a:buClr>
              <a:buFont typeface="Wingdings" pitchFamily="2" charset="2"/>
              <a:buChar char="Ø"/>
              <a:defRPr sz="2800">
                <a:solidFill>
                  <a:srgbClr val="5C5C5C"/>
                </a:solidFill>
                <a:latin typeface="+mn-lt"/>
              </a:defRPr>
            </a:lvl2pPr>
            <a:lvl3pPr marL="1143000" indent="-228600" algn="l" rtl="0" eaLnBrk="0" fontAlgn="base" hangingPunct="0">
              <a:spcBef>
                <a:spcPct val="20000"/>
              </a:spcBef>
              <a:spcAft>
                <a:spcPct val="0"/>
              </a:spcAft>
              <a:buClr>
                <a:srgbClr val="0099CC"/>
              </a:buClr>
              <a:buFont typeface="Wingdings" pitchFamily="2" charset="2"/>
              <a:buChar char="§"/>
              <a:defRPr sz="2400">
                <a:solidFill>
                  <a:srgbClr val="5C5C5C"/>
                </a:solidFill>
                <a:latin typeface="+mn-lt"/>
              </a:defRPr>
            </a:lvl3pPr>
            <a:lvl4pPr marL="1600200" indent="-228600" algn="l" rtl="0" eaLnBrk="0" fontAlgn="base" hangingPunct="0">
              <a:spcBef>
                <a:spcPct val="20000"/>
              </a:spcBef>
              <a:spcAft>
                <a:spcPct val="0"/>
              </a:spcAft>
              <a:buFont typeface="Verdana" pitchFamily="34" charset="0"/>
              <a:buChar char="–"/>
              <a:defRPr sz="2000">
                <a:solidFill>
                  <a:srgbClr val="5C5C5C"/>
                </a:solidFill>
                <a:latin typeface="+mn-lt"/>
              </a:defRPr>
            </a:lvl4pPr>
            <a:lvl5pPr marL="2057400" indent="-228600" algn="l" rtl="0" eaLnBrk="0" fontAlgn="base" hangingPunct="0">
              <a:spcBef>
                <a:spcPct val="20000"/>
              </a:spcBef>
              <a:spcAft>
                <a:spcPct val="0"/>
              </a:spcAft>
              <a:buFont typeface="Verdana" pitchFamily="34" charset="0"/>
              <a:buChar char="–"/>
              <a:defRPr sz="2000">
                <a:solidFill>
                  <a:srgbClr val="5C5C5C"/>
                </a:solidFill>
                <a:latin typeface="+mn-lt"/>
              </a:defRPr>
            </a:lvl5pPr>
            <a:lvl6pPr marL="2514600" indent="-228600" algn="l" rtl="0" eaLnBrk="0" fontAlgn="base" hangingPunct="0">
              <a:spcBef>
                <a:spcPct val="20000"/>
              </a:spcBef>
              <a:spcAft>
                <a:spcPct val="0"/>
              </a:spcAft>
              <a:buFont typeface="Verdana" pitchFamily="34" charset="0"/>
              <a:buChar char="–"/>
              <a:defRPr sz="2000">
                <a:solidFill>
                  <a:srgbClr val="5C5C5C"/>
                </a:solidFill>
                <a:latin typeface="+mn-lt"/>
              </a:defRPr>
            </a:lvl6pPr>
            <a:lvl7pPr marL="2971800" indent="-228600" algn="l" rtl="0" eaLnBrk="0" fontAlgn="base" hangingPunct="0">
              <a:spcBef>
                <a:spcPct val="20000"/>
              </a:spcBef>
              <a:spcAft>
                <a:spcPct val="0"/>
              </a:spcAft>
              <a:buFont typeface="Verdana" pitchFamily="34" charset="0"/>
              <a:buChar char="–"/>
              <a:defRPr sz="2000">
                <a:solidFill>
                  <a:srgbClr val="5C5C5C"/>
                </a:solidFill>
                <a:latin typeface="+mn-lt"/>
              </a:defRPr>
            </a:lvl7pPr>
            <a:lvl8pPr marL="3429000" indent="-228600" algn="l" rtl="0" eaLnBrk="0" fontAlgn="base" hangingPunct="0">
              <a:spcBef>
                <a:spcPct val="20000"/>
              </a:spcBef>
              <a:spcAft>
                <a:spcPct val="0"/>
              </a:spcAft>
              <a:buFont typeface="Verdana" pitchFamily="34" charset="0"/>
              <a:buChar char="–"/>
              <a:defRPr sz="2000">
                <a:solidFill>
                  <a:srgbClr val="5C5C5C"/>
                </a:solidFill>
                <a:latin typeface="+mn-lt"/>
              </a:defRPr>
            </a:lvl8pPr>
            <a:lvl9pPr marL="3886200" indent="-228600" algn="l" rtl="0" eaLnBrk="0" fontAlgn="base" hangingPunct="0">
              <a:spcBef>
                <a:spcPct val="20000"/>
              </a:spcBef>
              <a:spcAft>
                <a:spcPct val="0"/>
              </a:spcAft>
              <a:buFont typeface="Verdana" pitchFamily="34" charset="0"/>
              <a:buChar char="–"/>
              <a:defRPr sz="2000">
                <a:solidFill>
                  <a:srgbClr val="5C5C5C"/>
                </a:solidFill>
                <a:latin typeface="+mn-lt"/>
              </a:defRPr>
            </a:lvl9pPr>
          </a:lstStyle>
          <a:p>
            <a:pPr lvl="1">
              <a:buFont typeface="Wingdings" pitchFamily="2" charset="2"/>
              <a:buChar char="§"/>
            </a:pPr>
            <a:r>
              <a:rPr lang="en-US" sz="1600" kern="0" dirty="0" smtClean="0">
                <a:solidFill>
                  <a:srgbClr val="2E2E2E"/>
                </a:solidFill>
              </a:rPr>
              <a:t>Defining the role of ICTs in environmentally sustainable smart cities, and identifying the ICT systems necessary to the development of a Smart Sustainable City;</a:t>
            </a:r>
          </a:p>
          <a:p>
            <a:pPr lvl="1">
              <a:buFont typeface="Wingdings" pitchFamily="2" charset="2"/>
              <a:buChar char="§"/>
            </a:pPr>
            <a:r>
              <a:rPr lang="en-US" sz="1600" kern="0" dirty="0" smtClean="0">
                <a:solidFill>
                  <a:srgbClr val="2E2E2E"/>
                </a:solidFill>
              </a:rPr>
              <a:t>Collecting and documenting information on existing smart city initiatives and technical specifications, focusing in particular on the identification of standardization gaps;</a:t>
            </a:r>
          </a:p>
          <a:p>
            <a:pPr lvl="1">
              <a:buFont typeface="Wingdings" pitchFamily="2" charset="2"/>
              <a:buChar char="§"/>
            </a:pPr>
            <a:r>
              <a:rPr lang="en-US" sz="1600" kern="0" dirty="0" smtClean="0">
                <a:solidFill>
                  <a:srgbClr val="2E2E2E"/>
                </a:solidFill>
              </a:rPr>
              <a:t>Identifying or developing a set of Key Performance Indicators (KPIs) to gauge the success of smart-city ICT deployments;</a:t>
            </a:r>
          </a:p>
          <a:p>
            <a:pPr lvl="1">
              <a:buFont typeface="Wingdings" pitchFamily="2" charset="2"/>
              <a:buChar char="§"/>
            </a:pPr>
            <a:r>
              <a:rPr lang="en-US" sz="1600" kern="0" dirty="0" smtClean="0">
                <a:solidFill>
                  <a:srgbClr val="2E2E2E"/>
                </a:solidFill>
              </a:rPr>
              <a:t>Establishing relationships and liaison mechanisms with other bodies engaged in smart-city studies and development;</a:t>
            </a:r>
          </a:p>
          <a:p>
            <a:pPr lvl="1">
              <a:buFont typeface="Wingdings" pitchFamily="2" charset="2"/>
              <a:buChar char="§"/>
            </a:pPr>
            <a:r>
              <a:rPr lang="en-US" sz="1600" kern="0" dirty="0" smtClean="0">
                <a:solidFill>
                  <a:srgbClr val="2E2E2E"/>
                </a:solidFill>
              </a:rPr>
              <a:t>Identifying future smart-city standardization projects to be undertaken by its parent group, ITU-T Study Group 5;</a:t>
            </a:r>
          </a:p>
          <a:p>
            <a:pPr lvl="1">
              <a:buFont typeface="Wingdings" pitchFamily="2" charset="2"/>
              <a:buChar char="§"/>
            </a:pPr>
            <a:r>
              <a:rPr lang="en-US" sz="1600" kern="0" dirty="0" smtClean="0">
                <a:solidFill>
                  <a:srgbClr val="2E2E2E"/>
                </a:solidFill>
              </a:rPr>
              <a:t>Developing a roadmap for the ICT sector’s contribution to Smart Sustainable Cities, providing cohesion to the development and application of technologies and standards.</a:t>
            </a:r>
          </a:p>
          <a:p>
            <a:pPr marL="2286000" lvl="5" indent="0">
              <a:buNone/>
            </a:pPr>
            <a:endParaRPr lang="en-US" b="1" dirty="0">
              <a:solidFill>
                <a:srgbClr val="1B5BA2"/>
              </a:solidFill>
              <a:latin typeface="+mj-lt"/>
              <a:ea typeface="+mj-ea"/>
              <a:cs typeface="+mj-cs"/>
            </a:endParaRPr>
          </a:p>
        </p:txBody>
      </p:sp>
      <p:pic>
        <p:nvPicPr>
          <p:cNvPr id="6" name="Picture 5" descr="C:\Users\campilon\Desktop\photos\SHUTTERSTOCK\green_buildings.pn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42875" y="5118621"/>
            <a:ext cx="3195638" cy="19827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965356979"/>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0528" y="476672"/>
            <a:ext cx="9324528" cy="1815882"/>
          </a:xfrm>
        </p:spPr>
        <p:txBody>
          <a:bodyPr/>
          <a:lstStyle/>
          <a:p>
            <a:r>
              <a:rPr lang="en-US" sz="2400" dirty="0" smtClean="0"/>
              <a:t>Send your input documents to Cristina Bueti: </a:t>
            </a:r>
            <a:r>
              <a:rPr lang="en-US" sz="2400" b="0" u="sng" dirty="0" smtClean="0">
                <a:hlinkClick r:id="rId2"/>
              </a:rPr>
              <a:t>greenstandard@itu.int</a:t>
            </a:r>
            <a:r>
              <a:rPr lang="en-US" sz="2400" b="0" u="sng" dirty="0" smtClean="0"/>
              <a:t/>
            </a:r>
            <a:br>
              <a:rPr lang="en-US" sz="2400" b="0" u="sng" dirty="0" smtClean="0"/>
            </a:br>
            <a:r>
              <a:rPr lang="en-US" sz="2400" b="0" u="sng" dirty="0"/>
              <a:t/>
            </a:r>
            <a:br>
              <a:rPr lang="en-US" sz="2400" b="0" u="sng" dirty="0"/>
            </a:br>
            <a:r>
              <a:rPr lang="en-US" sz="2400" b="0" dirty="0" smtClean="0"/>
              <a:t>More information: </a:t>
            </a:r>
            <a:br>
              <a:rPr lang="en-US" sz="2400" b="0" dirty="0" smtClean="0"/>
            </a:br>
            <a:r>
              <a:rPr lang="en-US" sz="1600" dirty="0">
                <a:hlinkClick r:id="rId3"/>
              </a:rPr>
              <a:t>http://</a:t>
            </a:r>
            <a:r>
              <a:rPr lang="en-US" sz="1600" dirty="0" smtClean="0">
                <a:hlinkClick r:id="rId3"/>
              </a:rPr>
              <a:t>www.itu.int/en/ITU-T/focusgroups/ssc/Pages/default.aspx</a:t>
            </a:r>
            <a:endParaRPr lang="en-US" sz="1600" dirty="0"/>
          </a:p>
        </p:txBody>
      </p:sp>
      <p:sp>
        <p:nvSpPr>
          <p:cNvPr id="3" name="Slide Number Placeholder 2"/>
          <p:cNvSpPr>
            <a:spLocks noGrp="1"/>
          </p:cNvSpPr>
          <p:nvPr>
            <p:ph type="sldNum" sz="quarter" idx="4294967295"/>
          </p:nvPr>
        </p:nvSpPr>
        <p:spPr>
          <a:xfrm>
            <a:off x="8769350" y="6403975"/>
            <a:ext cx="339725" cy="244475"/>
          </a:xfrm>
          <a:prstGeom prst="rect">
            <a:avLst/>
          </a:prstGeom>
        </p:spPr>
        <p:txBody>
          <a:bodyPr/>
          <a:lstStyle/>
          <a:p>
            <a:pPr>
              <a:defRPr/>
            </a:pPr>
            <a:fld id="{3D30FDE7-D61E-4FD8-A889-17F33FE5DE51}" type="slidenum">
              <a:rPr lang="en-US" smtClean="0"/>
              <a:pPr>
                <a:defRPr/>
              </a:pPr>
              <a:t>24</a:t>
            </a:fld>
            <a:endParaRPr lang="en-US"/>
          </a:p>
        </p:txBody>
      </p:sp>
      <p:pic>
        <p:nvPicPr>
          <p:cNvPr id="1029" name="Picture 5" descr="C:\Users\bueti\Pictures\shutterstock_55349110.jp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79512" y="2492897"/>
            <a:ext cx="3312368" cy="372525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869700427"/>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89" name="Picture 1"/>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962900" y="6399215"/>
            <a:ext cx="1016000" cy="2746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Lst>
        </p:spPr>
      </p:pic>
      <p:sp>
        <p:nvSpPr>
          <p:cNvPr id="37890" name="Rectangle 2"/>
          <p:cNvSpPr>
            <a:spLocks/>
          </p:cNvSpPr>
          <p:nvPr/>
        </p:nvSpPr>
        <p:spPr bwMode="auto">
          <a:xfrm>
            <a:off x="1530350" y="501650"/>
            <a:ext cx="2078193" cy="8156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chemeClr val="tx1"/>
                </a:solidFill>
                <a:miter lim="800000"/>
                <a:headEnd/>
                <a:tailEnd/>
              </a14:hiddenLine>
            </a:ext>
          </a:extLst>
        </p:spPr>
        <p:txBody>
          <a:bodyPr wrap="none" lIns="38100" tIns="38100" rIns="36000" bIns="38100">
            <a:spAutoFit/>
          </a:bodyPr>
          <a:lstStyle/>
          <a:p>
            <a:pPr algn="l"/>
            <a:r>
              <a:rPr lang="en-US" sz="4800" dirty="0" smtClean="0">
                <a:solidFill>
                  <a:srgbClr val="44B5CA"/>
                </a:solidFill>
                <a:ea typeface="MS PGothic" pitchFamily="34" charset="-128"/>
                <a:sym typeface="Telefonica Headline Light" pitchFamily="2" charset="0"/>
              </a:rPr>
              <a:t>Content</a:t>
            </a:r>
            <a:endParaRPr lang="en-US" sz="4800" dirty="0">
              <a:solidFill>
                <a:srgbClr val="44B5CA"/>
              </a:solidFill>
              <a:ea typeface="MS PGothic" pitchFamily="34" charset="-128"/>
              <a:sym typeface="Telefonica Headline Light" pitchFamily="2" charset="0"/>
            </a:endParaRPr>
          </a:p>
        </p:txBody>
      </p:sp>
      <p:pic>
        <p:nvPicPr>
          <p:cNvPr id="37891" name="Picture 3"/>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625601" y="1243013"/>
            <a:ext cx="7010400" cy="301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Lst>
        </p:spPr>
      </p:pic>
      <p:sp>
        <p:nvSpPr>
          <p:cNvPr id="37892" name="Rectangle 5"/>
          <p:cNvSpPr>
            <a:spLocks/>
          </p:cNvSpPr>
          <p:nvPr/>
        </p:nvSpPr>
        <p:spPr bwMode="auto">
          <a:xfrm>
            <a:off x="2297237" y="1942813"/>
            <a:ext cx="5884686" cy="673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Lst>
        </p:spPr>
        <p:txBody>
          <a:bodyPr lIns="0" tIns="0" rIns="40639" bIns="0" anchor="ctr"/>
          <a:lstStyle/>
          <a:p>
            <a:pPr defTabSz="642938"/>
            <a:r>
              <a:rPr lang="en-US" sz="2000" dirty="0">
                <a:solidFill>
                  <a:schemeClr val="tx2"/>
                </a:solidFill>
                <a:latin typeface="Arial" pitchFamily="34" charset="0"/>
                <a:ea typeface="MS PGothic" pitchFamily="34" charset="-128"/>
                <a:cs typeface="Arial" pitchFamily="34" charset="0"/>
                <a:sym typeface="Arial" pitchFamily="34" charset="0"/>
              </a:rPr>
              <a:t>Why resource efficiency is key for sustainable urban development?</a:t>
            </a:r>
          </a:p>
        </p:txBody>
      </p:sp>
      <p:sp>
        <p:nvSpPr>
          <p:cNvPr id="37893" name="Freeform 6"/>
          <p:cNvSpPr>
            <a:spLocks/>
          </p:cNvSpPr>
          <p:nvPr/>
        </p:nvSpPr>
        <p:spPr bwMode="auto">
          <a:xfrm>
            <a:off x="1585914" y="1987265"/>
            <a:ext cx="333375" cy="581025"/>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1600" h="21600">
                <a:moveTo>
                  <a:pt x="1" y="0"/>
                </a:moveTo>
                <a:lnTo>
                  <a:pt x="18309" y="0"/>
                </a:lnTo>
                <a:lnTo>
                  <a:pt x="18309" y="2715"/>
                </a:lnTo>
                <a:lnTo>
                  <a:pt x="21600" y="5193"/>
                </a:lnTo>
                <a:lnTo>
                  <a:pt x="18103" y="7672"/>
                </a:lnTo>
                <a:lnTo>
                  <a:pt x="18103" y="21600"/>
                </a:lnTo>
                <a:lnTo>
                  <a:pt x="0" y="21600"/>
                </a:lnTo>
                <a:lnTo>
                  <a:pt x="1" y="0"/>
                </a:lnTo>
                <a:close/>
                <a:moveTo>
                  <a:pt x="1" y="0"/>
                </a:moveTo>
              </a:path>
            </a:pathLst>
          </a:custGeom>
          <a:gradFill rotWithShape="0">
            <a:gsLst>
              <a:gs pos="0">
                <a:srgbClr val="0C2128"/>
              </a:gs>
              <a:gs pos="100000">
                <a:srgbClr val="216085"/>
              </a:gs>
            </a:gsLst>
            <a:lin ang="3420000" scaled="1"/>
          </a:gradFill>
          <a:ln>
            <a:no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endParaRPr lang="es-ES" sz="2000">
              <a:solidFill>
                <a:schemeClr val="tx2"/>
              </a:solidFill>
              <a:latin typeface="Arial" pitchFamily="34" charset="0"/>
              <a:cs typeface="Arial" pitchFamily="34" charset="0"/>
            </a:endParaRPr>
          </a:p>
        </p:txBody>
      </p:sp>
      <p:sp>
        <p:nvSpPr>
          <p:cNvPr id="37894" name="Rectangle 7"/>
          <p:cNvSpPr>
            <a:spLocks/>
          </p:cNvSpPr>
          <p:nvPr/>
        </p:nvSpPr>
        <p:spPr bwMode="auto">
          <a:xfrm>
            <a:off x="1573214" y="2124582"/>
            <a:ext cx="327025" cy="309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chemeClr val="tx1"/>
                </a:solidFill>
                <a:miter lim="800000"/>
                <a:headEnd/>
                <a:tailEnd/>
              </a14:hiddenLine>
            </a:ext>
          </a:extLst>
        </p:spPr>
        <p:txBody>
          <a:bodyPr lIns="38100" tIns="38100" rIns="36000" bIns="38100"/>
          <a:lstStyle/>
          <a:p>
            <a:r>
              <a:rPr lang="en-US" sz="2000" dirty="0" smtClean="0">
                <a:solidFill>
                  <a:schemeClr val="bg1"/>
                </a:solidFill>
                <a:latin typeface="Arial" pitchFamily="34" charset="0"/>
                <a:ea typeface="MS PGothic" pitchFamily="34" charset="-128"/>
                <a:cs typeface="Arial" pitchFamily="34" charset="0"/>
                <a:sym typeface="Telefonica Text Bold"/>
              </a:rPr>
              <a:t>1</a:t>
            </a:r>
            <a:endParaRPr lang="en-US" sz="2000" dirty="0">
              <a:solidFill>
                <a:schemeClr val="bg1"/>
              </a:solidFill>
              <a:latin typeface="Arial" pitchFamily="34" charset="0"/>
              <a:ea typeface="MS PGothic" pitchFamily="34" charset="-128"/>
              <a:cs typeface="Arial" pitchFamily="34" charset="0"/>
              <a:sym typeface="Telefonica Text Bold"/>
            </a:endParaRPr>
          </a:p>
        </p:txBody>
      </p:sp>
      <p:sp>
        <p:nvSpPr>
          <p:cNvPr id="37895" name="Rectangle 9"/>
          <p:cNvSpPr>
            <a:spLocks/>
          </p:cNvSpPr>
          <p:nvPr/>
        </p:nvSpPr>
        <p:spPr bwMode="auto">
          <a:xfrm>
            <a:off x="2111545" y="3726408"/>
            <a:ext cx="5824637" cy="673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Lst>
        </p:spPr>
        <p:txBody>
          <a:bodyPr lIns="0" tIns="0" rIns="40639" bIns="0" anchor="ctr"/>
          <a:lstStyle/>
          <a:p>
            <a:pPr marL="39688" algn="l">
              <a:lnSpc>
                <a:spcPct val="110000"/>
              </a:lnSpc>
            </a:pPr>
            <a:r>
              <a:rPr lang="en-US" sz="2000" dirty="0" smtClean="0">
                <a:solidFill>
                  <a:schemeClr val="tx2"/>
                </a:solidFill>
                <a:latin typeface="Arial" pitchFamily="34" charset="0"/>
                <a:ea typeface="MS PGothic" pitchFamily="34" charset="-128"/>
                <a:cs typeface="Arial" pitchFamily="34" charset="0"/>
                <a:sym typeface="Arial Bold" charset="0"/>
              </a:rPr>
              <a:t>Green ICT services in cities.</a:t>
            </a:r>
            <a:endParaRPr lang="en-US" sz="2000" dirty="0">
              <a:solidFill>
                <a:schemeClr val="tx2"/>
              </a:solidFill>
              <a:latin typeface="Arial" pitchFamily="34" charset="0"/>
              <a:ea typeface="MS PGothic" pitchFamily="34" charset="-128"/>
              <a:cs typeface="Arial" pitchFamily="34" charset="0"/>
              <a:sym typeface="Arial Bold" charset="0"/>
            </a:endParaRPr>
          </a:p>
        </p:txBody>
      </p:sp>
      <p:sp>
        <p:nvSpPr>
          <p:cNvPr id="37896" name="Freeform 10"/>
          <p:cNvSpPr>
            <a:spLocks/>
          </p:cNvSpPr>
          <p:nvPr/>
        </p:nvSpPr>
        <p:spPr bwMode="auto">
          <a:xfrm>
            <a:off x="1600201" y="3726410"/>
            <a:ext cx="333375" cy="581025"/>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1600" h="21600">
                <a:moveTo>
                  <a:pt x="1" y="0"/>
                </a:moveTo>
                <a:lnTo>
                  <a:pt x="18309" y="0"/>
                </a:lnTo>
                <a:lnTo>
                  <a:pt x="18309" y="2715"/>
                </a:lnTo>
                <a:lnTo>
                  <a:pt x="21600" y="5193"/>
                </a:lnTo>
                <a:lnTo>
                  <a:pt x="18103" y="7672"/>
                </a:lnTo>
                <a:lnTo>
                  <a:pt x="18103" y="21600"/>
                </a:lnTo>
                <a:lnTo>
                  <a:pt x="0" y="21600"/>
                </a:lnTo>
                <a:lnTo>
                  <a:pt x="1" y="0"/>
                </a:lnTo>
                <a:close/>
                <a:moveTo>
                  <a:pt x="1" y="0"/>
                </a:moveTo>
              </a:path>
            </a:pathLst>
          </a:custGeom>
          <a:gradFill rotWithShape="0">
            <a:gsLst>
              <a:gs pos="0">
                <a:srgbClr val="0C2128"/>
              </a:gs>
              <a:gs pos="100000">
                <a:srgbClr val="216085"/>
              </a:gs>
            </a:gsLst>
            <a:lin ang="3420000" scaled="1"/>
          </a:gradFill>
          <a:ln>
            <a:no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endParaRPr lang="es-ES" sz="2000">
              <a:solidFill>
                <a:schemeClr val="tx2"/>
              </a:solidFill>
              <a:latin typeface="Arial" pitchFamily="34" charset="0"/>
              <a:cs typeface="Arial" pitchFamily="34" charset="0"/>
            </a:endParaRPr>
          </a:p>
        </p:txBody>
      </p:sp>
      <p:sp>
        <p:nvSpPr>
          <p:cNvPr id="37897" name="Rectangle 13"/>
          <p:cNvSpPr>
            <a:spLocks/>
          </p:cNvSpPr>
          <p:nvPr/>
        </p:nvSpPr>
        <p:spPr bwMode="auto">
          <a:xfrm>
            <a:off x="2273424" y="4628108"/>
            <a:ext cx="2531779" cy="673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Lst>
        </p:spPr>
        <p:txBody>
          <a:bodyPr lIns="0" tIns="0" rIns="40639" bIns="0" anchor="ctr"/>
          <a:lstStyle/>
          <a:p>
            <a:pPr marL="39688" algn="l">
              <a:lnSpc>
                <a:spcPct val="110000"/>
              </a:lnSpc>
            </a:pPr>
            <a:endParaRPr lang="en-US" sz="2000" dirty="0">
              <a:solidFill>
                <a:schemeClr val="tx2"/>
              </a:solidFill>
              <a:latin typeface="Arial" pitchFamily="34" charset="0"/>
              <a:ea typeface="MS PGothic" pitchFamily="34" charset="-128"/>
              <a:cs typeface="Arial" pitchFamily="34" charset="0"/>
              <a:sym typeface="Arial Bold" charset="0"/>
            </a:endParaRPr>
          </a:p>
        </p:txBody>
      </p:sp>
      <p:sp>
        <p:nvSpPr>
          <p:cNvPr id="37898" name="Freeform 14"/>
          <p:cNvSpPr>
            <a:spLocks/>
          </p:cNvSpPr>
          <p:nvPr/>
        </p:nvSpPr>
        <p:spPr bwMode="auto">
          <a:xfrm>
            <a:off x="1600201" y="4666210"/>
            <a:ext cx="333375" cy="581025"/>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1600" h="21600">
                <a:moveTo>
                  <a:pt x="1" y="0"/>
                </a:moveTo>
                <a:lnTo>
                  <a:pt x="18309" y="0"/>
                </a:lnTo>
                <a:lnTo>
                  <a:pt x="18309" y="2715"/>
                </a:lnTo>
                <a:lnTo>
                  <a:pt x="21600" y="5193"/>
                </a:lnTo>
                <a:lnTo>
                  <a:pt x="18103" y="7672"/>
                </a:lnTo>
                <a:lnTo>
                  <a:pt x="18103" y="21600"/>
                </a:lnTo>
                <a:lnTo>
                  <a:pt x="0" y="21600"/>
                </a:lnTo>
                <a:lnTo>
                  <a:pt x="1" y="0"/>
                </a:lnTo>
                <a:close/>
                <a:moveTo>
                  <a:pt x="1" y="0"/>
                </a:moveTo>
              </a:path>
            </a:pathLst>
          </a:custGeom>
          <a:gradFill rotWithShape="0">
            <a:gsLst>
              <a:gs pos="0">
                <a:srgbClr val="0C2128"/>
              </a:gs>
              <a:gs pos="100000">
                <a:srgbClr val="216085"/>
              </a:gs>
            </a:gsLst>
            <a:lin ang="3420000" scaled="1"/>
          </a:gradFill>
          <a:ln>
            <a:no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endParaRPr lang="es-ES" sz="2000">
              <a:solidFill>
                <a:schemeClr val="tx2"/>
              </a:solidFill>
              <a:latin typeface="Arial" pitchFamily="34" charset="0"/>
              <a:cs typeface="Arial" pitchFamily="34" charset="0"/>
            </a:endParaRPr>
          </a:p>
        </p:txBody>
      </p:sp>
      <p:sp>
        <p:nvSpPr>
          <p:cNvPr id="37899" name="Rectangle 17"/>
          <p:cNvSpPr>
            <a:spLocks/>
          </p:cNvSpPr>
          <p:nvPr/>
        </p:nvSpPr>
        <p:spPr bwMode="auto">
          <a:xfrm>
            <a:off x="2127360" y="4615398"/>
            <a:ext cx="5106888" cy="673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Lst>
        </p:spPr>
        <p:txBody>
          <a:bodyPr lIns="0" tIns="0" rIns="40639" bIns="0" anchor="ctr"/>
          <a:lstStyle/>
          <a:p>
            <a:pPr marL="39688" algn="l">
              <a:lnSpc>
                <a:spcPct val="110000"/>
              </a:lnSpc>
            </a:pPr>
            <a:r>
              <a:rPr lang="en-US" sz="2000" dirty="0" smtClean="0">
                <a:solidFill>
                  <a:schemeClr val="tx2"/>
                </a:solidFill>
                <a:latin typeface="Arial" pitchFamily="34" charset="0"/>
                <a:ea typeface="MS PGothic" pitchFamily="34" charset="-128"/>
                <a:cs typeface="Arial" pitchFamily="34" charset="0"/>
                <a:sym typeface="Arial Bold" charset="0"/>
              </a:rPr>
              <a:t>Challenges for greener &amp; smarter cities</a:t>
            </a:r>
            <a:endParaRPr lang="en-US" sz="2000" dirty="0">
              <a:solidFill>
                <a:schemeClr val="tx2"/>
              </a:solidFill>
              <a:latin typeface="Arial" pitchFamily="34" charset="0"/>
              <a:ea typeface="MS PGothic" pitchFamily="34" charset="-128"/>
              <a:cs typeface="Arial" pitchFamily="34" charset="0"/>
              <a:sym typeface="Arial" pitchFamily="34" charset="0"/>
            </a:endParaRPr>
          </a:p>
        </p:txBody>
      </p:sp>
      <p:sp>
        <p:nvSpPr>
          <p:cNvPr id="37901" name="Rectangle 7"/>
          <p:cNvSpPr>
            <a:spLocks/>
          </p:cNvSpPr>
          <p:nvPr/>
        </p:nvSpPr>
        <p:spPr bwMode="auto">
          <a:xfrm>
            <a:off x="1573214" y="3988346"/>
            <a:ext cx="327025" cy="309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chemeClr val="tx1"/>
                </a:solidFill>
                <a:miter lim="800000"/>
                <a:headEnd/>
                <a:tailEnd/>
              </a14:hiddenLine>
            </a:ext>
          </a:extLst>
        </p:spPr>
        <p:txBody>
          <a:bodyPr lIns="38100" tIns="38100" rIns="36000" bIns="38100"/>
          <a:lstStyle/>
          <a:p>
            <a:r>
              <a:rPr lang="en-US" sz="2000" dirty="0">
                <a:solidFill>
                  <a:schemeClr val="bg1"/>
                </a:solidFill>
                <a:latin typeface="Arial" pitchFamily="34" charset="0"/>
                <a:ea typeface="MS PGothic" pitchFamily="34" charset="-128"/>
                <a:cs typeface="Arial" pitchFamily="34" charset="0"/>
                <a:sym typeface="Telefonica Text Bold"/>
              </a:rPr>
              <a:t>3</a:t>
            </a:r>
          </a:p>
        </p:txBody>
      </p:sp>
      <p:sp>
        <p:nvSpPr>
          <p:cNvPr id="37902" name="Rectangle 7"/>
          <p:cNvSpPr>
            <a:spLocks/>
          </p:cNvSpPr>
          <p:nvPr/>
        </p:nvSpPr>
        <p:spPr bwMode="auto">
          <a:xfrm>
            <a:off x="1573214" y="4924971"/>
            <a:ext cx="327025" cy="309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chemeClr val="tx1"/>
                </a:solidFill>
                <a:miter lim="800000"/>
                <a:headEnd/>
                <a:tailEnd/>
              </a14:hiddenLine>
            </a:ext>
          </a:extLst>
        </p:spPr>
        <p:txBody>
          <a:bodyPr lIns="38100" tIns="38100" rIns="36000" bIns="38100"/>
          <a:lstStyle/>
          <a:p>
            <a:r>
              <a:rPr lang="en-US" sz="2000" dirty="0">
                <a:solidFill>
                  <a:schemeClr val="bg1"/>
                </a:solidFill>
                <a:latin typeface="Arial" pitchFamily="34" charset="0"/>
                <a:ea typeface="MS PGothic" pitchFamily="34" charset="-128"/>
                <a:cs typeface="Arial" pitchFamily="34" charset="0"/>
                <a:sym typeface="Telefonica Text Bold"/>
              </a:rPr>
              <a:t>4</a:t>
            </a:r>
          </a:p>
        </p:txBody>
      </p:sp>
      <p:sp>
        <p:nvSpPr>
          <p:cNvPr id="2" name="1 Rectángulo"/>
          <p:cNvSpPr/>
          <p:nvPr/>
        </p:nvSpPr>
        <p:spPr>
          <a:xfrm>
            <a:off x="2151768" y="2775968"/>
            <a:ext cx="4572000" cy="707886"/>
          </a:xfrm>
          <a:prstGeom prst="rect">
            <a:avLst/>
          </a:prstGeom>
        </p:spPr>
        <p:txBody>
          <a:bodyPr>
            <a:spAutoFit/>
          </a:bodyPr>
          <a:lstStyle/>
          <a:p>
            <a:pPr defTabSz="642938"/>
            <a:r>
              <a:rPr lang="en-US" sz="2000" dirty="0" err="1" smtClean="0">
                <a:solidFill>
                  <a:schemeClr val="tx2"/>
                </a:solidFill>
                <a:latin typeface="Arial" pitchFamily="34" charset="0"/>
                <a:ea typeface="ヒラギノ角ゴ ProN W3"/>
                <a:cs typeface="Arial" pitchFamily="34" charset="0"/>
                <a:sym typeface="Arial" pitchFamily="34" charset="0"/>
              </a:rPr>
              <a:t>Telefonica´s</a:t>
            </a:r>
            <a:r>
              <a:rPr lang="en-US" sz="2000" dirty="0" smtClean="0">
                <a:solidFill>
                  <a:schemeClr val="tx2"/>
                </a:solidFill>
                <a:latin typeface="Arial" pitchFamily="34" charset="0"/>
                <a:ea typeface="ヒラギノ角ゴ ProN W3"/>
                <a:cs typeface="Arial" pitchFamily="34" charset="0"/>
                <a:sym typeface="Arial" pitchFamily="34" charset="0"/>
              </a:rPr>
              <a:t> Vision </a:t>
            </a:r>
            <a:r>
              <a:rPr lang="en-US" sz="2000" dirty="0">
                <a:solidFill>
                  <a:schemeClr val="tx2"/>
                </a:solidFill>
                <a:latin typeface="Arial" pitchFamily="34" charset="0"/>
                <a:ea typeface="ヒラギノ角ゴ ProN W3"/>
                <a:cs typeface="Arial" pitchFamily="34" charset="0"/>
                <a:sym typeface="Arial" pitchFamily="34" charset="0"/>
              </a:rPr>
              <a:t>and Value of </a:t>
            </a:r>
            <a:r>
              <a:rPr lang="en-US" sz="2000" dirty="0" err="1">
                <a:solidFill>
                  <a:schemeClr val="tx2"/>
                </a:solidFill>
                <a:latin typeface="Arial" pitchFamily="34" charset="0"/>
                <a:ea typeface="ヒラギノ角ゴ ProN W3"/>
                <a:cs typeface="Arial" pitchFamily="34" charset="0"/>
                <a:sym typeface="Arial" pitchFamily="34" charset="0"/>
              </a:rPr>
              <a:t>Smartcities</a:t>
            </a:r>
            <a:endParaRPr lang="en-US" sz="2000" dirty="0">
              <a:solidFill>
                <a:schemeClr val="tx2"/>
              </a:solidFill>
              <a:latin typeface="Arial" pitchFamily="34" charset="0"/>
              <a:ea typeface="ヒラギノ角ゴ ProN W3"/>
              <a:cs typeface="Arial" pitchFamily="34" charset="0"/>
              <a:sym typeface="Arial" pitchFamily="34" charset="0"/>
            </a:endParaRPr>
          </a:p>
        </p:txBody>
      </p:sp>
      <p:sp>
        <p:nvSpPr>
          <p:cNvPr id="17" name="Freeform 10"/>
          <p:cNvSpPr>
            <a:spLocks/>
          </p:cNvSpPr>
          <p:nvPr/>
        </p:nvSpPr>
        <p:spPr bwMode="auto">
          <a:xfrm>
            <a:off x="1574330" y="2775969"/>
            <a:ext cx="333375" cy="581025"/>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1600" h="21600">
                <a:moveTo>
                  <a:pt x="1" y="0"/>
                </a:moveTo>
                <a:lnTo>
                  <a:pt x="18309" y="0"/>
                </a:lnTo>
                <a:lnTo>
                  <a:pt x="18309" y="2715"/>
                </a:lnTo>
                <a:lnTo>
                  <a:pt x="21600" y="5193"/>
                </a:lnTo>
                <a:lnTo>
                  <a:pt x="18103" y="7672"/>
                </a:lnTo>
                <a:lnTo>
                  <a:pt x="18103" y="21600"/>
                </a:lnTo>
                <a:lnTo>
                  <a:pt x="0" y="21600"/>
                </a:lnTo>
                <a:lnTo>
                  <a:pt x="1" y="0"/>
                </a:lnTo>
                <a:close/>
                <a:moveTo>
                  <a:pt x="1" y="0"/>
                </a:moveTo>
              </a:path>
            </a:pathLst>
          </a:custGeom>
          <a:gradFill rotWithShape="0">
            <a:gsLst>
              <a:gs pos="0">
                <a:srgbClr val="0C2128"/>
              </a:gs>
              <a:gs pos="100000">
                <a:srgbClr val="216085"/>
              </a:gs>
            </a:gsLst>
            <a:lin ang="3420000" scaled="1"/>
          </a:gradFill>
          <a:ln>
            <a:no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endParaRPr lang="es-ES" sz="2000">
              <a:solidFill>
                <a:schemeClr val="tx2"/>
              </a:solidFill>
              <a:latin typeface="Arial" pitchFamily="34" charset="0"/>
              <a:cs typeface="Arial" pitchFamily="34" charset="0"/>
            </a:endParaRPr>
          </a:p>
        </p:txBody>
      </p:sp>
      <p:sp>
        <p:nvSpPr>
          <p:cNvPr id="18" name="Rectangle 7"/>
          <p:cNvSpPr>
            <a:spLocks/>
          </p:cNvSpPr>
          <p:nvPr/>
        </p:nvSpPr>
        <p:spPr bwMode="auto">
          <a:xfrm>
            <a:off x="1600200" y="3035440"/>
            <a:ext cx="327025" cy="309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chemeClr val="tx1"/>
                </a:solidFill>
                <a:miter lim="800000"/>
                <a:headEnd/>
                <a:tailEnd/>
              </a14:hiddenLine>
            </a:ext>
          </a:extLst>
        </p:spPr>
        <p:txBody>
          <a:bodyPr lIns="38100" tIns="38100" rIns="36000" bIns="38100"/>
          <a:lstStyle/>
          <a:p>
            <a:r>
              <a:rPr lang="en-US" sz="2000" dirty="0">
                <a:solidFill>
                  <a:schemeClr val="bg1"/>
                </a:solidFill>
                <a:latin typeface="Arial" pitchFamily="34" charset="0"/>
                <a:ea typeface="MS PGothic" pitchFamily="34" charset="-128"/>
                <a:cs typeface="Arial" pitchFamily="34" charset="0"/>
                <a:sym typeface="Telefonica Text Bold"/>
              </a:rPr>
              <a:t>2</a:t>
            </a:r>
          </a:p>
        </p:txBody>
      </p:sp>
    </p:spTree>
    <p:extLst>
      <p:ext uri="{BB962C8B-B14F-4D97-AF65-F5344CB8AC3E}">
        <p14:creationId xmlns:p14="http://schemas.microsoft.com/office/powerpoint/2010/main" xmlns="" val="4126814398"/>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1 Marcador de número de diapositiva"/>
          <p:cNvSpPr>
            <a:spLocks noGrp="1"/>
          </p:cNvSpPr>
          <p:nvPr>
            <p:ph type="sldNum" sz="quarter" idx="10"/>
          </p:nvPr>
        </p:nvSpPr>
        <p:spPr/>
        <p:txBody>
          <a:bodyPr/>
          <a:lstStyle/>
          <a:p>
            <a:pPr>
              <a:defRPr/>
            </a:pPr>
            <a:fld id="{3A2D1CAA-D845-445B-8DC0-373649863AB5}" type="slidenum">
              <a:rPr lang="es-ES"/>
              <a:pPr>
                <a:defRPr/>
              </a:pPr>
              <a:t>4</a:t>
            </a:fld>
            <a:endParaRPr lang="es-ES"/>
          </a:p>
        </p:txBody>
      </p:sp>
      <p:pic>
        <p:nvPicPr>
          <p:cNvPr id="11267" name="Picture 1"/>
          <p:cNvPicPr>
            <a:picLocks noChangeArrowheads="1"/>
          </p:cNvPicPr>
          <p:nvPr/>
        </p:nvPicPr>
        <p:blipFill>
          <a:blip r:embed="rId3" cstate="print">
            <a:extLst>
              <a:ext uri="{28A0092B-C50C-407E-A947-70E740481C1C}">
                <a14:useLocalDpi xmlns:a14="http://schemas.microsoft.com/office/drawing/2010/main" xmlns="" val="0"/>
              </a:ext>
            </a:extLst>
          </a:blip>
          <a:srcRect t="1167" r="1167"/>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1268" name="Picture 2"/>
          <p:cNvPicPr>
            <a:picLocks noChangeAspect="1" noChangeArrowheads="1"/>
          </p:cNvPicPr>
          <p:nvPr/>
        </p:nvPicPr>
        <p:blipFill>
          <a:blip r:embed="rId4" cstate="print">
            <a:extLst>
              <a:ext uri="{28A0092B-C50C-407E-A947-70E740481C1C}">
                <a14:useLocalDpi xmlns:a14="http://schemas.microsoft.com/office/drawing/2010/main" xmlns="" val="0"/>
              </a:ext>
            </a:extLst>
          </a:blip>
          <a:srcRect t="1169" r="1740"/>
          <a:stretch>
            <a:fillRect/>
          </a:stretch>
        </p:blipFill>
        <p:spPr bwMode="auto">
          <a:xfrm>
            <a:off x="0" y="3"/>
            <a:ext cx="9144000" cy="6850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25400">
                <a:solidFill>
                  <a:srgbClr val="000000"/>
                </a:solidFill>
                <a:round/>
                <a:headEnd/>
                <a:tailEnd/>
              </a14:hiddenLine>
            </a:ext>
          </a:extLst>
        </p:spPr>
      </p:pic>
      <p:sp>
        <p:nvSpPr>
          <p:cNvPr id="11269" name="Rectangle 3"/>
          <p:cNvSpPr>
            <a:spLocks/>
          </p:cNvSpPr>
          <p:nvPr/>
        </p:nvSpPr>
        <p:spPr bwMode="auto">
          <a:xfrm>
            <a:off x="471406" y="188915"/>
            <a:ext cx="4142656" cy="2008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26788" tIns="26788" rIns="26788" bIns="26788" anchor="ctr"/>
          <a:lstStyle/>
          <a:p>
            <a:pPr algn="l" defTabSz="642938" eaLnBrk="1" hangingPunct="1"/>
            <a:r>
              <a:rPr lang="en-GB" sz="13800" b="0">
                <a:solidFill>
                  <a:srgbClr val="44B5CA"/>
                </a:solidFill>
                <a:latin typeface="Telefonica Headline Light" pitchFamily="2" charset="0"/>
                <a:ea typeface="ヒラギノ角ゴ ProN W3"/>
                <a:cs typeface="Arial" pitchFamily="34" charset="0"/>
                <a:sym typeface="Arial" pitchFamily="34" charset="0"/>
              </a:rPr>
              <a:t>01</a:t>
            </a:r>
          </a:p>
        </p:txBody>
      </p:sp>
      <p:sp>
        <p:nvSpPr>
          <p:cNvPr id="11270" name="Rectangle 4"/>
          <p:cNvSpPr>
            <a:spLocks/>
          </p:cNvSpPr>
          <p:nvPr/>
        </p:nvSpPr>
        <p:spPr bwMode="auto">
          <a:xfrm>
            <a:off x="449186" y="2062163"/>
            <a:ext cx="8155263" cy="1231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26788" tIns="26788" rIns="26788" bIns="26788"/>
          <a:lstStyle/>
          <a:p>
            <a:pPr algn="l" defTabSz="642938" eaLnBrk="1" hangingPunct="1"/>
            <a:r>
              <a:rPr lang="en-US" sz="4100" b="0" dirty="0" smtClean="0">
                <a:solidFill>
                  <a:srgbClr val="FFFFFF"/>
                </a:solidFill>
                <a:latin typeface="Telefonica Headline Light" pitchFamily="2" charset="0"/>
                <a:ea typeface="ヒラギノ角ゴ ProN W3"/>
                <a:cs typeface="Arial" pitchFamily="34" charset="0"/>
                <a:sym typeface="Arial" pitchFamily="34" charset="0"/>
              </a:rPr>
              <a:t>Why resource efficiency is key for sustainable urban development?</a:t>
            </a:r>
            <a:endParaRPr lang="en-US" sz="4100" b="0" dirty="0">
              <a:solidFill>
                <a:srgbClr val="FFFFFF"/>
              </a:solidFill>
              <a:latin typeface="Telefonica Headline Light" pitchFamily="2" charset="0"/>
              <a:ea typeface="ヒラギノ角ゴ ProN W3"/>
              <a:cs typeface="Arial" pitchFamily="34" charset="0"/>
              <a:sym typeface="Arial" pitchFamily="34" charset="0"/>
            </a:endParaRPr>
          </a:p>
        </p:txBody>
      </p:sp>
    </p:spTree>
    <p:extLst>
      <p:ext uri="{BB962C8B-B14F-4D97-AF65-F5344CB8AC3E}">
        <p14:creationId xmlns:p14="http://schemas.microsoft.com/office/powerpoint/2010/main" xmlns="" val="3082727493"/>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4514" y="0"/>
            <a:ext cx="9148515"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 name="Rectangle 1"/>
          <p:cNvSpPr>
            <a:spLocks/>
          </p:cNvSpPr>
          <p:nvPr/>
        </p:nvSpPr>
        <p:spPr bwMode="auto">
          <a:xfrm>
            <a:off x="0" y="0"/>
            <a:ext cx="368300" cy="647700"/>
          </a:xfrm>
          <a:prstGeom prst="rect">
            <a:avLst/>
          </a:prstGeom>
          <a:gradFill rotWithShape="0">
            <a:gsLst>
              <a:gs pos="0">
                <a:srgbClr val="0A1519"/>
              </a:gs>
              <a:gs pos="100000">
                <a:srgbClr val="2A5E77"/>
              </a:gs>
            </a:gsLst>
            <a:lin ang="2700000" scaled="1"/>
          </a:gradFill>
          <a:ln>
            <a:noFill/>
          </a:ln>
          <a:extLst>
            <a:ext uri="{91240B29-F687-4F45-9708-019B960494DF}">
              <a14:hiddenLine xmlns:a14="http://schemas.microsoft.com/office/drawing/2010/main" xmlns="" w="12700">
                <a:solidFill>
                  <a:schemeClr val="tx1"/>
                </a:solidFill>
                <a:miter lim="800000"/>
                <a:headEnd/>
                <a:tailEnd/>
              </a14:hiddenLine>
            </a:ext>
          </a:extLst>
        </p:spPr>
        <p:txBody>
          <a:bodyPr lIns="0" tIns="0" rIns="0" bIns="0"/>
          <a:lstStyle/>
          <a:p>
            <a:endParaRPr lang="es-ES">
              <a:cs typeface="Arial" pitchFamily="34" charset="0"/>
            </a:endParaRPr>
          </a:p>
        </p:txBody>
      </p:sp>
      <p:sp>
        <p:nvSpPr>
          <p:cNvPr id="4" name="Rectangle 9"/>
          <p:cNvSpPr>
            <a:spLocks/>
          </p:cNvSpPr>
          <p:nvPr/>
        </p:nvSpPr>
        <p:spPr bwMode="auto">
          <a:xfrm>
            <a:off x="55563" y="334963"/>
            <a:ext cx="339725" cy="357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chemeClr val="tx1"/>
                </a:solidFill>
                <a:miter lim="800000"/>
                <a:headEnd/>
                <a:tailEnd/>
              </a14:hiddenLine>
            </a:ext>
          </a:extLst>
        </p:spPr>
        <p:txBody>
          <a:bodyPr lIns="38100" tIns="38100" rIns="38100" bIns="38100"/>
          <a:lstStyle/>
          <a:p>
            <a:pPr algn="l"/>
            <a:r>
              <a:rPr lang="en-US" sz="1400" dirty="0" smtClean="0">
                <a:solidFill>
                  <a:srgbClr val="44B5CA"/>
                </a:solidFill>
                <a:ea typeface="MS PGothic" pitchFamily="34" charset="-128"/>
                <a:sym typeface="Telefonica Text Bold"/>
              </a:rPr>
              <a:t>01</a:t>
            </a:r>
            <a:endParaRPr lang="en-US" sz="1400" dirty="0">
              <a:solidFill>
                <a:srgbClr val="44B5CA"/>
              </a:solidFill>
              <a:ea typeface="MS PGothic" pitchFamily="34" charset="-128"/>
              <a:sym typeface="Telefonica Text Bold"/>
            </a:endParaRPr>
          </a:p>
        </p:txBody>
      </p:sp>
      <p:grpSp>
        <p:nvGrpSpPr>
          <p:cNvPr id="5" name="4 Grupo"/>
          <p:cNvGrpSpPr/>
          <p:nvPr/>
        </p:nvGrpSpPr>
        <p:grpSpPr>
          <a:xfrm>
            <a:off x="107505" y="1880513"/>
            <a:ext cx="8974583" cy="3528035"/>
            <a:chOff x="107504" y="1052513"/>
            <a:chExt cx="8974583" cy="3528035"/>
          </a:xfrm>
        </p:grpSpPr>
        <p:sp>
          <p:nvSpPr>
            <p:cNvPr id="6" name="5 Rectángulo"/>
            <p:cNvSpPr>
              <a:spLocks noChangeArrowheads="1"/>
            </p:cNvSpPr>
            <p:nvPr/>
          </p:nvSpPr>
          <p:spPr bwMode="auto">
            <a:xfrm>
              <a:off x="139700" y="2324100"/>
              <a:ext cx="1663700" cy="2017544"/>
            </a:xfrm>
            <a:prstGeom prst="rect">
              <a:avLst/>
            </a:prstGeom>
            <a:solidFill>
              <a:schemeClr val="bg1"/>
            </a:solidFill>
            <a:ln w="9525" algn="ctr">
              <a:solidFill>
                <a:schemeClr val="tx1"/>
              </a:solidFill>
              <a:round/>
              <a:headEnd/>
              <a:tailEnd/>
            </a:ln>
          </p:spPr>
          <p:txBody>
            <a:bodyPr/>
            <a:lstStyle/>
            <a:p>
              <a:pPr algn="l"/>
              <a:endParaRPr lang="en-US" sz="1200" b="1">
                <a:solidFill>
                  <a:prstClr val="black"/>
                </a:solidFill>
                <a:latin typeface="Telefonica Text" pitchFamily="50" charset="0"/>
                <a:ea typeface="MS PGothic" pitchFamily="34" charset="-128"/>
                <a:cs typeface="Arial" pitchFamily="34" charset="0"/>
              </a:endParaRPr>
            </a:p>
          </p:txBody>
        </p:sp>
        <p:sp>
          <p:nvSpPr>
            <p:cNvPr id="7" name="Rectangle 2"/>
            <p:cNvSpPr txBox="1">
              <a:spLocks noChangeArrowheads="1"/>
            </p:cNvSpPr>
            <p:nvPr/>
          </p:nvSpPr>
          <p:spPr bwMode="auto">
            <a:xfrm>
              <a:off x="107504" y="2394918"/>
              <a:ext cx="1725613" cy="3189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36000" tIns="36000" rIns="36000" bIns="36000">
              <a:spAutoFit/>
            </a:bodyPr>
            <a:lstStyle>
              <a:defPPr>
                <a:defRPr lang="es-ES"/>
              </a:defPPr>
              <a:lvl1pPr algn="ctr" defTabSz="457200" eaLnBrk="0" hangingPunct="0">
                <a:defRPr sz="2000" b="1">
                  <a:solidFill>
                    <a:srgbClr val="1F497D"/>
                  </a:solidFill>
                  <a:latin typeface="Arial Black" pitchFamily="34" charset="0"/>
                  <a:ea typeface="Arial Unicode MS" pitchFamily="34" charset="-128"/>
                  <a:cs typeface="Arial" pitchFamily="34" charset="0"/>
                </a:defRPr>
              </a:lvl1pPr>
              <a:lvl2pPr marL="742950" indent="-285750" defTabSz="457200" eaLnBrk="0" hangingPunct="0">
                <a:defRPr sz="2800">
                  <a:solidFill>
                    <a:srgbClr val="000000"/>
                  </a:solidFill>
                  <a:latin typeface="Arial" pitchFamily="34" charset="0"/>
                  <a:ea typeface="ヒラギノ角ゴ ProN W3" charset="-128"/>
                </a:defRPr>
              </a:lvl2pPr>
              <a:lvl3pPr marL="1143000" indent="-228600" defTabSz="457200" eaLnBrk="0" hangingPunct="0">
                <a:defRPr sz="2800">
                  <a:solidFill>
                    <a:srgbClr val="000000"/>
                  </a:solidFill>
                  <a:latin typeface="Arial" pitchFamily="34" charset="0"/>
                  <a:ea typeface="ヒラギノ角ゴ ProN W3" charset="-128"/>
                </a:defRPr>
              </a:lvl3pPr>
              <a:lvl4pPr marL="1600200" indent="-228600" defTabSz="457200" eaLnBrk="0" hangingPunct="0">
                <a:defRPr sz="2800">
                  <a:solidFill>
                    <a:srgbClr val="000000"/>
                  </a:solidFill>
                  <a:latin typeface="Arial" pitchFamily="34" charset="0"/>
                  <a:ea typeface="ヒラギノ角ゴ ProN W3" charset="-128"/>
                </a:defRPr>
              </a:lvl4pPr>
              <a:lvl5pPr marL="2057400" indent="-228600" defTabSz="457200" eaLnBrk="0" hangingPunct="0">
                <a:defRPr sz="2800">
                  <a:solidFill>
                    <a:srgbClr val="000000"/>
                  </a:solidFill>
                  <a:latin typeface="Arial" pitchFamily="34" charset="0"/>
                  <a:ea typeface="ヒラギノ角ゴ ProN W3" charset="-128"/>
                </a:defRPr>
              </a:lvl5pPr>
              <a:lvl6pPr marL="25146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defRPr>
              </a:lvl6pPr>
              <a:lvl7pPr marL="29718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defRPr>
              </a:lvl7pPr>
              <a:lvl8pPr marL="34290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defRPr>
              </a:lvl8pPr>
              <a:lvl9pPr marL="38862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defRPr>
              </a:lvl9pPr>
            </a:lstStyle>
            <a:p>
              <a:r>
                <a:rPr lang="en-US" sz="1600" dirty="0"/>
                <a:t>Population</a:t>
              </a:r>
            </a:p>
          </p:txBody>
        </p:sp>
        <p:pic>
          <p:nvPicPr>
            <p:cNvPr id="8" name="3 Imagen"/>
            <p:cNvPicPr>
              <a:picLocks noChangeAspect="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067175" y="1052513"/>
              <a:ext cx="1023938" cy="1212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12 Rectángulo"/>
            <p:cNvSpPr>
              <a:spLocks noChangeArrowheads="1"/>
            </p:cNvSpPr>
            <p:nvPr/>
          </p:nvSpPr>
          <p:spPr bwMode="auto">
            <a:xfrm>
              <a:off x="1917700" y="2324100"/>
              <a:ext cx="1663700" cy="2041004"/>
            </a:xfrm>
            <a:prstGeom prst="rect">
              <a:avLst/>
            </a:prstGeom>
            <a:solidFill>
              <a:schemeClr val="bg1"/>
            </a:solidFill>
            <a:ln w="9525" algn="ctr">
              <a:solidFill>
                <a:schemeClr val="tx1"/>
              </a:solidFill>
              <a:round/>
              <a:headEnd/>
              <a:tailEnd/>
            </a:ln>
          </p:spPr>
          <p:txBody>
            <a:bodyPr/>
            <a:lstStyle/>
            <a:p>
              <a:pPr algn="l"/>
              <a:endParaRPr lang="en-US" sz="1200" b="1">
                <a:solidFill>
                  <a:prstClr val="black"/>
                </a:solidFill>
                <a:latin typeface="Telefonica Text" pitchFamily="50" charset="0"/>
                <a:ea typeface="MS PGothic" pitchFamily="34" charset="-128"/>
                <a:cs typeface="Arial" pitchFamily="34" charset="0"/>
              </a:endParaRPr>
            </a:p>
          </p:txBody>
        </p:sp>
        <p:sp>
          <p:nvSpPr>
            <p:cNvPr id="10" name="Rectangle 2"/>
            <p:cNvSpPr txBox="1">
              <a:spLocks noChangeArrowheads="1"/>
            </p:cNvSpPr>
            <p:nvPr/>
          </p:nvSpPr>
          <p:spPr bwMode="auto">
            <a:xfrm>
              <a:off x="1962802" y="2382218"/>
              <a:ext cx="1568739" cy="3189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36000" tIns="36000" rIns="36000" bIns="36000">
              <a:spAutoFit/>
            </a:bodyPr>
            <a:lstStyle>
              <a:lvl1pPr defTabSz="457200" eaLnBrk="0" hangingPunct="0">
                <a:defRPr sz="2800">
                  <a:solidFill>
                    <a:srgbClr val="000000"/>
                  </a:solidFill>
                  <a:latin typeface="Arial" pitchFamily="34" charset="0"/>
                  <a:ea typeface="ヒラギノ角ゴ ProN W3" charset="-128"/>
                  <a:sym typeface="Gill Sans" pitchFamily="34" charset="0"/>
                </a:defRPr>
              </a:lvl1pPr>
              <a:lvl2pPr marL="742950" indent="-285750" defTabSz="457200" eaLnBrk="0" hangingPunct="0">
                <a:defRPr sz="2800">
                  <a:solidFill>
                    <a:srgbClr val="000000"/>
                  </a:solidFill>
                  <a:latin typeface="Arial" pitchFamily="34" charset="0"/>
                  <a:ea typeface="ヒラギノ角ゴ ProN W3" charset="-128"/>
                  <a:sym typeface="Gill Sans" pitchFamily="34" charset="0"/>
                </a:defRPr>
              </a:lvl2pPr>
              <a:lvl3pPr marL="1143000" indent="-228600" defTabSz="457200" eaLnBrk="0" hangingPunct="0">
                <a:defRPr sz="2800">
                  <a:solidFill>
                    <a:srgbClr val="000000"/>
                  </a:solidFill>
                  <a:latin typeface="Arial" pitchFamily="34" charset="0"/>
                  <a:ea typeface="ヒラギノ角ゴ ProN W3" charset="-128"/>
                  <a:sym typeface="Gill Sans" pitchFamily="34" charset="0"/>
                </a:defRPr>
              </a:lvl3pPr>
              <a:lvl4pPr marL="1600200" indent="-228600" defTabSz="457200" eaLnBrk="0" hangingPunct="0">
                <a:defRPr sz="2800">
                  <a:solidFill>
                    <a:srgbClr val="000000"/>
                  </a:solidFill>
                  <a:latin typeface="Arial" pitchFamily="34" charset="0"/>
                  <a:ea typeface="ヒラギノ角ゴ ProN W3" charset="-128"/>
                  <a:sym typeface="Gill Sans" pitchFamily="34" charset="0"/>
                </a:defRPr>
              </a:lvl4pPr>
              <a:lvl5pPr marL="2057400" indent="-228600" defTabSz="457200" eaLnBrk="0" hangingPunct="0">
                <a:defRPr sz="2800">
                  <a:solidFill>
                    <a:srgbClr val="000000"/>
                  </a:solidFill>
                  <a:latin typeface="Arial" pitchFamily="34" charset="0"/>
                  <a:ea typeface="ヒラギノ角ゴ ProN W3" charset="-128"/>
                  <a:sym typeface="Gill Sans" pitchFamily="34" charset="0"/>
                </a:defRPr>
              </a:lvl5pPr>
              <a:lvl6pPr marL="25146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6pPr>
              <a:lvl7pPr marL="29718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7pPr>
              <a:lvl8pPr marL="34290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8pPr>
              <a:lvl9pPr marL="38862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9pPr>
            </a:lstStyle>
            <a:p>
              <a:pPr algn="ctr"/>
              <a:r>
                <a:rPr lang="en-US" sz="1600" b="1" dirty="0" smtClean="0">
                  <a:solidFill>
                    <a:srgbClr val="1F497D"/>
                  </a:solidFill>
                  <a:latin typeface="Arial Black" pitchFamily="34" charset="0"/>
                  <a:ea typeface="Arial Unicode MS" pitchFamily="34" charset="-128"/>
                  <a:cs typeface="Arial" pitchFamily="34" charset="0"/>
                </a:rPr>
                <a:t>Energy</a:t>
              </a:r>
              <a:endParaRPr lang="en-US" sz="1600" b="1" dirty="0">
                <a:solidFill>
                  <a:srgbClr val="1F497D"/>
                </a:solidFill>
                <a:latin typeface="Arial Black" pitchFamily="34" charset="0"/>
                <a:ea typeface="Arial Unicode MS" pitchFamily="34" charset="-128"/>
                <a:cs typeface="Arial" pitchFamily="34" charset="0"/>
              </a:endParaRPr>
            </a:p>
          </p:txBody>
        </p:sp>
        <p:pic>
          <p:nvPicPr>
            <p:cNvPr id="11" name="Picture 16"/>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323850" y="1196975"/>
              <a:ext cx="1389063" cy="9334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pic>
        <p:sp>
          <p:nvSpPr>
            <p:cNvPr id="12" name="Rectangle 2"/>
            <p:cNvSpPr txBox="1">
              <a:spLocks noChangeArrowheads="1"/>
            </p:cNvSpPr>
            <p:nvPr/>
          </p:nvSpPr>
          <p:spPr bwMode="auto">
            <a:xfrm>
              <a:off x="1979712" y="3031097"/>
              <a:ext cx="1547982" cy="9960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36000" tIns="36000" rIns="36000" bIns="36000">
              <a:spAutoFit/>
            </a:bodyPr>
            <a:lstStyle>
              <a:lvl1pPr defTabSz="457200" eaLnBrk="0" hangingPunct="0">
                <a:defRPr sz="2800">
                  <a:solidFill>
                    <a:srgbClr val="000000"/>
                  </a:solidFill>
                  <a:latin typeface="Arial" pitchFamily="34" charset="0"/>
                  <a:ea typeface="ヒラギノ角ゴ ProN W3" charset="-128"/>
                  <a:sym typeface="Gill Sans" pitchFamily="34" charset="0"/>
                </a:defRPr>
              </a:lvl1pPr>
              <a:lvl2pPr marL="742950" indent="-285750" defTabSz="457200" eaLnBrk="0" hangingPunct="0">
                <a:defRPr sz="2800">
                  <a:solidFill>
                    <a:srgbClr val="000000"/>
                  </a:solidFill>
                  <a:latin typeface="Arial" pitchFamily="34" charset="0"/>
                  <a:ea typeface="ヒラギノ角ゴ ProN W3" charset="-128"/>
                  <a:sym typeface="Gill Sans" pitchFamily="34" charset="0"/>
                </a:defRPr>
              </a:lvl2pPr>
              <a:lvl3pPr marL="1143000" indent="-228600" defTabSz="457200" eaLnBrk="0" hangingPunct="0">
                <a:defRPr sz="2800">
                  <a:solidFill>
                    <a:srgbClr val="000000"/>
                  </a:solidFill>
                  <a:latin typeface="Arial" pitchFamily="34" charset="0"/>
                  <a:ea typeface="ヒラギノ角ゴ ProN W3" charset="-128"/>
                  <a:sym typeface="Gill Sans" pitchFamily="34" charset="0"/>
                </a:defRPr>
              </a:lvl3pPr>
              <a:lvl4pPr marL="1600200" indent="-228600" defTabSz="457200" eaLnBrk="0" hangingPunct="0">
                <a:defRPr sz="2800">
                  <a:solidFill>
                    <a:srgbClr val="000000"/>
                  </a:solidFill>
                  <a:latin typeface="Arial" pitchFamily="34" charset="0"/>
                  <a:ea typeface="ヒラギノ角ゴ ProN W3" charset="-128"/>
                  <a:sym typeface="Gill Sans" pitchFamily="34" charset="0"/>
                </a:defRPr>
              </a:lvl4pPr>
              <a:lvl5pPr marL="2057400" indent="-228600" defTabSz="457200" eaLnBrk="0" hangingPunct="0">
                <a:defRPr sz="2800">
                  <a:solidFill>
                    <a:srgbClr val="000000"/>
                  </a:solidFill>
                  <a:latin typeface="Arial" pitchFamily="34" charset="0"/>
                  <a:ea typeface="ヒラギノ角ゴ ProN W3" charset="-128"/>
                  <a:sym typeface="Gill Sans" pitchFamily="34" charset="0"/>
                </a:defRPr>
              </a:lvl5pPr>
              <a:lvl6pPr marL="25146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6pPr>
              <a:lvl7pPr marL="29718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7pPr>
              <a:lvl8pPr marL="34290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8pPr>
              <a:lvl9pPr marL="38862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9pPr>
            </a:lstStyle>
            <a:p>
              <a:pPr algn="l"/>
              <a:r>
                <a:rPr lang="en-US" sz="1500" dirty="0" smtClean="0">
                  <a:solidFill>
                    <a:prstClr val="black"/>
                  </a:solidFill>
                  <a:latin typeface="Arial"/>
                  <a:ea typeface="Arial Unicode MS" pitchFamily="34" charset="-128"/>
                  <a:cs typeface="Arial"/>
                </a:rPr>
                <a:t>Cities consume high amounts of energy. About 75%</a:t>
              </a:r>
              <a:endParaRPr lang="en-US" sz="1500" b="1" dirty="0">
                <a:solidFill>
                  <a:prstClr val="black"/>
                </a:solidFill>
                <a:latin typeface="Arial"/>
                <a:ea typeface="Arial Unicode MS" pitchFamily="34" charset="-128"/>
                <a:cs typeface="Arial"/>
              </a:endParaRPr>
            </a:p>
          </p:txBody>
        </p:sp>
        <p:sp>
          <p:nvSpPr>
            <p:cNvPr id="13" name="13 Rectángulo"/>
            <p:cNvSpPr>
              <a:spLocks noChangeArrowheads="1"/>
            </p:cNvSpPr>
            <p:nvPr/>
          </p:nvSpPr>
          <p:spPr bwMode="auto">
            <a:xfrm>
              <a:off x="3695700" y="2324100"/>
              <a:ext cx="1785840" cy="2041004"/>
            </a:xfrm>
            <a:prstGeom prst="rect">
              <a:avLst/>
            </a:prstGeom>
            <a:solidFill>
              <a:schemeClr val="bg1"/>
            </a:solidFill>
            <a:ln w="9525" algn="ctr">
              <a:solidFill>
                <a:schemeClr val="tx1"/>
              </a:solidFill>
              <a:round/>
              <a:headEnd/>
              <a:tailEnd/>
            </a:ln>
          </p:spPr>
          <p:txBody>
            <a:bodyPr/>
            <a:lstStyle/>
            <a:p>
              <a:pPr algn="l"/>
              <a:endParaRPr lang="en-US" sz="1200" b="1">
                <a:solidFill>
                  <a:prstClr val="black"/>
                </a:solidFill>
                <a:latin typeface="Telefonica Text" pitchFamily="50" charset="0"/>
                <a:ea typeface="MS PGothic" pitchFamily="34" charset="-128"/>
                <a:cs typeface="Arial" pitchFamily="34" charset="0"/>
              </a:endParaRPr>
            </a:p>
          </p:txBody>
        </p:sp>
        <p:sp>
          <p:nvSpPr>
            <p:cNvPr id="14" name="Rectangle 2"/>
            <p:cNvSpPr txBox="1">
              <a:spLocks noChangeArrowheads="1"/>
            </p:cNvSpPr>
            <p:nvPr/>
          </p:nvSpPr>
          <p:spPr bwMode="auto">
            <a:xfrm>
              <a:off x="3695700" y="2382218"/>
              <a:ext cx="1740396" cy="565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36000" tIns="36000" rIns="36000" bIns="36000">
              <a:spAutoFit/>
            </a:bodyPr>
            <a:lstStyle>
              <a:defPPr>
                <a:defRPr lang="es-ES"/>
              </a:defPPr>
              <a:lvl1pPr algn="ctr" defTabSz="457200" eaLnBrk="0" hangingPunct="0">
                <a:defRPr sz="2000" b="1">
                  <a:solidFill>
                    <a:srgbClr val="1F497D"/>
                  </a:solidFill>
                  <a:latin typeface="Arial Black" pitchFamily="34" charset="0"/>
                  <a:ea typeface="Arial Unicode MS" pitchFamily="34" charset="-128"/>
                  <a:cs typeface="Arial" pitchFamily="34" charset="0"/>
                </a:defRPr>
              </a:lvl1pPr>
              <a:lvl2pPr marL="742950" indent="-285750" defTabSz="457200" eaLnBrk="0" hangingPunct="0">
                <a:defRPr sz="2800">
                  <a:solidFill>
                    <a:srgbClr val="000000"/>
                  </a:solidFill>
                  <a:latin typeface="Arial" pitchFamily="34" charset="0"/>
                  <a:ea typeface="ヒラギノ角ゴ ProN W3" charset="-128"/>
                </a:defRPr>
              </a:lvl2pPr>
              <a:lvl3pPr marL="1143000" indent="-228600" defTabSz="457200" eaLnBrk="0" hangingPunct="0">
                <a:defRPr sz="2800">
                  <a:solidFill>
                    <a:srgbClr val="000000"/>
                  </a:solidFill>
                  <a:latin typeface="Arial" pitchFamily="34" charset="0"/>
                  <a:ea typeface="ヒラギノ角ゴ ProN W3" charset="-128"/>
                </a:defRPr>
              </a:lvl3pPr>
              <a:lvl4pPr marL="1600200" indent="-228600" defTabSz="457200" eaLnBrk="0" hangingPunct="0">
                <a:defRPr sz="2800">
                  <a:solidFill>
                    <a:srgbClr val="000000"/>
                  </a:solidFill>
                  <a:latin typeface="Arial" pitchFamily="34" charset="0"/>
                  <a:ea typeface="ヒラギノ角ゴ ProN W3" charset="-128"/>
                </a:defRPr>
              </a:lvl4pPr>
              <a:lvl5pPr marL="2057400" indent="-228600" defTabSz="457200" eaLnBrk="0" hangingPunct="0">
                <a:defRPr sz="2800">
                  <a:solidFill>
                    <a:srgbClr val="000000"/>
                  </a:solidFill>
                  <a:latin typeface="Arial" pitchFamily="34" charset="0"/>
                  <a:ea typeface="ヒラギノ角ゴ ProN W3" charset="-128"/>
                </a:defRPr>
              </a:lvl5pPr>
              <a:lvl6pPr marL="25146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defRPr>
              </a:lvl6pPr>
              <a:lvl7pPr marL="29718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defRPr>
              </a:lvl7pPr>
              <a:lvl8pPr marL="34290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defRPr>
              </a:lvl8pPr>
              <a:lvl9pPr marL="38862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defRPr>
              </a:lvl9pPr>
            </a:lstStyle>
            <a:p>
              <a:r>
                <a:rPr lang="en-US" sz="1600" dirty="0"/>
                <a:t>CO2 &amp; </a:t>
              </a:r>
            </a:p>
            <a:p>
              <a:r>
                <a:rPr lang="en-US" sz="1600" dirty="0"/>
                <a:t>Environment</a:t>
              </a:r>
            </a:p>
          </p:txBody>
        </p:sp>
        <p:pic>
          <p:nvPicPr>
            <p:cNvPr id="15" name="4 Imagen"/>
            <p:cNvPicPr>
              <a:picLocks noChangeAspect="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2124075" y="1196975"/>
              <a:ext cx="1460500" cy="10493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Rectangle 2"/>
            <p:cNvSpPr txBox="1">
              <a:spLocks noChangeArrowheads="1"/>
            </p:cNvSpPr>
            <p:nvPr/>
          </p:nvSpPr>
          <p:spPr bwMode="auto">
            <a:xfrm>
              <a:off x="3744098" y="3031097"/>
              <a:ext cx="1691998" cy="9960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36000" tIns="36000" rIns="36000" bIns="36000">
              <a:spAutoFit/>
            </a:bodyPr>
            <a:lstStyle>
              <a:lvl1pPr defTabSz="457200" eaLnBrk="0" hangingPunct="0">
                <a:defRPr sz="2800">
                  <a:solidFill>
                    <a:srgbClr val="000000"/>
                  </a:solidFill>
                  <a:latin typeface="Arial" pitchFamily="34" charset="0"/>
                  <a:ea typeface="ヒラギノ角ゴ ProN W3" charset="-128"/>
                  <a:sym typeface="Gill Sans" pitchFamily="34" charset="0"/>
                </a:defRPr>
              </a:lvl1pPr>
              <a:lvl2pPr marL="742950" indent="-285750" defTabSz="457200" eaLnBrk="0" hangingPunct="0">
                <a:defRPr sz="2800">
                  <a:solidFill>
                    <a:srgbClr val="000000"/>
                  </a:solidFill>
                  <a:latin typeface="Arial" pitchFamily="34" charset="0"/>
                  <a:ea typeface="ヒラギノ角ゴ ProN W3" charset="-128"/>
                  <a:sym typeface="Gill Sans" pitchFamily="34" charset="0"/>
                </a:defRPr>
              </a:lvl2pPr>
              <a:lvl3pPr marL="1143000" indent="-228600" defTabSz="457200" eaLnBrk="0" hangingPunct="0">
                <a:defRPr sz="2800">
                  <a:solidFill>
                    <a:srgbClr val="000000"/>
                  </a:solidFill>
                  <a:latin typeface="Arial" pitchFamily="34" charset="0"/>
                  <a:ea typeface="ヒラギノ角ゴ ProN W3" charset="-128"/>
                  <a:sym typeface="Gill Sans" pitchFamily="34" charset="0"/>
                </a:defRPr>
              </a:lvl3pPr>
              <a:lvl4pPr marL="1600200" indent="-228600" defTabSz="457200" eaLnBrk="0" hangingPunct="0">
                <a:defRPr sz="2800">
                  <a:solidFill>
                    <a:srgbClr val="000000"/>
                  </a:solidFill>
                  <a:latin typeface="Arial" pitchFamily="34" charset="0"/>
                  <a:ea typeface="ヒラギノ角ゴ ProN W3" charset="-128"/>
                  <a:sym typeface="Gill Sans" pitchFamily="34" charset="0"/>
                </a:defRPr>
              </a:lvl4pPr>
              <a:lvl5pPr marL="2057400" indent="-228600" defTabSz="457200" eaLnBrk="0" hangingPunct="0">
                <a:defRPr sz="2800">
                  <a:solidFill>
                    <a:srgbClr val="000000"/>
                  </a:solidFill>
                  <a:latin typeface="Arial" pitchFamily="34" charset="0"/>
                  <a:ea typeface="ヒラギノ角ゴ ProN W3" charset="-128"/>
                  <a:sym typeface="Gill Sans" pitchFamily="34" charset="0"/>
                </a:defRPr>
              </a:lvl5pPr>
              <a:lvl6pPr marL="25146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6pPr>
              <a:lvl7pPr marL="29718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7pPr>
              <a:lvl8pPr marL="34290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8pPr>
              <a:lvl9pPr marL="38862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9pPr>
            </a:lstStyle>
            <a:p>
              <a:pPr algn="l"/>
              <a:r>
                <a:rPr lang="en-US" sz="1500" dirty="0" smtClean="0">
                  <a:solidFill>
                    <a:prstClr val="black"/>
                  </a:solidFill>
                  <a:latin typeface="Arial"/>
                  <a:ea typeface="Arial Unicode MS" pitchFamily="34" charset="-128"/>
                  <a:cs typeface="Arial"/>
                </a:rPr>
                <a:t>80% of emissions of greenhouse gases are generated in cities</a:t>
              </a:r>
              <a:endParaRPr lang="en-US" sz="1500" dirty="0">
                <a:solidFill>
                  <a:prstClr val="black"/>
                </a:solidFill>
                <a:latin typeface="Arial"/>
                <a:ea typeface="Arial Unicode MS" pitchFamily="34" charset="-128"/>
                <a:cs typeface="Arial"/>
              </a:endParaRPr>
            </a:p>
          </p:txBody>
        </p:sp>
        <p:sp>
          <p:nvSpPr>
            <p:cNvPr id="17" name="Rectangle 2"/>
            <p:cNvSpPr txBox="1">
              <a:spLocks noChangeArrowheads="1"/>
            </p:cNvSpPr>
            <p:nvPr/>
          </p:nvSpPr>
          <p:spPr bwMode="auto">
            <a:xfrm>
              <a:off x="218389" y="3031097"/>
              <a:ext cx="1545299" cy="12268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36000" tIns="36000" rIns="36000" bIns="36000">
              <a:spAutoFit/>
            </a:bodyPr>
            <a:lstStyle>
              <a:lvl1pPr defTabSz="457200" eaLnBrk="0" hangingPunct="0">
                <a:defRPr sz="2800">
                  <a:solidFill>
                    <a:srgbClr val="000000"/>
                  </a:solidFill>
                  <a:latin typeface="Arial" pitchFamily="34" charset="0"/>
                  <a:ea typeface="ヒラギノ角ゴ ProN W3" charset="-128"/>
                  <a:sym typeface="Gill Sans" pitchFamily="34" charset="0"/>
                </a:defRPr>
              </a:lvl1pPr>
              <a:lvl2pPr marL="742950" indent="-285750" defTabSz="457200" eaLnBrk="0" hangingPunct="0">
                <a:defRPr sz="2800">
                  <a:solidFill>
                    <a:srgbClr val="000000"/>
                  </a:solidFill>
                  <a:latin typeface="Arial" pitchFamily="34" charset="0"/>
                  <a:ea typeface="ヒラギノ角ゴ ProN W3" charset="-128"/>
                  <a:sym typeface="Gill Sans" pitchFamily="34" charset="0"/>
                </a:defRPr>
              </a:lvl2pPr>
              <a:lvl3pPr marL="1143000" indent="-228600" defTabSz="457200" eaLnBrk="0" hangingPunct="0">
                <a:defRPr sz="2800">
                  <a:solidFill>
                    <a:srgbClr val="000000"/>
                  </a:solidFill>
                  <a:latin typeface="Arial" pitchFamily="34" charset="0"/>
                  <a:ea typeface="ヒラギノ角ゴ ProN W3" charset="-128"/>
                  <a:sym typeface="Gill Sans" pitchFamily="34" charset="0"/>
                </a:defRPr>
              </a:lvl3pPr>
              <a:lvl4pPr marL="1600200" indent="-228600" defTabSz="457200" eaLnBrk="0" hangingPunct="0">
                <a:defRPr sz="2800">
                  <a:solidFill>
                    <a:srgbClr val="000000"/>
                  </a:solidFill>
                  <a:latin typeface="Arial" pitchFamily="34" charset="0"/>
                  <a:ea typeface="ヒラギノ角ゴ ProN W3" charset="-128"/>
                  <a:sym typeface="Gill Sans" pitchFamily="34" charset="0"/>
                </a:defRPr>
              </a:lvl4pPr>
              <a:lvl5pPr marL="2057400" indent="-228600" defTabSz="457200" eaLnBrk="0" hangingPunct="0">
                <a:defRPr sz="2800">
                  <a:solidFill>
                    <a:srgbClr val="000000"/>
                  </a:solidFill>
                  <a:latin typeface="Arial" pitchFamily="34" charset="0"/>
                  <a:ea typeface="ヒラギノ角ゴ ProN W3" charset="-128"/>
                  <a:sym typeface="Gill Sans" pitchFamily="34" charset="0"/>
                </a:defRPr>
              </a:lvl5pPr>
              <a:lvl6pPr marL="25146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6pPr>
              <a:lvl7pPr marL="29718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7pPr>
              <a:lvl8pPr marL="34290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8pPr>
              <a:lvl9pPr marL="38862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9pPr>
            </a:lstStyle>
            <a:p>
              <a:pPr algn="l"/>
              <a:r>
                <a:rPr lang="en-US" sz="1500" dirty="0" smtClean="0">
                  <a:solidFill>
                    <a:prstClr val="black"/>
                  </a:solidFill>
                  <a:latin typeface="Arial"/>
                  <a:ea typeface="Arial Unicode MS" pitchFamily="34" charset="-128"/>
                  <a:cs typeface="Arial"/>
                </a:rPr>
                <a:t>In 2050 70% of the population will live in cities. Today more than 50%</a:t>
              </a:r>
              <a:endParaRPr lang="en-US" sz="1500" dirty="0">
                <a:solidFill>
                  <a:prstClr val="black"/>
                </a:solidFill>
                <a:latin typeface="Arial"/>
                <a:ea typeface="Arial Unicode MS" pitchFamily="34" charset="-128"/>
                <a:cs typeface="Arial"/>
              </a:endParaRPr>
            </a:p>
          </p:txBody>
        </p:sp>
        <p:sp>
          <p:nvSpPr>
            <p:cNvPr id="18" name="14 Rectángulo"/>
            <p:cNvSpPr>
              <a:spLocks noChangeArrowheads="1"/>
            </p:cNvSpPr>
            <p:nvPr/>
          </p:nvSpPr>
          <p:spPr bwMode="auto">
            <a:xfrm>
              <a:off x="5591175" y="2324100"/>
              <a:ext cx="1663699" cy="2041004"/>
            </a:xfrm>
            <a:prstGeom prst="rect">
              <a:avLst/>
            </a:prstGeom>
            <a:solidFill>
              <a:schemeClr val="bg1"/>
            </a:solidFill>
            <a:ln w="9525" algn="ctr">
              <a:solidFill>
                <a:schemeClr val="tx1"/>
              </a:solidFill>
              <a:round/>
              <a:headEnd/>
              <a:tailEnd/>
            </a:ln>
          </p:spPr>
          <p:txBody>
            <a:bodyPr/>
            <a:lstStyle/>
            <a:p>
              <a:pPr algn="l"/>
              <a:endParaRPr lang="en-US" sz="1200" b="1">
                <a:solidFill>
                  <a:prstClr val="black"/>
                </a:solidFill>
                <a:latin typeface="Telefonica Text" pitchFamily="50" charset="0"/>
                <a:ea typeface="MS PGothic" pitchFamily="34" charset="-128"/>
                <a:cs typeface="Arial" pitchFamily="34" charset="0"/>
              </a:endParaRPr>
            </a:p>
          </p:txBody>
        </p:sp>
        <p:sp>
          <p:nvSpPr>
            <p:cNvPr id="19" name="Rectangle 2"/>
            <p:cNvSpPr txBox="1">
              <a:spLocks noChangeArrowheads="1"/>
            </p:cNvSpPr>
            <p:nvPr/>
          </p:nvSpPr>
          <p:spPr bwMode="auto">
            <a:xfrm>
              <a:off x="5534022" y="2382218"/>
              <a:ext cx="1725612" cy="3189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36000" tIns="36000" rIns="36000" bIns="36000">
              <a:spAutoFit/>
            </a:bodyPr>
            <a:lstStyle>
              <a:lvl1pPr defTabSz="457200" eaLnBrk="0" hangingPunct="0">
                <a:defRPr sz="2800">
                  <a:solidFill>
                    <a:srgbClr val="000000"/>
                  </a:solidFill>
                  <a:latin typeface="Arial" pitchFamily="34" charset="0"/>
                  <a:ea typeface="ヒラギノ角ゴ ProN W3" charset="-128"/>
                  <a:sym typeface="Gill Sans" pitchFamily="34" charset="0"/>
                </a:defRPr>
              </a:lvl1pPr>
              <a:lvl2pPr marL="742950" indent="-285750" defTabSz="457200" eaLnBrk="0" hangingPunct="0">
                <a:defRPr sz="2800">
                  <a:solidFill>
                    <a:srgbClr val="000000"/>
                  </a:solidFill>
                  <a:latin typeface="Arial" pitchFamily="34" charset="0"/>
                  <a:ea typeface="ヒラギノ角ゴ ProN W3" charset="-128"/>
                  <a:sym typeface="Gill Sans" pitchFamily="34" charset="0"/>
                </a:defRPr>
              </a:lvl2pPr>
              <a:lvl3pPr marL="1143000" indent="-228600" defTabSz="457200" eaLnBrk="0" hangingPunct="0">
                <a:defRPr sz="2800">
                  <a:solidFill>
                    <a:srgbClr val="000000"/>
                  </a:solidFill>
                  <a:latin typeface="Arial" pitchFamily="34" charset="0"/>
                  <a:ea typeface="ヒラギノ角ゴ ProN W3" charset="-128"/>
                  <a:sym typeface="Gill Sans" pitchFamily="34" charset="0"/>
                </a:defRPr>
              </a:lvl3pPr>
              <a:lvl4pPr marL="1600200" indent="-228600" defTabSz="457200" eaLnBrk="0" hangingPunct="0">
                <a:defRPr sz="2800">
                  <a:solidFill>
                    <a:srgbClr val="000000"/>
                  </a:solidFill>
                  <a:latin typeface="Arial" pitchFamily="34" charset="0"/>
                  <a:ea typeface="ヒラギノ角ゴ ProN W3" charset="-128"/>
                  <a:sym typeface="Gill Sans" pitchFamily="34" charset="0"/>
                </a:defRPr>
              </a:lvl4pPr>
              <a:lvl5pPr marL="2057400" indent="-228600" defTabSz="457200" eaLnBrk="0" hangingPunct="0">
                <a:defRPr sz="2800">
                  <a:solidFill>
                    <a:srgbClr val="000000"/>
                  </a:solidFill>
                  <a:latin typeface="Arial" pitchFamily="34" charset="0"/>
                  <a:ea typeface="ヒラギノ角ゴ ProN W3" charset="-128"/>
                  <a:sym typeface="Gill Sans" pitchFamily="34" charset="0"/>
                </a:defRPr>
              </a:lvl5pPr>
              <a:lvl6pPr marL="25146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6pPr>
              <a:lvl7pPr marL="29718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7pPr>
              <a:lvl8pPr marL="34290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8pPr>
              <a:lvl9pPr marL="38862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9pPr>
            </a:lstStyle>
            <a:p>
              <a:pPr algn="ctr"/>
              <a:r>
                <a:rPr lang="en-US" sz="1600" b="1" dirty="0" smtClean="0">
                  <a:solidFill>
                    <a:srgbClr val="1F497D"/>
                  </a:solidFill>
                  <a:latin typeface="Arial Black" pitchFamily="34" charset="0"/>
                  <a:ea typeface="Arial Unicode MS" pitchFamily="34" charset="-128"/>
                  <a:cs typeface="Aharoni" pitchFamily="2" charset="-79"/>
                </a:rPr>
                <a:t>Connectivity</a:t>
              </a:r>
              <a:endParaRPr lang="en-US" sz="1600" b="1" dirty="0">
                <a:solidFill>
                  <a:srgbClr val="1F497D"/>
                </a:solidFill>
                <a:latin typeface="Arial Black" pitchFamily="34" charset="0"/>
                <a:ea typeface="Arial Unicode MS" pitchFamily="34" charset="-128"/>
                <a:cs typeface="Aharoni" pitchFamily="2" charset="-79"/>
              </a:endParaRPr>
            </a:p>
          </p:txBody>
        </p:sp>
        <p:pic>
          <p:nvPicPr>
            <p:cNvPr id="20" name="6 Imagen"/>
            <p:cNvPicPr>
              <a:picLocks noChangeAspect="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5730875" y="1155700"/>
              <a:ext cx="1343024" cy="9731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1" name="Rectangle 2"/>
            <p:cNvSpPr txBox="1">
              <a:spLocks noChangeArrowheads="1"/>
            </p:cNvSpPr>
            <p:nvPr/>
          </p:nvSpPr>
          <p:spPr bwMode="auto">
            <a:xfrm>
              <a:off x="5616306" y="3031097"/>
              <a:ext cx="1619990" cy="9960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36000" tIns="36000" rIns="36000" bIns="36000">
              <a:spAutoFit/>
            </a:bodyPr>
            <a:lstStyle>
              <a:lvl1pPr defTabSz="457200" eaLnBrk="0" hangingPunct="0">
                <a:defRPr sz="2800">
                  <a:solidFill>
                    <a:srgbClr val="000000"/>
                  </a:solidFill>
                  <a:latin typeface="Arial" pitchFamily="34" charset="0"/>
                  <a:ea typeface="ヒラギノ角ゴ ProN W3" charset="-128"/>
                  <a:sym typeface="Gill Sans" pitchFamily="34" charset="0"/>
                </a:defRPr>
              </a:lvl1pPr>
              <a:lvl2pPr marL="742950" indent="-285750" defTabSz="457200" eaLnBrk="0" hangingPunct="0">
                <a:defRPr sz="2800">
                  <a:solidFill>
                    <a:srgbClr val="000000"/>
                  </a:solidFill>
                  <a:latin typeface="Arial" pitchFamily="34" charset="0"/>
                  <a:ea typeface="ヒラギノ角ゴ ProN W3" charset="-128"/>
                  <a:sym typeface="Gill Sans" pitchFamily="34" charset="0"/>
                </a:defRPr>
              </a:lvl2pPr>
              <a:lvl3pPr marL="1143000" indent="-228600" defTabSz="457200" eaLnBrk="0" hangingPunct="0">
                <a:defRPr sz="2800">
                  <a:solidFill>
                    <a:srgbClr val="000000"/>
                  </a:solidFill>
                  <a:latin typeface="Arial" pitchFamily="34" charset="0"/>
                  <a:ea typeface="ヒラギノ角ゴ ProN W3" charset="-128"/>
                  <a:sym typeface="Gill Sans" pitchFamily="34" charset="0"/>
                </a:defRPr>
              </a:lvl3pPr>
              <a:lvl4pPr marL="1600200" indent="-228600" defTabSz="457200" eaLnBrk="0" hangingPunct="0">
                <a:defRPr sz="2800">
                  <a:solidFill>
                    <a:srgbClr val="000000"/>
                  </a:solidFill>
                  <a:latin typeface="Arial" pitchFamily="34" charset="0"/>
                  <a:ea typeface="ヒラギノ角ゴ ProN W3" charset="-128"/>
                  <a:sym typeface="Gill Sans" pitchFamily="34" charset="0"/>
                </a:defRPr>
              </a:lvl4pPr>
              <a:lvl5pPr marL="2057400" indent="-228600" defTabSz="457200" eaLnBrk="0" hangingPunct="0">
                <a:defRPr sz="2800">
                  <a:solidFill>
                    <a:srgbClr val="000000"/>
                  </a:solidFill>
                  <a:latin typeface="Arial" pitchFamily="34" charset="0"/>
                  <a:ea typeface="ヒラギノ角ゴ ProN W3" charset="-128"/>
                  <a:sym typeface="Gill Sans" pitchFamily="34" charset="0"/>
                </a:defRPr>
              </a:lvl5pPr>
              <a:lvl6pPr marL="25146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6pPr>
              <a:lvl7pPr marL="29718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7pPr>
              <a:lvl8pPr marL="34290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8pPr>
              <a:lvl9pPr marL="38862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9pPr>
            </a:lstStyle>
            <a:p>
              <a:pPr algn="l"/>
              <a:r>
                <a:rPr lang="en-US" sz="1500" dirty="0" smtClean="0">
                  <a:solidFill>
                    <a:prstClr val="black"/>
                  </a:solidFill>
                  <a:latin typeface="Arial"/>
                  <a:ea typeface="Arial Unicode MS" pitchFamily="34" charset="-128"/>
                  <a:cs typeface="Arial"/>
                </a:rPr>
                <a:t>In 2020, expect more than 50 billion connected devices.</a:t>
              </a:r>
              <a:endParaRPr lang="en-US" sz="1500" dirty="0">
                <a:solidFill>
                  <a:prstClr val="black"/>
                </a:solidFill>
                <a:latin typeface="Arial"/>
                <a:ea typeface="Arial Unicode MS" pitchFamily="34" charset="-128"/>
                <a:cs typeface="Arial"/>
              </a:endParaRPr>
            </a:p>
          </p:txBody>
        </p:sp>
        <p:sp>
          <p:nvSpPr>
            <p:cNvPr id="22" name="15 Rectángulo"/>
            <p:cNvSpPr>
              <a:spLocks noChangeArrowheads="1"/>
            </p:cNvSpPr>
            <p:nvPr/>
          </p:nvSpPr>
          <p:spPr bwMode="auto">
            <a:xfrm>
              <a:off x="7356475" y="2324100"/>
              <a:ext cx="1663699" cy="2041004"/>
            </a:xfrm>
            <a:prstGeom prst="rect">
              <a:avLst/>
            </a:prstGeom>
            <a:solidFill>
              <a:schemeClr val="bg1"/>
            </a:solidFill>
            <a:ln w="9525" algn="ctr">
              <a:solidFill>
                <a:schemeClr val="tx1"/>
              </a:solidFill>
              <a:round/>
              <a:headEnd/>
              <a:tailEnd/>
            </a:ln>
          </p:spPr>
          <p:txBody>
            <a:bodyPr/>
            <a:lstStyle/>
            <a:p>
              <a:pPr algn="l"/>
              <a:endParaRPr lang="en-US" sz="1600" b="1">
                <a:solidFill>
                  <a:prstClr val="black"/>
                </a:solidFill>
                <a:latin typeface="Arial"/>
                <a:ea typeface="MS PGothic" pitchFamily="34" charset="-128"/>
                <a:cs typeface="Arial"/>
              </a:endParaRPr>
            </a:p>
          </p:txBody>
        </p:sp>
        <p:sp>
          <p:nvSpPr>
            <p:cNvPr id="23" name="Rectangle 2"/>
            <p:cNvSpPr txBox="1">
              <a:spLocks noChangeArrowheads="1"/>
            </p:cNvSpPr>
            <p:nvPr/>
          </p:nvSpPr>
          <p:spPr bwMode="auto">
            <a:xfrm>
              <a:off x="7356475" y="2436813"/>
              <a:ext cx="1725612" cy="3189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36000" tIns="36000" rIns="36000" bIns="36000">
              <a:spAutoFit/>
            </a:bodyPr>
            <a:lstStyle>
              <a:lvl1pPr defTabSz="457200" eaLnBrk="0" hangingPunct="0">
                <a:defRPr sz="2800">
                  <a:solidFill>
                    <a:srgbClr val="000000"/>
                  </a:solidFill>
                  <a:latin typeface="Arial" pitchFamily="34" charset="0"/>
                  <a:ea typeface="ヒラギノ角ゴ ProN W3" charset="-128"/>
                  <a:sym typeface="Gill Sans" pitchFamily="34" charset="0"/>
                </a:defRPr>
              </a:lvl1pPr>
              <a:lvl2pPr marL="742950" indent="-285750" defTabSz="457200" eaLnBrk="0" hangingPunct="0">
                <a:defRPr sz="2800">
                  <a:solidFill>
                    <a:srgbClr val="000000"/>
                  </a:solidFill>
                  <a:latin typeface="Arial" pitchFamily="34" charset="0"/>
                  <a:ea typeface="ヒラギノ角ゴ ProN W3" charset="-128"/>
                  <a:sym typeface="Gill Sans" pitchFamily="34" charset="0"/>
                </a:defRPr>
              </a:lvl2pPr>
              <a:lvl3pPr marL="1143000" indent="-228600" defTabSz="457200" eaLnBrk="0" hangingPunct="0">
                <a:defRPr sz="2800">
                  <a:solidFill>
                    <a:srgbClr val="000000"/>
                  </a:solidFill>
                  <a:latin typeface="Arial" pitchFamily="34" charset="0"/>
                  <a:ea typeface="ヒラギノ角ゴ ProN W3" charset="-128"/>
                  <a:sym typeface="Gill Sans" pitchFamily="34" charset="0"/>
                </a:defRPr>
              </a:lvl3pPr>
              <a:lvl4pPr marL="1600200" indent="-228600" defTabSz="457200" eaLnBrk="0" hangingPunct="0">
                <a:defRPr sz="2800">
                  <a:solidFill>
                    <a:srgbClr val="000000"/>
                  </a:solidFill>
                  <a:latin typeface="Arial" pitchFamily="34" charset="0"/>
                  <a:ea typeface="ヒラギノ角ゴ ProN W3" charset="-128"/>
                  <a:sym typeface="Gill Sans" pitchFamily="34" charset="0"/>
                </a:defRPr>
              </a:lvl4pPr>
              <a:lvl5pPr marL="2057400" indent="-228600" defTabSz="457200" eaLnBrk="0" hangingPunct="0">
                <a:defRPr sz="2800">
                  <a:solidFill>
                    <a:srgbClr val="000000"/>
                  </a:solidFill>
                  <a:latin typeface="Arial" pitchFamily="34" charset="0"/>
                  <a:ea typeface="ヒラギノ角ゴ ProN W3" charset="-128"/>
                  <a:sym typeface="Gill Sans" pitchFamily="34" charset="0"/>
                </a:defRPr>
              </a:lvl5pPr>
              <a:lvl6pPr marL="25146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6pPr>
              <a:lvl7pPr marL="29718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7pPr>
              <a:lvl8pPr marL="34290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8pPr>
              <a:lvl9pPr marL="38862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9pPr>
            </a:lstStyle>
            <a:p>
              <a:pPr algn="l"/>
              <a:endParaRPr lang="en-US" sz="1600" b="1">
                <a:solidFill>
                  <a:prstClr val="black"/>
                </a:solidFill>
                <a:latin typeface="Arial"/>
                <a:ea typeface="Arial Unicode MS" pitchFamily="34" charset="-128"/>
                <a:cs typeface="Arial"/>
              </a:endParaRPr>
            </a:p>
          </p:txBody>
        </p:sp>
        <p:sp>
          <p:nvSpPr>
            <p:cNvPr id="24" name="Rectangle 2"/>
            <p:cNvSpPr txBox="1">
              <a:spLocks noChangeArrowheads="1"/>
            </p:cNvSpPr>
            <p:nvPr/>
          </p:nvSpPr>
          <p:spPr bwMode="auto">
            <a:xfrm>
              <a:off x="7380312" y="3031097"/>
              <a:ext cx="1638986" cy="12268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36000" tIns="36000" rIns="36000" bIns="36000">
              <a:spAutoFit/>
            </a:bodyPr>
            <a:lstStyle>
              <a:lvl1pPr defTabSz="457200" eaLnBrk="0" hangingPunct="0">
                <a:defRPr sz="2800">
                  <a:solidFill>
                    <a:srgbClr val="000000"/>
                  </a:solidFill>
                  <a:latin typeface="Arial" pitchFamily="34" charset="0"/>
                  <a:ea typeface="ヒラギノ角ゴ ProN W3" charset="-128"/>
                  <a:sym typeface="Gill Sans" pitchFamily="34" charset="0"/>
                </a:defRPr>
              </a:lvl1pPr>
              <a:lvl2pPr marL="742950" indent="-285750" defTabSz="457200" eaLnBrk="0" hangingPunct="0">
                <a:defRPr sz="2800">
                  <a:solidFill>
                    <a:srgbClr val="000000"/>
                  </a:solidFill>
                  <a:latin typeface="Arial" pitchFamily="34" charset="0"/>
                  <a:ea typeface="ヒラギノ角ゴ ProN W3" charset="-128"/>
                  <a:sym typeface="Gill Sans" pitchFamily="34" charset="0"/>
                </a:defRPr>
              </a:lvl2pPr>
              <a:lvl3pPr marL="1143000" indent="-228600" defTabSz="457200" eaLnBrk="0" hangingPunct="0">
                <a:defRPr sz="2800">
                  <a:solidFill>
                    <a:srgbClr val="000000"/>
                  </a:solidFill>
                  <a:latin typeface="Arial" pitchFamily="34" charset="0"/>
                  <a:ea typeface="ヒラギノ角ゴ ProN W3" charset="-128"/>
                  <a:sym typeface="Gill Sans" pitchFamily="34" charset="0"/>
                </a:defRPr>
              </a:lvl3pPr>
              <a:lvl4pPr marL="1600200" indent="-228600" defTabSz="457200" eaLnBrk="0" hangingPunct="0">
                <a:defRPr sz="2800">
                  <a:solidFill>
                    <a:srgbClr val="000000"/>
                  </a:solidFill>
                  <a:latin typeface="Arial" pitchFamily="34" charset="0"/>
                  <a:ea typeface="ヒラギノ角ゴ ProN W3" charset="-128"/>
                  <a:sym typeface="Gill Sans" pitchFamily="34" charset="0"/>
                </a:defRPr>
              </a:lvl4pPr>
              <a:lvl5pPr marL="2057400" indent="-228600" defTabSz="457200" eaLnBrk="0" hangingPunct="0">
                <a:defRPr sz="2800">
                  <a:solidFill>
                    <a:srgbClr val="000000"/>
                  </a:solidFill>
                  <a:latin typeface="Arial" pitchFamily="34" charset="0"/>
                  <a:ea typeface="ヒラギノ角ゴ ProN W3" charset="-128"/>
                  <a:sym typeface="Gill Sans" pitchFamily="34" charset="0"/>
                </a:defRPr>
              </a:lvl5pPr>
              <a:lvl6pPr marL="25146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6pPr>
              <a:lvl7pPr marL="29718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7pPr>
              <a:lvl8pPr marL="34290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8pPr>
              <a:lvl9pPr marL="38862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9pPr>
            </a:lstStyle>
            <a:p>
              <a:pPr algn="l"/>
              <a:r>
                <a:rPr lang="en-US" sz="1500" dirty="0" smtClean="0">
                  <a:solidFill>
                    <a:prstClr val="black"/>
                  </a:solidFill>
                  <a:latin typeface="Arial"/>
                  <a:ea typeface="Arial Unicode MS" pitchFamily="34" charset="-128"/>
                  <a:cs typeface="Arial"/>
                </a:rPr>
                <a:t>The transportation Sector is expected to grow more than any other in 2020</a:t>
              </a:r>
              <a:endParaRPr lang="en-US" sz="1500" dirty="0">
                <a:solidFill>
                  <a:prstClr val="black"/>
                </a:solidFill>
                <a:latin typeface="Arial"/>
                <a:ea typeface="Arial Unicode MS" pitchFamily="34" charset="-128"/>
                <a:cs typeface="Arial"/>
              </a:endParaRPr>
            </a:p>
          </p:txBody>
        </p:sp>
        <p:sp>
          <p:nvSpPr>
            <p:cNvPr id="25" name="Rectangle 2"/>
            <p:cNvSpPr txBox="1">
              <a:spLocks noChangeArrowheads="1"/>
            </p:cNvSpPr>
            <p:nvPr/>
          </p:nvSpPr>
          <p:spPr bwMode="auto">
            <a:xfrm>
              <a:off x="7334222" y="2348880"/>
              <a:ext cx="1724025" cy="3189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lIns="36000" tIns="36000" rIns="36000" bIns="36000">
              <a:spAutoFit/>
            </a:bodyPr>
            <a:lstStyle>
              <a:defPPr>
                <a:defRPr lang="es-ES"/>
              </a:defPPr>
              <a:lvl1pPr algn="ctr" defTabSz="457200" eaLnBrk="0" hangingPunct="0">
                <a:defRPr sz="1600" b="1">
                  <a:solidFill>
                    <a:srgbClr val="1F497D"/>
                  </a:solidFill>
                  <a:latin typeface="Arial Black" pitchFamily="34" charset="0"/>
                  <a:ea typeface="Arial Unicode MS" pitchFamily="34" charset="-128"/>
                  <a:cs typeface="Aharoni" pitchFamily="2" charset="-79"/>
                </a:defRPr>
              </a:lvl1pPr>
              <a:lvl2pPr marL="742950" indent="-285750" defTabSz="457200" eaLnBrk="0" hangingPunct="0">
                <a:defRPr sz="2800">
                  <a:solidFill>
                    <a:srgbClr val="000000"/>
                  </a:solidFill>
                  <a:latin typeface="Arial" pitchFamily="34" charset="0"/>
                  <a:ea typeface="ヒラギノ角ゴ ProN W3" charset="-128"/>
                </a:defRPr>
              </a:lvl2pPr>
              <a:lvl3pPr marL="1143000" indent="-228600" defTabSz="457200" eaLnBrk="0" hangingPunct="0">
                <a:defRPr sz="2800">
                  <a:solidFill>
                    <a:srgbClr val="000000"/>
                  </a:solidFill>
                  <a:latin typeface="Arial" pitchFamily="34" charset="0"/>
                  <a:ea typeface="ヒラギノ角ゴ ProN W3" charset="-128"/>
                </a:defRPr>
              </a:lvl3pPr>
              <a:lvl4pPr marL="1600200" indent="-228600" defTabSz="457200" eaLnBrk="0" hangingPunct="0">
                <a:defRPr sz="2800">
                  <a:solidFill>
                    <a:srgbClr val="000000"/>
                  </a:solidFill>
                  <a:latin typeface="Arial" pitchFamily="34" charset="0"/>
                  <a:ea typeface="ヒラギノ角ゴ ProN W3" charset="-128"/>
                </a:defRPr>
              </a:lvl4pPr>
              <a:lvl5pPr marL="2057400" indent="-228600" defTabSz="457200" eaLnBrk="0" hangingPunct="0">
                <a:defRPr sz="2800">
                  <a:solidFill>
                    <a:srgbClr val="000000"/>
                  </a:solidFill>
                  <a:latin typeface="Arial" pitchFamily="34" charset="0"/>
                  <a:ea typeface="ヒラギノ角ゴ ProN W3" charset="-128"/>
                </a:defRPr>
              </a:lvl5pPr>
              <a:lvl6pPr marL="25146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defRPr>
              </a:lvl6pPr>
              <a:lvl7pPr marL="29718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defRPr>
              </a:lvl7pPr>
              <a:lvl8pPr marL="34290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defRPr>
              </a:lvl8pPr>
              <a:lvl9pPr marL="38862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defRPr>
              </a:lvl9pPr>
            </a:lstStyle>
            <a:p>
              <a:r>
                <a:rPr lang="en-US" dirty="0"/>
                <a:t>Mobility</a:t>
              </a:r>
            </a:p>
          </p:txBody>
        </p:sp>
        <p:sp>
          <p:nvSpPr>
            <p:cNvPr id="26" name="CuadroTexto 4"/>
            <p:cNvSpPr txBox="1">
              <a:spLocks noChangeArrowheads="1"/>
            </p:cNvSpPr>
            <p:nvPr/>
          </p:nvSpPr>
          <p:spPr bwMode="auto">
            <a:xfrm>
              <a:off x="136525" y="4365104"/>
              <a:ext cx="1821016" cy="215444"/>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2800">
                  <a:solidFill>
                    <a:srgbClr val="000000"/>
                  </a:solidFill>
                  <a:latin typeface="Arial" pitchFamily="34" charset="0"/>
                  <a:ea typeface="ヒラギノ角ゴ ProN W3" charset="-128"/>
                  <a:sym typeface="Gill Sans" pitchFamily="34" charset="0"/>
                </a:defRPr>
              </a:lvl1pPr>
              <a:lvl2pPr marL="742950" indent="-285750" eaLnBrk="0" hangingPunct="0">
                <a:defRPr sz="2800">
                  <a:solidFill>
                    <a:srgbClr val="000000"/>
                  </a:solidFill>
                  <a:latin typeface="Arial" pitchFamily="34" charset="0"/>
                  <a:ea typeface="ヒラギノ角ゴ ProN W3" charset="-128"/>
                  <a:sym typeface="Gill Sans" pitchFamily="34" charset="0"/>
                </a:defRPr>
              </a:lvl2pPr>
              <a:lvl3pPr marL="1143000" indent="-228600" eaLnBrk="0" hangingPunct="0">
                <a:defRPr sz="2800">
                  <a:solidFill>
                    <a:srgbClr val="000000"/>
                  </a:solidFill>
                  <a:latin typeface="Arial" pitchFamily="34" charset="0"/>
                  <a:ea typeface="ヒラギノ角ゴ ProN W3" charset="-128"/>
                  <a:sym typeface="Gill Sans" pitchFamily="34" charset="0"/>
                </a:defRPr>
              </a:lvl3pPr>
              <a:lvl4pPr marL="1600200" indent="-228600" eaLnBrk="0" hangingPunct="0">
                <a:defRPr sz="2800">
                  <a:solidFill>
                    <a:srgbClr val="000000"/>
                  </a:solidFill>
                  <a:latin typeface="Arial" pitchFamily="34" charset="0"/>
                  <a:ea typeface="ヒラギノ角ゴ ProN W3" charset="-128"/>
                  <a:sym typeface="Gill Sans" pitchFamily="34" charset="0"/>
                </a:defRPr>
              </a:lvl4pPr>
              <a:lvl5pPr marL="2057400" indent="-228600" eaLnBrk="0" hangingPunct="0">
                <a:defRPr sz="2800">
                  <a:solidFill>
                    <a:srgbClr val="000000"/>
                  </a:solidFill>
                  <a:latin typeface="Arial" pitchFamily="34" charset="0"/>
                  <a:ea typeface="ヒラギノ角ゴ ProN W3" charset="-128"/>
                  <a:sym typeface="Gill Sans" pitchFamily="34"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9pPr>
            </a:lstStyle>
            <a:p>
              <a:pPr algn="l" eaLnBrk="1" hangingPunct="1"/>
              <a:r>
                <a:rPr lang="en-US" sz="800" dirty="0" smtClean="0">
                  <a:solidFill>
                    <a:srgbClr val="043F52"/>
                  </a:solidFill>
                  <a:latin typeface="Telefonica Text" pitchFamily="50" charset="0"/>
                  <a:ea typeface="MS PGothic" pitchFamily="34" charset="-128"/>
                  <a:cs typeface="ＭＳ Ｐゴシック"/>
                </a:rPr>
                <a:t>Source:  International Energy Agency, </a:t>
              </a:r>
              <a:endParaRPr lang="en-US" sz="800" dirty="0">
                <a:solidFill>
                  <a:srgbClr val="043F52"/>
                </a:solidFill>
                <a:latin typeface="Telefonica Text" pitchFamily="50" charset="0"/>
                <a:ea typeface="MS PGothic" pitchFamily="34" charset="-128"/>
                <a:cs typeface="ＭＳ Ｐゴシック"/>
              </a:endParaRPr>
            </a:p>
          </p:txBody>
        </p:sp>
        <p:pic>
          <p:nvPicPr>
            <p:cNvPr id="27" name="Picture 2" descr="http://4.bp.blogspot.com/-v3L2yw8XQrw/T1FCQAqdqLI/AAAAAAAAAEE/wwvOSazSRck/s1600/eol-maglev-train-vanja-valencak-future-transport-06.jpg"/>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7506945" y="1155700"/>
              <a:ext cx="1298917" cy="973138"/>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28" name="1 Título"/>
          <p:cNvSpPr txBox="1">
            <a:spLocks/>
          </p:cNvSpPr>
          <p:nvPr/>
        </p:nvSpPr>
        <p:spPr bwMode="auto">
          <a:xfrm>
            <a:off x="395288" y="98427"/>
            <a:ext cx="8784976" cy="549275"/>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 xmlns:ma14="http://schemas.microsoft.com/office/mac/drawingml/2011/main" val="1"/>
            </a:ext>
          </a:extLst>
        </p:spPr>
        <p:txBody>
          <a:bodyPr vert="horz" wrap="square" lIns="50800" tIns="50800" rIns="50800" bIns="50800" numCol="1" anchor="b" anchorCtr="0" compatLnSpc="1">
            <a:prstTxWarp prst="textNoShape">
              <a:avLst/>
            </a:prstTxWarp>
          </a:bodyPr>
          <a:lstStyle>
            <a:lvl1pPr algn="ctr" rtl="0" eaLnBrk="0" fontAlgn="base" hangingPunct="0">
              <a:spcBef>
                <a:spcPct val="0"/>
              </a:spcBef>
              <a:spcAft>
                <a:spcPct val="0"/>
              </a:spcAft>
              <a:defRPr sz="5800">
                <a:solidFill>
                  <a:schemeClr val="tx1"/>
                </a:solidFill>
                <a:latin typeface="+mj-lt"/>
                <a:ea typeface="+mj-ea"/>
                <a:cs typeface="+mj-cs"/>
                <a:sym typeface="Gill Sans" charset="0"/>
              </a:defRPr>
            </a:lvl1pPr>
            <a:lvl2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2pPr>
            <a:lvl3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3pPr>
            <a:lvl4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4pPr>
            <a:lvl5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5pPr>
            <a:lvl6pPr marL="457200"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6pPr>
            <a:lvl7pPr marL="914400"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7pPr>
            <a:lvl8pPr marL="1371600"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8pPr>
            <a:lvl9pPr marL="1828800"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9pPr>
          </a:lstStyle>
          <a:p>
            <a:pPr algn="l"/>
            <a:r>
              <a:rPr lang="en-US" sz="2400" dirty="0" smtClean="0">
                <a:solidFill>
                  <a:schemeClr val="accent2">
                    <a:lumMod val="50000"/>
                  </a:schemeClr>
                </a:solidFill>
                <a:latin typeface="Arial"/>
                <a:cs typeface="Arial"/>
              </a:rPr>
              <a:t>The evolution of cities</a:t>
            </a:r>
            <a:endParaRPr lang="en-US" sz="2400" dirty="0">
              <a:solidFill>
                <a:schemeClr val="accent2">
                  <a:lumMod val="50000"/>
                </a:schemeClr>
              </a:solidFill>
              <a:latin typeface="Arial"/>
              <a:cs typeface="Arial"/>
            </a:endParaRPr>
          </a:p>
        </p:txBody>
      </p:sp>
    </p:spTree>
    <p:extLst>
      <p:ext uri="{BB962C8B-B14F-4D97-AF65-F5344CB8AC3E}">
        <p14:creationId xmlns:p14="http://schemas.microsoft.com/office/powerpoint/2010/main" xmlns="" val="10090354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6660" name="Picture 4"/>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4652838" y="1407823"/>
            <a:ext cx="4141564" cy="32127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26661" name="Picture 5"/>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539552" y="1407823"/>
            <a:ext cx="4140489" cy="32127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cxnSp>
        <p:nvCxnSpPr>
          <p:cNvPr id="6" name="5 Conector recto de flecha"/>
          <p:cNvCxnSpPr/>
          <p:nvPr/>
        </p:nvCxnSpPr>
        <p:spPr bwMode="auto">
          <a:xfrm flipV="1">
            <a:off x="2201414" y="3399586"/>
            <a:ext cx="792088" cy="527790"/>
          </a:xfrm>
          <a:prstGeom prst="straightConnector1">
            <a:avLst/>
          </a:prstGeom>
          <a:noFill/>
          <a:ln w="9525" cap="flat" cmpd="sng" algn="ctr">
            <a:solidFill>
              <a:schemeClr val="bg1">
                <a:lumMod val="65000"/>
              </a:schemeClr>
            </a:solidFill>
            <a:prstDash val="solid"/>
            <a:round/>
            <a:headEnd type="none" w="med" len="med"/>
            <a:tailEnd type="arrow"/>
          </a:ln>
          <a:effectLst/>
        </p:spPr>
      </p:cxnSp>
      <p:sp>
        <p:nvSpPr>
          <p:cNvPr id="115713" name="Slide Number Placeholder 2"/>
          <p:cNvSpPr>
            <a:spLocks noGrp="1"/>
          </p:cNvSpPr>
          <p:nvPr>
            <p:ph type="sldNum" sz="quarter" idx="10"/>
          </p:nvPr>
        </p:nvSpPr>
        <p:spPr>
          <a:noFill/>
        </p:spPr>
        <p:txBody>
          <a:bodyPr/>
          <a:lstStyle/>
          <a:p>
            <a:pPr fontAlgn="base">
              <a:spcAft>
                <a:spcPct val="0"/>
              </a:spcAft>
            </a:pPr>
            <a:fld id="{DA2F3B8A-8583-4B50-89C7-B0FF1273554C}" type="slidenum">
              <a:rPr lang="es-ES" smtClean="0">
                <a:latin typeface="Arial" pitchFamily="34" charset="0"/>
                <a:ea typeface="ＭＳ Ｐゴシック"/>
                <a:cs typeface="Arial" pitchFamily="34" charset="0"/>
              </a:rPr>
              <a:pPr fontAlgn="base">
                <a:spcAft>
                  <a:spcPct val="0"/>
                </a:spcAft>
              </a:pPr>
              <a:t>6</a:t>
            </a:fld>
            <a:endParaRPr lang="es-ES" dirty="0" smtClean="0">
              <a:latin typeface="Arial" pitchFamily="34" charset="0"/>
              <a:ea typeface="ＭＳ Ｐゴシック"/>
              <a:cs typeface="Arial" pitchFamily="34" charset="0"/>
            </a:endParaRPr>
          </a:p>
        </p:txBody>
      </p:sp>
      <p:sp>
        <p:nvSpPr>
          <p:cNvPr id="115719" name="AutoShape 2"/>
          <p:cNvSpPr>
            <a:spLocks noChangeArrowheads="1"/>
          </p:cNvSpPr>
          <p:nvPr/>
        </p:nvSpPr>
        <p:spPr bwMode="auto">
          <a:xfrm>
            <a:off x="312739" y="19224"/>
            <a:ext cx="8618537" cy="999838"/>
          </a:xfrm>
          <a:prstGeom prst="roundRect">
            <a:avLst>
              <a:gd name="adj" fmla="val 16667"/>
            </a:avLst>
          </a:prstGeom>
          <a:noFill/>
          <a:ln w="9525" algn="ctr">
            <a:noFill/>
            <a:round/>
            <a:headEnd/>
            <a:tailEnd/>
          </a:ln>
        </p:spPr>
        <p:txBody>
          <a:bodyPr lIns="36000" tIns="36000" rIns="36000" bIns="36000">
            <a:spAutoFit/>
          </a:bodyPr>
          <a:lstStyle/>
          <a:p>
            <a:pPr defTabSz="457200"/>
            <a:r>
              <a:rPr lang="en-GB" b="1" dirty="0" smtClean="0">
                <a:solidFill>
                  <a:schemeClr val="tx2"/>
                </a:solidFill>
                <a:latin typeface="Arial" pitchFamily="34" charset="0"/>
                <a:ea typeface="Arial Unicode MS" pitchFamily="34" charset="-128"/>
                <a:cs typeface="Arial" pitchFamily="34" charset="0"/>
              </a:rPr>
              <a:t>… and wealth distribution is going to be more polarized: 25% of the population in top 600 cities will account for 58% of global GDP, 75% in today’s developing economies</a:t>
            </a:r>
            <a:endParaRPr lang="en-GB" b="1" dirty="0">
              <a:solidFill>
                <a:schemeClr val="tx2"/>
              </a:solidFill>
              <a:latin typeface="Arial" pitchFamily="34" charset="0"/>
              <a:ea typeface="Arial Unicode MS" pitchFamily="34" charset="-128"/>
              <a:cs typeface="Arial" pitchFamily="34" charset="0"/>
            </a:endParaRPr>
          </a:p>
        </p:txBody>
      </p:sp>
      <p:sp>
        <p:nvSpPr>
          <p:cNvPr id="24" name="TextBox 4"/>
          <p:cNvSpPr txBox="1">
            <a:spLocks noChangeArrowheads="1"/>
          </p:cNvSpPr>
          <p:nvPr/>
        </p:nvSpPr>
        <p:spPr bwMode="auto">
          <a:xfrm>
            <a:off x="1416640" y="1269324"/>
            <a:ext cx="2386312" cy="276999"/>
          </a:xfrm>
          <a:prstGeom prst="rect">
            <a:avLst/>
          </a:prstGeom>
          <a:noFill/>
          <a:ln w="9525">
            <a:noFill/>
            <a:miter lim="800000"/>
            <a:headEnd/>
            <a:tailEnd/>
          </a:ln>
        </p:spPr>
        <p:txBody>
          <a:bodyPr wrap="square">
            <a:spAutoFit/>
          </a:bodyPr>
          <a:lstStyle/>
          <a:p>
            <a:pPr algn="ctr"/>
            <a:r>
              <a:rPr lang="en-US" sz="1200" b="1" dirty="0" smtClean="0">
                <a:solidFill>
                  <a:srgbClr val="000000"/>
                </a:solidFill>
                <a:latin typeface="Arial" pitchFamily="34" charset="0"/>
                <a:cs typeface="Arial" pitchFamily="34" charset="0"/>
              </a:rPr>
              <a:t>Top 600 Cities Population</a:t>
            </a:r>
            <a:endParaRPr lang="en-US" sz="1200" b="1" dirty="0">
              <a:solidFill>
                <a:srgbClr val="000000"/>
              </a:solidFill>
              <a:latin typeface="Arial" pitchFamily="34" charset="0"/>
              <a:cs typeface="Arial" pitchFamily="34" charset="0"/>
            </a:endParaRPr>
          </a:p>
        </p:txBody>
      </p:sp>
      <p:sp>
        <p:nvSpPr>
          <p:cNvPr id="25" name="TextBox 4"/>
          <p:cNvSpPr txBox="1">
            <a:spLocks noChangeArrowheads="1"/>
          </p:cNvSpPr>
          <p:nvPr/>
        </p:nvSpPr>
        <p:spPr bwMode="auto">
          <a:xfrm>
            <a:off x="5530464" y="1269324"/>
            <a:ext cx="2386312" cy="276999"/>
          </a:xfrm>
          <a:prstGeom prst="rect">
            <a:avLst/>
          </a:prstGeom>
          <a:noFill/>
          <a:ln w="9525">
            <a:noFill/>
            <a:miter lim="800000"/>
            <a:headEnd/>
            <a:tailEnd/>
          </a:ln>
        </p:spPr>
        <p:txBody>
          <a:bodyPr wrap="square">
            <a:spAutoFit/>
          </a:bodyPr>
          <a:lstStyle/>
          <a:p>
            <a:pPr algn="ctr"/>
            <a:r>
              <a:rPr lang="en-US" sz="1200" b="1" dirty="0" smtClean="0">
                <a:solidFill>
                  <a:srgbClr val="000000"/>
                </a:solidFill>
                <a:latin typeface="Arial" pitchFamily="34" charset="0"/>
                <a:cs typeface="Arial" pitchFamily="34" charset="0"/>
              </a:rPr>
              <a:t>Top 600 Cities GDP</a:t>
            </a:r>
            <a:endParaRPr lang="en-US" sz="1200" b="1" dirty="0">
              <a:solidFill>
                <a:srgbClr val="000000"/>
              </a:solidFill>
              <a:latin typeface="Arial" pitchFamily="34" charset="0"/>
              <a:cs typeface="Arial" pitchFamily="34" charset="0"/>
            </a:endParaRPr>
          </a:p>
        </p:txBody>
      </p:sp>
      <p:sp>
        <p:nvSpPr>
          <p:cNvPr id="26" name="TextBox 4"/>
          <p:cNvSpPr txBox="1">
            <a:spLocks noChangeArrowheads="1"/>
          </p:cNvSpPr>
          <p:nvPr/>
        </p:nvSpPr>
        <p:spPr bwMode="auto">
          <a:xfrm>
            <a:off x="4622006" y="3136016"/>
            <a:ext cx="2386312" cy="276999"/>
          </a:xfrm>
          <a:prstGeom prst="rect">
            <a:avLst/>
          </a:prstGeom>
          <a:noFill/>
          <a:ln w="9525">
            <a:noFill/>
            <a:miter lim="800000"/>
            <a:headEnd/>
            <a:tailEnd/>
          </a:ln>
        </p:spPr>
        <p:txBody>
          <a:bodyPr wrap="square">
            <a:spAutoFit/>
          </a:bodyPr>
          <a:lstStyle/>
          <a:p>
            <a:pPr algn="ctr"/>
            <a:r>
              <a:rPr lang="en-US" sz="1200" dirty="0" smtClean="0">
                <a:solidFill>
                  <a:srgbClr val="000000"/>
                </a:solidFill>
                <a:latin typeface="Arial" pitchFamily="34" charset="0"/>
                <a:cs typeface="Arial" pitchFamily="34" charset="0"/>
              </a:rPr>
              <a:t>29,7 trillion</a:t>
            </a:r>
            <a:endParaRPr lang="en-US" sz="1200" dirty="0">
              <a:solidFill>
                <a:srgbClr val="000000"/>
              </a:solidFill>
              <a:latin typeface="Arial" pitchFamily="34" charset="0"/>
              <a:cs typeface="Arial" pitchFamily="34" charset="0"/>
            </a:endParaRPr>
          </a:p>
        </p:txBody>
      </p:sp>
      <p:sp>
        <p:nvSpPr>
          <p:cNvPr id="27" name="TextBox 4"/>
          <p:cNvSpPr txBox="1">
            <a:spLocks noChangeArrowheads="1"/>
          </p:cNvSpPr>
          <p:nvPr/>
        </p:nvSpPr>
        <p:spPr bwMode="auto">
          <a:xfrm>
            <a:off x="6507731" y="1683156"/>
            <a:ext cx="2386312" cy="276999"/>
          </a:xfrm>
          <a:prstGeom prst="rect">
            <a:avLst/>
          </a:prstGeom>
          <a:noFill/>
          <a:ln w="9525">
            <a:noFill/>
            <a:miter lim="800000"/>
            <a:headEnd/>
            <a:tailEnd/>
          </a:ln>
        </p:spPr>
        <p:txBody>
          <a:bodyPr wrap="square">
            <a:spAutoFit/>
          </a:bodyPr>
          <a:lstStyle/>
          <a:p>
            <a:pPr algn="ctr"/>
            <a:r>
              <a:rPr lang="en-US" sz="1200" dirty="0" smtClean="0">
                <a:solidFill>
                  <a:srgbClr val="000000"/>
                </a:solidFill>
                <a:latin typeface="Arial" pitchFamily="34" charset="0"/>
                <a:cs typeface="Arial" pitchFamily="34" charset="0"/>
              </a:rPr>
              <a:t>63,5 trillion</a:t>
            </a:r>
            <a:endParaRPr lang="en-US" sz="1200" dirty="0">
              <a:solidFill>
                <a:srgbClr val="000000"/>
              </a:solidFill>
              <a:latin typeface="Arial" pitchFamily="34" charset="0"/>
              <a:cs typeface="Arial" pitchFamily="34" charset="0"/>
            </a:endParaRPr>
          </a:p>
        </p:txBody>
      </p:sp>
      <p:sp>
        <p:nvSpPr>
          <p:cNvPr id="28" name="TextBox 4"/>
          <p:cNvSpPr txBox="1">
            <a:spLocks noChangeArrowheads="1"/>
          </p:cNvSpPr>
          <p:nvPr/>
        </p:nvSpPr>
        <p:spPr bwMode="auto">
          <a:xfrm>
            <a:off x="514152" y="3136016"/>
            <a:ext cx="2386312" cy="276999"/>
          </a:xfrm>
          <a:prstGeom prst="rect">
            <a:avLst/>
          </a:prstGeom>
          <a:noFill/>
          <a:ln w="9525">
            <a:noFill/>
            <a:miter lim="800000"/>
            <a:headEnd/>
            <a:tailEnd/>
          </a:ln>
        </p:spPr>
        <p:txBody>
          <a:bodyPr wrap="square">
            <a:spAutoFit/>
          </a:bodyPr>
          <a:lstStyle/>
          <a:p>
            <a:pPr algn="ctr"/>
            <a:r>
              <a:rPr lang="en-US" sz="1200" dirty="0" smtClean="0">
                <a:solidFill>
                  <a:srgbClr val="000000"/>
                </a:solidFill>
                <a:latin typeface="Arial" pitchFamily="34" charset="0"/>
                <a:cs typeface="Arial" pitchFamily="34" charset="0"/>
              </a:rPr>
              <a:t>1.484 million</a:t>
            </a:r>
            <a:endParaRPr lang="en-US" sz="1200" dirty="0">
              <a:solidFill>
                <a:srgbClr val="000000"/>
              </a:solidFill>
              <a:latin typeface="Arial" pitchFamily="34" charset="0"/>
              <a:cs typeface="Arial" pitchFamily="34" charset="0"/>
            </a:endParaRPr>
          </a:p>
        </p:txBody>
      </p:sp>
      <p:sp>
        <p:nvSpPr>
          <p:cNvPr id="29" name="TextBox 4"/>
          <p:cNvSpPr txBox="1">
            <a:spLocks noChangeArrowheads="1"/>
          </p:cNvSpPr>
          <p:nvPr/>
        </p:nvSpPr>
        <p:spPr bwMode="auto">
          <a:xfrm>
            <a:off x="2400794" y="1554831"/>
            <a:ext cx="2386312" cy="276999"/>
          </a:xfrm>
          <a:prstGeom prst="rect">
            <a:avLst/>
          </a:prstGeom>
          <a:noFill/>
          <a:ln w="9525">
            <a:noFill/>
            <a:miter lim="800000"/>
            <a:headEnd/>
            <a:tailEnd/>
          </a:ln>
        </p:spPr>
        <p:txBody>
          <a:bodyPr wrap="square">
            <a:spAutoFit/>
          </a:bodyPr>
          <a:lstStyle/>
          <a:p>
            <a:pPr algn="ctr"/>
            <a:r>
              <a:rPr lang="en-US" sz="1200" dirty="0" smtClean="0">
                <a:solidFill>
                  <a:srgbClr val="000000"/>
                </a:solidFill>
                <a:latin typeface="Arial" pitchFamily="34" charset="0"/>
                <a:cs typeface="Arial" pitchFamily="34" charset="0"/>
              </a:rPr>
              <a:t>1.965 million</a:t>
            </a:r>
            <a:endParaRPr lang="en-US" sz="1200" dirty="0">
              <a:solidFill>
                <a:srgbClr val="000000"/>
              </a:solidFill>
              <a:latin typeface="Arial" pitchFamily="34" charset="0"/>
              <a:cs typeface="Arial" pitchFamily="34" charset="0"/>
            </a:endParaRPr>
          </a:p>
        </p:txBody>
      </p:sp>
      <p:sp>
        <p:nvSpPr>
          <p:cNvPr id="3" name="2 Elipse"/>
          <p:cNvSpPr/>
          <p:nvPr/>
        </p:nvSpPr>
        <p:spPr bwMode="auto">
          <a:xfrm>
            <a:off x="2294755" y="3440672"/>
            <a:ext cx="630084" cy="408315"/>
          </a:xfrm>
          <a:prstGeom prst="ellipse">
            <a:avLst/>
          </a:prstGeom>
          <a:solidFill>
            <a:schemeClr val="bg1">
              <a:lumMod val="85000"/>
            </a:schemeClr>
          </a:solidFill>
          <a:ln w="9525"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marL="0" marR="0" indent="0" algn="ctr" defTabSz="914400" rtl="0" eaLnBrk="1" fontAlgn="base" latinLnBrk="0" hangingPunct="1">
              <a:lnSpc>
                <a:spcPct val="105000"/>
              </a:lnSpc>
              <a:spcBef>
                <a:spcPct val="30000"/>
              </a:spcBef>
              <a:spcAft>
                <a:spcPct val="0"/>
              </a:spcAft>
              <a:buClrTx/>
              <a:buSzTx/>
              <a:buFontTx/>
              <a:buNone/>
              <a:tabLst/>
            </a:pPr>
            <a:r>
              <a:rPr lang="es-ES" sz="1000" dirty="0" smtClean="0">
                <a:latin typeface="Arial" pitchFamily="34" charset="0"/>
                <a:ea typeface="ＭＳ Ｐゴシック" pitchFamily="34" charset="-128"/>
                <a:cs typeface="Arial" pitchFamily="34" charset="0"/>
              </a:rPr>
              <a:t>1,6%</a:t>
            </a:r>
            <a:endParaRPr kumimoji="0" lang="es-ES" sz="1000" b="0" i="0" u="none" strike="noStrike" cap="none" normalizeH="0" baseline="0" dirty="0" smtClean="0">
              <a:ln>
                <a:noFill/>
              </a:ln>
              <a:solidFill>
                <a:schemeClr val="tx1"/>
              </a:solidFill>
              <a:effectLst/>
              <a:latin typeface="Arial" pitchFamily="34" charset="0"/>
              <a:ea typeface="ＭＳ Ｐゴシック" pitchFamily="34" charset="-128"/>
              <a:cs typeface="Arial" pitchFamily="34" charset="0"/>
            </a:endParaRPr>
          </a:p>
        </p:txBody>
      </p:sp>
      <p:cxnSp>
        <p:nvCxnSpPr>
          <p:cNvPr id="34" name="33 Conector recto de flecha"/>
          <p:cNvCxnSpPr/>
          <p:nvPr/>
        </p:nvCxnSpPr>
        <p:spPr bwMode="auto">
          <a:xfrm flipV="1">
            <a:off x="6315238" y="3477977"/>
            <a:ext cx="792088" cy="527790"/>
          </a:xfrm>
          <a:prstGeom prst="straightConnector1">
            <a:avLst/>
          </a:prstGeom>
          <a:noFill/>
          <a:ln w="9525" cap="flat" cmpd="sng" algn="ctr">
            <a:solidFill>
              <a:schemeClr val="bg1">
                <a:lumMod val="65000"/>
              </a:schemeClr>
            </a:solidFill>
            <a:prstDash val="solid"/>
            <a:round/>
            <a:headEnd type="none" w="med" len="med"/>
            <a:tailEnd type="arrow"/>
          </a:ln>
          <a:effectLst/>
        </p:spPr>
      </p:cxnSp>
      <p:sp>
        <p:nvSpPr>
          <p:cNvPr id="35" name="34 Elipse"/>
          <p:cNvSpPr/>
          <p:nvPr/>
        </p:nvSpPr>
        <p:spPr bwMode="auto">
          <a:xfrm>
            <a:off x="6408578" y="3519063"/>
            <a:ext cx="630084" cy="408315"/>
          </a:xfrm>
          <a:prstGeom prst="ellipse">
            <a:avLst/>
          </a:prstGeom>
          <a:solidFill>
            <a:schemeClr val="bg1">
              <a:lumMod val="85000"/>
            </a:schemeClr>
          </a:solidFill>
          <a:ln w="9525"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marL="0" marR="0" indent="0" algn="ctr" defTabSz="914400" rtl="0" eaLnBrk="1" fontAlgn="base" latinLnBrk="0" hangingPunct="1">
              <a:lnSpc>
                <a:spcPct val="105000"/>
              </a:lnSpc>
              <a:spcBef>
                <a:spcPct val="30000"/>
              </a:spcBef>
              <a:spcAft>
                <a:spcPct val="0"/>
              </a:spcAft>
              <a:buClrTx/>
              <a:buSzTx/>
              <a:buFontTx/>
              <a:buNone/>
              <a:tabLst/>
            </a:pPr>
            <a:r>
              <a:rPr lang="es-ES" sz="1000" dirty="0" smtClean="0">
                <a:latin typeface="Arial" pitchFamily="34" charset="0"/>
                <a:ea typeface="ＭＳ Ｐゴシック" pitchFamily="34" charset="-128"/>
                <a:cs typeface="Arial" pitchFamily="34" charset="0"/>
              </a:rPr>
              <a:t>4,3%</a:t>
            </a:r>
            <a:endParaRPr kumimoji="0" lang="es-ES" sz="1000" b="0" i="0" u="none" strike="noStrike" cap="none" normalizeH="0" baseline="0" dirty="0" smtClean="0">
              <a:ln>
                <a:noFill/>
              </a:ln>
              <a:solidFill>
                <a:schemeClr val="tx1"/>
              </a:solidFill>
              <a:effectLst/>
              <a:latin typeface="Arial" pitchFamily="34" charset="0"/>
              <a:ea typeface="ＭＳ Ｐゴシック" pitchFamily="34" charset="-128"/>
              <a:cs typeface="Arial" pitchFamily="34" charset="0"/>
            </a:endParaRPr>
          </a:p>
        </p:txBody>
      </p:sp>
      <p:sp>
        <p:nvSpPr>
          <p:cNvPr id="36" name="TextBox 4"/>
          <p:cNvSpPr txBox="1">
            <a:spLocks noChangeArrowheads="1"/>
          </p:cNvSpPr>
          <p:nvPr/>
        </p:nvSpPr>
        <p:spPr bwMode="auto">
          <a:xfrm>
            <a:off x="611561" y="5721887"/>
            <a:ext cx="7776864" cy="338554"/>
          </a:xfrm>
          <a:prstGeom prst="rect">
            <a:avLst/>
          </a:prstGeom>
          <a:noFill/>
          <a:ln w="9525">
            <a:noFill/>
            <a:miter lim="800000"/>
            <a:headEnd/>
            <a:tailEnd/>
          </a:ln>
        </p:spPr>
        <p:txBody>
          <a:bodyPr wrap="square">
            <a:spAutoFit/>
          </a:bodyPr>
          <a:lstStyle/>
          <a:p>
            <a:r>
              <a:rPr lang="en-US" sz="800" dirty="0" smtClean="0">
                <a:solidFill>
                  <a:srgbClr val="000000"/>
                </a:solidFill>
                <a:latin typeface="Arial" pitchFamily="34" charset="0"/>
                <a:cs typeface="Arial" pitchFamily="34" charset="0"/>
              </a:rPr>
              <a:t>Source: McKinsey Global Institute (MGI), United Nations World Urbanization Prospects</a:t>
            </a:r>
          </a:p>
          <a:p>
            <a:r>
              <a:rPr lang="en-US" sz="800" dirty="0" smtClean="0">
                <a:solidFill>
                  <a:srgbClr val="000000"/>
                </a:solidFill>
                <a:latin typeface="Arial" pitchFamily="34" charset="0"/>
                <a:cs typeface="Arial" pitchFamily="34" charset="0"/>
              </a:rPr>
              <a:t>Top 600 World Cities: top 600 cities of the world by GDP, as </a:t>
            </a:r>
            <a:r>
              <a:rPr lang="en-US" sz="800" dirty="0" err="1" smtClean="0">
                <a:solidFill>
                  <a:srgbClr val="000000"/>
                </a:solidFill>
                <a:latin typeface="Arial" pitchFamily="34" charset="0"/>
                <a:cs typeface="Arial" pitchFamily="34" charset="0"/>
              </a:rPr>
              <a:t>definced</a:t>
            </a:r>
            <a:r>
              <a:rPr lang="en-US" sz="800" dirty="0" smtClean="0">
                <a:solidFill>
                  <a:srgbClr val="000000"/>
                </a:solidFill>
                <a:latin typeface="Arial" pitchFamily="34" charset="0"/>
                <a:cs typeface="Arial" pitchFamily="34" charset="0"/>
              </a:rPr>
              <a:t> by MGI</a:t>
            </a:r>
            <a:endParaRPr lang="en-US" sz="800" dirty="0">
              <a:solidFill>
                <a:srgbClr val="000000"/>
              </a:solidFill>
              <a:latin typeface="Arial" pitchFamily="34" charset="0"/>
              <a:cs typeface="Arial" pitchFamily="34" charset="0"/>
            </a:endParaRPr>
          </a:p>
        </p:txBody>
      </p:sp>
      <p:sp>
        <p:nvSpPr>
          <p:cNvPr id="37" name="TextBox 4"/>
          <p:cNvSpPr txBox="1">
            <a:spLocks noChangeArrowheads="1"/>
          </p:cNvSpPr>
          <p:nvPr/>
        </p:nvSpPr>
        <p:spPr bwMode="auto">
          <a:xfrm>
            <a:off x="611561" y="4586305"/>
            <a:ext cx="7776864" cy="1169551"/>
          </a:xfrm>
          <a:prstGeom prst="rect">
            <a:avLst/>
          </a:prstGeom>
          <a:noFill/>
          <a:ln w="9525">
            <a:noFill/>
            <a:miter lim="800000"/>
            <a:headEnd/>
            <a:tailEnd/>
          </a:ln>
        </p:spPr>
        <p:txBody>
          <a:bodyPr wrap="square">
            <a:spAutoFit/>
          </a:bodyPr>
          <a:lstStyle/>
          <a:p>
            <a:r>
              <a:rPr lang="en-US" sz="1400" dirty="0" smtClean="0">
                <a:solidFill>
                  <a:srgbClr val="000000"/>
                </a:solidFill>
                <a:latin typeface="Arial" pitchFamily="34" charset="0"/>
                <a:cs typeface="Arial" pitchFamily="34" charset="0"/>
              </a:rPr>
              <a:t>Furthermore, economic growth will be mainly driven by cities…</a:t>
            </a:r>
          </a:p>
          <a:p>
            <a:pPr marL="628650" lvl="1" indent="-171450">
              <a:buFont typeface="Wingdings" pitchFamily="2" charset="2"/>
              <a:buChar char="§"/>
            </a:pPr>
            <a:r>
              <a:rPr lang="en-US" sz="1400" dirty="0" smtClean="0">
                <a:solidFill>
                  <a:srgbClr val="000000"/>
                </a:solidFill>
                <a:latin typeface="Arial" pitchFamily="34" charset="0"/>
                <a:cs typeface="Arial" pitchFamily="34" charset="0"/>
              </a:rPr>
              <a:t>2,000 metropolitan areas are expected to contribute 75% of global GDP growth from 2007 to 2025</a:t>
            </a:r>
          </a:p>
          <a:p>
            <a:pPr marL="628650" lvl="1" indent="-171450">
              <a:buFont typeface="Wingdings" pitchFamily="2" charset="2"/>
              <a:buChar char="§"/>
            </a:pPr>
            <a:r>
              <a:rPr lang="en-US" sz="1400" dirty="0" smtClean="0">
                <a:solidFill>
                  <a:srgbClr val="000000"/>
                </a:solidFill>
                <a:latin typeface="Arial" pitchFamily="34" charset="0"/>
                <a:cs typeface="Arial" pitchFamily="34" charset="0"/>
              </a:rPr>
              <a:t>Top 600 Cities are expected to contribute 62% of global GDP growth from 2007 to 2.025</a:t>
            </a:r>
          </a:p>
          <a:p>
            <a:pPr marL="0" lvl="1"/>
            <a:r>
              <a:rPr lang="en-US" sz="1400" dirty="0" smtClean="0">
                <a:solidFill>
                  <a:srgbClr val="000000"/>
                </a:solidFill>
                <a:latin typeface="Arial" pitchFamily="34" charset="0"/>
                <a:cs typeface="Arial" pitchFamily="34" charset="0"/>
              </a:rPr>
              <a:t>… and by developing countries: in 2,025 almost 75% of top 600 cities will be there</a:t>
            </a:r>
            <a:endParaRPr lang="en-US" sz="1400" dirty="0">
              <a:solidFill>
                <a:srgbClr val="000000"/>
              </a:solidFill>
              <a:latin typeface="Arial" pitchFamily="34" charset="0"/>
              <a:cs typeface="Arial" pitchFamily="34" charset="0"/>
            </a:endParaRPr>
          </a:p>
        </p:txBody>
      </p:sp>
      <p:sp>
        <p:nvSpPr>
          <p:cNvPr id="18" name="Rectangle 1"/>
          <p:cNvSpPr>
            <a:spLocks/>
          </p:cNvSpPr>
          <p:nvPr/>
        </p:nvSpPr>
        <p:spPr bwMode="auto">
          <a:xfrm>
            <a:off x="0" y="0"/>
            <a:ext cx="368300" cy="647700"/>
          </a:xfrm>
          <a:prstGeom prst="rect">
            <a:avLst/>
          </a:prstGeom>
          <a:gradFill rotWithShape="0">
            <a:gsLst>
              <a:gs pos="0">
                <a:srgbClr val="0A1519"/>
              </a:gs>
              <a:gs pos="100000">
                <a:srgbClr val="2A5E77"/>
              </a:gs>
            </a:gsLst>
            <a:lin ang="2700000" scaled="1"/>
          </a:gradFill>
          <a:ln>
            <a:noFill/>
          </a:ln>
          <a:extLst>
            <a:ext uri="{91240B29-F687-4F45-9708-019B960494DF}">
              <a14:hiddenLine xmlns:a14="http://schemas.microsoft.com/office/drawing/2010/main" xmlns="" w="12700">
                <a:solidFill>
                  <a:schemeClr val="tx1"/>
                </a:solidFill>
                <a:miter lim="800000"/>
                <a:headEnd/>
                <a:tailEnd/>
              </a14:hiddenLine>
            </a:ext>
          </a:extLst>
        </p:spPr>
        <p:txBody>
          <a:bodyPr lIns="0" tIns="0" rIns="0" bIns="0"/>
          <a:lstStyle/>
          <a:p>
            <a:endParaRPr lang="es-ES">
              <a:cs typeface="Arial" pitchFamily="34" charset="0"/>
            </a:endParaRPr>
          </a:p>
        </p:txBody>
      </p:sp>
      <p:sp>
        <p:nvSpPr>
          <p:cNvPr id="19" name="Rectangle 9"/>
          <p:cNvSpPr>
            <a:spLocks/>
          </p:cNvSpPr>
          <p:nvPr/>
        </p:nvSpPr>
        <p:spPr bwMode="auto">
          <a:xfrm>
            <a:off x="55563" y="334963"/>
            <a:ext cx="339725" cy="357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chemeClr val="tx1"/>
                </a:solidFill>
                <a:miter lim="800000"/>
                <a:headEnd/>
                <a:tailEnd/>
              </a14:hiddenLine>
            </a:ext>
          </a:extLst>
        </p:spPr>
        <p:txBody>
          <a:bodyPr lIns="38100" tIns="38100" rIns="38100" bIns="38100"/>
          <a:lstStyle/>
          <a:p>
            <a:pPr algn="l"/>
            <a:r>
              <a:rPr lang="en-US" sz="1400" dirty="0" smtClean="0">
                <a:solidFill>
                  <a:srgbClr val="44B5CA"/>
                </a:solidFill>
                <a:ea typeface="MS PGothic" pitchFamily="34" charset="-128"/>
                <a:sym typeface="Telefonica Text Bold"/>
              </a:rPr>
              <a:t>01</a:t>
            </a:r>
            <a:endParaRPr lang="en-US" sz="1400" dirty="0">
              <a:solidFill>
                <a:srgbClr val="44B5CA"/>
              </a:solidFill>
              <a:ea typeface="MS PGothic" pitchFamily="34" charset="-128"/>
              <a:sym typeface="Telefonica Text Bold"/>
            </a:endParaRPr>
          </a:p>
        </p:txBody>
      </p:sp>
    </p:spTree>
    <p:extLst>
      <p:ext uri="{BB962C8B-B14F-4D97-AF65-F5344CB8AC3E}">
        <p14:creationId xmlns:p14="http://schemas.microsoft.com/office/powerpoint/2010/main" xmlns="" val="3925451868"/>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5 Diagrama"/>
          <p:cNvGraphicFramePr/>
          <p:nvPr>
            <p:extLst>
              <p:ext uri="{D42A27DB-BD31-4B8C-83A1-F6EECF244321}">
                <p14:modId xmlns:p14="http://schemas.microsoft.com/office/powerpoint/2010/main" xmlns="" val="2507885705"/>
              </p:ext>
            </p:extLst>
          </p:nvPr>
        </p:nvGraphicFramePr>
        <p:xfrm>
          <a:off x="2339752" y="1100140"/>
          <a:ext cx="6453128" cy="43028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9459" name="7 Imagen" descr="cerdito.png"/>
          <p:cNvPicPr>
            <a:picLocks noChangeAspect="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485690" y="1643063"/>
            <a:ext cx="3371265" cy="3886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Rectangle 17"/>
          <p:cNvSpPr>
            <a:spLocks/>
          </p:cNvSpPr>
          <p:nvPr/>
        </p:nvSpPr>
        <p:spPr bwMode="auto">
          <a:xfrm>
            <a:off x="600512" y="107873"/>
            <a:ext cx="8832903" cy="811367"/>
          </a:xfrm>
          <a:prstGeom prst="rect">
            <a:avLst/>
          </a:prstGeom>
          <a:noFill/>
          <a:ln>
            <a:noFill/>
          </a:ln>
          <a:effectLst/>
        </p:spPr>
        <p:txBody>
          <a:bodyPr lIns="36000" tIns="36000" rIns="36000" bIns="36000">
            <a:spAutoFit/>
          </a:bodyPr>
          <a:lstStyle/>
          <a:p>
            <a:pPr defTabSz="457200">
              <a:defRPr/>
            </a:pPr>
            <a:r>
              <a:rPr lang="en-US" b="1" dirty="0" smtClean="0">
                <a:solidFill>
                  <a:schemeClr val="tx2"/>
                </a:solidFill>
                <a:latin typeface="Arial" pitchFamily="34" charset="0"/>
                <a:ea typeface="Arial Unicode MS" pitchFamily="34" charset="-128"/>
                <a:cs typeface="Arial" pitchFamily="34" charset="0"/>
              </a:rPr>
              <a:t>In this context it´s necessary to  transform of local government model</a:t>
            </a:r>
          </a:p>
          <a:p>
            <a:pPr defTabSz="457200">
              <a:defRPr/>
            </a:pPr>
            <a:r>
              <a:rPr lang="en-US" sz="3000" dirty="0" smtClean="0">
                <a:solidFill>
                  <a:srgbClr val="00B0F0"/>
                </a:solidFill>
                <a:ea typeface="Arial Unicode MS" pitchFamily="34" charset="-128"/>
                <a:cs typeface="Arial Unicode MS" pitchFamily="34" charset="-128"/>
              </a:rPr>
              <a:t> </a:t>
            </a:r>
            <a:endParaRPr lang="en-US" sz="3000" dirty="0">
              <a:solidFill>
                <a:srgbClr val="00B0F0"/>
              </a:solidFill>
              <a:ea typeface="Arial Unicode MS" pitchFamily="34" charset="-128"/>
              <a:cs typeface="Arial Unicode MS" pitchFamily="34" charset="-128"/>
            </a:endParaRPr>
          </a:p>
        </p:txBody>
      </p:sp>
      <p:sp>
        <p:nvSpPr>
          <p:cNvPr id="9" name="Rectangle 1"/>
          <p:cNvSpPr>
            <a:spLocks/>
          </p:cNvSpPr>
          <p:nvPr/>
        </p:nvSpPr>
        <p:spPr bwMode="auto">
          <a:xfrm>
            <a:off x="0" y="0"/>
            <a:ext cx="368300" cy="647700"/>
          </a:xfrm>
          <a:prstGeom prst="rect">
            <a:avLst/>
          </a:prstGeom>
          <a:gradFill rotWithShape="0">
            <a:gsLst>
              <a:gs pos="0">
                <a:srgbClr val="0A1519"/>
              </a:gs>
              <a:gs pos="100000">
                <a:srgbClr val="2A5E77"/>
              </a:gs>
            </a:gsLst>
            <a:lin ang="2700000" scaled="1"/>
          </a:gradFill>
          <a:ln>
            <a:noFill/>
          </a:ln>
          <a:extLst>
            <a:ext uri="{91240B29-F687-4F45-9708-019B960494DF}">
              <a14:hiddenLine xmlns:a14="http://schemas.microsoft.com/office/drawing/2010/main" xmlns="" w="12700">
                <a:solidFill>
                  <a:schemeClr val="tx1"/>
                </a:solidFill>
                <a:miter lim="800000"/>
                <a:headEnd/>
                <a:tailEnd/>
              </a14:hiddenLine>
            </a:ext>
          </a:extLst>
        </p:spPr>
        <p:txBody>
          <a:bodyPr lIns="0" tIns="0" rIns="0" bIns="0"/>
          <a:lstStyle/>
          <a:p>
            <a:endParaRPr lang="es-ES">
              <a:cs typeface="Arial" pitchFamily="34" charset="0"/>
            </a:endParaRPr>
          </a:p>
        </p:txBody>
      </p:sp>
      <p:sp>
        <p:nvSpPr>
          <p:cNvPr id="10" name="Rectangle 9"/>
          <p:cNvSpPr>
            <a:spLocks/>
          </p:cNvSpPr>
          <p:nvPr/>
        </p:nvSpPr>
        <p:spPr bwMode="auto">
          <a:xfrm>
            <a:off x="55563" y="334963"/>
            <a:ext cx="339725" cy="357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chemeClr val="tx1"/>
                </a:solidFill>
                <a:miter lim="800000"/>
                <a:headEnd/>
                <a:tailEnd/>
              </a14:hiddenLine>
            </a:ext>
          </a:extLst>
        </p:spPr>
        <p:txBody>
          <a:bodyPr lIns="38100" tIns="38100" rIns="38100" bIns="38100"/>
          <a:lstStyle/>
          <a:p>
            <a:pPr algn="l"/>
            <a:r>
              <a:rPr lang="en-US" sz="1400" dirty="0" smtClean="0">
                <a:solidFill>
                  <a:srgbClr val="44B5CA"/>
                </a:solidFill>
                <a:ea typeface="MS PGothic" pitchFamily="34" charset="-128"/>
                <a:sym typeface="Telefonica Text Bold"/>
              </a:rPr>
              <a:t>01</a:t>
            </a:r>
            <a:endParaRPr lang="en-US" sz="1400" dirty="0">
              <a:solidFill>
                <a:srgbClr val="44B5CA"/>
              </a:solidFill>
              <a:ea typeface="MS PGothic" pitchFamily="34" charset="-128"/>
              <a:sym typeface="Telefonica Text Bold"/>
            </a:endParaRPr>
          </a:p>
        </p:txBody>
      </p:sp>
    </p:spTree>
    <p:extLst>
      <p:ext uri="{BB962C8B-B14F-4D97-AF65-F5344CB8AC3E}">
        <p14:creationId xmlns:p14="http://schemas.microsoft.com/office/powerpoint/2010/main" xmlns="" val="284768866"/>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4514" y="0"/>
            <a:ext cx="9148515"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 name="2 Rectángulo"/>
          <p:cNvSpPr/>
          <p:nvPr/>
        </p:nvSpPr>
        <p:spPr bwMode="auto">
          <a:xfrm>
            <a:off x="0" y="0"/>
            <a:ext cx="9146182" cy="6858000"/>
          </a:xfrm>
          <a:prstGeom prst="rect">
            <a:avLst/>
          </a:prstGeom>
          <a:solidFill>
            <a:schemeClr val="accent4">
              <a:alpha val="51000"/>
            </a:schemeClr>
          </a:solidFill>
          <a:ln w="25400" cap="flat" cmpd="sng" algn="ctr">
            <a:solidFill>
              <a:srgbClr val="00000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s-ES" sz="2800" b="0" i="0" u="none" strike="noStrike" cap="none" normalizeH="0" baseline="0" smtClean="0">
              <a:ln>
                <a:noFill/>
              </a:ln>
              <a:solidFill>
                <a:srgbClr val="000000"/>
              </a:solidFill>
              <a:effectLst/>
              <a:latin typeface="Arial" pitchFamily="34" charset="0"/>
              <a:ea typeface="ヒラギノ角ゴ ProN W3" charset="-128"/>
              <a:sym typeface="Gill Sans" charset="0"/>
            </a:endParaRPr>
          </a:p>
        </p:txBody>
      </p:sp>
      <p:sp>
        <p:nvSpPr>
          <p:cNvPr id="14" name="2 Marcador de contenido"/>
          <p:cNvSpPr txBox="1">
            <a:spLocks/>
          </p:cNvSpPr>
          <p:nvPr/>
        </p:nvSpPr>
        <p:spPr>
          <a:xfrm>
            <a:off x="611560" y="836713"/>
            <a:ext cx="8229600" cy="4525963"/>
          </a:xfrm>
          <a:prstGeom prst="rect">
            <a:avLst/>
          </a:prstGeom>
        </p:spPr>
        <p:txBody>
          <a:bodyPr/>
          <a:lstStyle>
            <a:lvl1pPr marL="342900" indent="-342900" algn="l" rtl="0" eaLnBrk="0" fontAlgn="base" hangingPunct="0">
              <a:spcBef>
                <a:spcPct val="20000"/>
              </a:spcBef>
              <a:spcAft>
                <a:spcPct val="0"/>
              </a:spcAft>
              <a:buClr>
                <a:srgbClr val="00BACF"/>
              </a:buClr>
              <a:buSzPct val="200000"/>
              <a:buChar char="•"/>
              <a:defRPr>
                <a:solidFill>
                  <a:srgbClr val="255C81"/>
                </a:solidFill>
                <a:latin typeface="+mn-lt"/>
                <a:ea typeface="+mn-ea"/>
                <a:cs typeface="+mn-cs"/>
              </a:defRPr>
            </a:lvl1pPr>
            <a:lvl2pPr marL="742950" indent="-285750" algn="l" rtl="0" eaLnBrk="0" fontAlgn="base" hangingPunct="0">
              <a:spcBef>
                <a:spcPct val="20000"/>
              </a:spcBef>
              <a:spcAft>
                <a:spcPct val="0"/>
              </a:spcAft>
              <a:buClr>
                <a:srgbClr val="00BACF"/>
              </a:buClr>
              <a:buFont typeface="Wingdings" pitchFamily="2" charset="2"/>
              <a:buChar char="§"/>
              <a:defRPr sz="1600">
                <a:solidFill>
                  <a:srgbClr val="255C81"/>
                </a:solidFill>
                <a:latin typeface="+mn-lt"/>
              </a:defRPr>
            </a:lvl2pPr>
            <a:lvl3pPr marL="1143000" indent="-228600" algn="l" rtl="0" eaLnBrk="0" fontAlgn="base" hangingPunct="0">
              <a:spcBef>
                <a:spcPct val="20000"/>
              </a:spcBef>
              <a:spcAft>
                <a:spcPct val="0"/>
              </a:spcAft>
              <a:buChar char="•"/>
              <a:defRPr sz="1400">
                <a:solidFill>
                  <a:srgbClr val="255C81"/>
                </a:solidFill>
                <a:latin typeface="+mn-lt"/>
              </a:defRPr>
            </a:lvl3pPr>
            <a:lvl4pPr marL="1600200" indent="-228600" algn="l" rtl="0" eaLnBrk="0" fontAlgn="base" hangingPunct="0">
              <a:spcBef>
                <a:spcPct val="20000"/>
              </a:spcBef>
              <a:spcAft>
                <a:spcPct val="0"/>
              </a:spcAft>
              <a:buChar char="–"/>
              <a:defRPr sz="2000">
                <a:solidFill>
                  <a:srgbClr val="255C81"/>
                </a:solidFill>
                <a:latin typeface="+mn-lt"/>
              </a:defRPr>
            </a:lvl4pPr>
            <a:lvl5pPr marL="2057400" indent="-228600" algn="l" rtl="0" eaLnBrk="0" fontAlgn="base" hangingPunct="0">
              <a:spcBef>
                <a:spcPct val="20000"/>
              </a:spcBef>
              <a:spcAft>
                <a:spcPct val="0"/>
              </a:spcAft>
              <a:buChar char="»"/>
              <a:defRPr sz="2000">
                <a:solidFill>
                  <a:srgbClr val="255C81"/>
                </a:solidFill>
                <a:latin typeface="+mn-lt"/>
              </a:defRPr>
            </a:lvl5pPr>
            <a:lvl6pPr marL="2514600" indent="-228600" algn="l" rtl="0" fontAlgn="base">
              <a:spcBef>
                <a:spcPct val="20000"/>
              </a:spcBef>
              <a:spcAft>
                <a:spcPct val="0"/>
              </a:spcAft>
              <a:buChar char="»"/>
              <a:defRPr sz="2000">
                <a:solidFill>
                  <a:srgbClr val="255C81"/>
                </a:solidFill>
                <a:latin typeface="+mn-lt"/>
              </a:defRPr>
            </a:lvl6pPr>
            <a:lvl7pPr marL="2971800" indent="-228600" algn="l" rtl="0" fontAlgn="base">
              <a:spcBef>
                <a:spcPct val="20000"/>
              </a:spcBef>
              <a:spcAft>
                <a:spcPct val="0"/>
              </a:spcAft>
              <a:buChar char="»"/>
              <a:defRPr sz="2000">
                <a:solidFill>
                  <a:srgbClr val="255C81"/>
                </a:solidFill>
                <a:latin typeface="+mn-lt"/>
              </a:defRPr>
            </a:lvl7pPr>
            <a:lvl8pPr marL="3429000" indent="-228600" algn="l" rtl="0" fontAlgn="base">
              <a:spcBef>
                <a:spcPct val="20000"/>
              </a:spcBef>
              <a:spcAft>
                <a:spcPct val="0"/>
              </a:spcAft>
              <a:buChar char="»"/>
              <a:defRPr sz="2000">
                <a:solidFill>
                  <a:srgbClr val="255C81"/>
                </a:solidFill>
                <a:latin typeface="+mn-lt"/>
              </a:defRPr>
            </a:lvl8pPr>
            <a:lvl9pPr marL="3886200" indent="-228600" algn="l" rtl="0" fontAlgn="base">
              <a:spcBef>
                <a:spcPct val="20000"/>
              </a:spcBef>
              <a:spcAft>
                <a:spcPct val="0"/>
              </a:spcAft>
              <a:buChar char="»"/>
              <a:defRPr sz="2000">
                <a:solidFill>
                  <a:srgbClr val="255C81"/>
                </a:solidFill>
                <a:latin typeface="+mn-lt"/>
              </a:defRPr>
            </a:lvl9pPr>
          </a:lstStyle>
          <a:p>
            <a:pPr marL="0" indent="0">
              <a:buFontTx/>
              <a:buNone/>
            </a:pPr>
            <a:r>
              <a:rPr lang="en-US" sz="8000" b="1" dirty="0" smtClean="0">
                <a:solidFill>
                  <a:schemeClr val="bg1"/>
                </a:solidFill>
              </a:rPr>
              <a:t>Yes, we need Smart Cities! To built a resource </a:t>
            </a:r>
            <a:r>
              <a:rPr lang="en-US" sz="8000" b="1" dirty="0" err="1" smtClean="0">
                <a:solidFill>
                  <a:schemeClr val="bg1"/>
                </a:solidFill>
              </a:rPr>
              <a:t>effcient</a:t>
            </a:r>
            <a:r>
              <a:rPr lang="en-US" sz="8000" b="1" dirty="0" smtClean="0">
                <a:solidFill>
                  <a:schemeClr val="bg1"/>
                </a:solidFill>
              </a:rPr>
              <a:t> cities</a:t>
            </a:r>
            <a:endParaRPr lang="en-US" sz="8000" b="1" dirty="0">
              <a:solidFill>
                <a:schemeClr val="bg1"/>
              </a:solidFill>
            </a:endParaRPr>
          </a:p>
        </p:txBody>
      </p:sp>
    </p:spTree>
    <p:extLst>
      <p:ext uri="{BB962C8B-B14F-4D97-AF65-F5344CB8AC3E}">
        <p14:creationId xmlns:p14="http://schemas.microsoft.com/office/powerpoint/2010/main" xmlns="" val="376968300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1 Marcador de número de diapositiva"/>
          <p:cNvSpPr>
            <a:spLocks noGrp="1"/>
          </p:cNvSpPr>
          <p:nvPr>
            <p:ph type="sldNum" sz="quarter" idx="4294967295"/>
          </p:nvPr>
        </p:nvSpPr>
        <p:spPr>
          <a:xfrm>
            <a:off x="457200" y="6356352"/>
            <a:ext cx="2133600" cy="365125"/>
          </a:xfrm>
          <a:prstGeom prst="rect">
            <a:avLst/>
          </a:prstGeom>
        </p:spPr>
        <p:txBody>
          <a:bodyPr/>
          <a:lstStyle/>
          <a:p>
            <a:pPr>
              <a:defRPr/>
            </a:pPr>
            <a:fld id="{3A2D1CAA-D845-445B-8DC0-373649863AB5}" type="slidenum">
              <a:rPr lang="es-ES"/>
              <a:pPr>
                <a:defRPr/>
              </a:pPr>
              <a:t>9</a:t>
            </a:fld>
            <a:endParaRPr lang="es-ES"/>
          </a:p>
        </p:txBody>
      </p:sp>
      <p:pic>
        <p:nvPicPr>
          <p:cNvPr id="11267" name="Picture 1"/>
          <p:cNvPicPr>
            <a:picLocks noChangeArrowheads="1"/>
          </p:cNvPicPr>
          <p:nvPr/>
        </p:nvPicPr>
        <p:blipFill>
          <a:blip r:embed="rId3" cstate="print">
            <a:extLst>
              <a:ext uri="{28A0092B-C50C-407E-A947-70E740481C1C}">
                <a14:useLocalDpi xmlns:a14="http://schemas.microsoft.com/office/drawing/2010/main" xmlns="" val="0"/>
              </a:ext>
            </a:extLst>
          </a:blip>
          <a:srcRect t="1167" r="1167"/>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1268" name="Picture 2"/>
          <p:cNvPicPr>
            <a:picLocks noChangeAspect="1" noChangeArrowheads="1"/>
          </p:cNvPicPr>
          <p:nvPr/>
        </p:nvPicPr>
        <p:blipFill>
          <a:blip r:embed="rId4" cstate="print">
            <a:extLst>
              <a:ext uri="{28A0092B-C50C-407E-A947-70E740481C1C}">
                <a14:useLocalDpi xmlns:a14="http://schemas.microsoft.com/office/drawing/2010/main" xmlns="" val="0"/>
              </a:ext>
            </a:extLst>
          </a:blip>
          <a:srcRect t="1169" r="1740"/>
          <a:stretch>
            <a:fillRect/>
          </a:stretch>
        </p:blipFill>
        <p:spPr bwMode="auto">
          <a:xfrm>
            <a:off x="0" y="3"/>
            <a:ext cx="9144000" cy="6850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25400">
                <a:solidFill>
                  <a:srgbClr val="000000"/>
                </a:solidFill>
                <a:round/>
                <a:headEnd/>
                <a:tailEnd/>
              </a14:hiddenLine>
            </a:ext>
          </a:extLst>
        </p:spPr>
      </p:pic>
      <p:sp>
        <p:nvSpPr>
          <p:cNvPr id="11269" name="Rectangle 3"/>
          <p:cNvSpPr>
            <a:spLocks/>
          </p:cNvSpPr>
          <p:nvPr/>
        </p:nvSpPr>
        <p:spPr bwMode="auto">
          <a:xfrm>
            <a:off x="471406" y="188915"/>
            <a:ext cx="4142656" cy="2008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26788" tIns="26788" rIns="26788" bIns="26788" anchor="ctr"/>
          <a:lstStyle/>
          <a:p>
            <a:pPr algn="l" defTabSz="642938" eaLnBrk="1" hangingPunct="1"/>
            <a:r>
              <a:rPr lang="en-GB" sz="13800" b="0" dirty="0" smtClean="0">
                <a:solidFill>
                  <a:srgbClr val="44B5CA"/>
                </a:solidFill>
                <a:latin typeface="Telefonica Headline Light" pitchFamily="2" charset="0"/>
                <a:ea typeface="ヒラギノ角ゴ ProN W3"/>
                <a:cs typeface="Arial" pitchFamily="34" charset="0"/>
                <a:sym typeface="Arial" pitchFamily="34" charset="0"/>
              </a:rPr>
              <a:t>02</a:t>
            </a:r>
            <a:endParaRPr lang="en-GB" sz="13800" b="0" dirty="0">
              <a:solidFill>
                <a:srgbClr val="44B5CA"/>
              </a:solidFill>
              <a:latin typeface="Telefonica Headline Light" pitchFamily="2" charset="0"/>
              <a:ea typeface="ヒラギノ角ゴ ProN W3"/>
              <a:cs typeface="Arial" pitchFamily="34" charset="0"/>
              <a:sym typeface="Arial" pitchFamily="34" charset="0"/>
            </a:endParaRPr>
          </a:p>
        </p:txBody>
      </p:sp>
      <p:sp>
        <p:nvSpPr>
          <p:cNvPr id="11270" name="Rectangle 4"/>
          <p:cNvSpPr>
            <a:spLocks/>
          </p:cNvSpPr>
          <p:nvPr/>
        </p:nvSpPr>
        <p:spPr bwMode="auto">
          <a:xfrm>
            <a:off x="449186" y="2062163"/>
            <a:ext cx="6427071" cy="1231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26788" tIns="26788" rIns="26788" bIns="26788"/>
          <a:lstStyle/>
          <a:p>
            <a:pPr algn="l" defTabSz="642938" eaLnBrk="1" hangingPunct="1"/>
            <a:r>
              <a:rPr lang="en-US" sz="4100" b="0" dirty="0" err="1" smtClean="0">
                <a:solidFill>
                  <a:srgbClr val="FFFFFF"/>
                </a:solidFill>
                <a:latin typeface="Telefonica Headline Light" pitchFamily="2" charset="0"/>
                <a:ea typeface="ヒラギノ角ゴ ProN W3"/>
                <a:cs typeface="Arial" pitchFamily="34" charset="0"/>
                <a:sym typeface="Arial" pitchFamily="34" charset="0"/>
              </a:rPr>
              <a:t>Telefonica´s</a:t>
            </a:r>
            <a:r>
              <a:rPr lang="en-US" sz="4100" b="0" dirty="0" smtClean="0">
                <a:solidFill>
                  <a:srgbClr val="FFFFFF"/>
                </a:solidFill>
                <a:latin typeface="Telefonica Headline Light" pitchFamily="2" charset="0"/>
                <a:ea typeface="ヒラギノ角ゴ ProN W3"/>
                <a:cs typeface="Arial" pitchFamily="34" charset="0"/>
                <a:sym typeface="Arial" pitchFamily="34" charset="0"/>
              </a:rPr>
              <a:t> Vision and Value of </a:t>
            </a:r>
            <a:r>
              <a:rPr lang="en-US" sz="4100" b="0" dirty="0" err="1" smtClean="0">
                <a:solidFill>
                  <a:srgbClr val="FFFFFF"/>
                </a:solidFill>
                <a:latin typeface="Telefonica Headline Light" pitchFamily="2" charset="0"/>
                <a:ea typeface="ヒラギノ角ゴ ProN W3"/>
                <a:cs typeface="Arial" pitchFamily="34" charset="0"/>
                <a:sym typeface="Arial" pitchFamily="34" charset="0"/>
              </a:rPr>
              <a:t>Smartcities</a:t>
            </a:r>
            <a:endParaRPr lang="en-US" sz="4100" b="0" dirty="0">
              <a:solidFill>
                <a:srgbClr val="FFFFFF"/>
              </a:solidFill>
              <a:latin typeface="Telefonica Headline Light" pitchFamily="2" charset="0"/>
              <a:ea typeface="ヒラギノ角ゴ ProN W3"/>
              <a:cs typeface="Arial" pitchFamily="34" charset="0"/>
              <a:sym typeface="Arial" pitchFamily="34" charset="0"/>
            </a:endParaRPr>
          </a:p>
        </p:txBody>
      </p:sp>
    </p:spTree>
    <p:extLst>
      <p:ext uri="{BB962C8B-B14F-4D97-AF65-F5344CB8AC3E}">
        <p14:creationId xmlns:p14="http://schemas.microsoft.com/office/powerpoint/2010/main" xmlns="" val="3399484060"/>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ZU14F6f5U2aiXH6Ahlnn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S42IE6WKkG9fJCVAi5rmQ"/>
</p:tagLst>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ítulo y subtítulo">
  <a:themeElements>
    <a:clrScheme name="">
      <a:dk1>
        <a:srgbClr val="000000"/>
      </a:dk1>
      <a:lt1>
        <a:srgbClr val="FFFFFF"/>
      </a:lt1>
      <a:dk2>
        <a:srgbClr val="000000"/>
      </a:dk2>
      <a:lt2>
        <a:srgbClr val="808080"/>
      </a:lt2>
      <a:accent1>
        <a:srgbClr val="FFFFFF"/>
      </a:accent1>
      <a:accent2>
        <a:srgbClr val="333399"/>
      </a:accent2>
      <a:accent3>
        <a:srgbClr val="FFFFFF"/>
      </a:accent3>
      <a:accent4>
        <a:srgbClr val="000000"/>
      </a:accent4>
      <a:accent5>
        <a:srgbClr val="FFFFFF"/>
      </a:accent5>
      <a:accent6>
        <a:srgbClr val="2D2D8A"/>
      </a:accent6>
      <a:hlink>
        <a:srgbClr val="009999"/>
      </a:hlink>
      <a:folHlink>
        <a:srgbClr val="99CC00"/>
      </a:folHlink>
    </a:clrScheme>
    <a:fontScheme name="Título y subtítulo">
      <a:majorFont>
        <a:latin typeface="Gill Sans"/>
        <a:ea typeface="ヒラギノ角ゴ ProN W3"/>
        <a:cs typeface="ヒラギノ角ゴ ProN W3"/>
      </a:majorFont>
      <a:minorFont>
        <a:latin typeface="Gill Sans"/>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Título y subtítul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TF_plantilla_color">
  <a:themeElements>
    <a:clrScheme name="Diseño predeterminado 15">
      <a:dk1>
        <a:srgbClr val="043F52"/>
      </a:dk1>
      <a:lt1>
        <a:srgbClr val="FFFFFF"/>
      </a:lt1>
      <a:dk2>
        <a:srgbClr val="61B8CD"/>
      </a:dk2>
      <a:lt2>
        <a:srgbClr val="EEECE1"/>
      </a:lt2>
      <a:accent1>
        <a:srgbClr val="043F52"/>
      </a:accent1>
      <a:accent2>
        <a:srgbClr val="61B8CD"/>
      </a:accent2>
      <a:accent3>
        <a:srgbClr val="FFFFFF"/>
      </a:accent3>
      <a:accent4>
        <a:srgbClr val="033445"/>
      </a:accent4>
      <a:accent5>
        <a:srgbClr val="AAAFB3"/>
      </a:accent5>
      <a:accent6>
        <a:srgbClr val="57A6BA"/>
      </a:accent6>
      <a:hlink>
        <a:srgbClr val="FFFFCC"/>
      </a:hlink>
      <a:folHlink>
        <a:srgbClr val="D2A85D"/>
      </a:folHlink>
    </a:clrScheme>
    <a:fontScheme name="Diseño predeterminado">
      <a:majorFont>
        <a:latin typeface="Telefonica Headline Light"/>
        <a:ea typeface="Arial Unicode MS"/>
        <a:cs typeface="Arial Unicode MS"/>
      </a:majorFont>
      <a:minorFont>
        <a:latin typeface="Telefonica Text"/>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200" b="1" i="0" u="none" strike="noStrike" cap="none" normalizeH="0" baseline="0" smtClean="0">
            <a:ln>
              <a:noFill/>
            </a:ln>
            <a:solidFill>
              <a:schemeClr val="tx1"/>
            </a:solidFill>
            <a:effectLst/>
            <a:latin typeface="TheSansCorrespondence"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200" b="1" i="0" u="none" strike="noStrike" cap="none" normalizeH="0" baseline="0" smtClean="0">
            <a:ln>
              <a:noFill/>
            </a:ln>
            <a:solidFill>
              <a:schemeClr val="tx1"/>
            </a:solidFill>
            <a:effectLst/>
            <a:latin typeface="TheSansCorrespondence" pitchFamily="34" charset="0"/>
          </a:defRPr>
        </a:defPPr>
      </a:lstStyle>
    </a:lnDef>
  </a:objectDefaults>
  <a:extraClrSchemeLst>
    <a:extraClrScheme>
      <a:clrScheme name="Diseño predeterminado 1">
        <a:dk1>
          <a:srgbClr val="000000"/>
        </a:dk1>
        <a:lt1>
          <a:srgbClr val="FFFFFF"/>
        </a:lt1>
        <a:dk2>
          <a:srgbClr val="FFF2AF"/>
        </a:dk2>
        <a:lt2>
          <a:srgbClr val="A9A49F"/>
        </a:lt2>
        <a:accent1>
          <a:srgbClr val="B2D1B2"/>
        </a:accent1>
        <a:accent2>
          <a:srgbClr val="FFCC66"/>
        </a:accent2>
        <a:accent3>
          <a:srgbClr val="FFFFFF"/>
        </a:accent3>
        <a:accent4>
          <a:srgbClr val="000000"/>
        </a:accent4>
        <a:accent5>
          <a:srgbClr val="D5E5D5"/>
        </a:accent5>
        <a:accent6>
          <a:srgbClr val="E7B95C"/>
        </a:accent6>
        <a:hlink>
          <a:srgbClr val="DBE9DB"/>
        </a:hlink>
        <a:folHlink>
          <a:srgbClr val="CC99FF"/>
        </a:folHlink>
      </a:clrScheme>
      <a:clrMap bg1="lt1" tx1="dk1" bg2="lt2" tx2="dk2" accent1="accent1" accent2="accent2" accent3="accent3" accent4="accent4" accent5="accent5" accent6="accent6" hlink="hlink" folHlink="folHlink"/>
    </a:extraClrScheme>
    <a:extraClrScheme>
      <a:clrScheme name="Diseño predeterminado 2">
        <a:dk1>
          <a:srgbClr val="000000"/>
        </a:dk1>
        <a:lt1>
          <a:srgbClr val="FFFFFF"/>
        </a:lt1>
        <a:dk2>
          <a:srgbClr val="FFF2AF"/>
        </a:dk2>
        <a:lt2>
          <a:srgbClr val="A9A49F"/>
        </a:lt2>
        <a:accent1>
          <a:srgbClr val="B2D1B2"/>
        </a:accent1>
        <a:accent2>
          <a:srgbClr val="FFCC66"/>
        </a:accent2>
        <a:accent3>
          <a:srgbClr val="FFFFFF"/>
        </a:accent3>
        <a:accent4>
          <a:srgbClr val="000000"/>
        </a:accent4>
        <a:accent5>
          <a:srgbClr val="D5E5D5"/>
        </a:accent5>
        <a:accent6>
          <a:srgbClr val="E7B95C"/>
        </a:accent6>
        <a:hlink>
          <a:srgbClr val="D00063"/>
        </a:hlink>
        <a:folHlink>
          <a:srgbClr val="5598C9"/>
        </a:folHlink>
      </a:clrScheme>
      <a:clrMap bg1="lt1" tx1="dk1" bg2="lt2" tx2="dk2" accent1="accent1" accent2="accent2" accent3="accent3" accent4="accent4" accent5="accent5" accent6="accent6" hlink="hlink" folHlink="folHlink"/>
    </a:extraClrScheme>
    <a:extraClrScheme>
      <a:clrScheme name="Diseño predeterminado 3">
        <a:dk1>
          <a:srgbClr val="000000"/>
        </a:dk1>
        <a:lt1>
          <a:srgbClr val="FFFFFF"/>
        </a:lt1>
        <a:dk2>
          <a:srgbClr val="003399"/>
        </a:dk2>
        <a:lt2>
          <a:srgbClr val="B2B2B2"/>
        </a:lt2>
        <a:accent1>
          <a:srgbClr val="D0F500"/>
        </a:accent1>
        <a:accent2>
          <a:srgbClr val="FFA000"/>
        </a:accent2>
        <a:accent3>
          <a:srgbClr val="FFFFFF"/>
        </a:accent3>
        <a:accent4>
          <a:srgbClr val="000000"/>
        </a:accent4>
        <a:accent5>
          <a:srgbClr val="E4F9AA"/>
        </a:accent5>
        <a:accent6>
          <a:srgbClr val="E79100"/>
        </a:accent6>
        <a:hlink>
          <a:srgbClr val="D00063"/>
        </a:hlink>
        <a:folHlink>
          <a:srgbClr val="5598C9"/>
        </a:folHlink>
      </a:clrScheme>
      <a:clrMap bg1="lt1" tx1="dk1" bg2="lt2" tx2="dk2" accent1="accent1" accent2="accent2" accent3="accent3" accent4="accent4" accent5="accent5" accent6="accent6" hlink="hlink" folHlink="folHlink"/>
    </a:extraClrScheme>
    <a:extraClrScheme>
      <a:clrScheme name="Diseño predeterminado 4">
        <a:dk1>
          <a:srgbClr val="003399"/>
        </a:dk1>
        <a:lt1>
          <a:srgbClr val="FFFFFF"/>
        </a:lt1>
        <a:dk2>
          <a:srgbClr val="003399"/>
        </a:dk2>
        <a:lt2>
          <a:srgbClr val="B2B2B2"/>
        </a:lt2>
        <a:accent1>
          <a:srgbClr val="D0F500"/>
        </a:accent1>
        <a:accent2>
          <a:srgbClr val="FFA000"/>
        </a:accent2>
        <a:accent3>
          <a:srgbClr val="FFFFFF"/>
        </a:accent3>
        <a:accent4>
          <a:srgbClr val="002A82"/>
        </a:accent4>
        <a:accent5>
          <a:srgbClr val="E4F9AA"/>
        </a:accent5>
        <a:accent6>
          <a:srgbClr val="E79100"/>
        </a:accent6>
        <a:hlink>
          <a:srgbClr val="D00063"/>
        </a:hlink>
        <a:folHlink>
          <a:srgbClr val="5598C9"/>
        </a:folHlink>
      </a:clrScheme>
      <a:clrMap bg1="lt1" tx1="dk1" bg2="lt2" tx2="dk2" accent1="accent1" accent2="accent2" accent3="accent3" accent4="accent4" accent5="accent5" accent6="accent6" hlink="hlink" folHlink="folHlink"/>
    </a:extraClrScheme>
    <a:extraClrScheme>
      <a:clrScheme name="Diseño predeterminado 5">
        <a:dk1>
          <a:srgbClr val="003399"/>
        </a:dk1>
        <a:lt1>
          <a:srgbClr val="FFFFFF"/>
        </a:lt1>
        <a:dk2>
          <a:srgbClr val="003399"/>
        </a:dk2>
        <a:lt2>
          <a:srgbClr val="B2B2B2"/>
        </a:lt2>
        <a:accent1>
          <a:srgbClr val="D0F500"/>
        </a:accent1>
        <a:accent2>
          <a:srgbClr val="B2B2B2"/>
        </a:accent2>
        <a:accent3>
          <a:srgbClr val="FFFFFF"/>
        </a:accent3>
        <a:accent4>
          <a:srgbClr val="002A82"/>
        </a:accent4>
        <a:accent5>
          <a:srgbClr val="E4F9AA"/>
        </a:accent5>
        <a:accent6>
          <a:srgbClr val="A1A1A1"/>
        </a:accent6>
        <a:hlink>
          <a:srgbClr val="003399"/>
        </a:hlink>
        <a:folHlink>
          <a:srgbClr val="5598C9"/>
        </a:folHlink>
      </a:clrScheme>
      <a:clrMap bg1="lt1" tx1="dk1" bg2="lt2" tx2="dk2" accent1="accent1" accent2="accent2" accent3="accent3" accent4="accent4" accent5="accent5" accent6="accent6" hlink="hlink" folHlink="folHlink"/>
    </a:extraClrScheme>
    <a:extraClrScheme>
      <a:clrScheme name="Diseño predeterminado 6">
        <a:dk1>
          <a:srgbClr val="003399"/>
        </a:dk1>
        <a:lt1>
          <a:srgbClr val="FFFFFF"/>
        </a:lt1>
        <a:dk2>
          <a:srgbClr val="003399"/>
        </a:dk2>
        <a:lt2>
          <a:srgbClr val="B2B2B2"/>
        </a:lt2>
        <a:accent1>
          <a:srgbClr val="D0F500"/>
        </a:accent1>
        <a:accent2>
          <a:srgbClr val="B2B2B2"/>
        </a:accent2>
        <a:accent3>
          <a:srgbClr val="FFFFFF"/>
        </a:accent3>
        <a:accent4>
          <a:srgbClr val="002A82"/>
        </a:accent4>
        <a:accent5>
          <a:srgbClr val="E4F9AA"/>
        </a:accent5>
        <a:accent6>
          <a:srgbClr val="A1A1A1"/>
        </a:accent6>
        <a:hlink>
          <a:srgbClr val="003399"/>
        </a:hlink>
        <a:folHlink>
          <a:srgbClr val="FFA000"/>
        </a:folHlink>
      </a:clrScheme>
      <a:clrMap bg1="lt1" tx1="dk1" bg2="lt2" tx2="dk2" accent1="accent1" accent2="accent2" accent3="accent3" accent4="accent4" accent5="accent5" accent6="accent6" hlink="hlink" folHlink="folHlink"/>
    </a:extraClrScheme>
    <a:extraClrScheme>
      <a:clrScheme name="Diseño predeterminado 7">
        <a:dk1>
          <a:srgbClr val="000000"/>
        </a:dk1>
        <a:lt1>
          <a:srgbClr val="FFFFFF"/>
        </a:lt1>
        <a:dk2>
          <a:srgbClr val="003F52"/>
        </a:dk2>
        <a:lt2>
          <a:srgbClr val="EEECE1"/>
        </a:lt2>
        <a:accent1>
          <a:srgbClr val="003F52"/>
        </a:accent1>
        <a:accent2>
          <a:srgbClr val="65C3D5"/>
        </a:accent2>
        <a:accent3>
          <a:srgbClr val="FFFFFF"/>
        </a:accent3>
        <a:accent4>
          <a:srgbClr val="000000"/>
        </a:accent4>
        <a:accent5>
          <a:srgbClr val="AAAFB3"/>
        </a:accent5>
        <a:accent6>
          <a:srgbClr val="5BB0C1"/>
        </a:accent6>
        <a:hlink>
          <a:srgbClr val="003399"/>
        </a:hlink>
        <a:folHlink>
          <a:srgbClr val="FFA000"/>
        </a:folHlink>
      </a:clrScheme>
      <a:clrMap bg1="lt1" tx1="dk1" bg2="lt2" tx2="dk2" accent1="accent1" accent2="accent2" accent3="accent3" accent4="accent4" accent5="accent5" accent6="accent6" hlink="hlink" folHlink="folHlink"/>
    </a:extraClrScheme>
    <a:extraClrScheme>
      <a:clrScheme name="Diseño predeterminado 8">
        <a:dk1>
          <a:srgbClr val="000000"/>
        </a:dk1>
        <a:lt1>
          <a:srgbClr val="FFFFFF"/>
        </a:lt1>
        <a:dk2>
          <a:srgbClr val="003F52"/>
        </a:dk2>
        <a:lt2>
          <a:srgbClr val="EEECE1"/>
        </a:lt2>
        <a:accent1>
          <a:srgbClr val="003F52"/>
        </a:accent1>
        <a:accent2>
          <a:srgbClr val="54B4CC"/>
        </a:accent2>
        <a:accent3>
          <a:srgbClr val="FFFFFF"/>
        </a:accent3>
        <a:accent4>
          <a:srgbClr val="000000"/>
        </a:accent4>
        <a:accent5>
          <a:srgbClr val="AAAFB3"/>
        </a:accent5>
        <a:accent6>
          <a:srgbClr val="4BA3B9"/>
        </a:accent6>
        <a:hlink>
          <a:srgbClr val="800080"/>
        </a:hlink>
        <a:folHlink>
          <a:srgbClr val="65C3D5"/>
        </a:folHlink>
      </a:clrScheme>
      <a:clrMap bg1="lt1" tx1="dk1" bg2="lt2" tx2="dk2" accent1="accent1" accent2="accent2" accent3="accent3" accent4="accent4" accent5="accent5" accent6="accent6" hlink="hlink" folHlink="folHlink"/>
    </a:extraClrScheme>
    <a:extraClrScheme>
      <a:clrScheme name="Diseño predeterminado 9">
        <a:dk1>
          <a:srgbClr val="000000"/>
        </a:dk1>
        <a:lt1>
          <a:srgbClr val="FFFFFF"/>
        </a:lt1>
        <a:dk2>
          <a:srgbClr val="003F52"/>
        </a:dk2>
        <a:lt2>
          <a:srgbClr val="EEECE1"/>
        </a:lt2>
        <a:accent1>
          <a:srgbClr val="003F52"/>
        </a:accent1>
        <a:accent2>
          <a:srgbClr val="61B8CD"/>
        </a:accent2>
        <a:accent3>
          <a:srgbClr val="FFFFFF"/>
        </a:accent3>
        <a:accent4>
          <a:srgbClr val="000000"/>
        </a:accent4>
        <a:accent5>
          <a:srgbClr val="AAAFB3"/>
        </a:accent5>
        <a:accent6>
          <a:srgbClr val="57A6BA"/>
        </a:accent6>
        <a:hlink>
          <a:srgbClr val="0000E1"/>
        </a:hlink>
        <a:folHlink>
          <a:srgbClr val="800080"/>
        </a:folHlink>
      </a:clrScheme>
      <a:clrMap bg1="lt1" tx1="dk1" bg2="lt2" tx2="dk2" accent1="accent1" accent2="accent2" accent3="accent3" accent4="accent4" accent5="accent5" accent6="accent6" hlink="hlink" folHlink="folHlink"/>
    </a:extraClrScheme>
    <a:extraClrScheme>
      <a:clrScheme name="Diseño predeterminado 10">
        <a:dk1>
          <a:srgbClr val="003F52"/>
        </a:dk1>
        <a:lt1>
          <a:srgbClr val="FFFFFF"/>
        </a:lt1>
        <a:dk2>
          <a:srgbClr val="65C3D5"/>
        </a:dk2>
        <a:lt2>
          <a:srgbClr val="EEECE1"/>
        </a:lt2>
        <a:accent1>
          <a:srgbClr val="003F52"/>
        </a:accent1>
        <a:accent2>
          <a:srgbClr val="65C3D5"/>
        </a:accent2>
        <a:accent3>
          <a:srgbClr val="FFFFFF"/>
        </a:accent3>
        <a:accent4>
          <a:srgbClr val="003445"/>
        </a:accent4>
        <a:accent5>
          <a:srgbClr val="AAAFB3"/>
        </a:accent5>
        <a:accent6>
          <a:srgbClr val="5BB0C1"/>
        </a:accent6>
        <a:hlink>
          <a:srgbClr val="003399"/>
        </a:hlink>
        <a:folHlink>
          <a:srgbClr val="FFA000"/>
        </a:folHlink>
      </a:clrScheme>
      <a:clrMap bg1="lt1" tx1="dk1" bg2="lt2" tx2="dk2" accent1="accent1" accent2="accent2" accent3="accent3" accent4="accent4" accent5="accent5" accent6="accent6" hlink="hlink" folHlink="folHlink"/>
    </a:extraClrScheme>
    <a:extraClrScheme>
      <a:clrScheme name="Diseño predeterminado 11">
        <a:dk1>
          <a:srgbClr val="043F52"/>
        </a:dk1>
        <a:lt1>
          <a:srgbClr val="FFFFFF"/>
        </a:lt1>
        <a:dk2>
          <a:srgbClr val="61B8CD"/>
        </a:dk2>
        <a:lt2>
          <a:srgbClr val="EEECE1"/>
        </a:lt2>
        <a:accent1>
          <a:srgbClr val="043F52"/>
        </a:accent1>
        <a:accent2>
          <a:srgbClr val="DDDDDD"/>
        </a:accent2>
        <a:accent3>
          <a:srgbClr val="FFFFFF"/>
        </a:accent3>
        <a:accent4>
          <a:srgbClr val="033445"/>
        </a:accent4>
        <a:accent5>
          <a:srgbClr val="AAAFB3"/>
        </a:accent5>
        <a:accent6>
          <a:srgbClr val="C8C8C8"/>
        </a:accent6>
        <a:hlink>
          <a:srgbClr val="7AB51D"/>
        </a:hlink>
        <a:folHlink>
          <a:srgbClr val="D2A85D"/>
        </a:folHlink>
      </a:clrScheme>
      <a:clrMap bg1="lt1" tx1="dk1" bg2="lt2" tx2="dk2" accent1="accent1" accent2="accent2" accent3="accent3" accent4="accent4" accent5="accent5" accent6="accent6" hlink="hlink" folHlink="folHlink"/>
    </a:extraClrScheme>
    <a:extraClrScheme>
      <a:clrScheme name="Diseño predeterminado 12">
        <a:dk1>
          <a:srgbClr val="043F52"/>
        </a:dk1>
        <a:lt1>
          <a:srgbClr val="FFFFFF"/>
        </a:lt1>
        <a:dk2>
          <a:srgbClr val="61B8CD"/>
        </a:dk2>
        <a:lt2>
          <a:srgbClr val="EEECE1"/>
        </a:lt2>
        <a:accent1>
          <a:srgbClr val="043F52"/>
        </a:accent1>
        <a:accent2>
          <a:srgbClr val="61B8CD"/>
        </a:accent2>
        <a:accent3>
          <a:srgbClr val="FFFFFF"/>
        </a:accent3>
        <a:accent4>
          <a:srgbClr val="033445"/>
        </a:accent4>
        <a:accent5>
          <a:srgbClr val="AAAFB3"/>
        </a:accent5>
        <a:accent6>
          <a:srgbClr val="57A6BA"/>
        </a:accent6>
        <a:hlink>
          <a:srgbClr val="7AB51D"/>
        </a:hlink>
        <a:folHlink>
          <a:srgbClr val="D2A85D"/>
        </a:folHlink>
      </a:clrScheme>
      <a:clrMap bg1="lt1" tx1="dk1" bg2="lt2" tx2="dk2" accent1="accent1" accent2="accent2" accent3="accent3" accent4="accent4" accent5="accent5" accent6="accent6" hlink="hlink" folHlink="folHlink"/>
    </a:extraClrScheme>
    <a:extraClrScheme>
      <a:clrScheme name="Diseño predeterminado 13">
        <a:dk1>
          <a:srgbClr val="043F52"/>
        </a:dk1>
        <a:lt1>
          <a:srgbClr val="FFFFFF"/>
        </a:lt1>
        <a:dk2>
          <a:srgbClr val="61B8CD"/>
        </a:dk2>
        <a:lt2>
          <a:srgbClr val="EEECE1"/>
        </a:lt2>
        <a:accent1>
          <a:srgbClr val="043F52"/>
        </a:accent1>
        <a:accent2>
          <a:srgbClr val="61B8CD"/>
        </a:accent2>
        <a:accent3>
          <a:srgbClr val="FFFFFF"/>
        </a:accent3>
        <a:accent4>
          <a:srgbClr val="033445"/>
        </a:accent4>
        <a:accent5>
          <a:srgbClr val="AAAFB3"/>
        </a:accent5>
        <a:accent6>
          <a:srgbClr val="57A6BA"/>
        </a:accent6>
        <a:hlink>
          <a:srgbClr val="FFFFCB"/>
        </a:hlink>
        <a:folHlink>
          <a:srgbClr val="D2A85D"/>
        </a:folHlink>
      </a:clrScheme>
      <a:clrMap bg1="lt1" tx1="dk1" bg2="lt2" tx2="dk2" accent1="accent1" accent2="accent2" accent3="accent3" accent4="accent4" accent5="accent5" accent6="accent6" hlink="hlink" folHlink="folHlink"/>
    </a:extraClrScheme>
    <a:extraClrScheme>
      <a:clrScheme name="Diseño predeterminado 14">
        <a:dk1>
          <a:srgbClr val="043F52"/>
        </a:dk1>
        <a:lt1>
          <a:srgbClr val="FFFFFF"/>
        </a:lt1>
        <a:dk2>
          <a:srgbClr val="61B8CD"/>
        </a:dk2>
        <a:lt2>
          <a:srgbClr val="EEECE1"/>
        </a:lt2>
        <a:accent1>
          <a:srgbClr val="043F52"/>
        </a:accent1>
        <a:accent2>
          <a:srgbClr val="61B8CD"/>
        </a:accent2>
        <a:accent3>
          <a:srgbClr val="FFFFFF"/>
        </a:accent3>
        <a:accent4>
          <a:srgbClr val="033445"/>
        </a:accent4>
        <a:accent5>
          <a:srgbClr val="AAAFB3"/>
        </a:accent5>
        <a:accent6>
          <a:srgbClr val="57A6BA"/>
        </a:accent6>
        <a:hlink>
          <a:srgbClr val="FFFF99"/>
        </a:hlink>
        <a:folHlink>
          <a:srgbClr val="D2A85D"/>
        </a:folHlink>
      </a:clrScheme>
      <a:clrMap bg1="lt1" tx1="dk1" bg2="lt2" tx2="dk2" accent1="accent1" accent2="accent2" accent3="accent3" accent4="accent4" accent5="accent5" accent6="accent6" hlink="hlink" folHlink="folHlink"/>
    </a:extraClrScheme>
    <a:extraClrScheme>
      <a:clrScheme name="Diseño predeterminado 15">
        <a:dk1>
          <a:srgbClr val="043F52"/>
        </a:dk1>
        <a:lt1>
          <a:srgbClr val="FFFFFF"/>
        </a:lt1>
        <a:dk2>
          <a:srgbClr val="61B8CD"/>
        </a:dk2>
        <a:lt2>
          <a:srgbClr val="EEECE1"/>
        </a:lt2>
        <a:accent1>
          <a:srgbClr val="043F52"/>
        </a:accent1>
        <a:accent2>
          <a:srgbClr val="61B8CD"/>
        </a:accent2>
        <a:accent3>
          <a:srgbClr val="FFFFFF"/>
        </a:accent3>
        <a:accent4>
          <a:srgbClr val="033445"/>
        </a:accent4>
        <a:accent5>
          <a:srgbClr val="AAAFB3"/>
        </a:accent5>
        <a:accent6>
          <a:srgbClr val="57A6BA"/>
        </a:accent6>
        <a:hlink>
          <a:srgbClr val="FFFFCC"/>
        </a:hlink>
        <a:folHlink>
          <a:srgbClr val="D2A85D"/>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Template_PPT_Telefonica_projectable_ENG_v2">
  <a:themeElements>
    <a:clrScheme name="Diseño personalizado 1">
      <a:dk1>
        <a:srgbClr val="123E51"/>
      </a:dk1>
      <a:lt1>
        <a:srgbClr val="FFFFFF"/>
      </a:lt1>
      <a:dk2>
        <a:srgbClr val="00C6D7"/>
      </a:dk2>
      <a:lt2>
        <a:srgbClr val="929292"/>
      </a:lt2>
      <a:accent1>
        <a:srgbClr val="123E51"/>
      </a:accent1>
      <a:accent2>
        <a:srgbClr val="00C6D7"/>
      </a:accent2>
      <a:accent3>
        <a:srgbClr val="FFFFFF"/>
      </a:accent3>
      <a:accent4>
        <a:srgbClr val="0E3444"/>
      </a:accent4>
      <a:accent5>
        <a:srgbClr val="AAAFB3"/>
      </a:accent5>
      <a:accent6>
        <a:srgbClr val="00B3C3"/>
      </a:accent6>
      <a:hlink>
        <a:srgbClr val="D8EDF9"/>
      </a:hlink>
      <a:folHlink>
        <a:srgbClr val="929292"/>
      </a:folHlink>
    </a:clrScheme>
    <a:fontScheme name="Diseño personaliz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a:gsLst>
            <a:gs pos="47000">
              <a:schemeClr val="tx1"/>
            </a:gs>
            <a:gs pos="100000">
              <a:schemeClr val="tx1">
                <a:lumMod val="50000"/>
                <a:lumOff val="50000"/>
              </a:schemeClr>
            </a:gs>
          </a:gsLst>
          <a:lin ang="2700000" scaled="0"/>
        </a:gradFill>
        <a:ln w="25400"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2800" b="0" i="0" u="sng" strike="noStrike" cap="none" normalizeH="0" baseline="0" smtClean="0">
            <a:ln>
              <a:noFill/>
            </a:ln>
            <a:solidFill>
              <a:srgbClr val="000000"/>
            </a:solidFill>
            <a:effectLst/>
            <a:latin typeface="Arial" pitchFamily="34" charset="0"/>
            <a:ea typeface="ヒラギノ角ゴ ProN W3" charset="-128"/>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800" b="0" i="0" u="sng" strike="noStrike" cap="none" normalizeH="0" baseline="0" smtClean="0">
            <a:ln>
              <a:noFill/>
            </a:ln>
            <a:solidFill>
              <a:srgbClr val="000000"/>
            </a:solidFill>
            <a:effectLst/>
            <a:latin typeface="Arial" pitchFamily="34" charset="0"/>
            <a:ea typeface="ヒラギノ角ゴ ProN W3" charset="-128"/>
            <a:sym typeface="Gill Sans" charset="0"/>
          </a:defRPr>
        </a:defPPr>
      </a:lstStyle>
    </a:lnDef>
    <a:txDef>
      <a:spPr>
        <a:noFill/>
      </a:spPr>
      <a:bodyPr wrap="square" rtlCol="0">
        <a:spAutoFit/>
      </a:bodyPr>
      <a:lstStyle>
        <a:defPPr algn="l">
          <a:defRPr sz="1800" u="none" dirty="0" err="1" smtClean="0">
            <a:solidFill>
              <a:schemeClr val="tx1"/>
            </a:solidFill>
          </a:defRPr>
        </a:defPPr>
      </a:lstStyle>
    </a:txDef>
  </a:objectDefaults>
  <a:extraClrSchemeLst>
    <a:extraClrScheme>
      <a:clrScheme name="Diseño personalizado 1">
        <a:dk1>
          <a:srgbClr val="123E51"/>
        </a:dk1>
        <a:lt1>
          <a:srgbClr val="FFFFFF"/>
        </a:lt1>
        <a:dk2>
          <a:srgbClr val="00C6D7"/>
        </a:dk2>
        <a:lt2>
          <a:srgbClr val="929292"/>
        </a:lt2>
        <a:accent1>
          <a:srgbClr val="123E51"/>
        </a:accent1>
        <a:accent2>
          <a:srgbClr val="00C6D7"/>
        </a:accent2>
        <a:accent3>
          <a:srgbClr val="FFFFFF"/>
        </a:accent3>
        <a:accent4>
          <a:srgbClr val="0E3444"/>
        </a:accent4>
        <a:accent5>
          <a:srgbClr val="AAAFB3"/>
        </a:accent5>
        <a:accent6>
          <a:srgbClr val="00B3C3"/>
        </a:accent6>
        <a:hlink>
          <a:srgbClr val="D8EDF9"/>
        </a:hlink>
        <a:folHlink>
          <a:srgbClr val="92929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Template_PPT_Telefonica_projectable_ENG_v2">
  <a:themeElements>
    <a:clrScheme name="Diseño personalizado 1">
      <a:dk1>
        <a:srgbClr val="123E51"/>
      </a:dk1>
      <a:lt1>
        <a:srgbClr val="FFFFFF"/>
      </a:lt1>
      <a:dk2>
        <a:srgbClr val="00C6D7"/>
      </a:dk2>
      <a:lt2>
        <a:srgbClr val="929292"/>
      </a:lt2>
      <a:accent1>
        <a:srgbClr val="123E51"/>
      </a:accent1>
      <a:accent2>
        <a:srgbClr val="00C6D7"/>
      </a:accent2>
      <a:accent3>
        <a:srgbClr val="FFFFFF"/>
      </a:accent3>
      <a:accent4>
        <a:srgbClr val="0E3444"/>
      </a:accent4>
      <a:accent5>
        <a:srgbClr val="AAAFB3"/>
      </a:accent5>
      <a:accent6>
        <a:srgbClr val="00B3C3"/>
      </a:accent6>
      <a:hlink>
        <a:srgbClr val="D8EDF9"/>
      </a:hlink>
      <a:folHlink>
        <a:srgbClr val="929292"/>
      </a:folHlink>
    </a:clrScheme>
    <a:fontScheme name="Diseño personaliz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a:gsLst>
            <a:gs pos="47000">
              <a:schemeClr val="tx1"/>
            </a:gs>
            <a:gs pos="100000">
              <a:schemeClr val="tx1">
                <a:lumMod val="50000"/>
                <a:lumOff val="50000"/>
              </a:schemeClr>
            </a:gs>
          </a:gsLst>
          <a:lin ang="2700000" scaled="0"/>
        </a:gradFill>
        <a:ln w="25400"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2800" b="0" i="0" u="sng" strike="noStrike" cap="none" normalizeH="0" baseline="0" smtClean="0">
            <a:ln>
              <a:noFill/>
            </a:ln>
            <a:solidFill>
              <a:srgbClr val="000000"/>
            </a:solidFill>
            <a:effectLst/>
            <a:latin typeface="Arial" pitchFamily="34" charset="0"/>
            <a:ea typeface="ヒラギノ角ゴ ProN W3" charset="-128"/>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800" b="0" i="0" u="sng" strike="noStrike" cap="none" normalizeH="0" baseline="0" smtClean="0">
            <a:ln>
              <a:noFill/>
            </a:ln>
            <a:solidFill>
              <a:srgbClr val="000000"/>
            </a:solidFill>
            <a:effectLst/>
            <a:latin typeface="Arial" pitchFamily="34" charset="0"/>
            <a:ea typeface="ヒラギノ角ゴ ProN W3" charset="-128"/>
            <a:sym typeface="Gill Sans" charset="0"/>
          </a:defRPr>
        </a:defPPr>
      </a:lstStyle>
    </a:lnDef>
    <a:txDef>
      <a:spPr>
        <a:noFill/>
      </a:spPr>
      <a:bodyPr wrap="square" rtlCol="0">
        <a:spAutoFit/>
      </a:bodyPr>
      <a:lstStyle>
        <a:defPPr algn="l">
          <a:defRPr sz="1800" u="none" dirty="0" err="1" smtClean="0">
            <a:solidFill>
              <a:schemeClr val="tx1"/>
            </a:solidFill>
          </a:defRPr>
        </a:defPPr>
      </a:lstStyle>
    </a:txDef>
  </a:objectDefaults>
  <a:extraClrSchemeLst>
    <a:extraClrScheme>
      <a:clrScheme name="Diseño personalizado 1">
        <a:dk1>
          <a:srgbClr val="123E51"/>
        </a:dk1>
        <a:lt1>
          <a:srgbClr val="FFFFFF"/>
        </a:lt1>
        <a:dk2>
          <a:srgbClr val="00C6D7"/>
        </a:dk2>
        <a:lt2>
          <a:srgbClr val="929292"/>
        </a:lt2>
        <a:accent1>
          <a:srgbClr val="123E51"/>
        </a:accent1>
        <a:accent2>
          <a:srgbClr val="00C6D7"/>
        </a:accent2>
        <a:accent3>
          <a:srgbClr val="FFFFFF"/>
        </a:accent3>
        <a:accent4>
          <a:srgbClr val="0E3444"/>
        </a:accent4>
        <a:accent5>
          <a:srgbClr val="AAAFB3"/>
        </a:accent5>
        <a:accent6>
          <a:srgbClr val="00B3C3"/>
        </a:accent6>
        <a:hlink>
          <a:srgbClr val="D8EDF9"/>
        </a:hlink>
        <a:folHlink>
          <a:srgbClr val="92929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
    <a:dk1>
      <a:srgbClr val="000000"/>
    </a:dk1>
    <a:lt1>
      <a:srgbClr val="FFFFFF"/>
    </a:lt1>
    <a:dk2>
      <a:srgbClr val="000000"/>
    </a:dk2>
    <a:lt2>
      <a:srgbClr val="808080"/>
    </a:lt2>
    <a:accent1>
      <a:srgbClr val="FFFFFF"/>
    </a:accent1>
    <a:accent2>
      <a:srgbClr val="333399"/>
    </a:accent2>
    <a:accent3>
      <a:srgbClr val="FFFFFF"/>
    </a:accent3>
    <a:accent4>
      <a:srgbClr val="000000"/>
    </a:accent4>
    <a:accent5>
      <a:srgbClr val="FFFFFF"/>
    </a:accent5>
    <a:accent6>
      <a:srgbClr val="2D2D8A"/>
    </a:accent6>
    <a:hlink>
      <a:srgbClr val="009999"/>
    </a:hlink>
    <a:folHlink>
      <a:srgbClr val="99CC00"/>
    </a:folHlink>
  </a:clrScheme>
</a:themeOverride>
</file>

<file path=ppt/theme/themeOverride2.xml><?xml version="1.0" encoding="utf-8"?>
<a:themeOverride xmlns:a="http://schemas.openxmlformats.org/drawingml/2006/main">
  <a:clrScheme name="">
    <a:dk1>
      <a:srgbClr val="000000"/>
    </a:dk1>
    <a:lt1>
      <a:srgbClr val="FFFFFF"/>
    </a:lt1>
    <a:dk2>
      <a:srgbClr val="000000"/>
    </a:dk2>
    <a:lt2>
      <a:srgbClr val="808080"/>
    </a:lt2>
    <a:accent1>
      <a:srgbClr val="FFFFFF"/>
    </a:accent1>
    <a:accent2>
      <a:srgbClr val="333399"/>
    </a:accent2>
    <a:accent3>
      <a:srgbClr val="FFFFFF"/>
    </a:accent3>
    <a:accent4>
      <a:srgbClr val="000000"/>
    </a:accent4>
    <a:accent5>
      <a:srgbClr val="FFFFFF"/>
    </a:accent5>
    <a:accent6>
      <a:srgbClr val="2D2D8A"/>
    </a:accent6>
    <a:hlink>
      <a:srgbClr val="009999"/>
    </a:hlink>
    <a:folHlink>
      <a:srgbClr val="99CC00"/>
    </a:folHlink>
  </a:clrScheme>
</a:themeOverride>
</file>

<file path=ppt/theme/themeOverride3.xml><?xml version="1.0" encoding="utf-8"?>
<a:themeOverride xmlns:a="http://schemas.openxmlformats.org/drawingml/2006/main">
  <a:clrScheme name="">
    <a:dk1>
      <a:srgbClr val="000000"/>
    </a:dk1>
    <a:lt1>
      <a:srgbClr val="FFFFFF"/>
    </a:lt1>
    <a:dk2>
      <a:srgbClr val="000000"/>
    </a:dk2>
    <a:lt2>
      <a:srgbClr val="808080"/>
    </a:lt2>
    <a:accent1>
      <a:srgbClr val="FFFFFF"/>
    </a:accent1>
    <a:accent2>
      <a:srgbClr val="333399"/>
    </a:accent2>
    <a:accent3>
      <a:srgbClr val="FFFFFF"/>
    </a:accent3>
    <a:accent4>
      <a:srgbClr val="000000"/>
    </a:accent4>
    <a:accent5>
      <a:srgbClr val="FFFFFF"/>
    </a:accent5>
    <a:accent6>
      <a:srgbClr val="2D2D8A"/>
    </a:accent6>
    <a:hlink>
      <a:srgbClr val="009999"/>
    </a:hlink>
    <a:folHlink>
      <a:srgbClr val="99CC0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9612766F5A2F3459817298A0017226B" ma:contentTypeVersion="1" ma:contentTypeDescription="Create a new document." ma:contentTypeScope="" ma:versionID="44c0ef4fa5db5fd8e2fb14f6d9b4bfa7">
  <xsd:schema xmlns:xsd="http://www.w3.org/2001/XMLSchema" xmlns:xs="http://www.w3.org/2001/XMLSchema" xmlns:p="http://schemas.microsoft.com/office/2006/metadata/properties" xmlns:ns1="http://schemas.microsoft.com/sharepoint/v3" targetNamespace="http://schemas.microsoft.com/office/2006/metadata/properties" ma:root="true" ma:fieldsID="c2d465dd849937321cdf8b52b5b5c9f7"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324DFB23-2BD8-4A8E-97F2-05DDEEE11EEC}"/>
</file>

<file path=customXml/itemProps2.xml><?xml version="1.0" encoding="utf-8"?>
<ds:datastoreItem xmlns:ds="http://schemas.openxmlformats.org/officeDocument/2006/customXml" ds:itemID="{493C204B-ADCB-429F-AF45-55242B432F38}"/>
</file>

<file path=customXml/itemProps3.xml><?xml version="1.0" encoding="utf-8"?>
<ds:datastoreItem xmlns:ds="http://schemas.openxmlformats.org/officeDocument/2006/customXml" ds:itemID="{4D410758-46B5-4FFC-B679-EC6DBF06895E}"/>
</file>

<file path=docProps/app.xml><?xml version="1.0" encoding="utf-8"?>
<Properties xmlns="http://schemas.openxmlformats.org/officeDocument/2006/extended-properties" xmlns:vt="http://schemas.openxmlformats.org/officeDocument/2006/docPropsVTypes">
  <TotalTime>1187</TotalTime>
  <Words>1620</Words>
  <Application>Microsoft Office PowerPoint</Application>
  <PresentationFormat>On-screen Show (4:3)</PresentationFormat>
  <Paragraphs>305</Paragraphs>
  <Slides>24</Slides>
  <Notes>22</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24</vt:i4>
      </vt:variant>
    </vt:vector>
  </HeadingPairs>
  <TitlesOfParts>
    <vt:vector size="30" baseType="lpstr">
      <vt:lpstr>Tema de Office</vt:lpstr>
      <vt:lpstr>Título y subtítulo</vt:lpstr>
      <vt:lpstr>TF_plantilla_color</vt:lpstr>
      <vt:lpstr>Template_PPT_Telefonica_projectable_ENG_v2</vt:lpstr>
      <vt:lpstr>1_Template_PPT_Telefonica_projectable_ENG_v2</vt:lpstr>
      <vt:lpstr>Foto de Photo Editor</vt:lpstr>
      <vt:lpstr>Slide 1</vt:lpstr>
      <vt:lpstr>Slide 2</vt:lpstr>
      <vt:lpstr>Slide 3</vt:lpstr>
      <vt:lpstr>Slide 4</vt:lpstr>
      <vt:lpstr>Slide 5</vt:lpstr>
      <vt:lpstr>Slide 6</vt:lpstr>
      <vt:lpstr>Slide 7</vt:lpstr>
      <vt:lpstr>Slide 8</vt:lpstr>
      <vt:lpstr>Slide 9</vt:lpstr>
      <vt:lpstr>Slide 10</vt:lpstr>
      <vt:lpstr>Slide 11</vt:lpstr>
      <vt:lpstr>Slide 12</vt:lpstr>
      <vt:lpstr>Slide 13</vt:lpstr>
      <vt:lpstr>Slide 14</vt:lpstr>
      <vt:lpstr>Slide 15</vt:lpstr>
      <vt:lpstr>Slide 16</vt:lpstr>
      <vt:lpstr>Slide 17</vt:lpstr>
      <vt:lpstr>Slide 18</vt:lpstr>
      <vt:lpstr>Slide 19</vt:lpstr>
      <vt:lpstr>Slide 20</vt:lpstr>
      <vt:lpstr>Focus Group on Smart Sustainable Cities</vt:lpstr>
      <vt:lpstr>Focus Group on Smart Sustainable Cities</vt:lpstr>
      <vt:lpstr>Main Tasks and Deliverables </vt:lpstr>
      <vt:lpstr>Send your input documents to Cristina Bueti: greenstandard@itu.int  More information:  http://www.itu.int/en/ITU-T/focusgroups/ssc/Pages/default.aspx</vt:lpstr>
    </vt:vector>
  </TitlesOfParts>
  <Company>Telefónica España</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Telefonica</dc:creator>
  <cp:lastModifiedBy>Christin Chevalley</cp:lastModifiedBy>
  <cp:revision>68</cp:revision>
  <dcterms:created xsi:type="dcterms:W3CDTF">2012-09-14T09:05:01Z</dcterms:created>
  <dcterms:modified xsi:type="dcterms:W3CDTF">2013-04-15T08:35: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9612766F5A2F3459817298A0017226B</vt:lpwstr>
  </property>
</Properties>
</file>